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8.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9.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9.xml" ContentType="application/vnd.openxmlformats-officedocument.presentationml.tags+xml"/>
  <Override PartName="/ppt/notesSlides/notesSlide18.xml" ContentType="application/vnd.openxmlformats-officedocument.presentationml.notesSlide+xml"/>
  <Override PartName="/ppt/tags/tag12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 id="2147483697" r:id="rId6"/>
    <p:sldMasterId id="2147483701" r:id="rId7"/>
    <p:sldMasterId id="2147483759" r:id="rId8"/>
    <p:sldMasterId id="2147483788" r:id="rId9"/>
    <p:sldMasterId id="2147483851" r:id="rId10"/>
    <p:sldMasterId id="2147483860" r:id="rId11"/>
    <p:sldMasterId id="2147483978" r:id="rId12"/>
  </p:sldMasterIdLst>
  <p:notesMasterIdLst>
    <p:notesMasterId r:id="rId65"/>
  </p:notesMasterIdLst>
  <p:handoutMasterIdLst>
    <p:handoutMasterId r:id="rId66"/>
  </p:handoutMasterIdLst>
  <p:sldIdLst>
    <p:sldId id="257" r:id="rId13"/>
    <p:sldId id="9006" r:id="rId14"/>
    <p:sldId id="2147482349" r:id="rId15"/>
    <p:sldId id="2147482373" r:id="rId16"/>
    <p:sldId id="2147482375" r:id="rId17"/>
    <p:sldId id="2147482376" r:id="rId18"/>
    <p:sldId id="2147482377" r:id="rId19"/>
    <p:sldId id="2147480318" r:id="rId20"/>
    <p:sldId id="2147480292" r:id="rId21"/>
    <p:sldId id="2147470826" r:id="rId22"/>
    <p:sldId id="2147480319" r:id="rId23"/>
    <p:sldId id="2147470896" r:id="rId24"/>
    <p:sldId id="2147480290" r:id="rId25"/>
    <p:sldId id="2147480328" r:id="rId26"/>
    <p:sldId id="2147480304" r:id="rId27"/>
    <p:sldId id="2147482365" r:id="rId28"/>
    <p:sldId id="2147480320" r:id="rId29"/>
    <p:sldId id="2147482367" r:id="rId30"/>
    <p:sldId id="2147480331" r:id="rId31"/>
    <p:sldId id="2142532689" r:id="rId32"/>
    <p:sldId id="2147480309" r:id="rId33"/>
    <p:sldId id="2147480307" r:id="rId34"/>
    <p:sldId id="2147480310" r:id="rId35"/>
    <p:sldId id="2147482331" r:id="rId36"/>
    <p:sldId id="2147480324" r:id="rId37"/>
    <p:sldId id="2147480308" r:id="rId38"/>
    <p:sldId id="2147480333" r:id="rId39"/>
    <p:sldId id="2147480321" r:id="rId40"/>
    <p:sldId id="2147480317" r:id="rId41"/>
    <p:sldId id="2147470798" r:id="rId42"/>
    <p:sldId id="8008" r:id="rId43"/>
    <p:sldId id="2147480322" r:id="rId44"/>
    <p:sldId id="2147482369" r:id="rId45"/>
    <p:sldId id="2147482387" r:id="rId46"/>
    <p:sldId id="2147480323" r:id="rId47"/>
    <p:sldId id="2147480337" r:id="rId48"/>
    <p:sldId id="2147480336" r:id="rId49"/>
    <p:sldId id="2147480338" r:id="rId50"/>
    <p:sldId id="2147480339" r:id="rId51"/>
    <p:sldId id="2147482385" r:id="rId52"/>
    <p:sldId id="2147482358" r:id="rId53"/>
    <p:sldId id="2147376928" r:id="rId54"/>
    <p:sldId id="2147376929" r:id="rId55"/>
    <p:sldId id="2147480349" r:id="rId56"/>
    <p:sldId id="2147482356" r:id="rId57"/>
    <p:sldId id="2147482359" r:id="rId58"/>
    <p:sldId id="2147482390" r:id="rId59"/>
    <p:sldId id="2147482388" r:id="rId60"/>
    <p:sldId id="2147482391" r:id="rId61"/>
    <p:sldId id="2147482347" r:id="rId62"/>
    <p:sldId id="2147480344" r:id="rId63"/>
    <p:sldId id="272" r:id="rId64"/>
  </p:sldIdLst>
  <p:sldSz cx="12192000" cy="6858000"/>
  <p:notesSz cx="6799263" cy="99298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958" userDrawn="1">
          <p15:clr>
            <a:srgbClr val="A4A3A4"/>
          </p15:clr>
        </p15:guide>
        <p15:guide id="3" pos="438" userDrawn="1">
          <p15:clr>
            <a:srgbClr val="A4A3A4"/>
          </p15:clr>
        </p15:guide>
        <p15:guide id="4" pos="7106" userDrawn="1">
          <p15:clr>
            <a:srgbClr val="A4A3A4"/>
          </p15:clr>
        </p15:guide>
        <p15:guide id="5" orient="horz" pos="408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E2C486-5B01-93BE-8015-50343A8997E1}" name="Soumaya ZERHOUNI" initials="SZ" userId="S::soumaya.zerhouni@talan.com::690e4aa6-586b-4341-8f1a-54a3e745744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3C92"/>
    <a:srgbClr val="514692"/>
    <a:srgbClr val="45398B"/>
    <a:srgbClr val="44398A"/>
    <a:srgbClr val="473B8F"/>
    <a:srgbClr val="9288CE"/>
    <a:srgbClr val="0070C0"/>
    <a:srgbClr val="A22E89"/>
    <a:srgbClr val="006EB8"/>
    <a:srgbClr val="26AA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2EE563-A228-4C92-B2E5-80E086EF8638}" vWet="2" dt="2024-02-14T14:12:17.534"/>
    <p1510:client id="{69AAD651-E566-4914-B951-51E57822A563}" v="2" dt="2024-02-15T13:28:23.010"/>
    <p1510:client id="{96E5B19A-03C6-41CD-AD2E-9B5EF566AAC2}" v="24" dt="2024-02-14T15:06:57.57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958"/>
        <p:guide pos="438"/>
        <p:guide pos="7106"/>
        <p:guide orient="horz" pos="4088"/>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notesMaster" Target="notesMasters/notesMaster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 Type="http://schemas.openxmlformats.org/officeDocument/2006/relationships/slideMaster" Target="slideMasters/slideMaster4.xml"/><Relationship Id="rId7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ence ANGILBERT" userId="28ea2967-f540-4e7d-a641-d418703ece22" providerId="ADAL" clId="{859296AE-058C-4C65-BA04-6986791C2943}"/>
    <pc:docChg chg="undo redo custSel addSld delSld modSld sldOrd delMainMaster">
      <pc:chgData name="Laurence ANGILBERT" userId="28ea2967-f540-4e7d-a641-d418703ece22" providerId="ADAL" clId="{859296AE-058C-4C65-BA04-6986791C2943}" dt="2024-02-02T18:32:48.022" v="31066" actId="6549"/>
      <pc:docMkLst>
        <pc:docMk/>
      </pc:docMkLst>
      <pc:sldChg chg="addSp delSp modSp mod">
        <pc:chgData name="Laurence ANGILBERT" userId="28ea2967-f540-4e7d-a641-d418703ece22" providerId="ADAL" clId="{859296AE-058C-4C65-BA04-6986791C2943}" dt="2024-02-02T17:14:09.525" v="30100" actId="478"/>
        <pc:sldMkLst>
          <pc:docMk/>
          <pc:sldMk cId="0" sldId="257"/>
        </pc:sldMkLst>
        <pc:spChg chg="mod">
          <ac:chgData name="Laurence ANGILBERT" userId="28ea2967-f540-4e7d-a641-d418703ece22" providerId="ADAL" clId="{859296AE-058C-4C65-BA04-6986791C2943}" dt="2024-01-30T20:13:50.541" v="5759" actId="20577"/>
          <ac:spMkLst>
            <pc:docMk/>
            <pc:sldMk cId="0" sldId="257"/>
            <ac:spMk id="2" creationId="{90633EB4-5B7F-471E-9E01-2A30008FFA87}"/>
          </ac:spMkLst>
        </pc:spChg>
        <pc:spChg chg="add del mod">
          <ac:chgData name="Laurence ANGILBERT" userId="28ea2967-f540-4e7d-a641-d418703ece22" providerId="ADAL" clId="{859296AE-058C-4C65-BA04-6986791C2943}" dt="2024-02-02T17:14:09.525" v="30100" actId="478"/>
          <ac:spMkLst>
            <pc:docMk/>
            <pc:sldMk cId="0" sldId="257"/>
            <ac:spMk id="6" creationId="{81D291F3-72E9-7E22-3C87-8647A408D0A0}"/>
          </ac:spMkLst>
        </pc:spChg>
        <pc:picChg chg="mod">
          <ac:chgData name="Laurence ANGILBERT" userId="28ea2967-f540-4e7d-a641-d418703ece22" providerId="ADAL" clId="{859296AE-058C-4C65-BA04-6986791C2943}" dt="2024-01-29T16:33:24.033" v="1079" actId="1076"/>
          <ac:picMkLst>
            <pc:docMk/>
            <pc:sldMk cId="0" sldId="257"/>
            <ac:picMk id="1026" creationId="{F4406BF0-A6CF-92B8-9503-9119B1C272F5}"/>
          </ac:picMkLst>
        </pc:picChg>
      </pc:sldChg>
      <pc:sldChg chg="addSp modSp add mod">
        <pc:chgData name="Laurence ANGILBERT" userId="28ea2967-f540-4e7d-a641-d418703ece22" providerId="ADAL" clId="{859296AE-058C-4C65-BA04-6986791C2943}" dt="2024-01-30T13:30:56.864" v="3252" actId="207"/>
        <pc:sldMkLst>
          <pc:docMk/>
          <pc:sldMk cId="2216374101" sldId="1704"/>
        </pc:sldMkLst>
        <pc:spChg chg="add mod">
          <ac:chgData name="Laurence ANGILBERT" userId="28ea2967-f540-4e7d-a641-d418703ece22" providerId="ADAL" clId="{859296AE-058C-4C65-BA04-6986791C2943}" dt="2024-01-30T13:30:56.864" v="3252" actId="207"/>
          <ac:spMkLst>
            <pc:docMk/>
            <pc:sldMk cId="2216374101" sldId="1704"/>
            <ac:spMk id="3" creationId="{470B4E1B-D496-1816-D6D0-A5CEECD26662}"/>
          </ac:spMkLst>
        </pc:spChg>
      </pc:sldChg>
      <pc:sldChg chg="addSp modSp mod">
        <pc:chgData name="Laurence ANGILBERT" userId="28ea2967-f540-4e7d-a641-d418703ece22" providerId="ADAL" clId="{859296AE-058C-4C65-BA04-6986791C2943}" dt="2024-01-31T03:33:02.861" v="7896" actId="403"/>
        <pc:sldMkLst>
          <pc:docMk/>
          <pc:sldMk cId="2196020231" sldId="1859"/>
        </pc:sldMkLst>
        <pc:spChg chg="add mod">
          <ac:chgData name="Laurence ANGILBERT" userId="28ea2967-f540-4e7d-a641-d418703ece22" providerId="ADAL" clId="{859296AE-058C-4C65-BA04-6986791C2943}" dt="2024-01-31T03:33:02.861" v="7896" actId="403"/>
          <ac:spMkLst>
            <pc:docMk/>
            <pc:sldMk cId="2196020231" sldId="1859"/>
            <ac:spMk id="3" creationId="{15E84C8C-D676-D015-4B4E-836EDF4F1429}"/>
          </ac:spMkLst>
        </pc:spChg>
      </pc:sldChg>
      <pc:sldChg chg="modSp mod">
        <pc:chgData name="Laurence ANGILBERT" userId="28ea2967-f540-4e7d-a641-d418703ece22" providerId="ADAL" clId="{859296AE-058C-4C65-BA04-6986791C2943}" dt="2024-02-02T09:09:26.726" v="25628" actId="1076"/>
        <pc:sldMkLst>
          <pc:docMk/>
          <pc:sldMk cId="4028295010" sldId="8008"/>
        </pc:sldMkLst>
        <pc:spChg chg="mod">
          <ac:chgData name="Laurence ANGILBERT" userId="28ea2967-f540-4e7d-a641-d418703ece22" providerId="ADAL" clId="{859296AE-058C-4C65-BA04-6986791C2943}" dt="2024-02-02T09:09:26.726" v="25628" actId="1076"/>
          <ac:spMkLst>
            <pc:docMk/>
            <pc:sldMk cId="4028295010" sldId="8008"/>
            <ac:spMk id="42" creationId="{2E761A34-DCE4-4809-8CE6-42F91F503F4E}"/>
          </ac:spMkLst>
        </pc:spChg>
      </pc:sldChg>
      <pc:sldChg chg="addSp modSp add del mod">
        <pc:chgData name="Laurence ANGILBERT" userId="28ea2967-f540-4e7d-a641-d418703ece22" providerId="ADAL" clId="{859296AE-058C-4C65-BA04-6986791C2943}" dt="2024-01-30T11:43:12.788" v="3164" actId="207"/>
        <pc:sldMkLst>
          <pc:docMk/>
          <pc:sldMk cId="427153244" sldId="8974"/>
        </pc:sldMkLst>
        <pc:spChg chg="add mod">
          <ac:chgData name="Laurence ANGILBERT" userId="28ea2967-f540-4e7d-a641-d418703ece22" providerId="ADAL" clId="{859296AE-058C-4C65-BA04-6986791C2943}" dt="2024-01-30T11:43:12.788" v="3164" actId="207"/>
          <ac:spMkLst>
            <pc:docMk/>
            <pc:sldMk cId="427153244" sldId="8974"/>
            <ac:spMk id="4" creationId="{B1D1379A-9F66-DD62-EA31-62623DA10E1D}"/>
          </ac:spMkLst>
        </pc:spChg>
      </pc:sldChg>
      <pc:sldChg chg="addSp modSp mod">
        <pc:chgData name="Laurence ANGILBERT" userId="28ea2967-f540-4e7d-a641-d418703ece22" providerId="ADAL" clId="{859296AE-058C-4C65-BA04-6986791C2943}" dt="2024-01-29T08:51:46.432" v="502" actId="20577"/>
        <pc:sldMkLst>
          <pc:docMk/>
          <pc:sldMk cId="3024221530" sldId="9003"/>
        </pc:sldMkLst>
        <pc:spChg chg="add mod">
          <ac:chgData name="Laurence ANGILBERT" userId="28ea2967-f540-4e7d-a641-d418703ece22" providerId="ADAL" clId="{859296AE-058C-4C65-BA04-6986791C2943}" dt="2024-01-29T08:51:22.638" v="499" actId="207"/>
          <ac:spMkLst>
            <pc:docMk/>
            <pc:sldMk cId="3024221530" sldId="9003"/>
            <ac:spMk id="4" creationId="{611B54D2-930B-C1FB-0006-EB962D6A9529}"/>
          </ac:spMkLst>
        </pc:spChg>
        <pc:graphicFrameChg chg="modGraphic">
          <ac:chgData name="Laurence ANGILBERT" userId="28ea2967-f540-4e7d-a641-d418703ece22" providerId="ADAL" clId="{859296AE-058C-4C65-BA04-6986791C2943}" dt="2024-01-29T08:51:46.432" v="502" actId="20577"/>
          <ac:graphicFrameMkLst>
            <pc:docMk/>
            <pc:sldMk cId="3024221530" sldId="9003"/>
            <ac:graphicFrameMk id="6" creationId="{F49AD9D9-8EB9-40C8-817E-797AEF95B20C}"/>
          </ac:graphicFrameMkLst>
        </pc:graphicFrameChg>
      </pc:sldChg>
      <pc:sldChg chg="addSp delSp modSp mod">
        <pc:chgData name="Laurence ANGILBERT" userId="28ea2967-f540-4e7d-a641-d418703ece22" providerId="ADAL" clId="{859296AE-058C-4C65-BA04-6986791C2943}" dt="2024-02-02T17:02:11.157" v="30089" actId="20577"/>
        <pc:sldMkLst>
          <pc:docMk/>
          <pc:sldMk cId="3662488934" sldId="9006"/>
        </pc:sldMkLst>
        <pc:spChg chg="add mod">
          <ac:chgData name="Laurence ANGILBERT" userId="28ea2967-f540-4e7d-a641-d418703ece22" providerId="ADAL" clId="{859296AE-058C-4C65-BA04-6986791C2943}" dt="2024-01-31T14:06:30.654" v="13108" actId="207"/>
          <ac:spMkLst>
            <pc:docMk/>
            <pc:sldMk cId="3662488934" sldId="9006"/>
            <ac:spMk id="11" creationId="{502CB124-249E-B6D6-357E-BDC73C240FC6}"/>
          </ac:spMkLst>
        </pc:spChg>
        <pc:spChg chg="mod">
          <ac:chgData name="Laurence ANGILBERT" userId="28ea2967-f540-4e7d-a641-d418703ece22" providerId="ADAL" clId="{859296AE-058C-4C65-BA04-6986791C2943}" dt="2024-02-02T17:02:11.157" v="30089" actId="20577"/>
          <ac:spMkLst>
            <pc:docMk/>
            <pc:sldMk cId="3662488934" sldId="9006"/>
            <ac:spMk id="12" creationId="{6949D553-9B02-42D7-9487-5D76097EDB8C}"/>
          </ac:spMkLst>
        </pc:spChg>
        <pc:spChg chg="del mod">
          <ac:chgData name="Laurence ANGILBERT" userId="28ea2967-f540-4e7d-a641-d418703ece22" providerId="ADAL" clId="{859296AE-058C-4C65-BA04-6986791C2943}" dt="2024-02-01T17:16:32.137" v="23635" actId="478"/>
          <ac:spMkLst>
            <pc:docMk/>
            <pc:sldMk cId="3662488934" sldId="9006"/>
            <ac:spMk id="52" creationId="{BB71371E-4B29-2877-68D4-7D0ECE8E1FD8}"/>
          </ac:spMkLst>
        </pc:spChg>
      </pc:sldChg>
      <pc:sldChg chg="delSp add del mod ord">
        <pc:chgData name="Laurence ANGILBERT" userId="28ea2967-f540-4e7d-a641-d418703ece22" providerId="ADAL" clId="{859296AE-058C-4C65-BA04-6986791C2943}" dt="2024-01-31T15:33:27.779" v="13799" actId="47"/>
        <pc:sldMkLst>
          <pc:docMk/>
          <pc:sldMk cId="3953179974" sldId="9007"/>
        </pc:sldMkLst>
        <pc:spChg chg="del">
          <ac:chgData name="Laurence ANGILBERT" userId="28ea2967-f540-4e7d-a641-d418703ece22" providerId="ADAL" clId="{859296AE-058C-4C65-BA04-6986791C2943}" dt="2024-01-31T15:32:38.906" v="13775" actId="21"/>
          <ac:spMkLst>
            <pc:docMk/>
            <pc:sldMk cId="3953179974" sldId="9007"/>
            <ac:spMk id="9" creationId="{2D6E74EB-6995-4B5E-B9DF-7BA70719DFC9}"/>
          </ac:spMkLst>
        </pc:spChg>
        <pc:spChg chg="del">
          <ac:chgData name="Laurence ANGILBERT" userId="28ea2967-f540-4e7d-a641-d418703ece22" providerId="ADAL" clId="{859296AE-058C-4C65-BA04-6986791C2943}" dt="2024-01-31T15:32:38.906" v="13775" actId="21"/>
          <ac:spMkLst>
            <pc:docMk/>
            <pc:sldMk cId="3953179974" sldId="9007"/>
            <ac:spMk id="10" creationId="{35F8A326-CE9E-4B99-8F0E-C9EB5DECE0ED}"/>
          </ac:spMkLst>
        </pc:spChg>
        <pc:spChg chg="del">
          <ac:chgData name="Laurence ANGILBERT" userId="28ea2967-f540-4e7d-a641-d418703ece22" providerId="ADAL" clId="{859296AE-058C-4C65-BA04-6986791C2943}" dt="2024-01-31T15:32:38.906" v="13775" actId="21"/>
          <ac:spMkLst>
            <pc:docMk/>
            <pc:sldMk cId="3953179974" sldId="9007"/>
            <ac:spMk id="12" creationId="{4DF0AD62-E2F6-49EF-8132-C76354BDCB1E}"/>
          </ac:spMkLst>
        </pc:spChg>
        <pc:spChg chg="del">
          <ac:chgData name="Laurence ANGILBERT" userId="28ea2967-f540-4e7d-a641-d418703ece22" providerId="ADAL" clId="{859296AE-058C-4C65-BA04-6986791C2943}" dt="2024-01-31T15:32:38.906" v="13775" actId="21"/>
          <ac:spMkLst>
            <pc:docMk/>
            <pc:sldMk cId="3953179974" sldId="9007"/>
            <ac:spMk id="14" creationId="{3EAEB484-7CEC-42D1-B935-3692E94373B7}"/>
          </ac:spMkLst>
        </pc:spChg>
        <pc:spChg chg="del">
          <ac:chgData name="Laurence ANGILBERT" userId="28ea2967-f540-4e7d-a641-d418703ece22" providerId="ADAL" clId="{859296AE-058C-4C65-BA04-6986791C2943}" dt="2024-01-31T15:32:38.906" v="13775" actId="21"/>
          <ac:spMkLst>
            <pc:docMk/>
            <pc:sldMk cId="3953179974" sldId="9007"/>
            <ac:spMk id="18" creationId="{C20756BF-0A8C-4947-A796-DD565B7C7B26}"/>
          </ac:spMkLst>
        </pc:spChg>
        <pc:spChg chg="del">
          <ac:chgData name="Laurence ANGILBERT" userId="28ea2967-f540-4e7d-a641-d418703ece22" providerId="ADAL" clId="{859296AE-058C-4C65-BA04-6986791C2943}" dt="2024-01-31T15:32:38.906" v="13775" actId="21"/>
          <ac:spMkLst>
            <pc:docMk/>
            <pc:sldMk cId="3953179974" sldId="9007"/>
            <ac:spMk id="19" creationId="{17CE1DF9-01CB-4B43-8D3C-E1B745DDF820}"/>
          </ac:spMkLst>
        </pc:spChg>
        <pc:spChg chg="del">
          <ac:chgData name="Laurence ANGILBERT" userId="28ea2967-f540-4e7d-a641-d418703ece22" providerId="ADAL" clId="{859296AE-058C-4C65-BA04-6986791C2943}" dt="2024-01-31T15:32:38.906" v="13775" actId="21"/>
          <ac:spMkLst>
            <pc:docMk/>
            <pc:sldMk cId="3953179974" sldId="9007"/>
            <ac:spMk id="20" creationId="{C02A6146-81D8-4A9B-9EB8-2D36F0FD30C0}"/>
          </ac:spMkLst>
        </pc:spChg>
        <pc:spChg chg="del">
          <ac:chgData name="Laurence ANGILBERT" userId="28ea2967-f540-4e7d-a641-d418703ece22" providerId="ADAL" clId="{859296AE-058C-4C65-BA04-6986791C2943}" dt="2024-01-31T15:32:38.906" v="13775" actId="21"/>
          <ac:spMkLst>
            <pc:docMk/>
            <pc:sldMk cId="3953179974" sldId="9007"/>
            <ac:spMk id="21" creationId="{AC45AED6-0FB5-4638-A56D-DBD151792A42}"/>
          </ac:spMkLst>
        </pc:spChg>
        <pc:spChg chg="del">
          <ac:chgData name="Laurence ANGILBERT" userId="28ea2967-f540-4e7d-a641-d418703ece22" providerId="ADAL" clId="{859296AE-058C-4C65-BA04-6986791C2943}" dt="2024-01-31T15:32:38.906" v="13775" actId="21"/>
          <ac:spMkLst>
            <pc:docMk/>
            <pc:sldMk cId="3953179974" sldId="9007"/>
            <ac:spMk id="22" creationId="{C5D2B797-AC8D-40AC-9116-C1E2DF2AD98E}"/>
          </ac:spMkLst>
        </pc:spChg>
        <pc:picChg chg="del">
          <ac:chgData name="Laurence ANGILBERT" userId="28ea2967-f540-4e7d-a641-d418703ece22" providerId="ADAL" clId="{859296AE-058C-4C65-BA04-6986791C2943}" dt="2024-01-31T15:32:38.906" v="13775" actId="21"/>
          <ac:picMkLst>
            <pc:docMk/>
            <pc:sldMk cId="3953179974" sldId="9007"/>
            <ac:picMk id="16" creationId="{130F1E42-66E8-4FB5-8719-8A6DCBBBC412}"/>
          </ac:picMkLst>
        </pc:picChg>
      </pc:sldChg>
      <pc:sldChg chg="delSp modSp add del mod">
        <pc:chgData name="Laurence ANGILBERT" userId="28ea2967-f540-4e7d-a641-d418703ece22" providerId="ADAL" clId="{859296AE-058C-4C65-BA04-6986791C2943}" dt="2024-01-27T18:07:10.666" v="313" actId="47"/>
        <pc:sldMkLst>
          <pc:docMk/>
          <pc:sldMk cId="4122494433" sldId="2076137942"/>
        </pc:sldMkLst>
        <pc:spChg chg="del">
          <ac:chgData name="Laurence ANGILBERT" userId="28ea2967-f540-4e7d-a641-d418703ece22" providerId="ADAL" clId="{859296AE-058C-4C65-BA04-6986791C2943}" dt="2024-01-27T18:07:04.124" v="311" actId="21"/>
          <ac:spMkLst>
            <pc:docMk/>
            <pc:sldMk cId="4122494433" sldId="2076137942"/>
            <ac:spMk id="13" creationId="{91AEBB1E-A8B8-DC55-4A9D-F7797B0382B1}"/>
          </ac:spMkLst>
        </pc:spChg>
        <pc:spChg chg="mod">
          <ac:chgData name="Laurence ANGILBERT" userId="28ea2967-f540-4e7d-a641-d418703ece22" providerId="ADAL" clId="{859296AE-058C-4C65-BA04-6986791C2943}" dt="2024-01-26T14:00:57.987" v="265" actId="20577"/>
          <ac:spMkLst>
            <pc:docMk/>
            <pc:sldMk cId="4122494433" sldId="2076137942"/>
            <ac:spMk id="15" creationId="{2EE73F52-8580-465F-ABA0-1B5431BBAC0B}"/>
          </ac:spMkLst>
        </pc:spChg>
        <pc:spChg chg="del">
          <ac:chgData name="Laurence ANGILBERT" userId="28ea2967-f540-4e7d-a641-d418703ece22" providerId="ADAL" clId="{859296AE-058C-4C65-BA04-6986791C2943}" dt="2024-01-27T18:07:04.124" v="311" actId="21"/>
          <ac:spMkLst>
            <pc:docMk/>
            <pc:sldMk cId="4122494433" sldId="2076137942"/>
            <ac:spMk id="17" creationId="{9D2C2667-C273-4C08-8F92-6889403313BE}"/>
          </ac:spMkLst>
        </pc:spChg>
        <pc:spChg chg="del">
          <ac:chgData name="Laurence ANGILBERT" userId="28ea2967-f540-4e7d-a641-d418703ece22" providerId="ADAL" clId="{859296AE-058C-4C65-BA04-6986791C2943}" dt="2024-01-27T18:07:04.124" v="311" actId="21"/>
          <ac:spMkLst>
            <pc:docMk/>
            <pc:sldMk cId="4122494433" sldId="2076137942"/>
            <ac:spMk id="22" creationId="{29EC2FAC-3F2F-4EA7-9E1E-1A3C1CC1E397}"/>
          </ac:spMkLst>
        </pc:spChg>
        <pc:spChg chg="del">
          <ac:chgData name="Laurence ANGILBERT" userId="28ea2967-f540-4e7d-a641-d418703ece22" providerId="ADAL" clId="{859296AE-058C-4C65-BA04-6986791C2943}" dt="2024-01-27T18:07:04.124" v="311" actId="21"/>
          <ac:spMkLst>
            <pc:docMk/>
            <pc:sldMk cId="4122494433" sldId="2076137942"/>
            <ac:spMk id="26" creationId="{491A6851-B35F-41FD-B7A2-C04047AFCA2C}"/>
          </ac:spMkLst>
        </pc:spChg>
        <pc:spChg chg="del">
          <ac:chgData name="Laurence ANGILBERT" userId="28ea2967-f540-4e7d-a641-d418703ece22" providerId="ADAL" clId="{859296AE-058C-4C65-BA04-6986791C2943}" dt="2024-01-27T18:07:04.124" v="311" actId="21"/>
          <ac:spMkLst>
            <pc:docMk/>
            <pc:sldMk cId="4122494433" sldId="2076137942"/>
            <ac:spMk id="29" creationId="{896A5EA6-8D19-4C02-AF36-50552C78CEDA}"/>
          </ac:spMkLst>
        </pc:spChg>
        <pc:grpChg chg="del">
          <ac:chgData name="Laurence ANGILBERT" userId="28ea2967-f540-4e7d-a641-d418703ece22" providerId="ADAL" clId="{859296AE-058C-4C65-BA04-6986791C2943}" dt="2024-01-27T18:07:04.124" v="311" actId="21"/>
          <ac:grpSpMkLst>
            <pc:docMk/>
            <pc:sldMk cId="4122494433" sldId="2076137942"/>
            <ac:grpSpMk id="7" creationId="{3673066D-51AF-C36E-4DDD-FF8DD9C67909}"/>
          </ac:grpSpMkLst>
        </pc:grpChg>
        <pc:grpChg chg="del">
          <ac:chgData name="Laurence ANGILBERT" userId="28ea2967-f540-4e7d-a641-d418703ece22" providerId="ADAL" clId="{859296AE-058C-4C65-BA04-6986791C2943}" dt="2024-01-27T18:07:04.124" v="311" actId="21"/>
          <ac:grpSpMkLst>
            <pc:docMk/>
            <pc:sldMk cId="4122494433" sldId="2076137942"/>
            <ac:grpSpMk id="10" creationId="{B7B39669-D8CF-BD73-EC9B-BE997EB26DF2}"/>
          </ac:grpSpMkLst>
        </pc:grpChg>
        <pc:picChg chg="del">
          <ac:chgData name="Laurence ANGILBERT" userId="28ea2967-f540-4e7d-a641-d418703ece22" providerId="ADAL" clId="{859296AE-058C-4C65-BA04-6986791C2943}" dt="2024-01-27T18:07:04.124" v="311" actId="21"/>
          <ac:picMkLst>
            <pc:docMk/>
            <pc:sldMk cId="4122494433" sldId="2076137942"/>
            <ac:picMk id="3" creationId="{4FFD70F6-6BEE-2FC2-6567-52D378C1BEA3}"/>
          </ac:picMkLst>
        </pc:picChg>
        <pc:picChg chg="del">
          <ac:chgData name="Laurence ANGILBERT" userId="28ea2967-f540-4e7d-a641-d418703ece22" providerId="ADAL" clId="{859296AE-058C-4C65-BA04-6986791C2943}" dt="2024-01-27T18:07:04.124" v="311" actId="21"/>
          <ac:picMkLst>
            <pc:docMk/>
            <pc:sldMk cId="4122494433" sldId="2076137942"/>
            <ac:picMk id="4" creationId="{9C171945-75C2-921F-857A-A136CB02EA6B}"/>
          </ac:picMkLst>
        </pc:picChg>
        <pc:picChg chg="del">
          <ac:chgData name="Laurence ANGILBERT" userId="28ea2967-f540-4e7d-a641-d418703ece22" providerId="ADAL" clId="{859296AE-058C-4C65-BA04-6986791C2943}" dt="2024-01-27T18:07:04.124" v="311" actId="21"/>
          <ac:picMkLst>
            <pc:docMk/>
            <pc:sldMk cId="4122494433" sldId="2076137942"/>
            <ac:picMk id="5" creationId="{49F0F508-4ABF-6FE6-6A27-3256D5041DC4}"/>
          </ac:picMkLst>
        </pc:picChg>
        <pc:picChg chg="del">
          <ac:chgData name="Laurence ANGILBERT" userId="28ea2967-f540-4e7d-a641-d418703ece22" providerId="ADAL" clId="{859296AE-058C-4C65-BA04-6986791C2943}" dt="2024-01-27T18:07:04.124" v="311" actId="21"/>
          <ac:picMkLst>
            <pc:docMk/>
            <pc:sldMk cId="4122494433" sldId="2076137942"/>
            <ac:picMk id="6" creationId="{1ADE99E7-1330-CC43-3055-0564137C15AB}"/>
          </ac:picMkLst>
        </pc:picChg>
      </pc:sldChg>
      <pc:sldChg chg="modSp add mod">
        <pc:chgData name="Laurence ANGILBERT" userId="28ea2967-f540-4e7d-a641-d418703ece22" providerId="ADAL" clId="{859296AE-058C-4C65-BA04-6986791C2943}" dt="2024-01-27T18:01:18.906" v="307" actId="20577"/>
        <pc:sldMkLst>
          <pc:docMk/>
          <pc:sldMk cId="3338283755" sldId="2076137969"/>
        </pc:sldMkLst>
        <pc:spChg chg="mod">
          <ac:chgData name="Laurence ANGILBERT" userId="28ea2967-f540-4e7d-a641-d418703ece22" providerId="ADAL" clId="{859296AE-058C-4C65-BA04-6986791C2943}" dt="2024-01-27T18:01:18.906" v="307" actId="20577"/>
          <ac:spMkLst>
            <pc:docMk/>
            <pc:sldMk cId="3338283755" sldId="2076137969"/>
            <ac:spMk id="9" creationId="{BDB03FF0-8150-8124-8B75-2E8843114982}"/>
          </ac:spMkLst>
        </pc:spChg>
      </pc:sldChg>
      <pc:sldChg chg="add del">
        <pc:chgData name="Laurence ANGILBERT" userId="28ea2967-f540-4e7d-a641-d418703ece22" providerId="ADAL" clId="{859296AE-058C-4C65-BA04-6986791C2943}" dt="2024-01-31T15:36:35.068" v="13871" actId="47"/>
        <pc:sldMkLst>
          <pc:docMk/>
          <pc:sldMk cId="2079887157" sldId="2076138015"/>
        </pc:sldMkLst>
      </pc:sldChg>
      <pc:sldChg chg="add del">
        <pc:chgData name="Laurence ANGILBERT" userId="28ea2967-f540-4e7d-a641-d418703ece22" providerId="ADAL" clId="{859296AE-058C-4C65-BA04-6986791C2943}" dt="2024-01-31T15:36:03.889" v="13868" actId="47"/>
        <pc:sldMkLst>
          <pc:docMk/>
          <pc:sldMk cId="2560022807" sldId="2076138052"/>
        </pc:sldMkLst>
      </pc:sldChg>
      <pc:sldChg chg="add">
        <pc:chgData name="Laurence ANGILBERT" userId="28ea2967-f540-4e7d-a641-d418703ece22" providerId="ADAL" clId="{859296AE-058C-4C65-BA04-6986791C2943}" dt="2024-02-02T13:31:01.672" v="28436"/>
        <pc:sldMkLst>
          <pc:docMk/>
          <pc:sldMk cId="1688334320" sldId="2076138056"/>
        </pc:sldMkLst>
      </pc:sldChg>
      <pc:sldChg chg="addSp modSp del">
        <pc:chgData name="Laurence ANGILBERT" userId="28ea2967-f540-4e7d-a641-d418703ece22" providerId="ADAL" clId="{859296AE-058C-4C65-BA04-6986791C2943}" dt="2024-02-02T13:30:46.400" v="28435" actId="2696"/>
        <pc:sldMkLst>
          <pc:docMk/>
          <pc:sldMk cId="3879889702" sldId="2076138056"/>
        </pc:sldMkLst>
        <pc:spChg chg="add mod">
          <ac:chgData name="Laurence ANGILBERT" userId="28ea2967-f540-4e7d-a641-d418703ece22" providerId="ADAL" clId="{859296AE-058C-4C65-BA04-6986791C2943}" dt="2024-01-30T17:02:52.504" v="4460"/>
          <ac:spMkLst>
            <pc:docMk/>
            <pc:sldMk cId="3879889702" sldId="2076138056"/>
            <ac:spMk id="2" creationId="{9C3E920F-8B85-22FA-9A7C-762AEB28770E}"/>
          </ac:spMkLst>
        </pc:spChg>
      </pc:sldChg>
      <pc:sldChg chg="add">
        <pc:chgData name="Laurence ANGILBERT" userId="28ea2967-f540-4e7d-a641-d418703ece22" providerId="ADAL" clId="{859296AE-058C-4C65-BA04-6986791C2943}" dt="2024-02-02T13:31:01.672" v="28436"/>
        <pc:sldMkLst>
          <pc:docMk/>
          <pc:sldMk cId="2622980503" sldId="2076138104"/>
        </pc:sldMkLst>
      </pc:sldChg>
      <pc:sldChg chg="addSp modSp del mod">
        <pc:chgData name="Laurence ANGILBERT" userId="28ea2967-f540-4e7d-a641-d418703ece22" providerId="ADAL" clId="{859296AE-058C-4C65-BA04-6986791C2943}" dt="2024-02-02T13:30:46.400" v="28435" actId="2696"/>
        <pc:sldMkLst>
          <pc:docMk/>
          <pc:sldMk cId="3866936782" sldId="2076138104"/>
        </pc:sldMkLst>
        <pc:spChg chg="add mod">
          <ac:chgData name="Laurence ANGILBERT" userId="28ea2967-f540-4e7d-a641-d418703ece22" providerId="ADAL" clId="{859296AE-058C-4C65-BA04-6986791C2943}" dt="2024-01-30T17:02:43.868" v="4459" actId="207"/>
          <ac:spMkLst>
            <pc:docMk/>
            <pc:sldMk cId="3866936782" sldId="2076138104"/>
            <ac:spMk id="2" creationId="{91D08E7B-52FA-8F03-9434-F634DA9196E3}"/>
          </ac:spMkLst>
        </pc:spChg>
      </pc:sldChg>
      <pc:sldChg chg="addSp delSp modSp mod">
        <pc:chgData name="Laurence ANGILBERT" userId="28ea2967-f540-4e7d-a641-d418703ece22" providerId="ADAL" clId="{859296AE-058C-4C65-BA04-6986791C2943}" dt="2024-02-02T09:26:18.997" v="25770"/>
        <pc:sldMkLst>
          <pc:docMk/>
          <pc:sldMk cId="549485756" sldId="2142532689"/>
        </pc:sldMkLst>
        <pc:spChg chg="del mod">
          <ac:chgData name="Laurence ANGILBERT" userId="28ea2967-f540-4e7d-a641-d418703ece22" providerId="ADAL" clId="{859296AE-058C-4C65-BA04-6986791C2943}" dt="2024-01-31T16:39:35.628" v="15185" actId="478"/>
          <ac:spMkLst>
            <pc:docMk/>
            <pc:sldMk cId="549485756" sldId="2142532689"/>
            <ac:spMk id="2" creationId="{37ABA3EB-E2C2-19FA-8155-950A7F5BB28C}"/>
          </ac:spMkLst>
        </pc:spChg>
        <pc:spChg chg="del">
          <ac:chgData name="Laurence ANGILBERT" userId="28ea2967-f540-4e7d-a641-d418703ece22" providerId="ADAL" clId="{859296AE-058C-4C65-BA04-6986791C2943}" dt="2024-02-01T17:07:36.228" v="23625" actId="478"/>
          <ac:spMkLst>
            <pc:docMk/>
            <pc:sldMk cId="549485756" sldId="2142532689"/>
            <ac:spMk id="2" creationId="{B8203CF6-DC42-0C46-CD16-4F343DF5FE77}"/>
          </ac:spMkLst>
        </pc:spChg>
        <pc:spChg chg="mod">
          <ac:chgData name="Laurence ANGILBERT" userId="28ea2967-f540-4e7d-a641-d418703ece22" providerId="ADAL" clId="{859296AE-058C-4C65-BA04-6986791C2943}" dt="2024-01-31T08:56:02.085" v="8868" actId="207"/>
          <ac:spMkLst>
            <pc:docMk/>
            <pc:sldMk cId="549485756" sldId="2142532689"/>
            <ac:spMk id="3" creationId="{667C8A85-8CD5-181E-1B44-9BED4BC58ECF}"/>
          </ac:spMkLst>
        </pc:spChg>
        <pc:spChg chg="add del mod">
          <ac:chgData name="Laurence ANGILBERT" userId="28ea2967-f540-4e7d-a641-d418703ece22" providerId="ADAL" clId="{859296AE-058C-4C65-BA04-6986791C2943}" dt="2024-01-31T17:43:07.953" v="16108" actId="478"/>
          <ac:spMkLst>
            <pc:docMk/>
            <pc:sldMk cId="549485756" sldId="2142532689"/>
            <ac:spMk id="4" creationId="{104D883E-5706-A661-6A9B-A69F29B6C0D3}"/>
          </ac:spMkLst>
        </pc:spChg>
        <pc:spChg chg="add del mod">
          <ac:chgData name="Laurence ANGILBERT" userId="28ea2967-f540-4e7d-a641-d418703ece22" providerId="ADAL" clId="{859296AE-058C-4C65-BA04-6986791C2943}" dt="2024-01-31T03:01:04.243" v="6817" actId="478"/>
          <ac:spMkLst>
            <pc:docMk/>
            <pc:sldMk cId="549485756" sldId="2142532689"/>
            <ac:spMk id="4" creationId="{E235122E-EBB8-3F30-32EF-83980D8885F6}"/>
          </ac:spMkLst>
        </pc:spChg>
        <pc:spChg chg="add del mod">
          <ac:chgData name="Laurence ANGILBERT" userId="28ea2967-f540-4e7d-a641-d418703ece22" providerId="ADAL" clId="{859296AE-058C-4C65-BA04-6986791C2943}" dt="2024-01-31T03:03:32.639" v="6893" actId="478"/>
          <ac:spMkLst>
            <pc:docMk/>
            <pc:sldMk cId="549485756" sldId="2142532689"/>
            <ac:spMk id="10" creationId="{6C80A374-FF64-AA7E-C016-8BB649268A62}"/>
          </ac:spMkLst>
        </pc:spChg>
        <pc:spChg chg="add del mod">
          <ac:chgData name="Laurence ANGILBERT" userId="28ea2967-f540-4e7d-a641-d418703ece22" providerId="ADAL" clId="{859296AE-058C-4C65-BA04-6986791C2943}" dt="2024-01-31T17:46:09.948" v="16299" actId="478"/>
          <ac:spMkLst>
            <pc:docMk/>
            <pc:sldMk cId="549485756" sldId="2142532689"/>
            <ac:spMk id="10" creationId="{FA1F08D9-1617-800E-7D49-C545DF864477}"/>
          </ac:spMkLst>
        </pc:spChg>
        <pc:spChg chg="add del mod">
          <ac:chgData name="Laurence ANGILBERT" userId="28ea2967-f540-4e7d-a641-d418703ece22" providerId="ADAL" clId="{859296AE-058C-4C65-BA04-6986791C2943}" dt="2024-02-01T17:04:10.808" v="23561" actId="478"/>
          <ac:spMkLst>
            <pc:docMk/>
            <pc:sldMk cId="549485756" sldId="2142532689"/>
            <ac:spMk id="14" creationId="{E0ED1909-FDEF-4F9E-8DFC-F953120A05F3}"/>
          </ac:spMkLst>
        </pc:spChg>
        <pc:spChg chg="mod">
          <ac:chgData name="Laurence ANGILBERT" userId="28ea2967-f540-4e7d-a641-d418703ece22" providerId="ADAL" clId="{859296AE-058C-4C65-BA04-6986791C2943}" dt="2024-01-31T17:47:42.815" v="16547" actId="6549"/>
          <ac:spMkLst>
            <pc:docMk/>
            <pc:sldMk cId="549485756" sldId="2142532689"/>
            <ac:spMk id="18" creationId="{C8231268-C2B2-BE48-01AF-35E343770CEF}"/>
          </ac:spMkLst>
        </pc:spChg>
        <pc:spChg chg="add del mod">
          <ac:chgData name="Laurence ANGILBERT" userId="28ea2967-f540-4e7d-a641-d418703ece22" providerId="ADAL" clId="{859296AE-058C-4C65-BA04-6986791C2943}" dt="2024-01-31T19:01:09.564" v="16870" actId="478"/>
          <ac:spMkLst>
            <pc:docMk/>
            <pc:sldMk cId="549485756" sldId="2142532689"/>
            <ac:spMk id="22" creationId="{2FC1AE73-2B1E-574C-36C4-346F70CE69E1}"/>
          </ac:spMkLst>
        </pc:spChg>
        <pc:spChg chg="add del mod">
          <ac:chgData name="Laurence ANGILBERT" userId="28ea2967-f540-4e7d-a641-d418703ece22" providerId="ADAL" clId="{859296AE-058C-4C65-BA04-6986791C2943}" dt="2024-01-31T18:58:38.163" v="16739" actId="478"/>
          <ac:spMkLst>
            <pc:docMk/>
            <pc:sldMk cId="549485756" sldId="2142532689"/>
            <ac:spMk id="23" creationId="{587CCD3F-9759-6928-2939-CC08DFA973D9}"/>
          </ac:spMkLst>
        </pc:spChg>
        <pc:spChg chg="mod">
          <ac:chgData name="Laurence ANGILBERT" userId="28ea2967-f540-4e7d-a641-d418703ece22" providerId="ADAL" clId="{859296AE-058C-4C65-BA04-6986791C2943}" dt="2024-01-31T19:00:34.649" v="16868" actId="20577"/>
          <ac:spMkLst>
            <pc:docMk/>
            <pc:sldMk cId="549485756" sldId="2142532689"/>
            <ac:spMk id="25" creationId="{1515E993-6069-6C0D-1BB2-F62EC1A5417F}"/>
          </ac:spMkLst>
        </pc:spChg>
        <pc:spChg chg="mod">
          <ac:chgData name="Laurence ANGILBERT" userId="28ea2967-f540-4e7d-a641-d418703ece22" providerId="ADAL" clId="{859296AE-058C-4C65-BA04-6986791C2943}" dt="2024-02-02T09:26:18.997" v="25770"/>
          <ac:spMkLst>
            <pc:docMk/>
            <pc:sldMk cId="549485756" sldId="2142532689"/>
            <ac:spMk id="30" creationId="{A8A15718-341E-1618-BBFE-8DE79C4D1726}"/>
          </ac:spMkLst>
        </pc:spChg>
        <pc:spChg chg="mod">
          <ac:chgData name="Laurence ANGILBERT" userId="28ea2967-f540-4e7d-a641-d418703ece22" providerId="ADAL" clId="{859296AE-058C-4C65-BA04-6986791C2943}" dt="2024-01-31T19:00:16.199" v="16852" actId="20577"/>
          <ac:spMkLst>
            <pc:docMk/>
            <pc:sldMk cId="549485756" sldId="2142532689"/>
            <ac:spMk id="32" creationId="{B3495833-9CC2-ED21-6E68-56E657DD98F8}"/>
          </ac:spMkLst>
        </pc:spChg>
        <pc:spChg chg="mod">
          <ac:chgData name="Laurence ANGILBERT" userId="28ea2967-f540-4e7d-a641-d418703ece22" providerId="ADAL" clId="{859296AE-058C-4C65-BA04-6986791C2943}" dt="2024-01-31T08:55:56.427" v="8867" actId="207"/>
          <ac:spMkLst>
            <pc:docMk/>
            <pc:sldMk cId="549485756" sldId="2142532689"/>
            <ac:spMk id="33" creationId="{7A064286-2ACC-8408-C2B8-83BB75643094}"/>
          </ac:spMkLst>
        </pc:spChg>
        <pc:spChg chg="mod">
          <ac:chgData name="Laurence ANGILBERT" userId="28ea2967-f540-4e7d-a641-d418703ece22" providerId="ADAL" clId="{859296AE-058C-4C65-BA04-6986791C2943}" dt="2024-01-31T18:58:35.904" v="16738" actId="108"/>
          <ac:spMkLst>
            <pc:docMk/>
            <pc:sldMk cId="549485756" sldId="2142532689"/>
            <ac:spMk id="34" creationId="{9650F1C7-7C98-3C61-8C3C-2BBA81E3429C}"/>
          </ac:spMkLst>
        </pc:spChg>
        <pc:spChg chg="mod">
          <ac:chgData name="Laurence ANGILBERT" userId="28ea2967-f540-4e7d-a641-d418703ece22" providerId="ADAL" clId="{859296AE-058C-4C65-BA04-6986791C2943}" dt="2024-01-31T08:55:53.766" v="8866" actId="207"/>
          <ac:spMkLst>
            <pc:docMk/>
            <pc:sldMk cId="549485756" sldId="2142532689"/>
            <ac:spMk id="38" creationId="{B39395E4-28F0-BDD2-0069-AD0984A16A96}"/>
          </ac:spMkLst>
        </pc:spChg>
        <pc:grpChg chg="mod">
          <ac:chgData name="Laurence ANGILBERT" userId="28ea2967-f540-4e7d-a641-d418703ece22" providerId="ADAL" clId="{859296AE-058C-4C65-BA04-6986791C2943}" dt="2024-01-31T08:55:53.766" v="8866" actId="207"/>
          <ac:grpSpMkLst>
            <pc:docMk/>
            <pc:sldMk cId="549485756" sldId="2142532689"/>
            <ac:grpSpMk id="12" creationId="{06C65158-0C43-C5A8-1268-AC9F4F66CE23}"/>
          </ac:grpSpMkLst>
        </pc:grpChg>
        <pc:grpChg chg="mod">
          <ac:chgData name="Laurence ANGILBERT" userId="28ea2967-f540-4e7d-a641-d418703ece22" providerId="ADAL" clId="{859296AE-058C-4C65-BA04-6986791C2943}" dt="2024-01-31T08:55:53.766" v="8866" actId="207"/>
          <ac:grpSpMkLst>
            <pc:docMk/>
            <pc:sldMk cId="549485756" sldId="2142532689"/>
            <ac:grpSpMk id="27" creationId="{3323E204-0F0B-F947-C480-611E6BD7732E}"/>
          </ac:grpSpMkLst>
        </pc:grpChg>
        <pc:picChg chg="add mod">
          <ac:chgData name="Laurence ANGILBERT" userId="28ea2967-f540-4e7d-a641-d418703ece22" providerId="ADAL" clId="{859296AE-058C-4C65-BA04-6986791C2943}" dt="2024-01-31T17:43:14.007" v="16109" actId="1076"/>
          <ac:picMkLst>
            <pc:docMk/>
            <pc:sldMk cId="549485756" sldId="2142532689"/>
            <ac:picMk id="21" creationId="{44358618-B080-E9BE-567F-A0675837B809}"/>
          </ac:picMkLst>
        </pc:picChg>
        <pc:picChg chg="mod">
          <ac:chgData name="Laurence ANGILBERT" userId="28ea2967-f540-4e7d-a641-d418703ece22" providerId="ADAL" clId="{859296AE-058C-4C65-BA04-6986791C2943}" dt="2024-01-31T08:55:53.766" v="8866" actId="207"/>
          <ac:picMkLst>
            <pc:docMk/>
            <pc:sldMk cId="549485756" sldId="2142532689"/>
            <ac:picMk id="26" creationId="{D5AD588F-5B77-D8D8-9D30-96C8BB2D1731}"/>
          </ac:picMkLst>
        </pc:picChg>
        <pc:picChg chg="add mod">
          <ac:chgData name="Laurence ANGILBERT" userId="28ea2967-f540-4e7d-a641-d418703ece22" providerId="ADAL" clId="{859296AE-058C-4C65-BA04-6986791C2943}" dt="2024-01-31T17:43:14.007" v="16109" actId="1076"/>
          <ac:picMkLst>
            <pc:docMk/>
            <pc:sldMk cId="549485756" sldId="2142532689"/>
            <ac:picMk id="4098" creationId="{9DBC285E-32BA-C1BE-DD37-803C64AB8407}"/>
          </ac:picMkLst>
        </pc:picChg>
      </pc:sldChg>
      <pc:sldChg chg="addSp modSp add del mod">
        <pc:chgData name="Laurence ANGILBERT" userId="28ea2967-f540-4e7d-a641-d418703ece22" providerId="ADAL" clId="{859296AE-058C-4C65-BA04-6986791C2943}" dt="2024-01-31T09:15:19.563" v="9306" actId="47"/>
        <pc:sldMkLst>
          <pc:docMk/>
          <pc:sldMk cId="1828613495" sldId="2142532960"/>
        </pc:sldMkLst>
        <pc:spChg chg="add mod">
          <ac:chgData name="Laurence ANGILBERT" userId="28ea2967-f540-4e7d-a641-d418703ece22" providerId="ADAL" clId="{859296AE-058C-4C65-BA04-6986791C2943}" dt="2024-01-30T11:47:12.575" v="3236" actId="207"/>
          <ac:spMkLst>
            <pc:docMk/>
            <pc:sldMk cId="1828613495" sldId="2142532960"/>
            <ac:spMk id="2" creationId="{42015892-9451-7B27-A5FA-C16F7A311110}"/>
          </ac:spMkLst>
        </pc:spChg>
      </pc:sldChg>
      <pc:sldChg chg="add del">
        <pc:chgData name="Laurence ANGILBERT" userId="28ea2967-f540-4e7d-a641-d418703ece22" providerId="ADAL" clId="{859296AE-058C-4C65-BA04-6986791C2943}" dt="2024-01-31T15:35:50.672" v="13865" actId="47"/>
        <pc:sldMkLst>
          <pc:docMk/>
          <pc:sldMk cId="2984385470" sldId="2142532964"/>
        </pc:sldMkLst>
      </pc:sldChg>
      <pc:sldChg chg="add del">
        <pc:chgData name="Laurence ANGILBERT" userId="28ea2967-f540-4e7d-a641-d418703ece22" providerId="ADAL" clId="{859296AE-058C-4C65-BA04-6986791C2943}" dt="2024-01-31T16:14:38.473" v="14860" actId="47"/>
        <pc:sldMkLst>
          <pc:docMk/>
          <pc:sldMk cId="293970528" sldId="2142532967"/>
        </pc:sldMkLst>
      </pc:sldChg>
      <pc:sldChg chg="modSp del mod">
        <pc:chgData name="Laurence ANGILBERT" userId="28ea2967-f540-4e7d-a641-d418703ece22" providerId="ADAL" clId="{859296AE-058C-4C65-BA04-6986791C2943}" dt="2024-01-31T03:24:13.670" v="7591" actId="47"/>
        <pc:sldMkLst>
          <pc:docMk/>
          <pc:sldMk cId="3737960785" sldId="2142533067"/>
        </pc:sldMkLst>
        <pc:spChg chg="mod">
          <ac:chgData name="Laurence ANGILBERT" userId="28ea2967-f540-4e7d-a641-d418703ece22" providerId="ADAL" clId="{859296AE-058C-4C65-BA04-6986791C2943}" dt="2024-01-31T03:19:41.896" v="7496" actId="21"/>
          <ac:spMkLst>
            <pc:docMk/>
            <pc:sldMk cId="3737960785" sldId="2142533067"/>
            <ac:spMk id="6" creationId="{5022F38F-36E5-40C5-963E-A28F9C1CE84C}"/>
          </ac:spMkLst>
        </pc:spChg>
        <pc:spChg chg="mod">
          <ac:chgData name="Laurence ANGILBERT" userId="28ea2967-f540-4e7d-a641-d418703ece22" providerId="ADAL" clId="{859296AE-058C-4C65-BA04-6986791C2943}" dt="2024-01-31T03:20:45.972" v="7512" actId="21"/>
          <ac:spMkLst>
            <pc:docMk/>
            <pc:sldMk cId="3737960785" sldId="2142533067"/>
            <ac:spMk id="11" creationId="{3FD15B80-7FF0-49C6-AC20-75F104E61B24}"/>
          </ac:spMkLst>
        </pc:spChg>
        <pc:spChg chg="mod">
          <ac:chgData name="Laurence ANGILBERT" userId="28ea2967-f540-4e7d-a641-d418703ece22" providerId="ADAL" clId="{859296AE-058C-4C65-BA04-6986791C2943}" dt="2024-01-31T03:22:53.155" v="7545" actId="6549"/>
          <ac:spMkLst>
            <pc:docMk/>
            <pc:sldMk cId="3737960785" sldId="2142533067"/>
            <ac:spMk id="13" creationId="{E0D93E0E-79AF-4BD3-B29A-0296ACCF9C47}"/>
          </ac:spMkLst>
        </pc:spChg>
        <pc:spChg chg="mod">
          <ac:chgData name="Laurence ANGILBERT" userId="28ea2967-f540-4e7d-a641-d418703ece22" providerId="ADAL" clId="{859296AE-058C-4C65-BA04-6986791C2943}" dt="2024-01-31T03:23:03.695" v="7546" actId="21"/>
          <ac:spMkLst>
            <pc:docMk/>
            <pc:sldMk cId="3737960785" sldId="2142533067"/>
            <ac:spMk id="15" creationId="{746C1E2C-1900-45CD-AE7E-B07DBA222000}"/>
          </ac:spMkLst>
        </pc:spChg>
      </pc:sldChg>
      <pc:sldChg chg="del">
        <pc:chgData name="Laurence ANGILBERT" userId="28ea2967-f540-4e7d-a641-d418703ece22" providerId="ADAL" clId="{859296AE-058C-4C65-BA04-6986791C2943}" dt="2024-01-29T23:34:43.904" v="3044" actId="47"/>
        <pc:sldMkLst>
          <pc:docMk/>
          <pc:sldMk cId="3957856886" sldId="2142533069"/>
        </pc:sldMkLst>
      </pc:sldChg>
      <pc:sldChg chg="modSp mod ord">
        <pc:chgData name="Laurence ANGILBERT" userId="28ea2967-f540-4e7d-a641-d418703ece22" providerId="ADAL" clId="{859296AE-058C-4C65-BA04-6986791C2943}" dt="2024-02-02T18:26:09.364" v="30543" actId="20577"/>
        <pc:sldMkLst>
          <pc:docMk/>
          <pc:sldMk cId="1887839909" sldId="2147376928"/>
        </pc:sldMkLst>
        <pc:spChg chg="mod">
          <ac:chgData name="Laurence ANGILBERT" userId="28ea2967-f540-4e7d-a641-d418703ece22" providerId="ADAL" clId="{859296AE-058C-4C65-BA04-6986791C2943}" dt="2024-02-02T18:26:09.364" v="30543" actId="20577"/>
          <ac:spMkLst>
            <pc:docMk/>
            <pc:sldMk cId="1887839909" sldId="2147376928"/>
            <ac:spMk id="44" creationId="{A701F5D0-898E-4B8E-96FA-99DF84B7AC97}"/>
          </ac:spMkLst>
        </pc:spChg>
        <pc:spChg chg="mod">
          <ac:chgData name="Laurence ANGILBERT" userId="28ea2967-f540-4e7d-a641-d418703ece22" providerId="ADAL" clId="{859296AE-058C-4C65-BA04-6986791C2943}" dt="2024-02-02T17:12:42.613" v="30097" actId="20577"/>
          <ac:spMkLst>
            <pc:docMk/>
            <pc:sldMk cId="1887839909" sldId="2147376928"/>
            <ac:spMk id="65" creationId="{2B91D39A-3E18-4164-B79E-1ECE1E6510B2}"/>
          </ac:spMkLst>
        </pc:spChg>
      </pc:sldChg>
      <pc:sldChg chg="modSp mod">
        <pc:chgData name="Laurence ANGILBERT" userId="28ea2967-f540-4e7d-a641-d418703ece22" providerId="ADAL" clId="{859296AE-058C-4C65-BA04-6986791C2943}" dt="2024-02-02T18:26:17.590" v="30552" actId="20577"/>
        <pc:sldMkLst>
          <pc:docMk/>
          <pc:sldMk cId="1636239246" sldId="2147376929"/>
        </pc:sldMkLst>
        <pc:spChg chg="mod">
          <ac:chgData name="Laurence ANGILBERT" userId="28ea2967-f540-4e7d-a641-d418703ece22" providerId="ADAL" clId="{859296AE-058C-4C65-BA04-6986791C2943}" dt="2024-02-02T18:26:17.590" v="30552" actId="20577"/>
          <ac:spMkLst>
            <pc:docMk/>
            <pc:sldMk cId="1636239246" sldId="2147376929"/>
            <ac:spMk id="13" creationId="{C7B5FEAC-D508-22E1-9F67-72C1ED0CC901}"/>
          </ac:spMkLst>
        </pc:spChg>
      </pc:sldChg>
      <pc:sldChg chg="addSp modSp del mod">
        <pc:chgData name="Laurence ANGILBERT" userId="28ea2967-f540-4e7d-a641-d418703ece22" providerId="ADAL" clId="{859296AE-058C-4C65-BA04-6986791C2943}" dt="2024-01-31T15:46:38.376" v="13996" actId="2696"/>
        <pc:sldMkLst>
          <pc:docMk/>
          <pc:sldMk cId="212100458" sldId="2147376937"/>
        </pc:sldMkLst>
        <pc:spChg chg="mod">
          <ac:chgData name="Laurence ANGILBERT" userId="28ea2967-f540-4e7d-a641-d418703ece22" providerId="ADAL" clId="{859296AE-058C-4C65-BA04-6986791C2943}" dt="2024-01-31T14:28:28.523" v="13374" actId="108"/>
          <ac:spMkLst>
            <pc:docMk/>
            <pc:sldMk cId="212100458" sldId="2147376937"/>
            <ac:spMk id="3" creationId="{42DA54D8-BD8E-C42B-629D-8F6685218EA8}"/>
          </ac:spMkLst>
        </pc:spChg>
        <pc:spChg chg="add mod">
          <ac:chgData name="Laurence ANGILBERT" userId="28ea2967-f540-4e7d-a641-d418703ece22" providerId="ADAL" clId="{859296AE-058C-4C65-BA04-6986791C2943}" dt="2024-01-31T10:10:43.636" v="10605" actId="404"/>
          <ac:spMkLst>
            <pc:docMk/>
            <pc:sldMk cId="212100458" sldId="2147376937"/>
            <ac:spMk id="4" creationId="{89032E68-CC78-9D7D-69C4-0456D272FEF2}"/>
          </ac:spMkLst>
        </pc:spChg>
      </pc:sldChg>
      <pc:sldChg chg="add">
        <pc:chgData name="Laurence ANGILBERT" userId="28ea2967-f540-4e7d-a641-d418703ece22" providerId="ADAL" clId="{859296AE-058C-4C65-BA04-6986791C2943}" dt="2024-01-31T15:46:48.789" v="13997"/>
        <pc:sldMkLst>
          <pc:docMk/>
          <pc:sldMk cId="3713294166" sldId="2147376937"/>
        </pc:sldMkLst>
      </pc:sldChg>
      <pc:sldChg chg="del">
        <pc:chgData name="Laurence ANGILBERT" userId="28ea2967-f540-4e7d-a641-d418703ece22" providerId="ADAL" clId="{859296AE-058C-4C65-BA04-6986791C2943}" dt="2024-01-31T11:29:55.323" v="11502" actId="47"/>
        <pc:sldMkLst>
          <pc:docMk/>
          <pc:sldMk cId="1828859758" sldId="2147470009"/>
        </pc:sldMkLst>
      </pc:sldChg>
      <pc:sldChg chg="addSp modSp mod">
        <pc:chgData name="Laurence ANGILBERT" userId="28ea2967-f540-4e7d-a641-d418703ece22" providerId="ADAL" clId="{859296AE-058C-4C65-BA04-6986791C2943}" dt="2024-02-02T09:09:08.774" v="25624" actId="1076"/>
        <pc:sldMkLst>
          <pc:docMk/>
          <pc:sldMk cId="4212703342" sldId="2147470798"/>
        </pc:sldMkLst>
        <pc:spChg chg="add mod">
          <ac:chgData name="Laurence ANGILBERT" userId="28ea2967-f540-4e7d-a641-d418703ece22" providerId="ADAL" clId="{859296AE-058C-4C65-BA04-6986791C2943}" dt="2024-01-30T17:26:47.576" v="5368" actId="207"/>
          <ac:spMkLst>
            <pc:docMk/>
            <pc:sldMk cId="4212703342" sldId="2147470798"/>
            <ac:spMk id="2" creationId="{8063F442-F7C0-EE54-6993-3DE537BEFC4A}"/>
          </ac:spMkLst>
        </pc:spChg>
        <pc:spChg chg="mod">
          <ac:chgData name="Laurence ANGILBERT" userId="28ea2967-f540-4e7d-a641-d418703ece22" providerId="ADAL" clId="{859296AE-058C-4C65-BA04-6986791C2943}" dt="2024-02-02T09:09:08.774" v="25624" actId="1076"/>
          <ac:spMkLst>
            <pc:docMk/>
            <pc:sldMk cId="4212703342" sldId="2147470798"/>
            <ac:spMk id="42" creationId="{2E761A34-DCE4-4809-8CE6-42F91F503F4E}"/>
          </ac:spMkLst>
        </pc:spChg>
      </pc:sldChg>
      <pc:sldChg chg="addSp modSp mod">
        <pc:chgData name="Laurence ANGILBERT" userId="28ea2967-f540-4e7d-a641-d418703ece22" providerId="ADAL" clId="{859296AE-058C-4C65-BA04-6986791C2943}" dt="2024-02-02T18:01:15.398" v="30131" actId="20577"/>
        <pc:sldMkLst>
          <pc:docMk/>
          <pc:sldMk cId="29736360" sldId="2147470826"/>
        </pc:sldMkLst>
        <pc:spChg chg="add mod">
          <ac:chgData name="Laurence ANGILBERT" userId="28ea2967-f540-4e7d-a641-d418703ece22" providerId="ADAL" clId="{859296AE-058C-4C65-BA04-6986791C2943}" dt="2024-02-01T08:08:37.271" v="18163" actId="207"/>
          <ac:spMkLst>
            <pc:docMk/>
            <pc:sldMk cId="29736360" sldId="2147470826"/>
            <ac:spMk id="2" creationId="{E6CBF271-D666-FD32-3D88-DDA8D911C9AC}"/>
          </ac:spMkLst>
        </pc:spChg>
        <pc:spChg chg="mod">
          <ac:chgData name="Laurence ANGILBERT" userId="28ea2967-f540-4e7d-a641-d418703ece22" providerId="ADAL" clId="{859296AE-058C-4C65-BA04-6986791C2943}" dt="2024-02-02T09:15:25.053" v="25677"/>
          <ac:spMkLst>
            <pc:docMk/>
            <pc:sldMk cId="29736360" sldId="2147470826"/>
            <ac:spMk id="3" creationId="{4F9FAFBE-2745-27BC-11D2-FDC606CA489F}"/>
          </ac:spMkLst>
        </pc:spChg>
        <pc:spChg chg="add mod">
          <ac:chgData name="Laurence ANGILBERT" userId="28ea2967-f540-4e7d-a641-d418703ece22" providerId="ADAL" clId="{859296AE-058C-4C65-BA04-6986791C2943}" dt="2024-02-01T09:05:01.445" v="19806" actId="207"/>
          <ac:spMkLst>
            <pc:docMk/>
            <pc:sldMk cId="29736360" sldId="2147470826"/>
            <ac:spMk id="4" creationId="{418162C0-DF64-D5D5-8BE2-68E3A7CC3194}"/>
          </ac:spMkLst>
        </pc:spChg>
        <pc:spChg chg="mod">
          <ac:chgData name="Laurence ANGILBERT" userId="28ea2967-f540-4e7d-a641-d418703ece22" providerId="ADAL" clId="{859296AE-058C-4C65-BA04-6986791C2943}" dt="2024-02-01T07:33:52.271" v="17968" actId="14100"/>
          <ac:spMkLst>
            <pc:docMk/>
            <pc:sldMk cId="29736360" sldId="2147470826"/>
            <ac:spMk id="7" creationId="{1A622C9F-E03D-8C40-9F3E-4A2864F4B901}"/>
          </ac:spMkLst>
        </pc:spChg>
        <pc:spChg chg="mod">
          <ac:chgData name="Laurence ANGILBERT" userId="28ea2967-f540-4e7d-a641-d418703ece22" providerId="ADAL" clId="{859296AE-058C-4C65-BA04-6986791C2943}" dt="2024-02-02T17:58:41.820" v="30123" actId="20577"/>
          <ac:spMkLst>
            <pc:docMk/>
            <pc:sldMk cId="29736360" sldId="2147470826"/>
            <ac:spMk id="39" creationId="{19C52868-39BB-3B67-DBA0-621AA8399B3D}"/>
          </ac:spMkLst>
        </pc:spChg>
        <pc:spChg chg="mod">
          <ac:chgData name="Laurence ANGILBERT" userId="28ea2967-f540-4e7d-a641-d418703ece22" providerId="ADAL" clId="{859296AE-058C-4C65-BA04-6986791C2943}" dt="2024-02-01T07:34:52.337" v="17994" actId="20577"/>
          <ac:spMkLst>
            <pc:docMk/>
            <pc:sldMk cId="29736360" sldId="2147470826"/>
            <ac:spMk id="47" creationId="{5ACE338F-AA70-8C28-393B-1687C80E4BA8}"/>
          </ac:spMkLst>
        </pc:spChg>
        <pc:spChg chg="mod">
          <ac:chgData name="Laurence ANGILBERT" userId="28ea2967-f540-4e7d-a641-d418703ece22" providerId="ADAL" clId="{859296AE-058C-4C65-BA04-6986791C2943}" dt="2024-02-02T18:01:15.398" v="30131" actId="20577"/>
          <ac:spMkLst>
            <pc:docMk/>
            <pc:sldMk cId="29736360" sldId="2147470826"/>
            <ac:spMk id="59" creationId="{B494BF08-A54A-46AE-87BB-EC92C73635A4}"/>
          </ac:spMkLst>
        </pc:spChg>
        <pc:spChg chg="mod">
          <ac:chgData name="Laurence ANGILBERT" userId="28ea2967-f540-4e7d-a641-d418703ece22" providerId="ADAL" clId="{859296AE-058C-4C65-BA04-6986791C2943}" dt="2024-02-01T07:36:20.254" v="18013" actId="108"/>
          <ac:spMkLst>
            <pc:docMk/>
            <pc:sldMk cId="29736360" sldId="2147470826"/>
            <ac:spMk id="62" creationId="{30C1B9DA-212A-ED9C-BA6A-7AB9B1421B65}"/>
          </ac:spMkLst>
        </pc:spChg>
      </pc:sldChg>
      <pc:sldChg chg="del">
        <pc:chgData name="Laurence ANGILBERT" userId="28ea2967-f540-4e7d-a641-d418703ece22" providerId="ADAL" clId="{859296AE-058C-4C65-BA04-6986791C2943}" dt="2024-01-30T17:05:26.115" v="4461" actId="47"/>
        <pc:sldMkLst>
          <pc:docMk/>
          <pc:sldMk cId="1139860624" sldId="2147470883"/>
        </pc:sldMkLst>
      </pc:sldChg>
      <pc:sldChg chg="add">
        <pc:chgData name="Laurence ANGILBERT" userId="28ea2967-f540-4e7d-a641-d418703ece22" providerId="ADAL" clId="{859296AE-058C-4C65-BA04-6986791C2943}" dt="2024-01-31T14:14:57.544" v="13201"/>
        <pc:sldMkLst>
          <pc:docMk/>
          <pc:sldMk cId="1710549885" sldId="2147470885"/>
        </pc:sldMkLst>
      </pc:sldChg>
      <pc:sldChg chg="del">
        <pc:chgData name="Laurence ANGILBERT" userId="28ea2967-f540-4e7d-a641-d418703ece22" providerId="ADAL" clId="{859296AE-058C-4C65-BA04-6986791C2943}" dt="2024-01-31T14:14:53.171" v="13200" actId="2696"/>
        <pc:sldMkLst>
          <pc:docMk/>
          <pc:sldMk cId="1787236388" sldId="2147470885"/>
        </pc:sldMkLst>
      </pc:sldChg>
      <pc:sldChg chg="addSp modSp mod">
        <pc:chgData name="Laurence ANGILBERT" userId="28ea2967-f540-4e7d-a641-d418703ece22" providerId="ADAL" clId="{859296AE-058C-4C65-BA04-6986791C2943}" dt="2024-02-02T18:02:33.092" v="30132" actId="20577"/>
        <pc:sldMkLst>
          <pc:docMk/>
          <pc:sldMk cId="2137399364" sldId="2147470896"/>
        </pc:sldMkLst>
        <pc:spChg chg="mod">
          <ac:chgData name="Laurence ANGILBERT" userId="28ea2967-f540-4e7d-a641-d418703ece22" providerId="ADAL" clId="{859296AE-058C-4C65-BA04-6986791C2943}" dt="2024-02-02T09:18:29.459" v="25679"/>
          <ac:spMkLst>
            <pc:docMk/>
            <pc:sldMk cId="2137399364" sldId="2147470896"/>
            <ac:spMk id="2" creationId="{92B3BA93-CDF9-BDD9-B6F3-9F45915F3D59}"/>
          </ac:spMkLst>
        </pc:spChg>
        <pc:spChg chg="add mod">
          <ac:chgData name="Laurence ANGILBERT" userId="28ea2967-f540-4e7d-a641-d418703ece22" providerId="ADAL" clId="{859296AE-058C-4C65-BA04-6986791C2943}" dt="2024-02-01T17:21:25" v="23656" actId="20577"/>
          <ac:spMkLst>
            <pc:docMk/>
            <pc:sldMk cId="2137399364" sldId="2147470896"/>
            <ac:spMk id="5" creationId="{CECD6723-B0A5-BC71-1DF1-3FF974F643B7}"/>
          </ac:spMkLst>
        </pc:spChg>
        <pc:spChg chg="mod">
          <ac:chgData name="Laurence ANGILBERT" userId="28ea2967-f540-4e7d-a641-d418703ece22" providerId="ADAL" clId="{859296AE-058C-4C65-BA04-6986791C2943}" dt="2024-02-02T18:02:33.092" v="30132" actId="20577"/>
          <ac:spMkLst>
            <pc:docMk/>
            <pc:sldMk cId="2137399364" sldId="2147470896"/>
            <ac:spMk id="24" creationId="{32BAD4BE-EE46-5AD8-CFD3-1F27099F1049}"/>
          </ac:spMkLst>
        </pc:spChg>
        <pc:spChg chg="mod">
          <ac:chgData name="Laurence ANGILBERT" userId="28ea2967-f540-4e7d-a641-d418703ece22" providerId="ADAL" clId="{859296AE-058C-4C65-BA04-6986791C2943}" dt="2024-01-31T14:14:28.969" v="13199" actId="20577"/>
          <ac:spMkLst>
            <pc:docMk/>
            <pc:sldMk cId="2137399364" sldId="2147470896"/>
            <ac:spMk id="25" creationId="{B42F8D2A-9953-03C8-1E18-7D8DA53CCE45}"/>
          </ac:spMkLst>
        </pc:spChg>
        <pc:spChg chg="mod">
          <ac:chgData name="Laurence ANGILBERT" userId="28ea2967-f540-4e7d-a641-d418703ece22" providerId="ADAL" clId="{859296AE-058C-4C65-BA04-6986791C2943}" dt="2024-01-31T14:12:56.658" v="13179" actId="20577"/>
          <ac:spMkLst>
            <pc:docMk/>
            <pc:sldMk cId="2137399364" sldId="2147470896"/>
            <ac:spMk id="39" creationId="{03FE1E16-D62B-422F-E590-61004572A4A7}"/>
          </ac:spMkLst>
        </pc:spChg>
      </pc:sldChg>
      <pc:sldChg chg="addSp delSp modSp del mod ord">
        <pc:chgData name="Laurence ANGILBERT" userId="28ea2967-f540-4e7d-a641-d418703ece22" providerId="ADAL" clId="{859296AE-058C-4C65-BA04-6986791C2943}" dt="2024-01-31T13:57:01.518" v="13076" actId="47"/>
        <pc:sldMkLst>
          <pc:docMk/>
          <pc:sldMk cId="2123927659" sldId="2147471160"/>
        </pc:sldMkLst>
        <pc:spChg chg="del">
          <ac:chgData name="Laurence ANGILBERT" userId="28ea2967-f540-4e7d-a641-d418703ece22" providerId="ADAL" clId="{859296AE-058C-4C65-BA04-6986791C2943}" dt="2024-01-29T23:39:48.945" v="3045" actId="478"/>
          <ac:spMkLst>
            <pc:docMk/>
            <pc:sldMk cId="2123927659" sldId="2147471160"/>
            <ac:spMk id="3" creationId="{7EAC9E36-ACB4-E70D-0E1D-D76F38C222E5}"/>
          </ac:spMkLst>
        </pc:spChg>
        <pc:spChg chg="del">
          <ac:chgData name="Laurence ANGILBERT" userId="28ea2967-f540-4e7d-a641-d418703ece22" providerId="ADAL" clId="{859296AE-058C-4C65-BA04-6986791C2943}" dt="2024-01-31T13:42:39.467" v="12618" actId="478"/>
          <ac:spMkLst>
            <pc:docMk/>
            <pc:sldMk cId="2123927659" sldId="2147471160"/>
            <ac:spMk id="5" creationId="{30C230A0-7038-131F-BBFA-0F42F4409955}"/>
          </ac:spMkLst>
        </pc:spChg>
        <pc:spChg chg="del">
          <ac:chgData name="Laurence ANGILBERT" userId="28ea2967-f540-4e7d-a641-d418703ece22" providerId="ADAL" clId="{859296AE-058C-4C65-BA04-6986791C2943}" dt="2024-01-31T13:42:39.467" v="12618" actId="478"/>
          <ac:spMkLst>
            <pc:docMk/>
            <pc:sldMk cId="2123927659" sldId="2147471160"/>
            <ac:spMk id="6" creationId="{F40043AA-6B96-932E-0898-4C8E614540B3}"/>
          </ac:spMkLst>
        </pc:spChg>
        <pc:spChg chg="del">
          <ac:chgData name="Laurence ANGILBERT" userId="28ea2967-f540-4e7d-a641-d418703ece22" providerId="ADAL" clId="{859296AE-058C-4C65-BA04-6986791C2943}" dt="2024-01-31T13:44:28.694" v="12781" actId="478"/>
          <ac:spMkLst>
            <pc:docMk/>
            <pc:sldMk cId="2123927659" sldId="2147471160"/>
            <ac:spMk id="7" creationId="{F34D6245-16D4-6825-8A39-935753D3F85A}"/>
          </ac:spMkLst>
        </pc:spChg>
        <pc:spChg chg="del">
          <ac:chgData name="Laurence ANGILBERT" userId="28ea2967-f540-4e7d-a641-d418703ece22" providerId="ADAL" clId="{859296AE-058C-4C65-BA04-6986791C2943}" dt="2024-01-31T13:44:28.694" v="12781" actId="478"/>
          <ac:spMkLst>
            <pc:docMk/>
            <pc:sldMk cId="2123927659" sldId="2147471160"/>
            <ac:spMk id="8" creationId="{518FC5D2-C269-214D-7DB3-61BBF8695695}"/>
          </ac:spMkLst>
        </pc:spChg>
        <pc:spChg chg="add del mod">
          <ac:chgData name="Laurence ANGILBERT" userId="28ea2967-f540-4e7d-a641-d418703ece22" providerId="ADAL" clId="{859296AE-058C-4C65-BA04-6986791C2943}" dt="2024-01-31T03:44:06.714" v="8117" actId="478"/>
          <ac:spMkLst>
            <pc:docMk/>
            <pc:sldMk cId="2123927659" sldId="2147471160"/>
            <ac:spMk id="9" creationId="{DBDD9160-BB75-ACC7-32CD-0B44D34ACECE}"/>
          </ac:spMkLst>
        </pc:spChg>
        <pc:spChg chg="del">
          <ac:chgData name="Laurence ANGILBERT" userId="28ea2967-f540-4e7d-a641-d418703ece22" providerId="ADAL" clId="{859296AE-058C-4C65-BA04-6986791C2943}" dt="2024-01-31T13:43:25.224" v="12663" actId="478"/>
          <ac:spMkLst>
            <pc:docMk/>
            <pc:sldMk cId="2123927659" sldId="2147471160"/>
            <ac:spMk id="10" creationId="{B7EE8C54-A846-2360-62E9-34975FF92CC1}"/>
          </ac:spMkLst>
        </pc:spChg>
        <pc:spChg chg="del mod">
          <ac:chgData name="Laurence ANGILBERT" userId="28ea2967-f540-4e7d-a641-d418703ece22" providerId="ADAL" clId="{859296AE-058C-4C65-BA04-6986791C2943}" dt="2024-01-31T13:43:25.224" v="12663" actId="478"/>
          <ac:spMkLst>
            <pc:docMk/>
            <pc:sldMk cId="2123927659" sldId="2147471160"/>
            <ac:spMk id="11" creationId="{3F95D6B3-2A8D-2EA5-C36A-3D6C44813AD6}"/>
          </ac:spMkLst>
        </pc:spChg>
        <pc:spChg chg="del">
          <ac:chgData name="Laurence ANGILBERT" userId="28ea2967-f540-4e7d-a641-d418703ece22" providerId="ADAL" clId="{859296AE-058C-4C65-BA04-6986791C2943}" dt="2024-01-31T13:56:40.850" v="13075" actId="478"/>
          <ac:spMkLst>
            <pc:docMk/>
            <pc:sldMk cId="2123927659" sldId="2147471160"/>
            <ac:spMk id="12" creationId="{D6D80438-B441-151D-D07F-E4EF1EF00F62}"/>
          </ac:spMkLst>
        </pc:spChg>
        <pc:spChg chg="del">
          <ac:chgData name="Laurence ANGILBERT" userId="28ea2967-f540-4e7d-a641-d418703ece22" providerId="ADAL" clId="{859296AE-058C-4C65-BA04-6986791C2943}" dt="2024-01-31T13:56:40.850" v="13075" actId="478"/>
          <ac:spMkLst>
            <pc:docMk/>
            <pc:sldMk cId="2123927659" sldId="2147471160"/>
            <ac:spMk id="13" creationId="{765EDF64-8BF6-260F-6EFE-5B9E3A181328}"/>
          </ac:spMkLst>
        </pc:spChg>
        <pc:spChg chg="del">
          <ac:chgData name="Laurence ANGILBERT" userId="28ea2967-f540-4e7d-a641-d418703ece22" providerId="ADAL" clId="{859296AE-058C-4C65-BA04-6986791C2943}" dt="2024-01-31T13:56:40.850" v="13075" actId="478"/>
          <ac:spMkLst>
            <pc:docMk/>
            <pc:sldMk cId="2123927659" sldId="2147471160"/>
            <ac:spMk id="14" creationId="{C18FF7CA-4361-7296-8A16-040A0C10A670}"/>
          </ac:spMkLst>
        </pc:spChg>
        <pc:spChg chg="del">
          <ac:chgData name="Laurence ANGILBERT" userId="28ea2967-f540-4e7d-a641-d418703ece22" providerId="ADAL" clId="{859296AE-058C-4C65-BA04-6986791C2943}" dt="2024-01-31T13:56:40.850" v="13075" actId="478"/>
          <ac:spMkLst>
            <pc:docMk/>
            <pc:sldMk cId="2123927659" sldId="2147471160"/>
            <ac:spMk id="15" creationId="{C121DF4A-3538-8E30-0484-79CA74AF1D8A}"/>
          </ac:spMkLst>
        </pc:spChg>
        <pc:spChg chg="mod">
          <ac:chgData name="Laurence ANGILBERT" userId="28ea2967-f540-4e7d-a641-d418703ece22" providerId="ADAL" clId="{859296AE-058C-4C65-BA04-6986791C2943}" dt="2024-01-31T03:44:18.498" v="8137" actId="207"/>
          <ac:spMkLst>
            <pc:docMk/>
            <pc:sldMk cId="2123927659" sldId="2147471160"/>
            <ac:spMk id="35" creationId="{D8A29304-0E1C-53C5-79B8-9BE6E87FDB28}"/>
          </ac:spMkLst>
        </pc:spChg>
        <pc:grpChg chg="del">
          <ac:chgData name="Laurence ANGILBERT" userId="28ea2967-f540-4e7d-a641-d418703ece22" providerId="ADAL" clId="{859296AE-058C-4C65-BA04-6986791C2943}" dt="2024-01-31T13:42:39.467" v="12618" actId="478"/>
          <ac:grpSpMkLst>
            <pc:docMk/>
            <pc:sldMk cId="2123927659" sldId="2147471160"/>
            <ac:grpSpMk id="16" creationId="{CF8E205B-5813-4F11-5058-C708047510B1}"/>
          </ac:grpSpMkLst>
        </pc:grpChg>
        <pc:grpChg chg="del">
          <ac:chgData name="Laurence ANGILBERT" userId="28ea2967-f540-4e7d-a641-d418703ece22" providerId="ADAL" clId="{859296AE-058C-4C65-BA04-6986791C2943}" dt="2024-01-31T13:44:28.694" v="12781" actId="478"/>
          <ac:grpSpMkLst>
            <pc:docMk/>
            <pc:sldMk cId="2123927659" sldId="2147471160"/>
            <ac:grpSpMk id="19" creationId="{72E00B86-7574-1818-1BA9-C260CDEE23DA}"/>
          </ac:grpSpMkLst>
        </pc:grpChg>
        <pc:grpChg chg="del">
          <ac:chgData name="Laurence ANGILBERT" userId="28ea2967-f540-4e7d-a641-d418703ece22" providerId="ADAL" clId="{859296AE-058C-4C65-BA04-6986791C2943}" dt="2024-01-31T13:43:25.224" v="12663" actId="478"/>
          <ac:grpSpMkLst>
            <pc:docMk/>
            <pc:sldMk cId="2123927659" sldId="2147471160"/>
            <ac:grpSpMk id="22" creationId="{C985FD79-7F7D-5A70-324B-63C77855C3EB}"/>
          </ac:grpSpMkLst>
        </pc:grpChg>
        <pc:grpChg chg="del">
          <ac:chgData name="Laurence ANGILBERT" userId="28ea2967-f540-4e7d-a641-d418703ece22" providerId="ADAL" clId="{859296AE-058C-4C65-BA04-6986791C2943}" dt="2024-01-31T13:56:40.850" v="13075" actId="478"/>
          <ac:grpSpMkLst>
            <pc:docMk/>
            <pc:sldMk cId="2123927659" sldId="2147471160"/>
            <ac:grpSpMk id="28" creationId="{17E257BF-C227-D1B8-F35E-24D043580F05}"/>
          </ac:grpSpMkLst>
        </pc:grpChg>
        <pc:grpChg chg="del">
          <ac:chgData name="Laurence ANGILBERT" userId="28ea2967-f540-4e7d-a641-d418703ece22" providerId="ADAL" clId="{859296AE-058C-4C65-BA04-6986791C2943}" dt="2024-01-31T13:56:40.850" v="13075" actId="478"/>
          <ac:grpSpMkLst>
            <pc:docMk/>
            <pc:sldMk cId="2123927659" sldId="2147471160"/>
            <ac:grpSpMk id="31" creationId="{9BD7CAB3-2911-E3D7-9787-B853BB4AC698}"/>
          </ac:grpSpMkLst>
        </pc:grpChg>
      </pc:sldChg>
      <pc:sldChg chg="addSp delSp modSp add del mod">
        <pc:chgData name="Laurence ANGILBERT" userId="28ea2967-f540-4e7d-a641-d418703ece22" providerId="ADAL" clId="{859296AE-058C-4C65-BA04-6986791C2943}" dt="2024-01-31T03:28:46.388" v="7704" actId="47"/>
        <pc:sldMkLst>
          <pc:docMk/>
          <pc:sldMk cId="1948237764" sldId="2147471161"/>
        </pc:sldMkLst>
        <pc:spChg chg="add del mod">
          <ac:chgData name="Laurence ANGILBERT" userId="28ea2967-f540-4e7d-a641-d418703ece22" providerId="ADAL" clId="{859296AE-058C-4C65-BA04-6986791C2943}" dt="2024-01-29T22:08:40.789" v="2462" actId="478"/>
          <ac:spMkLst>
            <pc:docMk/>
            <pc:sldMk cId="1948237764" sldId="2147471161"/>
            <ac:spMk id="2" creationId="{1E6D31C9-73DA-18CB-C3ED-DFCCF4878DA6}"/>
          </ac:spMkLst>
        </pc:spChg>
        <pc:spChg chg="del">
          <ac:chgData name="Laurence ANGILBERT" userId="28ea2967-f540-4e7d-a641-d418703ece22" providerId="ADAL" clId="{859296AE-058C-4C65-BA04-6986791C2943}" dt="2024-01-30T21:08:49.906" v="5760" actId="478"/>
          <ac:spMkLst>
            <pc:docMk/>
            <pc:sldMk cId="1948237764" sldId="2147471161"/>
            <ac:spMk id="2" creationId="{CCD94FC5-18A4-EF42-7CA1-9F5B71F7B78A}"/>
          </ac:spMkLst>
        </pc:spChg>
        <pc:spChg chg="del mod">
          <ac:chgData name="Laurence ANGILBERT" userId="28ea2967-f540-4e7d-a641-d418703ece22" providerId="ADAL" clId="{859296AE-058C-4C65-BA04-6986791C2943}" dt="2024-01-31T03:28:20.066" v="7682" actId="21"/>
          <ac:spMkLst>
            <pc:docMk/>
            <pc:sldMk cId="1948237764" sldId="2147471161"/>
            <ac:spMk id="3" creationId="{C4637428-3174-4A3E-7BD6-E1E52594472E}"/>
          </ac:spMkLst>
        </pc:spChg>
        <pc:spChg chg="del">
          <ac:chgData name="Laurence ANGILBERT" userId="28ea2967-f540-4e7d-a641-d418703ece22" providerId="ADAL" clId="{859296AE-058C-4C65-BA04-6986791C2943}" dt="2024-01-30T21:08:52.847" v="5761" actId="478"/>
          <ac:spMkLst>
            <pc:docMk/>
            <pc:sldMk cId="1948237764" sldId="2147471161"/>
            <ac:spMk id="4" creationId="{04941EF6-F5F3-90F7-3C50-2E3B80E2914D}"/>
          </ac:spMkLst>
        </pc:spChg>
        <pc:spChg chg="add mod">
          <ac:chgData name="Laurence ANGILBERT" userId="28ea2967-f540-4e7d-a641-d418703ece22" providerId="ADAL" clId="{859296AE-058C-4C65-BA04-6986791C2943}" dt="2024-01-29T22:08:41.373" v="2463"/>
          <ac:spMkLst>
            <pc:docMk/>
            <pc:sldMk cId="1948237764" sldId="2147471161"/>
            <ac:spMk id="4" creationId="{6DB5D6A5-12A8-3B6C-7479-C9BA9BDF278F}"/>
          </ac:spMkLst>
        </pc:spChg>
        <pc:spChg chg="del mod">
          <ac:chgData name="Laurence ANGILBERT" userId="28ea2967-f540-4e7d-a641-d418703ece22" providerId="ADAL" clId="{859296AE-058C-4C65-BA04-6986791C2943}" dt="2024-01-31T03:28:20.066" v="7682" actId="21"/>
          <ac:spMkLst>
            <pc:docMk/>
            <pc:sldMk cId="1948237764" sldId="2147471161"/>
            <ac:spMk id="5" creationId="{FCFA250D-5B65-A1C5-69BD-58C9062DEDF6}"/>
          </ac:spMkLst>
        </pc:spChg>
        <pc:spChg chg="del mod">
          <ac:chgData name="Laurence ANGILBERT" userId="28ea2967-f540-4e7d-a641-d418703ece22" providerId="ADAL" clId="{859296AE-058C-4C65-BA04-6986791C2943}" dt="2024-01-31T03:28:20.066" v="7682" actId="21"/>
          <ac:spMkLst>
            <pc:docMk/>
            <pc:sldMk cId="1948237764" sldId="2147471161"/>
            <ac:spMk id="6" creationId="{6414D3B7-D2DD-BDC7-A8B5-142AB4528379}"/>
          </ac:spMkLst>
        </pc:spChg>
        <pc:spChg chg="del mod">
          <ac:chgData name="Laurence ANGILBERT" userId="28ea2967-f540-4e7d-a641-d418703ece22" providerId="ADAL" clId="{859296AE-058C-4C65-BA04-6986791C2943}" dt="2024-01-31T03:28:20.066" v="7682" actId="21"/>
          <ac:spMkLst>
            <pc:docMk/>
            <pc:sldMk cId="1948237764" sldId="2147471161"/>
            <ac:spMk id="7" creationId="{79DEBB1C-A2D5-25C2-B1FB-740A1A2E6F47}"/>
          </ac:spMkLst>
        </pc:spChg>
        <pc:spChg chg="del mod">
          <ac:chgData name="Laurence ANGILBERT" userId="28ea2967-f540-4e7d-a641-d418703ece22" providerId="ADAL" clId="{859296AE-058C-4C65-BA04-6986791C2943}" dt="2024-01-31T03:28:20.066" v="7682" actId="21"/>
          <ac:spMkLst>
            <pc:docMk/>
            <pc:sldMk cId="1948237764" sldId="2147471161"/>
            <ac:spMk id="8" creationId="{C78804CD-DE30-6511-DE0B-23188EA98E12}"/>
          </ac:spMkLst>
        </pc:spChg>
        <pc:spChg chg="del mod">
          <ac:chgData name="Laurence ANGILBERT" userId="28ea2967-f540-4e7d-a641-d418703ece22" providerId="ADAL" clId="{859296AE-058C-4C65-BA04-6986791C2943}" dt="2024-01-31T03:28:20.066" v="7682" actId="21"/>
          <ac:spMkLst>
            <pc:docMk/>
            <pc:sldMk cId="1948237764" sldId="2147471161"/>
            <ac:spMk id="9" creationId="{FA6A2FC4-2315-7E54-5747-154BECA55AAF}"/>
          </ac:spMkLst>
        </pc:spChg>
        <pc:spChg chg="del mod">
          <ac:chgData name="Laurence ANGILBERT" userId="28ea2967-f540-4e7d-a641-d418703ece22" providerId="ADAL" clId="{859296AE-058C-4C65-BA04-6986791C2943}" dt="2024-01-31T03:28:20.066" v="7682" actId="21"/>
          <ac:spMkLst>
            <pc:docMk/>
            <pc:sldMk cId="1948237764" sldId="2147471161"/>
            <ac:spMk id="10" creationId="{5A1329A8-6F60-C9C3-5E39-A13D2EC76CE3}"/>
          </ac:spMkLst>
        </pc:spChg>
        <pc:spChg chg="del mod">
          <ac:chgData name="Laurence ANGILBERT" userId="28ea2967-f540-4e7d-a641-d418703ece22" providerId="ADAL" clId="{859296AE-058C-4C65-BA04-6986791C2943}" dt="2024-01-31T03:28:20.066" v="7682" actId="21"/>
          <ac:spMkLst>
            <pc:docMk/>
            <pc:sldMk cId="1948237764" sldId="2147471161"/>
            <ac:spMk id="11" creationId="{A7144061-CC12-81C0-FA8B-9FA94C621A06}"/>
          </ac:spMkLst>
        </pc:spChg>
        <pc:spChg chg="del mod">
          <ac:chgData name="Laurence ANGILBERT" userId="28ea2967-f540-4e7d-a641-d418703ece22" providerId="ADAL" clId="{859296AE-058C-4C65-BA04-6986791C2943}" dt="2024-01-31T03:28:20.066" v="7682" actId="21"/>
          <ac:spMkLst>
            <pc:docMk/>
            <pc:sldMk cId="1948237764" sldId="2147471161"/>
            <ac:spMk id="12" creationId="{7A36680B-6E77-1CAE-95FC-45CF4F49C36E}"/>
          </ac:spMkLst>
        </pc:spChg>
        <pc:spChg chg="del mod">
          <ac:chgData name="Laurence ANGILBERT" userId="28ea2967-f540-4e7d-a641-d418703ece22" providerId="ADAL" clId="{859296AE-058C-4C65-BA04-6986791C2943}" dt="2024-01-31T03:28:20.066" v="7682" actId="21"/>
          <ac:spMkLst>
            <pc:docMk/>
            <pc:sldMk cId="1948237764" sldId="2147471161"/>
            <ac:spMk id="13" creationId="{DC347001-A07D-4C36-36D4-4F7C774F54EA}"/>
          </ac:spMkLst>
        </pc:spChg>
        <pc:spChg chg="del">
          <ac:chgData name="Laurence ANGILBERT" userId="28ea2967-f540-4e7d-a641-d418703ece22" providerId="ADAL" clId="{859296AE-058C-4C65-BA04-6986791C2943}" dt="2024-01-29T23:23:30.494" v="2599" actId="478"/>
          <ac:spMkLst>
            <pc:docMk/>
            <pc:sldMk cId="1948237764" sldId="2147471161"/>
            <ac:spMk id="15" creationId="{DAAC59A8-4664-1350-B573-E458CC453D41}"/>
          </ac:spMkLst>
        </pc:spChg>
        <pc:spChg chg="del">
          <ac:chgData name="Laurence ANGILBERT" userId="28ea2967-f540-4e7d-a641-d418703ece22" providerId="ADAL" clId="{859296AE-058C-4C65-BA04-6986791C2943}" dt="2024-01-30T21:08:56.017" v="5762" actId="478"/>
          <ac:spMkLst>
            <pc:docMk/>
            <pc:sldMk cId="1948237764" sldId="2147471161"/>
            <ac:spMk id="15" creationId="{F9BD4AF1-6911-3E8E-E2C6-6D9126E9BA82}"/>
          </ac:spMkLst>
        </pc:spChg>
        <pc:spChg chg="add del mod">
          <ac:chgData name="Laurence ANGILBERT" userId="28ea2967-f540-4e7d-a641-d418703ece22" providerId="ADAL" clId="{859296AE-058C-4C65-BA04-6986791C2943}" dt="2024-01-30T21:11:11.849" v="5829" actId="478"/>
          <ac:spMkLst>
            <pc:docMk/>
            <pc:sldMk cId="1948237764" sldId="2147471161"/>
            <ac:spMk id="16" creationId="{399F23DB-172F-AB7E-B062-E15114C35634}"/>
          </ac:spMkLst>
        </pc:spChg>
        <pc:spChg chg="del">
          <ac:chgData name="Laurence ANGILBERT" userId="28ea2967-f540-4e7d-a641-d418703ece22" providerId="ADAL" clId="{859296AE-058C-4C65-BA04-6986791C2943}" dt="2024-01-29T23:23:10.505" v="2596" actId="478"/>
          <ac:spMkLst>
            <pc:docMk/>
            <pc:sldMk cId="1948237764" sldId="2147471161"/>
            <ac:spMk id="16" creationId="{B9EAE6AA-3AF7-6C85-9067-F9C55A8CC639}"/>
          </ac:spMkLst>
        </pc:spChg>
        <pc:spChg chg="add del mod">
          <ac:chgData name="Laurence ANGILBERT" userId="28ea2967-f540-4e7d-a641-d418703ece22" providerId="ADAL" clId="{859296AE-058C-4C65-BA04-6986791C2943}" dt="2024-01-30T21:11:09.657" v="5828" actId="478"/>
          <ac:spMkLst>
            <pc:docMk/>
            <pc:sldMk cId="1948237764" sldId="2147471161"/>
            <ac:spMk id="17" creationId="{A1BECC7A-F5C3-11B3-90F2-1D626E3E2ADC}"/>
          </ac:spMkLst>
        </pc:spChg>
        <pc:spChg chg="del">
          <ac:chgData name="Laurence ANGILBERT" userId="28ea2967-f540-4e7d-a641-d418703ece22" providerId="ADAL" clId="{859296AE-058C-4C65-BA04-6986791C2943}" dt="2024-01-29T23:23:32.373" v="2600" actId="478"/>
          <ac:spMkLst>
            <pc:docMk/>
            <pc:sldMk cId="1948237764" sldId="2147471161"/>
            <ac:spMk id="17" creationId="{CB74BD7F-1019-05EE-6F22-26F81DAAC93A}"/>
          </ac:spMkLst>
        </pc:spChg>
        <pc:spChg chg="del mod">
          <ac:chgData name="Laurence ANGILBERT" userId="28ea2967-f540-4e7d-a641-d418703ece22" providerId="ADAL" clId="{859296AE-058C-4C65-BA04-6986791C2943}" dt="2024-01-31T03:28:20.066" v="7682" actId="21"/>
          <ac:spMkLst>
            <pc:docMk/>
            <pc:sldMk cId="1948237764" sldId="2147471161"/>
            <ac:spMk id="18" creationId="{BCF6E7EC-0B87-5F17-9B44-F3FB68CF4070}"/>
          </ac:spMkLst>
        </pc:spChg>
        <pc:spChg chg="add del mod">
          <ac:chgData name="Laurence ANGILBERT" userId="28ea2967-f540-4e7d-a641-d418703ece22" providerId="ADAL" clId="{859296AE-058C-4C65-BA04-6986791C2943}" dt="2024-01-31T03:28:07.513" v="7679" actId="21"/>
          <ac:spMkLst>
            <pc:docMk/>
            <pc:sldMk cId="1948237764" sldId="2147471161"/>
            <ac:spMk id="19" creationId="{7A29BC5B-573D-F7CB-C0E2-744F818DBA87}"/>
          </ac:spMkLst>
        </pc:spChg>
        <pc:spChg chg="add mod">
          <ac:chgData name="Laurence ANGILBERT" userId="28ea2967-f540-4e7d-a641-d418703ece22" providerId="ADAL" clId="{859296AE-058C-4C65-BA04-6986791C2943}" dt="2024-01-30T17:13:12.243" v="4739"/>
          <ac:spMkLst>
            <pc:docMk/>
            <pc:sldMk cId="1948237764" sldId="2147471161"/>
            <ac:spMk id="20" creationId="{6C46DC06-87D0-809A-D355-29984C37296D}"/>
          </ac:spMkLst>
        </pc:spChg>
        <pc:spChg chg="del">
          <ac:chgData name="Laurence ANGILBERT" userId="28ea2967-f540-4e7d-a641-d418703ece22" providerId="ADAL" clId="{859296AE-058C-4C65-BA04-6986791C2943}" dt="2024-01-29T23:23:10.505" v="2596" actId="478"/>
          <ac:spMkLst>
            <pc:docMk/>
            <pc:sldMk cId="1948237764" sldId="2147471161"/>
            <ac:spMk id="20" creationId="{BB70148A-687F-946E-1CB8-EF4499068BBA}"/>
          </ac:spMkLst>
        </pc:spChg>
        <pc:spChg chg="add del mod">
          <ac:chgData name="Laurence ANGILBERT" userId="28ea2967-f540-4e7d-a641-d418703ece22" providerId="ADAL" clId="{859296AE-058C-4C65-BA04-6986791C2943}" dt="2024-01-31T03:28:20.066" v="7682" actId="21"/>
          <ac:spMkLst>
            <pc:docMk/>
            <pc:sldMk cId="1948237764" sldId="2147471161"/>
            <ac:spMk id="20" creationId="{E9472DAE-ED5E-3F82-09AD-4C2A68453682}"/>
          </ac:spMkLst>
        </pc:spChg>
        <pc:spChg chg="del mod">
          <ac:chgData name="Laurence ANGILBERT" userId="28ea2967-f540-4e7d-a641-d418703ece22" providerId="ADAL" clId="{859296AE-058C-4C65-BA04-6986791C2943}" dt="2024-01-31T03:27:42.572" v="7662"/>
          <ac:spMkLst>
            <pc:docMk/>
            <pc:sldMk cId="1948237764" sldId="2147471161"/>
            <ac:spMk id="21" creationId="{1F87F356-D698-D8EF-A7EF-E9676651FBAB}"/>
          </ac:spMkLst>
        </pc:spChg>
        <pc:spChg chg="del mod">
          <ac:chgData name="Laurence ANGILBERT" userId="28ea2967-f540-4e7d-a641-d418703ece22" providerId="ADAL" clId="{859296AE-058C-4C65-BA04-6986791C2943}" dt="2024-01-31T03:28:20.066" v="7682" actId="21"/>
          <ac:spMkLst>
            <pc:docMk/>
            <pc:sldMk cId="1948237764" sldId="2147471161"/>
            <ac:spMk id="22" creationId="{A08E85E2-8DBD-C721-05DF-34C27C536CCE}"/>
          </ac:spMkLst>
        </pc:spChg>
        <pc:spChg chg="del mod">
          <ac:chgData name="Laurence ANGILBERT" userId="28ea2967-f540-4e7d-a641-d418703ece22" providerId="ADAL" clId="{859296AE-058C-4C65-BA04-6986791C2943}" dt="2024-01-31T03:28:20.066" v="7682" actId="21"/>
          <ac:spMkLst>
            <pc:docMk/>
            <pc:sldMk cId="1948237764" sldId="2147471161"/>
            <ac:spMk id="23" creationId="{EF204365-F7CA-EB1D-00FA-C023A74FE9EA}"/>
          </ac:spMkLst>
        </pc:spChg>
        <pc:spChg chg="add del mod">
          <ac:chgData name="Laurence ANGILBERT" userId="28ea2967-f540-4e7d-a641-d418703ece22" providerId="ADAL" clId="{859296AE-058C-4C65-BA04-6986791C2943}" dt="2024-01-31T03:28:20.066" v="7682" actId="21"/>
          <ac:spMkLst>
            <pc:docMk/>
            <pc:sldMk cId="1948237764" sldId="2147471161"/>
            <ac:spMk id="24" creationId="{5E212476-D8E2-E191-A43D-5536980C27BA}"/>
          </ac:spMkLst>
        </pc:spChg>
        <pc:spChg chg="del mod">
          <ac:chgData name="Laurence ANGILBERT" userId="28ea2967-f540-4e7d-a641-d418703ece22" providerId="ADAL" clId="{859296AE-058C-4C65-BA04-6986791C2943}" dt="2024-01-31T03:28:20.066" v="7682" actId="21"/>
          <ac:spMkLst>
            <pc:docMk/>
            <pc:sldMk cId="1948237764" sldId="2147471161"/>
            <ac:spMk id="26" creationId="{F8C18A7B-0F10-170D-5DD7-A196D6C92E37}"/>
          </ac:spMkLst>
        </pc:spChg>
        <pc:spChg chg="del mod">
          <ac:chgData name="Laurence ANGILBERT" userId="28ea2967-f540-4e7d-a641-d418703ece22" providerId="ADAL" clId="{859296AE-058C-4C65-BA04-6986791C2943}" dt="2024-01-31T03:28:20.066" v="7682" actId="21"/>
          <ac:spMkLst>
            <pc:docMk/>
            <pc:sldMk cId="1948237764" sldId="2147471161"/>
            <ac:spMk id="27" creationId="{948496AD-016B-BE9D-9062-AEF4D20DE6AD}"/>
          </ac:spMkLst>
        </pc:spChg>
        <pc:spChg chg="del mod">
          <ac:chgData name="Laurence ANGILBERT" userId="28ea2967-f540-4e7d-a641-d418703ece22" providerId="ADAL" clId="{859296AE-058C-4C65-BA04-6986791C2943}" dt="2024-01-31T03:28:20.066" v="7682" actId="21"/>
          <ac:spMkLst>
            <pc:docMk/>
            <pc:sldMk cId="1948237764" sldId="2147471161"/>
            <ac:spMk id="28" creationId="{3CBD92E3-F7A5-8073-FADC-5C10785237B7}"/>
          </ac:spMkLst>
        </pc:spChg>
        <pc:spChg chg="del mod">
          <ac:chgData name="Laurence ANGILBERT" userId="28ea2967-f540-4e7d-a641-d418703ece22" providerId="ADAL" clId="{859296AE-058C-4C65-BA04-6986791C2943}" dt="2024-01-31T03:28:20.066" v="7682" actId="21"/>
          <ac:spMkLst>
            <pc:docMk/>
            <pc:sldMk cId="1948237764" sldId="2147471161"/>
            <ac:spMk id="29" creationId="{FB7B6FF7-552D-A240-BE68-FC4B8D230960}"/>
          </ac:spMkLst>
        </pc:spChg>
        <pc:spChg chg="add del mod">
          <ac:chgData name="Laurence ANGILBERT" userId="28ea2967-f540-4e7d-a641-d418703ece22" providerId="ADAL" clId="{859296AE-058C-4C65-BA04-6986791C2943}" dt="2024-01-30T21:38:03.208" v="5889" actId="478"/>
          <ac:spMkLst>
            <pc:docMk/>
            <pc:sldMk cId="1948237764" sldId="2147471161"/>
            <ac:spMk id="30" creationId="{FC1FCD6D-DB71-6709-DC1D-AEBFCF86F4AE}"/>
          </ac:spMkLst>
        </pc:spChg>
        <pc:spChg chg="add del mod">
          <ac:chgData name="Laurence ANGILBERT" userId="28ea2967-f540-4e7d-a641-d418703ece22" providerId="ADAL" clId="{859296AE-058C-4C65-BA04-6986791C2943}" dt="2024-01-30T21:37:56.343" v="5888" actId="478"/>
          <ac:spMkLst>
            <pc:docMk/>
            <pc:sldMk cId="1948237764" sldId="2147471161"/>
            <ac:spMk id="31" creationId="{43CA5EDD-8E91-8647-6B36-186DFEDD9C4B}"/>
          </ac:spMkLst>
        </pc:spChg>
        <pc:spChg chg="add del mod">
          <ac:chgData name="Laurence ANGILBERT" userId="28ea2967-f540-4e7d-a641-d418703ece22" providerId="ADAL" clId="{859296AE-058C-4C65-BA04-6986791C2943}" dt="2024-01-31T03:28:20.066" v="7682" actId="21"/>
          <ac:spMkLst>
            <pc:docMk/>
            <pc:sldMk cId="1948237764" sldId="2147471161"/>
            <ac:spMk id="32" creationId="{8154191D-733C-77D0-EF65-2FCDD5767F31}"/>
          </ac:spMkLst>
        </pc:spChg>
        <pc:spChg chg="add del mod">
          <ac:chgData name="Laurence ANGILBERT" userId="28ea2967-f540-4e7d-a641-d418703ece22" providerId="ADAL" clId="{859296AE-058C-4C65-BA04-6986791C2943}" dt="2024-01-31T03:28:20.066" v="7682" actId="21"/>
          <ac:spMkLst>
            <pc:docMk/>
            <pc:sldMk cId="1948237764" sldId="2147471161"/>
            <ac:spMk id="33" creationId="{5CBCF09F-38E5-08B7-AF21-8CD9E01F957D}"/>
          </ac:spMkLst>
        </pc:spChg>
        <pc:spChg chg="add del mod">
          <ac:chgData name="Laurence ANGILBERT" userId="28ea2967-f540-4e7d-a641-d418703ece22" providerId="ADAL" clId="{859296AE-058C-4C65-BA04-6986791C2943}" dt="2024-01-31T03:28:20.066" v="7682" actId="21"/>
          <ac:spMkLst>
            <pc:docMk/>
            <pc:sldMk cId="1948237764" sldId="2147471161"/>
            <ac:spMk id="34" creationId="{F5E26136-F2C2-6B6C-DCC1-0CA3A2E5C3DF}"/>
          </ac:spMkLst>
        </pc:spChg>
        <pc:spChg chg="add del mod">
          <ac:chgData name="Laurence ANGILBERT" userId="28ea2967-f540-4e7d-a641-d418703ece22" providerId="ADAL" clId="{859296AE-058C-4C65-BA04-6986791C2943}" dt="2024-01-31T03:28:20.066" v="7682" actId="21"/>
          <ac:spMkLst>
            <pc:docMk/>
            <pc:sldMk cId="1948237764" sldId="2147471161"/>
            <ac:spMk id="35" creationId="{0BF855AC-212E-39C9-E480-D8EC69A466D8}"/>
          </ac:spMkLst>
        </pc:spChg>
        <pc:spChg chg="add del mod">
          <ac:chgData name="Laurence ANGILBERT" userId="28ea2967-f540-4e7d-a641-d418703ece22" providerId="ADAL" clId="{859296AE-058C-4C65-BA04-6986791C2943}" dt="2024-01-31T03:28:20.066" v="7682" actId="21"/>
          <ac:spMkLst>
            <pc:docMk/>
            <pc:sldMk cId="1948237764" sldId="2147471161"/>
            <ac:spMk id="36" creationId="{7B2A25EF-2411-3311-4265-E85A1397784F}"/>
          </ac:spMkLst>
        </pc:spChg>
        <pc:spChg chg="add del mod">
          <ac:chgData name="Laurence ANGILBERT" userId="28ea2967-f540-4e7d-a641-d418703ece22" providerId="ADAL" clId="{859296AE-058C-4C65-BA04-6986791C2943}" dt="2024-01-30T17:15:15.516" v="4920" actId="478"/>
          <ac:spMkLst>
            <pc:docMk/>
            <pc:sldMk cId="1948237764" sldId="2147471161"/>
            <ac:spMk id="36" creationId="{7D28A5EA-8C84-ECA4-C613-9575220C8C5A}"/>
          </ac:spMkLst>
        </pc:spChg>
        <pc:spChg chg="add del mod">
          <ac:chgData name="Laurence ANGILBERT" userId="28ea2967-f540-4e7d-a641-d418703ece22" providerId="ADAL" clId="{859296AE-058C-4C65-BA04-6986791C2943}" dt="2024-01-30T17:14:10.975" v="4746" actId="478"/>
          <ac:spMkLst>
            <pc:docMk/>
            <pc:sldMk cId="1948237764" sldId="2147471161"/>
            <ac:spMk id="37" creationId="{FCA27769-35A7-B3FF-5C4A-7535DCF1E21E}"/>
          </ac:spMkLst>
        </pc:spChg>
        <pc:spChg chg="add del mod">
          <ac:chgData name="Laurence ANGILBERT" userId="28ea2967-f540-4e7d-a641-d418703ece22" providerId="ADAL" clId="{859296AE-058C-4C65-BA04-6986791C2943}" dt="2024-01-30T17:15:12.953" v="4919" actId="478"/>
          <ac:spMkLst>
            <pc:docMk/>
            <pc:sldMk cId="1948237764" sldId="2147471161"/>
            <ac:spMk id="38" creationId="{3E72CB16-667D-4939-5214-099F03FB1707}"/>
          </ac:spMkLst>
        </pc:spChg>
        <pc:spChg chg="add del mod">
          <ac:chgData name="Laurence ANGILBERT" userId="28ea2967-f540-4e7d-a641-d418703ece22" providerId="ADAL" clId="{859296AE-058C-4C65-BA04-6986791C2943}" dt="2024-01-31T03:28:20.066" v="7682" actId="21"/>
          <ac:spMkLst>
            <pc:docMk/>
            <pc:sldMk cId="1948237764" sldId="2147471161"/>
            <ac:spMk id="38" creationId="{91765E57-7846-AAB8-8AFC-0A6E282F679A}"/>
          </ac:spMkLst>
        </pc:spChg>
        <pc:spChg chg="add del mod">
          <ac:chgData name="Laurence ANGILBERT" userId="28ea2967-f540-4e7d-a641-d418703ece22" providerId="ADAL" clId="{859296AE-058C-4C65-BA04-6986791C2943}" dt="2024-01-30T17:14:33.786" v="4838" actId="478"/>
          <ac:spMkLst>
            <pc:docMk/>
            <pc:sldMk cId="1948237764" sldId="2147471161"/>
            <ac:spMk id="39" creationId="{305844CE-44DD-131F-43C6-17C1E8D1839A}"/>
          </ac:spMkLst>
        </pc:spChg>
        <pc:spChg chg="add del mod">
          <ac:chgData name="Laurence ANGILBERT" userId="28ea2967-f540-4e7d-a641-d418703ece22" providerId="ADAL" clId="{859296AE-058C-4C65-BA04-6986791C2943}" dt="2024-01-31T03:28:20.066" v="7682" actId="21"/>
          <ac:spMkLst>
            <pc:docMk/>
            <pc:sldMk cId="1948237764" sldId="2147471161"/>
            <ac:spMk id="41" creationId="{F6F3CD67-0CC4-A801-8BCD-C7B300930DF5}"/>
          </ac:spMkLst>
        </pc:spChg>
        <pc:spChg chg="add del mod">
          <ac:chgData name="Laurence ANGILBERT" userId="28ea2967-f540-4e7d-a641-d418703ece22" providerId="ADAL" clId="{859296AE-058C-4C65-BA04-6986791C2943}" dt="2024-01-31T03:28:20.066" v="7682" actId="21"/>
          <ac:spMkLst>
            <pc:docMk/>
            <pc:sldMk cId="1948237764" sldId="2147471161"/>
            <ac:spMk id="42" creationId="{1F83EA59-2C1A-1BCE-75F2-AA35F5AEC879}"/>
          </ac:spMkLst>
        </pc:spChg>
        <pc:spChg chg="add del mod">
          <ac:chgData name="Laurence ANGILBERT" userId="28ea2967-f540-4e7d-a641-d418703ece22" providerId="ADAL" clId="{859296AE-058C-4C65-BA04-6986791C2943}" dt="2024-01-31T02:58:12.699" v="6795" actId="478"/>
          <ac:spMkLst>
            <pc:docMk/>
            <pc:sldMk cId="1948237764" sldId="2147471161"/>
            <ac:spMk id="43" creationId="{E8B49547-8C4F-1DE1-74D0-D71A1B566DB8}"/>
          </ac:spMkLst>
        </pc:spChg>
        <pc:spChg chg="add del mod">
          <ac:chgData name="Laurence ANGILBERT" userId="28ea2967-f540-4e7d-a641-d418703ece22" providerId="ADAL" clId="{859296AE-058C-4C65-BA04-6986791C2943}" dt="2024-01-31T03:28:20.066" v="7682" actId="21"/>
          <ac:spMkLst>
            <pc:docMk/>
            <pc:sldMk cId="1948237764" sldId="2147471161"/>
            <ac:spMk id="44" creationId="{0DA24D1E-FAC7-DE03-1B4E-D4B48772BD69}"/>
          </ac:spMkLst>
        </pc:spChg>
        <pc:spChg chg="add mod">
          <ac:chgData name="Laurence ANGILBERT" userId="28ea2967-f540-4e7d-a641-d418703ece22" providerId="ADAL" clId="{859296AE-058C-4C65-BA04-6986791C2943}" dt="2024-01-30T17:13:12.243" v="4739"/>
          <ac:spMkLst>
            <pc:docMk/>
            <pc:sldMk cId="1948237764" sldId="2147471161"/>
            <ac:spMk id="45" creationId="{01D334C3-E8D4-FAD5-5DBE-5B3187BA4E6D}"/>
          </ac:spMkLst>
        </pc:spChg>
        <pc:spChg chg="add mod">
          <ac:chgData name="Laurence ANGILBERT" userId="28ea2967-f540-4e7d-a641-d418703ece22" providerId="ADAL" clId="{859296AE-058C-4C65-BA04-6986791C2943}" dt="2024-01-30T17:13:12.243" v="4739"/>
          <ac:spMkLst>
            <pc:docMk/>
            <pc:sldMk cId="1948237764" sldId="2147471161"/>
            <ac:spMk id="46" creationId="{C6B2DC5F-D31A-76CB-FBE8-F27584B086AA}"/>
          </ac:spMkLst>
        </pc:spChg>
        <pc:spChg chg="add del mod">
          <ac:chgData name="Laurence ANGILBERT" userId="28ea2967-f540-4e7d-a641-d418703ece22" providerId="ADAL" clId="{859296AE-058C-4C65-BA04-6986791C2943}" dt="2024-01-31T02:59:14.664" v="6803" actId="478"/>
          <ac:spMkLst>
            <pc:docMk/>
            <pc:sldMk cId="1948237764" sldId="2147471161"/>
            <ac:spMk id="46" creationId="{D955F98C-6F72-8F7A-4C4E-84993355D931}"/>
          </ac:spMkLst>
        </pc:spChg>
        <pc:spChg chg="add mod">
          <ac:chgData name="Laurence ANGILBERT" userId="28ea2967-f540-4e7d-a641-d418703ece22" providerId="ADAL" clId="{859296AE-058C-4C65-BA04-6986791C2943}" dt="2024-01-30T17:13:12.243" v="4739"/>
          <ac:spMkLst>
            <pc:docMk/>
            <pc:sldMk cId="1948237764" sldId="2147471161"/>
            <ac:spMk id="47" creationId="{8E8F9597-C1D3-357E-FEF5-7B537832A29D}"/>
          </ac:spMkLst>
        </pc:spChg>
        <pc:spChg chg="add del mod">
          <ac:chgData name="Laurence ANGILBERT" userId="28ea2967-f540-4e7d-a641-d418703ece22" providerId="ADAL" clId="{859296AE-058C-4C65-BA04-6986791C2943}" dt="2024-01-31T03:16:02.285" v="7443" actId="21"/>
          <ac:spMkLst>
            <pc:docMk/>
            <pc:sldMk cId="1948237764" sldId="2147471161"/>
            <ac:spMk id="47" creationId="{8EB115D8-F97A-3F0B-A2E8-D15ADFDFD9B5}"/>
          </ac:spMkLst>
        </pc:spChg>
        <pc:spChg chg="add mod">
          <ac:chgData name="Laurence ANGILBERT" userId="28ea2967-f540-4e7d-a641-d418703ece22" providerId="ADAL" clId="{859296AE-058C-4C65-BA04-6986791C2943}" dt="2024-01-30T17:13:12.243" v="4739"/>
          <ac:spMkLst>
            <pc:docMk/>
            <pc:sldMk cId="1948237764" sldId="2147471161"/>
            <ac:spMk id="48" creationId="{2EAA15A2-F666-8F5E-F016-D986A5C0B2A6}"/>
          </ac:spMkLst>
        </pc:spChg>
        <pc:spChg chg="add mod">
          <ac:chgData name="Laurence ANGILBERT" userId="28ea2967-f540-4e7d-a641-d418703ece22" providerId="ADAL" clId="{859296AE-058C-4C65-BA04-6986791C2943}" dt="2024-01-30T17:13:12.243" v="4739"/>
          <ac:spMkLst>
            <pc:docMk/>
            <pc:sldMk cId="1948237764" sldId="2147471161"/>
            <ac:spMk id="49" creationId="{0ACA5933-7277-316F-DC82-E8FBEFE91BD0}"/>
          </ac:spMkLst>
        </pc:spChg>
        <pc:spChg chg="del mod">
          <ac:chgData name="Laurence ANGILBERT" userId="28ea2967-f540-4e7d-a641-d418703ece22" providerId="ADAL" clId="{859296AE-058C-4C65-BA04-6986791C2943}" dt="2024-01-30T21:37:53.198" v="5887" actId="478"/>
          <ac:spMkLst>
            <pc:docMk/>
            <pc:sldMk cId="1948237764" sldId="2147471161"/>
            <ac:spMk id="50" creationId="{84FAEA03-8A7B-A9A4-B4E4-156C1D995BED}"/>
          </ac:spMkLst>
        </pc:spChg>
        <pc:spChg chg="del mod">
          <ac:chgData name="Laurence ANGILBERT" userId="28ea2967-f540-4e7d-a641-d418703ece22" providerId="ADAL" clId="{859296AE-058C-4C65-BA04-6986791C2943}" dt="2024-01-30T21:37:42.388" v="5886" actId="478"/>
          <ac:spMkLst>
            <pc:docMk/>
            <pc:sldMk cId="1948237764" sldId="2147471161"/>
            <ac:spMk id="51" creationId="{BA54B1B5-7FF5-F818-CB1F-7CD0CBD84724}"/>
          </ac:spMkLst>
        </pc:spChg>
        <pc:spChg chg="add mod">
          <ac:chgData name="Laurence ANGILBERT" userId="28ea2967-f540-4e7d-a641-d418703ece22" providerId="ADAL" clId="{859296AE-058C-4C65-BA04-6986791C2943}" dt="2024-01-30T17:13:12.243" v="4739"/>
          <ac:spMkLst>
            <pc:docMk/>
            <pc:sldMk cId="1948237764" sldId="2147471161"/>
            <ac:spMk id="52" creationId="{38B35896-542B-B87B-1800-725DA2A384BC}"/>
          </ac:spMkLst>
        </pc:spChg>
        <pc:spChg chg="del mod">
          <ac:chgData name="Laurence ANGILBERT" userId="28ea2967-f540-4e7d-a641-d418703ece22" providerId="ADAL" clId="{859296AE-058C-4C65-BA04-6986791C2943}" dt="2024-01-31T03:28:20.066" v="7682" actId="21"/>
          <ac:spMkLst>
            <pc:docMk/>
            <pc:sldMk cId="1948237764" sldId="2147471161"/>
            <ac:spMk id="53" creationId="{1E5161C6-FD31-AE6B-4777-1B88B54BDB15}"/>
          </ac:spMkLst>
        </pc:spChg>
        <pc:spChg chg="add del mod">
          <ac:chgData name="Laurence ANGILBERT" userId="28ea2967-f540-4e7d-a641-d418703ece22" providerId="ADAL" clId="{859296AE-058C-4C65-BA04-6986791C2943}" dt="2024-01-31T03:28:20.066" v="7682" actId="21"/>
          <ac:spMkLst>
            <pc:docMk/>
            <pc:sldMk cId="1948237764" sldId="2147471161"/>
            <ac:spMk id="54" creationId="{EF87DBE6-BF00-D665-482B-64FE18D05283}"/>
          </ac:spMkLst>
        </pc:spChg>
        <pc:spChg chg="add del mod">
          <ac:chgData name="Laurence ANGILBERT" userId="28ea2967-f540-4e7d-a641-d418703ece22" providerId="ADAL" clId="{859296AE-058C-4C65-BA04-6986791C2943}" dt="2024-01-31T03:28:20.066" v="7682" actId="21"/>
          <ac:spMkLst>
            <pc:docMk/>
            <pc:sldMk cId="1948237764" sldId="2147471161"/>
            <ac:spMk id="55" creationId="{E1C30CC0-6A43-41BE-E359-87FB5B0E0D55}"/>
          </ac:spMkLst>
        </pc:spChg>
        <pc:spChg chg="add del mod">
          <ac:chgData name="Laurence ANGILBERT" userId="28ea2967-f540-4e7d-a641-d418703ece22" providerId="ADAL" clId="{859296AE-058C-4C65-BA04-6986791C2943}" dt="2024-01-31T03:28:20.066" v="7682" actId="21"/>
          <ac:spMkLst>
            <pc:docMk/>
            <pc:sldMk cId="1948237764" sldId="2147471161"/>
            <ac:spMk id="56" creationId="{2830F68A-A37D-D5CB-70B0-BDD8B46D64E6}"/>
          </ac:spMkLst>
        </pc:spChg>
        <pc:spChg chg="add del mod">
          <ac:chgData name="Laurence ANGILBERT" userId="28ea2967-f540-4e7d-a641-d418703ece22" providerId="ADAL" clId="{859296AE-058C-4C65-BA04-6986791C2943}" dt="2024-01-31T03:28:20.066" v="7682" actId="21"/>
          <ac:spMkLst>
            <pc:docMk/>
            <pc:sldMk cId="1948237764" sldId="2147471161"/>
            <ac:spMk id="57" creationId="{09644C5B-4AA9-9720-DA9D-3B4A7BB73172}"/>
          </ac:spMkLst>
        </pc:spChg>
        <pc:spChg chg="add del mod">
          <ac:chgData name="Laurence ANGILBERT" userId="28ea2967-f540-4e7d-a641-d418703ece22" providerId="ADAL" clId="{859296AE-058C-4C65-BA04-6986791C2943}" dt="2024-01-31T03:28:20.066" v="7682" actId="21"/>
          <ac:spMkLst>
            <pc:docMk/>
            <pc:sldMk cId="1948237764" sldId="2147471161"/>
            <ac:spMk id="58" creationId="{E3EBBDA7-C5AF-5C05-ABA7-F8FB0BEDB564}"/>
          </ac:spMkLst>
        </pc:spChg>
        <pc:spChg chg="add del mod">
          <ac:chgData name="Laurence ANGILBERT" userId="28ea2967-f540-4e7d-a641-d418703ece22" providerId="ADAL" clId="{859296AE-058C-4C65-BA04-6986791C2943}" dt="2024-01-31T03:28:20.066" v="7682" actId="21"/>
          <ac:spMkLst>
            <pc:docMk/>
            <pc:sldMk cId="1948237764" sldId="2147471161"/>
            <ac:spMk id="59" creationId="{627F65BB-8D8F-E023-026C-62192731BEAC}"/>
          </ac:spMkLst>
        </pc:spChg>
        <pc:spChg chg="add del mod">
          <ac:chgData name="Laurence ANGILBERT" userId="28ea2967-f540-4e7d-a641-d418703ece22" providerId="ADAL" clId="{859296AE-058C-4C65-BA04-6986791C2943}" dt="2024-01-31T03:28:20.066" v="7682" actId="21"/>
          <ac:spMkLst>
            <pc:docMk/>
            <pc:sldMk cId="1948237764" sldId="2147471161"/>
            <ac:spMk id="60" creationId="{F15DF651-B75A-E7D7-1D82-932C2401351A}"/>
          </ac:spMkLst>
        </pc:spChg>
        <pc:spChg chg="add del mod ord">
          <ac:chgData name="Laurence ANGILBERT" userId="28ea2967-f540-4e7d-a641-d418703ece22" providerId="ADAL" clId="{859296AE-058C-4C65-BA04-6986791C2943}" dt="2024-01-31T03:28:20.066" v="7682" actId="21"/>
          <ac:spMkLst>
            <pc:docMk/>
            <pc:sldMk cId="1948237764" sldId="2147471161"/>
            <ac:spMk id="61" creationId="{18E18167-B0AB-74D2-BE9D-537F893C19ED}"/>
          </ac:spMkLst>
        </pc:spChg>
        <pc:spChg chg="del mod">
          <ac:chgData name="Laurence ANGILBERT" userId="28ea2967-f540-4e7d-a641-d418703ece22" providerId="ADAL" clId="{859296AE-058C-4C65-BA04-6986791C2943}" dt="2024-01-31T03:28:20.066" v="7682" actId="21"/>
          <ac:spMkLst>
            <pc:docMk/>
            <pc:sldMk cId="1948237764" sldId="2147471161"/>
            <ac:spMk id="67" creationId="{87A386C9-AF95-4268-5660-C0FB8B61BFF0}"/>
          </ac:spMkLst>
        </pc:spChg>
        <pc:spChg chg="del mod">
          <ac:chgData name="Laurence ANGILBERT" userId="28ea2967-f540-4e7d-a641-d418703ece22" providerId="ADAL" clId="{859296AE-058C-4C65-BA04-6986791C2943}" dt="2024-01-31T03:28:20.066" v="7682" actId="21"/>
          <ac:spMkLst>
            <pc:docMk/>
            <pc:sldMk cId="1948237764" sldId="2147471161"/>
            <ac:spMk id="69" creationId="{8E1D112B-6D92-7827-FEB7-50258B673604}"/>
          </ac:spMkLst>
        </pc:spChg>
        <pc:spChg chg="del">
          <ac:chgData name="Laurence ANGILBERT" userId="28ea2967-f540-4e7d-a641-d418703ece22" providerId="ADAL" clId="{859296AE-058C-4C65-BA04-6986791C2943}" dt="2024-01-30T22:12:27.632" v="6323" actId="478"/>
          <ac:spMkLst>
            <pc:docMk/>
            <pc:sldMk cId="1948237764" sldId="2147471161"/>
            <ac:spMk id="77" creationId="{E585A20E-D3AB-DEB7-A130-213D5F1EE8AD}"/>
          </ac:spMkLst>
        </pc:spChg>
        <pc:graphicFrameChg chg="del">
          <ac:chgData name="Laurence ANGILBERT" userId="28ea2967-f540-4e7d-a641-d418703ece22" providerId="ADAL" clId="{859296AE-058C-4C65-BA04-6986791C2943}" dt="2024-01-31T03:28:20.066" v="7682" actId="21"/>
          <ac:graphicFrameMkLst>
            <pc:docMk/>
            <pc:sldMk cId="1948237764" sldId="2147471161"/>
            <ac:graphicFrameMk id="25" creationId="{002674AB-6B6B-02F7-5E25-0EB30DB53238}"/>
          </ac:graphicFrameMkLst>
        </pc:graphicFrameChg>
        <pc:picChg chg="del mod">
          <ac:chgData name="Laurence ANGILBERT" userId="28ea2967-f540-4e7d-a641-d418703ece22" providerId="ADAL" clId="{859296AE-058C-4C65-BA04-6986791C2943}" dt="2024-01-31T03:28:20.066" v="7682" actId="21"/>
          <ac:picMkLst>
            <pc:docMk/>
            <pc:sldMk cId="1948237764" sldId="2147471161"/>
            <ac:picMk id="14" creationId="{E8AB060A-D555-1355-39A5-B0881CB8A04D}"/>
          </ac:picMkLst>
        </pc:picChg>
        <pc:picChg chg="add del mod">
          <ac:chgData name="Laurence ANGILBERT" userId="28ea2967-f540-4e7d-a641-d418703ece22" providerId="ADAL" clId="{859296AE-058C-4C65-BA04-6986791C2943}" dt="2024-01-31T03:28:20.066" v="7682" actId="21"/>
          <ac:picMkLst>
            <pc:docMk/>
            <pc:sldMk cId="1948237764" sldId="2147471161"/>
            <ac:picMk id="37" creationId="{3A197D7C-1D21-7FCD-8D54-6E5C7440A261}"/>
          </ac:picMkLst>
        </pc:picChg>
        <pc:picChg chg="add del mod">
          <ac:chgData name="Laurence ANGILBERT" userId="28ea2967-f540-4e7d-a641-d418703ece22" providerId="ADAL" clId="{859296AE-058C-4C65-BA04-6986791C2943}" dt="2024-01-31T03:28:20.066" v="7682" actId="21"/>
          <ac:picMkLst>
            <pc:docMk/>
            <pc:sldMk cId="1948237764" sldId="2147471161"/>
            <ac:picMk id="40" creationId="{66AADC91-F75C-8794-F565-06F654A51FCD}"/>
          </ac:picMkLst>
        </pc:picChg>
        <pc:picChg chg="add del mod">
          <ac:chgData name="Laurence ANGILBERT" userId="28ea2967-f540-4e7d-a641-d418703ece22" providerId="ADAL" clId="{859296AE-058C-4C65-BA04-6986791C2943}" dt="2024-01-30T17:14:08.595" v="4745" actId="478"/>
          <ac:picMkLst>
            <pc:docMk/>
            <pc:sldMk cId="1948237764" sldId="2147471161"/>
            <ac:picMk id="43" creationId="{59BAA8A3-03C0-DB91-80C7-FEB7DAB6950F}"/>
          </ac:picMkLst>
        </pc:picChg>
        <pc:picChg chg="del mod">
          <ac:chgData name="Laurence ANGILBERT" userId="28ea2967-f540-4e7d-a641-d418703ece22" providerId="ADAL" clId="{859296AE-058C-4C65-BA04-6986791C2943}" dt="2024-01-31T03:28:20.066" v="7682" actId="21"/>
          <ac:picMkLst>
            <pc:docMk/>
            <pc:sldMk cId="1948237764" sldId="2147471161"/>
            <ac:picMk id="70" creationId="{0A25433D-5B3A-F90C-E2AF-4BB6A7ECDC27}"/>
          </ac:picMkLst>
        </pc:picChg>
      </pc:sldChg>
      <pc:sldChg chg="delSp add del">
        <pc:chgData name="Laurence ANGILBERT" userId="28ea2967-f540-4e7d-a641-d418703ece22" providerId="ADAL" clId="{859296AE-058C-4C65-BA04-6986791C2943}" dt="2024-01-29T08:56:56.253" v="731" actId="47"/>
        <pc:sldMkLst>
          <pc:docMk/>
          <pc:sldMk cId="31666571" sldId="2147471170"/>
        </pc:sldMkLst>
        <pc:grpChg chg="del">
          <ac:chgData name="Laurence ANGILBERT" userId="28ea2967-f540-4e7d-a641-d418703ece22" providerId="ADAL" clId="{859296AE-058C-4C65-BA04-6986791C2943}" dt="2024-01-29T08:56:41.794" v="713" actId="21"/>
          <ac:grpSpMkLst>
            <pc:docMk/>
            <pc:sldMk cId="31666571" sldId="2147471170"/>
            <ac:grpSpMk id="3" creationId="{3D256AAE-E97D-47AC-9360-01077ABE7137}"/>
          </ac:grpSpMkLst>
        </pc:grpChg>
        <pc:grpChg chg="del">
          <ac:chgData name="Laurence ANGILBERT" userId="28ea2967-f540-4e7d-a641-d418703ece22" providerId="ADAL" clId="{859296AE-058C-4C65-BA04-6986791C2943}" dt="2024-01-29T08:56:41.794" v="713" actId="21"/>
          <ac:grpSpMkLst>
            <pc:docMk/>
            <pc:sldMk cId="31666571" sldId="2147471170"/>
            <ac:grpSpMk id="6" creationId="{CA3C1EC8-E085-B84D-32F5-23F8AD93A982}"/>
          </ac:grpSpMkLst>
        </pc:grpChg>
        <pc:grpChg chg="del">
          <ac:chgData name="Laurence ANGILBERT" userId="28ea2967-f540-4e7d-a641-d418703ece22" providerId="ADAL" clId="{859296AE-058C-4C65-BA04-6986791C2943}" dt="2024-01-29T08:56:41.794" v="713" actId="21"/>
          <ac:grpSpMkLst>
            <pc:docMk/>
            <pc:sldMk cId="31666571" sldId="2147471170"/>
            <ac:grpSpMk id="17" creationId="{34FA6A2D-9980-518A-A60A-2269789F2483}"/>
          </ac:grpSpMkLst>
        </pc:grpChg>
        <pc:grpChg chg="del">
          <ac:chgData name="Laurence ANGILBERT" userId="28ea2967-f540-4e7d-a641-d418703ece22" providerId="ADAL" clId="{859296AE-058C-4C65-BA04-6986791C2943}" dt="2024-01-29T08:56:41.794" v="713" actId="21"/>
          <ac:grpSpMkLst>
            <pc:docMk/>
            <pc:sldMk cId="31666571" sldId="2147471170"/>
            <ac:grpSpMk id="25" creationId="{B6A48F8A-C687-339E-CD4F-285448036D82}"/>
          </ac:grpSpMkLst>
        </pc:grpChg>
        <pc:grpChg chg="del">
          <ac:chgData name="Laurence ANGILBERT" userId="28ea2967-f540-4e7d-a641-d418703ece22" providerId="ADAL" clId="{859296AE-058C-4C65-BA04-6986791C2943}" dt="2024-01-29T08:56:41.794" v="713" actId="21"/>
          <ac:grpSpMkLst>
            <pc:docMk/>
            <pc:sldMk cId="31666571" sldId="2147471170"/>
            <ac:grpSpMk id="29" creationId="{7FEB62D9-BD22-6012-E31F-99F8FBB4AC80}"/>
          </ac:grpSpMkLst>
        </pc:grpChg>
        <pc:grpChg chg="del">
          <ac:chgData name="Laurence ANGILBERT" userId="28ea2967-f540-4e7d-a641-d418703ece22" providerId="ADAL" clId="{859296AE-058C-4C65-BA04-6986791C2943}" dt="2024-01-29T08:56:41.794" v="713" actId="21"/>
          <ac:grpSpMkLst>
            <pc:docMk/>
            <pc:sldMk cId="31666571" sldId="2147471170"/>
            <ac:grpSpMk id="33" creationId="{7748AA19-5A59-BD3D-AD4A-D9AAF13A0417}"/>
          </ac:grpSpMkLst>
        </pc:grpChg>
      </pc:sldChg>
      <pc:sldChg chg="add">
        <pc:chgData name="Laurence ANGILBERT" userId="28ea2967-f540-4e7d-a641-d418703ece22" providerId="ADAL" clId="{859296AE-058C-4C65-BA04-6986791C2943}" dt="2024-01-31T03:31:23.012" v="7766"/>
        <pc:sldMkLst>
          <pc:docMk/>
          <pc:sldMk cId="1702353009" sldId="2147480287"/>
        </pc:sldMkLst>
      </pc:sldChg>
      <pc:sldChg chg="addSp delSp modSp del mod">
        <pc:chgData name="Laurence ANGILBERT" userId="28ea2967-f540-4e7d-a641-d418703ece22" providerId="ADAL" clId="{859296AE-058C-4C65-BA04-6986791C2943}" dt="2024-01-31T03:31:16.547" v="7765" actId="2696"/>
        <pc:sldMkLst>
          <pc:docMk/>
          <pc:sldMk cId="2163271625" sldId="2147480287"/>
        </pc:sldMkLst>
        <pc:spChg chg="del">
          <ac:chgData name="Laurence ANGILBERT" userId="28ea2967-f540-4e7d-a641-d418703ece22" providerId="ADAL" clId="{859296AE-058C-4C65-BA04-6986791C2943}" dt="2024-01-31T03:31:06.470" v="7762" actId="478"/>
          <ac:spMkLst>
            <pc:docMk/>
            <pc:sldMk cId="2163271625" sldId="2147480287"/>
            <ac:spMk id="6" creationId="{C2AAE23C-5F9F-7991-50E3-6ED2C26155FE}"/>
          </ac:spMkLst>
        </pc:spChg>
        <pc:spChg chg="del">
          <ac:chgData name="Laurence ANGILBERT" userId="28ea2967-f540-4e7d-a641-d418703ece22" providerId="ADAL" clId="{859296AE-058C-4C65-BA04-6986791C2943}" dt="2024-01-29T23:21:38.358" v="2465" actId="478"/>
          <ac:spMkLst>
            <pc:docMk/>
            <pc:sldMk cId="2163271625" sldId="2147480287"/>
            <ac:spMk id="7" creationId="{DE3DC30B-1B29-BFD4-41C6-3795C4951DF9}"/>
          </ac:spMkLst>
        </pc:spChg>
        <pc:spChg chg="del">
          <ac:chgData name="Laurence ANGILBERT" userId="28ea2967-f540-4e7d-a641-d418703ece22" providerId="ADAL" clId="{859296AE-058C-4C65-BA04-6986791C2943}" dt="2024-01-31T03:31:13.550" v="7764" actId="478"/>
          <ac:spMkLst>
            <pc:docMk/>
            <pc:sldMk cId="2163271625" sldId="2147480287"/>
            <ac:spMk id="8" creationId="{1B086139-18B4-38FE-4B00-980740AACDF7}"/>
          </ac:spMkLst>
        </pc:spChg>
        <pc:spChg chg="add del mod">
          <ac:chgData name="Laurence ANGILBERT" userId="28ea2967-f540-4e7d-a641-d418703ece22" providerId="ADAL" clId="{859296AE-058C-4C65-BA04-6986791C2943}" dt="2024-01-31T03:31:08.020" v="7763" actId="478"/>
          <ac:spMkLst>
            <pc:docMk/>
            <pc:sldMk cId="2163271625" sldId="2147480287"/>
            <ac:spMk id="11" creationId="{8B59C05A-42DC-F1E5-3354-DBD555FAE10B}"/>
          </ac:spMkLst>
        </pc:spChg>
      </pc:sldChg>
      <pc:sldChg chg="delSp modSp del mod">
        <pc:chgData name="Laurence ANGILBERT" userId="28ea2967-f540-4e7d-a641-d418703ece22" providerId="ADAL" clId="{859296AE-058C-4C65-BA04-6986791C2943}" dt="2024-01-30T17:01:23.220" v="4406" actId="2696"/>
        <pc:sldMkLst>
          <pc:docMk/>
          <pc:sldMk cId="1501828369" sldId="2147480290"/>
        </pc:sldMkLst>
        <pc:spChg chg="mod">
          <ac:chgData name="Laurence ANGILBERT" userId="28ea2967-f540-4e7d-a641-d418703ece22" providerId="ADAL" clId="{859296AE-058C-4C65-BA04-6986791C2943}" dt="2024-01-30T17:00:19.605" v="4403" actId="6549"/>
          <ac:spMkLst>
            <pc:docMk/>
            <pc:sldMk cId="1501828369" sldId="2147480290"/>
            <ac:spMk id="4" creationId="{E641CD1F-FC7E-6BBE-5948-37C517461613}"/>
          </ac:spMkLst>
        </pc:spChg>
        <pc:spChg chg="del mod">
          <ac:chgData name="Laurence ANGILBERT" userId="28ea2967-f540-4e7d-a641-d418703ece22" providerId="ADAL" clId="{859296AE-058C-4C65-BA04-6986791C2943}" dt="2024-01-30T16:41:32.654" v="4210" actId="478"/>
          <ac:spMkLst>
            <pc:docMk/>
            <pc:sldMk cId="1501828369" sldId="2147480290"/>
            <ac:spMk id="47" creationId="{3E46A3BE-1601-00B1-6BCE-CAD6E55A08A6}"/>
          </ac:spMkLst>
        </pc:spChg>
        <pc:spChg chg="mod">
          <ac:chgData name="Laurence ANGILBERT" userId="28ea2967-f540-4e7d-a641-d418703ece22" providerId="ADAL" clId="{859296AE-058C-4C65-BA04-6986791C2943}" dt="2024-01-30T16:41:35.596" v="4211" actId="14100"/>
          <ac:spMkLst>
            <pc:docMk/>
            <pc:sldMk cId="1501828369" sldId="2147480290"/>
            <ac:spMk id="49" creationId="{C0380816-51B3-EEE3-8F57-A5C74F58BBC2}"/>
          </ac:spMkLst>
        </pc:spChg>
      </pc:sldChg>
      <pc:sldChg chg="addSp modSp add mod ord">
        <pc:chgData name="Laurence ANGILBERT" userId="28ea2967-f540-4e7d-a641-d418703ece22" providerId="ADAL" clId="{859296AE-058C-4C65-BA04-6986791C2943}" dt="2024-02-02T09:18:55.624" v="25693" actId="1037"/>
        <pc:sldMkLst>
          <pc:docMk/>
          <pc:sldMk cId="3389911945" sldId="2147480290"/>
        </pc:sldMkLst>
        <pc:spChg chg="mod">
          <ac:chgData name="Laurence ANGILBERT" userId="28ea2967-f540-4e7d-a641-d418703ece22" providerId="ADAL" clId="{859296AE-058C-4C65-BA04-6986791C2943}" dt="2024-02-02T09:18:55.624" v="25693" actId="1037"/>
          <ac:spMkLst>
            <pc:docMk/>
            <pc:sldMk cId="3389911945" sldId="2147480290"/>
            <ac:spMk id="2" creationId="{5C91E337-74B9-4A35-882F-27BDB4F76934}"/>
          </ac:spMkLst>
        </pc:spChg>
        <pc:spChg chg="mod">
          <ac:chgData name="Laurence ANGILBERT" userId="28ea2967-f540-4e7d-a641-d418703ece22" providerId="ADAL" clId="{859296AE-058C-4C65-BA04-6986791C2943}" dt="2024-01-31T14:15:24.012" v="13202" actId="14100"/>
          <ac:spMkLst>
            <pc:docMk/>
            <pc:sldMk cId="3389911945" sldId="2147480290"/>
            <ac:spMk id="4" creationId="{E641CD1F-FC7E-6BBE-5948-37C517461613}"/>
          </ac:spMkLst>
        </pc:spChg>
        <pc:spChg chg="add mod">
          <ac:chgData name="Laurence ANGILBERT" userId="28ea2967-f540-4e7d-a641-d418703ece22" providerId="ADAL" clId="{859296AE-058C-4C65-BA04-6986791C2943}" dt="2024-02-01T09:34:07.010" v="20681" actId="20577"/>
          <ac:spMkLst>
            <pc:docMk/>
            <pc:sldMk cId="3389911945" sldId="2147480290"/>
            <ac:spMk id="5" creationId="{647D3E13-034D-C623-6748-1C1AA36C519B}"/>
          </ac:spMkLst>
        </pc:spChg>
        <pc:spChg chg="mod">
          <ac:chgData name="Laurence ANGILBERT" userId="28ea2967-f540-4e7d-a641-d418703ece22" providerId="ADAL" clId="{859296AE-058C-4C65-BA04-6986791C2943}" dt="2024-01-31T14:16:08.909" v="13210" actId="1076"/>
          <ac:spMkLst>
            <pc:docMk/>
            <pc:sldMk cId="3389911945" sldId="2147480290"/>
            <ac:spMk id="45" creationId="{342146C9-3AE2-24E5-54BA-901F52F86A95}"/>
          </ac:spMkLst>
        </pc:spChg>
        <pc:spChg chg="mod">
          <ac:chgData name="Laurence ANGILBERT" userId="28ea2967-f540-4e7d-a641-d418703ece22" providerId="ADAL" clId="{859296AE-058C-4C65-BA04-6986791C2943}" dt="2024-01-31T14:15:40.021" v="13205" actId="403"/>
          <ac:spMkLst>
            <pc:docMk/>
            <pc:sldMk cId="3389911945" sldId="2147480290"/>
            <ac:spMk id="49" creationId="{C0380816-51B3-EEE3-8F57-A5C74F58BBC2}"/>
          </ac:spMkLst>
        </pc:spChg>
      </pc:sldChg>
      <pc:sldChg chg="delSp modSp mod delCm">
        <pc:chgData name="Laurence ANGILBERT" userId="28ea2967-f540-4e7d-a641-d418703ece22" providerId="ADAL" clId="{859296AE-058C-4C65-BA04-6986791C2943}" dt="2024-02-02T17:56:31.460" v="30122"/>
        <pc:sldMkLst>
          <pc:docMk/>
          <pc:sldMk cId="596601236" sldId="2147480292"/>
        </pc:sldMkLst>
        <pc:spChg chg="mod">
          <ac:chgData name="Laurence ANGILBERT" userId="28ea2967-f540-4e7d-a641-d418703ece22" providerId="ADAL" clId="{859296AE-058C-4C65-BA04-6986791C2943}" dt="2024-02-02T09:15:18.331" v="25676"/>
          <ac:spMkLst>
            <pc:docMk/>
            <pc:sldMk cId="596601236" sldId="2147480292"/>
            <ac:spMk id="2" creationId="{5C91E337-74B9-4A35-882F-27BDB4F76934}"/>
          </ac:spMkLst>
        </pc:spChg>
        <pc:spChg chg="mod">
          <ac:chgData name="Laurence ANGILBERT" userId="28ea2967-f540-4e7d-a641-d418703ece22" providerId="ADAL" clId="{859296AE-058C-4C65-BA04-6986791C2943}" dt="2024-01-30T16:38:45.051" v="4104" actId="108"/>
          <ac:spMkLst>
            <pc:docMk/>
            <pc:sldMk cId="596601236" sldId="2147480292"/>
            <ac:spMk id="4" creationId="{57894F96-70C8-2EF7-4474-546B825A05B8}"/>
          </ac:spMkLst>
        </pc:spChg>
        <pc:spChg chg="del mod">
          <ac:chgData name="Laurence ANGILBERT" userId="28ea2967-f540-4e7d-a641-d418703ece22" providerId="ADAL" clId="{859296AE-058C-4C65-BA04-6986791C2943}" dt="2024-01-31T14:07:16.256" v="13109" actId="478"/>
          <ac:spMkLst>
            <pc:docMk/>
            <pc:sldMk cId="596601236" sldId="2147480292"/>
            <ac:spMk id="36" creationId="{A5B01E4A-A820-5E89-D447-BE0273A2C2EF}"/>
          </ac:spMkLst>
        </pc:spChg>
        <pc:extLst>
          <p:ext xmlns:p="http://schemas.openxmlformats.org/presentationml/2006/main" uri="{D6D511B9-2390-475A-947B-AFAB55BFBCF1}">
            <pc226:cmChg xmlns:pc226="http://schemas.microsoft.com/office/powerpoint/2022/06/main/command" chg="del">
              <pc226:chgData name="Laurence ANGILBERT" userId="28ea2967-f540-4e7d-a641-d418703ece22" providerId="ADAL" clId="{859296AE-058C-4C65-BA04-6986791C2943}" dt="2024-02-02T17:56:31.460" v="30122"/>
              <pc2:cmMkLst xmlns:pc2="http://schemas.microsoft.com/office/powerpoint/2019/9/main/command">
                <pc:docMk/>
                <pc:sldMk cId="596601236" sldId="2147480292"/>
                <pc2:cmMk id="{95D0C8BF-A3F9-485F-BD2E-5F9607E29D50}"/>
              </pc2:cmMkLst>
            </pc226:cmChg>
          </p:ext>
        </pc:extLst>
      </pc:sldChg>
      <pc:sldChg chg="add">
        <pc:chgData name="Laurence ANGILBERT" userId="28ea2967-f540-4e7d-a641-d418703ece22" providerId="ADAL" clId="{859296AE-058C-4C65-BA04-6986791C2943}" dt="2024-02-02T09:02:41.224" v="25405"/>
        <pc:sldMkLst>
          <pc:docMk/>
          <pc:sldMk cId="813071202" sldId="2147480294"/>
        </pc:sldMkLst>
      </pc:sldChg>
      <pc:sldChg chg="delSp modSp del mod ord">
        <pc:chgData name="Laurence ANGILBERT" userId="28ea2967-f540-4e7d-a641-d418703ece22" providerId="ADAL" clId="{859296AE-058C-4C65-BA04-6986791C2943}" dt="2024-02-02T09:02:29.373" v="25404" actId="2696"/>
        <pc:sldMkLst>
          <pc:docMk/>
          <pc:sldMk cId="936296583" sldId="2147480294"/>
        </pc:sldMkLst>
        <pc:spChg chg="del">
          <ac:chgData name="Laurence ANGILBERT" userId="28ea2967-f540-4e7d-a641-d418703ece22" providerId="ADAL" clId="{859296AE-058C-4C65-BA04-6986791C2943}" dt="2024-01-30T16:45:12.646" v="4212" actId="478"/>
          <ac:spMkLst>
            <pc:docMk/>
            <pc:sldMk cId="936296583" sldId="2147480294"/>
            <ac:spMk id="3" creationId="{62210386-2B08-4902-B97E-84F4849BCD88}"/>
          </ac:spMkLst>
        </pc:spChg>
        <pc:spChg chg="mod">
          <ac:chgData name="Laurence ANGILBERT" userId="28ea2967-f540-4e7d-a641-d418703ece22" providerId="ADAL" clId="{859296AE-058C-4C65-BA04-6986791C2943}" dt="2024-01-31T16:51:21.910" v="15241" actId="14100"/>
          <ac:spMkLst>
            <pc:docMk/>
            <pc:sldMk cId="936296583" sldId="2147480294"/>
            <ac:spMk id="4" creationId="{F3882722-D898-C39D-C918-35D7D0BA039A}"/>
          </ac:spMkLst>
        </pc:spChg>
      </pc:sldChg>
      <pc:sldChg chg="add">
        <pc:chgData name="Laurence ANGILBERT" userId="28ea2967-f540-4e7d-a641-d418703ece22" providerId="ADAL" clId="{859296AE-058C-4C65-BA04-6986791C2943}" dt="2024-02-02T09:04:34.993" v="25476"/>
        <pc:sldMkLst>
          <pc:docMk/>
          <pc:sldMk cId="1290375140" sldId="2147480296"/>
        </pc:sldMkLst>
      </pc:sldChg>
      <pc:sldChg chg="del ord">
        <pc:chgData name="Laurence ANGILBERT" userId="28ea2967-f540-4e7d-a641-d418703ece22" providerId="ADAL" clId="{859296AE-058C-4C65-BA04-6986791C2943}" dt="2024-02-02T09:04:27.790" v="25475" actId="2696"/>
        <pc:sldMkLst>
          <pc:docMk/>
          <pc:sldMk cId="3314057026" sldId="2147480296"/>
        </pc:sldMkLst>
      </pc:sldChg>
      <pc:sldChg chg="addSp modSp mod">
        <pc:chgData name="Laurence ANGILBERT" userId="28ea2967-f540-4e7d-a641-d418703ece22" providerId="ADAL" clId="{859296AE-058C-4C65-BA04-6986791C2943}" dt="2024-02-01T08:23:08.911" v="18385" actId="20577"/>
        <pc:sldMkLst>
          <pc:docMk/>
          <pc:sldMk cId="1871989762" sldId="2147480297"/>
        </pc:sldMkLst>
        <pc:spChg chg="mod">
          <ac:chgData name="Laurence ANGILBERT" userId="28ea2967-f540-4e7d-a641-d418703ece22" providerId="ADAL" clId="{859296AE-058C-4C65-BA04-6986791C2943}" dt="2024-02-01T08:23:08.911" v="18385" actId="20577"/>
          <ac:spMkLst>
            <pc:docMk/>
            <pc:sldMk cId="1871989762" sldId="2147480297"/>
            <ac:spMk id="2" creationId="{8841BFD6-808B-A31A-3219-984E547A519C}"/>
          </ac:spMkLst>
        </pc:spChg>
        <pc:spChg chg="add mod">
          <ac:chgData name="Laurence ANGILBERT" userId="28ea2967-f540-4e7d-a641-d418703ece22" providerId="ADAL" clId="{859296AE-058C-4C65-BA04-6986791C2943}" dt="2024-01-31T15:00:46.760" v="13618" actId="20577"/>
          <ac:spMkLst>
            <pc:docMk/>
            <pc:sldMk cId="1871989762" sldId="2147480297"/>
            <ac:spMk id="12" creationId="{19705654-CA39-F9D6-997C-3E5D4871001B}"/>
          </ac:spMkLst>
        </pc:spChg>
        <pc:spChg chg="mod">
          <ac:chgData name="Laurence ANGILBERT" userId="28ea2967-f540-4e7d-a641-d418703ece22" providerId="ADAL" clId="{859296AE-058C-4C65-BA04-6986791C2943}" dt="2024-02-01T08:22:47.884" v="18376" actId="20577"/>
          <ac:spMkLst>
            <pc:docMk/>
            <pc:sldMk cId="1871989762" sldId="2147480297"/>
            <ac:spMk id="53" creationId="{8EA43EA8-A7DB-F2E7-88BE-6547A70036D8}"/>
          </ac:spMkLst>
        </pc:spChg>
      </pc:sldChg>
      <pc:sldChg chg="addSp delSp modSp del mod">
        <pc:chgData name="Laurence ANGILBERT" userId="28ea2967-f540-4e7d-a641-d418703ece22" providerId="ADAL" clId="{859296AE-058C-4C65-BA04-6986791C2943}" dt="2024-02-02T08:31:01.998" v="24640" actId="2696"/>
        <pc:sldMkLst>
          <pc:docMk/>
          <pc:sldMk cId="1688075584" sldId="2147480302"/>
        </pc:sldMkLst>
        <pc:spChg chg="add del mod">
          <ac:chgData name="Laurence ANGILBERT" userId="28ea2967-f540-4e7d-a641-d418703ece22" providerId="ADAL" clId="{859296AE-058C-4C65-BA04-6986791C2943}" dt="2024-01-31T09:55:51.432" v="10291" actId="478"/>
          <ac:spMkLst>
            <pc:docMk/>
            <pc:sldMk cId="1688075584" sldId="2147480302"/>
            <ac:spMk id="2" creationId="{096D9B1D-4B46-FA35-261B-9EA18A326D0F}"/>
          </ac:spMkLst>
        </pc:spChg>
        <pc:spChg chg="add del mod">
          <ac:chgData name="Laurence ANGILBERT" userId="28ea2967-f540-4e7d-a641-d418703ece22" providerId="ADAL" clId="{859296AE-058C-4C65-BA04-6986791C2943}" dt="2024-02-01T12:55:56.769" v="22425" actId="478"/>
          <ac:spMkLst>
            <pc:docMk/>
            <pc:sldMk cId="1688075584" sldId="2147480302"/>
            <ac:spMk id="2" creationId="{48505B4B-2CFF-8861-7EF0-B29BEB30F87D}"/>
          </ac:spMkLst>
        </pc:spChg>
        <pc:spChg chg="mod">
          <ac:chgData name="Laurence ANGILBERT" userId="28ea2967-f540-4e7d-a641-d418703ece22" providerId="ADAL" clId="{859296AE-058C-4C65-BA04-6986791C2943}" dt="2024-02-01T08:47:57.214" v="19212" actId="14100"/>
          <ac:spMkLst>
            <pc:docMk/>
            <pc:sldMk cId="1688075584" sldId="2147480302"/>
            <ac:spMk id="3" creationId="{1DD85468-970B-4013-D370-EA2A4D5D1BA1}"/>
          </ac:spMkLst>
        </pc:spChg>
        <pc:spChg chg="mod">
          <ac:chgData name="Laurence ANGILBERT" userId="28ea2967-f540-4e7d-a641-d418703ece22" providerId="ADAL" clId="{859296AE-058C-4C65-BA04-6986791C2943}" dt="2024-02-01T12:58:25.735" v="22474" actId="20577"/>
          <ac:spMkLst>
            <pc:docMk/>
            <pc:sldMk cId="1688075584" sldId="2147480302"/>
            <ac:spMk id="4" creationId="{B45A4892-FF4B-57AE-B1BE-8B25B579B799}"/>
          </ac:spMkLst>
        </pc:spChg>
        <pc:spChg chg="del">
          <ac:chgData name="Laurence ANGILBERT" userId="28ea2967-f540-4e7d-a641-d418703ece22" providerId="ADAL" clId="{859296AE-058C-4C65-BA04-6986791C2943}" dt="2024-01-31T09:55:51.432" v="10291" actId="478"/>
          <ac:spMkLst>
            <pc:docMk/>
            <pc:sldMk cId="1688075584" sldId="2147480302"/>
            <ac:spMk id="5" creationId="{A9805C1D-147B-B4B0-986F-E6803E8936D2}"/>
          </ac:spMkLst>
        </pc:spChg>
        <pc:spChg chg="del mod">
          <ac:chgData name="Laurence ANGILBERT" userId="28ea2967-f540-4e7d-a641-d418703ece22" providerId="ADAL" clId="{859296AE-058C-4C65-BA04-6986791C2943}" dt="2024-01-31T09:55:51.432" v="10291" actId="478"/>
          <ac:spMkLst>
            <pc:docMk/>
            <pc:sldMk cId="1688075584" sldId="2147480302"/>
            <ac:spMk id="6" creationId="{22C78D11-37A1-CDCF-93E9-E62129580193}"/>
          </ac:spMkLst>
        </pc:spChg>
        <pc:spChg chg="add mod">
          <ac:chgData name="Laurence ANGILBERT" userId="28ea2967-f540-4e7d-a641-d418703ece22" providerId="ADAL" clId="{859296AE-058C-4C65-BA04-6986791C2943}" dt="2024-02-01T09:00:52.939" v="19642" actId="20577"/>
          <ac:spMkLst>
            <pc:docMk/>
            <pc:sldMk cId="1688075584" sldId="2147480302"/>
            <ac:spMk id="6" creationId="{4BFDAAEA-B1C9-9EA6-B386-E68E5B433EE6}"/>
          </ac:spMkLst>
        </pc:spChg>
        <pc:spChg chg="del">
          <ac:chgData name="Laurence ANGILBERT" userId="28ea2967-f540-4e7d-a641-d418703ece22" providerId="ADAL" clId="{859296AE-058C-4C65-BA04-6986791C2943}" dt="2024-01-31T09:55:51.432" v="10291" actId="478"/>
          <ac:spMkLst>
            <pc:docMk/>
            <pc:sldMk cId="1688075584" sldId="2147480302"/>
            <ac:spMk id="7" creationId="{A1F8B092-9CD0-5DD6-A0A1-297DEFEA9E4F}"/>
          </ac:spMkLst>
        </pc:spChg>
        <pc:spChg chg="add del mod">
          <ac:chgData name="Laurence ANGILBERT" userId="28ea2967-f540-4e7d-a641-d418703ece22" providerId="ADAL" clId="{859296AE-058C-4C65-BA04-6986791C2943}" dt="2024-02-01T09:08:20.961" v="19809" actId="478"/>
          <ac:spMkLst>
            <pc:docMk/>
            <pc:sldMk cId="1688075584" sldId="2147480302"/>
            <ac:spMk id="7" creationId="{B67C06FB-8DF7-36A6-D68A-40DA411D59EA}"/>
          </ac:spMkLst>
        </pc:spChg>
        <pc:spChg chg="del">
          <ac:chgData name="Laurence ANGILBERT" userId="28ea2967-f540-4e7d-a641-d418703ece22" providerId="ADAL" clId="{859296AE-058C-4C65-BA04-6986791C2943}" dt="2024-01-31T09:55:51.432" v="10291" actId="478"/>
          <ac:spMkLst>
            <pc:docMk/>
            <pc:sldMk cId="1688075584" sldId="2147480302"/>
            <ac:spMk id="8" creationId="{4F4FFC49-FB2E-DCA5-2E6C-FDE496AEE99A}"/>
          </ac:spMkLst>
        </pc:spChg>
        <pc:spChg chg="del">
          <ac:chgData name="Laurence ANGILBERT" userId="28ea2967-f540-4e7d-a641-d418703ece22" providerId="ADAL" clId="{859296AE-058C-4C65-BA04-6986791C2943}" dt="2024-01-31T09:55:51.432" v="10291" actId="478"/>
          <ac:spMkLst>
            <pc:docMk/>
            <pc:sldMk cId="1688075584" sldId="2147480302"/>
            <ac:spMk id="9" creationId="{66EB49D6-BB51-7D45-D375-8A151FDF5E56}"/>
          </ac:spMkLst>
        </pc:spChg>
        <pc:spChg chg="del mod">
          <ac:chgData name="Laurence ANGILBERT" userId="28ea2967-f540-4e7d-a641-d418703ece22" providerId="ADAL" clId="{859296AE-058C-4C65-BA04-6986791C2943}" dt="2024-01-31T09:55:51.432" v="10291" actId="478"/>
          <ac:spMkLst>
            <pc:docMk/>
            <pc:sldMk cId="1688075584" sldId="2147480302"/>
            <ac:spMk id="10" creationId="{D14BB2B0-040E-3510-DFE5-855F08829352}"/>
          </ac:spMkLst>
        </pc:spChg>
        <pc:spChg chg="del">
          <ac:chgData name="Laurence ANGILBERT" userId="28ea2967-f540-4e7d-a641-d418703ece22" providerId="ADAL" clId="{859296AE-058C-4C65-BA04-6986791C2943}" dt="2024-01-31T09:55:51.432" v="10291" actId="478"/>
          <ac:spMkLst>
            <pc:docMk/>
            <pc:sldMk cId="1688075584" sldId="2147480302"/>
            <ac:spMk id="11" creationId="{BAA3DDC7-5320-E950-E89D-4CD10B5E9099}"/>
          </ac:spMkLst>
        </pc:spChg>
        <pc:spChg chg="add del mod">
          <ac:chgData name="Laurence ANGILBERT" userId="28ea2967-f540-4e7d-a641-d418703ece22" providerId="ADAL" clId="{859296AE-058C-4C65-BA04-6986791C2943}" dt="2024-02-01T09:16:27.198" v="20185" actId="478"/>
          <ac:spMkLst>
            <pc:docMk/>
            <pc:sldMk cId="1688075584" sldId="2147480302"/>
            <ac:spMk id="11" creationId="{DE861CED-56CA-C931-2409-2D4726AE291F}"/>
          </ac:spMkLst>
        </pc:spChg>
        <pc:spChg chg="mod">
          <ac:chgData name="Laurence ANGILBERT" userId="28ea2967-f540-4e7d-a641-d418703ece22" providerId="ADAL" clId="{859296AE-058C-4C65-BA04-6986791C2943}" dt="2024-02-01T09:05:24.188" v="19807" actId="6549"/>
          <ac:spMkLst>
            <pc:docMk/>
            <pc:sldMk cId="1688075584" sldId="2147480302"/>
            <ac:spMk id="12" creationId="{030457D7-116C-A092-F4E3-4C5F1D9BF5F5}"/>
          </ac:spMkLst>
        </pc:spChg>
        <pc:spChg chg="del">
          <ac:chgData name="Laurence ANGILBERT" userId="28ea2967-f540-4e7d-a641-d418703ece22" providerId="ADAL" clId="{859296AE-058C-4C65-BA04-6986791C2943}" dt="2024-01-31T09:55:51.432" v="10291" actId="478"/>
          <ac:spMkLst>
            <pc:docMk/>
            <pc:sldMk cId="1688075584" sldId="2147480302"/>
            <ac:spMk id="12" creationId="{748E64C8-4429-B3A9-1B63-62F518C01507}"/>
          </ac:spMkLst>
        </pc:spChg>
        <pc:spChg chg="del">
          <ac:chgData name="Laurence ANGILBERT" userId="28ea2967-f540-4e7d-a641-d418703ece22" providerId="ADAL" clId="{859296AE-058C-4C65-BA04-6986791C2943}" dt="2024-01-31T09:55:51.432" v="10291" actId="478"/>
          <ac:spMkLst>
            <pc:docMk/>
            <pc:sldMk cId="1688075584" sldId="2147480302"/>
            <ac:spMk id="13" creationId="{AD606E6B-2671-C8FD-D5F5-313B98829C5E}"/>
          </ac:spMkLst>
        </pc:spChg>
        <pc:spChg chg="del">
          <ac:chgData name="Laurence ANGILBERT" userId="28ea2967-f540-4e7d-a641-d418703ece22" providerId="ADAL" clId="{859296AE-058C-4C65-BA04-6986791C2943}" dt="2024-01-31T09:55:51.432" v="10291" actId="478"/>
          <ac:spMkLst>
            <pc:docMk/>
            <pc:sldMk cId="1688075584" sldId="2147480302"/>
            <ac:spMk id="14" creationId="{6230212D-4CFD-1D53-6B05-4E1206D94A3F}"/>
          </ac:spMkLst>
        </pc:spChg>
        <pc:spChg chg="del">
          <ac:chgData name="Laurence ANGILBERT" userId="28ea2967-f540-4e7d-a641-d418703ece22" providerId="ADAL" clId="{859296AE-058C-4C65-BA04-6986791C2943}" dt="2024-01-31T09:55:51.432" v="10291" actId="478"/>
          <ac:spMkLst>
            <pc:docMk/>
            <pc:sldMk cId="1688075584" sldId="2147480302"/>
            <ac:spMk id="15" creationId="{758E6134-039B-0297-664A-2087C54C2D7E}"/>
          </ac:spMkLst>
        </pc:spChg>
        <pc:spChg chg="add del mod">
          <ac:chgData name="Laurence ANGILBERT" userId="28ea2967-f540-4e7d-a641-d418703ece22" providerId="ADAL" clId="{859296AE-058C-4C65-BA04-6986791C2943}" dt="2024-02-01T12:53:35.168" v="22309" actId="478"/>
          <ac:spMkLst>
            <pc:docMk/>
            <pc:sldMk cId="1688075584" sldId="2147480302"/>
            <ac:spMk id="15" creationId="{A4515371-EE9F-B2DD-45A0-1583CBA0A717}"/>
          </ac:spMkLst>
        </pc:spChg>
        <pc:spChg chg="del">
          <ac:chgData name="Laurence ANGILBERT" userId="28ea2967-f540-4e7d-a641-d418703ece22" providerId="ADAL" clId="{859296AE-058C-4C65-BA04-6986791C2943}" dt="2024-01-31T09:55:51.432" v="10291" actId="478"/>
          <ac:spMkLst>
            <pc:docMk/>
            <pc:sldMk cId="1688075584" sldId="2147480302"/>
            <ac:spMk id="16" creationId="{16E62982-8123-09D1-FCC1-AC82D91BBB42}"/>
          </ac:spMkLst>
        </pc:spChg>
        <pc:spChg chg="del">
          <ac:chgData name="Laurence ANGILBERT" userId="28ea2967-f540-4e7d-a641-d418703ece22" providerId="ADAL" clId="{859296AE-058C-4C65-BA04-6986791C2943}" dt="2024-01-31T09:55:51.432" v="10291" actId="478"/>
          <ac:spMkLst>
            <pc:docMk/>
            <pc:sldMk cId="1688075584" sldId="2147480302"/>
            <ac:spMk id="17" creationId="{1B52987F-16C6-94A2-FA64-00CBDF833CC2}"/>
          </ac:spMkLst>
        </pc:spChg>
        <pc:spChg chg="del">
          <ac:chgData name="Laurence ANGILBERT" userId="28ea2967-f540-4e7d-a641-d418703ece22" providerId="ADAL" clId="{859296AE-058C-4C65-BA04-6986791C2943}" dt="2024-02-01T12:56:07.574" v="22428" actId="478"/>
          <ac:spMkLst>
            <pc:docMk/>
            <pc:sldMk cId="1688075584" sldId="2147480302"/>
            <ac:spMk id="17" creationId="{F8475D44-EC46-1984-A245-4CF0949C9818}"/>
          </ac:spMkLst>
        </pc:spChg>
        <pc:spChg chg="del">
          <ac:chgData name="Laurence ANGILBERT" userId="28ea2967-f540-4e7d-a641-d418703ece22" providerId="ADAL" clId="{859296AE-058C-4C65-BA04-6986791C2943}" dt="2024-01-31T09:55:51.432" v="10291" actId="478"/>
          <ac:spMkLst>
            <pc:docMk/>
            <pc:sldMk cId="1688075584" sldId="2147480302"/>
            <ac:spMk id="18" creationId="{A2DB48AD-5169-A000-6CD4-6D9172055D1D}"/>
          </ac:spMkLst>
        </pc:spChg>
        <pc:spChg chg="add del mod">
          <ac:chgData name="Laurence ANGILBERT" userId="28ea2967-f540-4e7d-a641-d418703ece22" providerId="ADAL" clId="{859296AE-058C-4C65-BA04-6986791C2943}" dt="2024-02-01T09:19:05.047" v="20239" actId="21"/>
          <ac:spMkLst>
            <pc:docMk/>
            <pc:sldMk cId="1688075584" sldId="2147480302"/>
            <ac:spMk id="18" creationId="{E22B5744-BF99-27E2-2F8C-998DCD2C2326}"/>
          </ac:spMkLst>
        </pc:spChg>
        <pc:spChg chg="add del mod">
          <ac:chgData name="Laurence ANGILBERT" userId="28ea2967-f540-4e7d-a641-d418703ece22" providerId="ADAL" clId="{859296AE-058C-4C65-BA04-6986791C2943}" dt="2024-02-01T12:50:47.878" v="22253" actId="478"/>
          <ac:spMkLst>
            <pc:docMk/>
            <pc:sldMk cId="1688075584" sldId="2147480302"/>
            <ac:spMk id="19" creationId="{A3812804-AAC0-69FF-ED59-94CCBA9A89E4}"/>
          </ac:spMkLst>
        </pc:spChg>
        <pc:spChg chg="del">
          <ac:chgData name="Laurence ANGILBERT" userId="28ea2967-f540-4e7d-a641-d418703ece22" providerId="ADAL" clId="{859296AE-058C-4C65-BA04-6986791C2943}" dt="2024-01-31T09:55:51.432" v="10291" actId="478"/>
          <ac:spMkLst>
            <pc:docMk/>
            <pc:sldMk cId="1688075584" sldId="2147480302"/>
            <ac:spMk id="19" creationId="{ECCA6F3B-9E7D-EB6C-286A-FAC228A1064D}"/>
          </ac:spMkLst>
        </pc:spChg>
        <pc:spChg chg="del">
          <ac:chgData name="Laurence ANGILBERT" userId="28ea2967-f540-4e7d-a641-d418703ece22" providerId="ADAL" clId="{859296AE-058C-4C65-BA04-6986791C2943}" dt="2024-01-31T09:55:51.432" v="10291" actId="478"/>
          <ac:spMkLst>
            <pc:docMk/>
            <pc:sldMk cId="1688075584" sldId="2147480302"/>
            <ac:spMk id="20" creationId="{3943277C-F67A-08B7-FF20-0733C8093222}"/>
          </ac:spMkLst>
        </pc:spChg>
        <pc:spChg chg="mod">
          <ac:chgData name="Laurence ANGILBERT" userId="28ea2967-f540-4e7d-a641-d418703ece22" providerId="ADAL" clId="{859296AE-058C-4C65-BA04-6986791C2943}" dt="2024-02-01T12:49:11.701" v="22237" actId="20577"/>
          <ac:spMkLst>
            <pc:docMk/>
            <pc:sldMk cId="1688075584" sldId="2147480302"/>
            <ac:spMk id="20" creationId="{A673B27B-671E-7E3B-9314-B56DF6C44F99}"/>
          </ac:spMkLst>
        </pc:spChg>
        <pc:spChg chg="del">
          <ac:chgData name="Laurence ANGILBERT" userId="28ea2967-f540-4e7d-a641-d418703ece22" providerId="ADAL" clId="{859296AE-058C-4C65-BA04-6986791C2943}" dt="2024-01-31T09:55:51.432" v="10291" actId="478"/>
          <ac:spMkLst>
            <pc:docMk/>
            <pc:sldMk cId="1688075584" sldId="2147480302"/>
            <ac:spMk id="21" creationId="{E9784446-C191-467E-0CEF-A3A1E20EE208}"/>
          </ac:spMkLst>
        </pc:spChg>
        <pc:spChg chg="del">
          <ac:chgData name="Laurence ANGILBERT" userId="28ea2967-f540-4e7d-a641-d418703ece22" providerId="ADAL" clId="{859296AE-058C-4C65-BA04-6986791C2943}" dt="2024-01-31T09:55:51.432" v="10291" actId="478"/>
          <ac:spMkLst>
            <pc:docMk/>
            <pc:sldMk cId="1688075584" sldId="2147480302"/>
            <ac:spMk id="22" creationId="{DA6D0126-8232-B6F2-082B-A0947BC49EC4}"/>
          </ac:spMkLst>
        </pc:spChg>
        <pc:spChg chg="del">
          <ac:chgData name="Laurence ANGILBERT" userId="28ea2967-f540-4e7d-a641-d418703ece22" providerId="ADAL" clId="{859296AE-058C-4C65-BA04-6986791C2943}" dt="2024-01-31T09:55:53.140" v="10292" actId="478"/>
          <ac:spMkLst>
            <pc:docMk/>
            <pc:sldMk cId="1688075584" sldId="2147480302"/>
            <ac:spMk id="24" creationId="{F29FA0D9-5054-CBEB-03DE-F02462CEE6EA}"/>
          </ac:spMkLst>
        </pc:spChg>
        <pc:spChg chg="add del">
          <ac:chgData name="Laurence ANGILBERT" userId="28ea2967-f540-4e7d-a641-d418703ece22" providerId="ADAL" clId="{859296AE-058C-4C65-BA04-6986791C2943}" dt="2024-01-30T17:27:38.363" v="5377" actId="478"/>
          <ac:spMkLst>
            <pc:docMk/>
            <pc:sldMk cId="1688075584" sldId="2147480302"/>
            <ac:spMk id="25" creationId="{4652D1C5-5D50-B7ED-EADF-2E1F51AAC424}"/>
          </ac:spMkLst>
        </pc:spChg>
        <pc:spChg chg="add mod">
          <ac:chgData name="Laurence ANGILBERT" userId="28ea2967-f540-4e7d-a641-d418703ece22" providerId="ADAL" clId="{859296AE-058C-4C65-BA04-6986791C2943}" dt="2024-02-01T12:57:10.238" v="22470" actId="1076"/>
          <ac:spMkLst>
            <pc:docMk/>
            <pc:sldMk cId="1688075584" sldId="2147480302"/>
            <ac:spMk id="25" creationId="{A72886EB-98E2-25E5-97F9-734E7BCB5161}"/>
          </ac:spMkLst>
        </pc:spChg>
        <pc:spChg chg="add mod">
          <ac:chgData name="Laurence ANGILBERT" userId="28ea2967-f540-4e7d-a641-d418703ece22" providerId="ADAL" clId="{859296AE-058C-4C65-BA04-6986791C2943}" dt="2024-02-01T12:53:54.390" v="22311" actId="14100"/>
          <ac:spMkLst>
            <pc:docMk/>
            <pc:sldMk cId="1688075584" sldId="2147480302"/>
            <ac:spMk id="26" creationId="{061365BA-2672-7504-0BC8-FB571E4CD036}"/>
          </ac:spMkLst>
        </pc:spChg>
        <pc:spChg chg="add del mod">
          <ac:chgData name="Laurence ANGILBERT" userId="28ea2967-f540-4e7d-a641-d418703ece22" providerId="ADAL" clId="{859296AE-058C-4C65-BA04-6986791C2943}" dt="2024-01-31T11:00:04.752" v="10840" actId="478"/>
          <ac:spMkLst>
            <pc:docMk/>
            <pc:sldMk cId="1688075584" sldId="2147480302"/>
            <ac:spMk id="26" creationId="{896E1BBD-D27C-D9A1-8A90-E1CEFB9F5B6F}"/>
          </ac:spMkLst>
        </pc:spChg>
        <pc:spChg chg="add del mod">
          <ac:chgData name="Laurence ANGILBERT" userId="28ea2967-f540-4e7d-a641-d418703ece22" providerId="ADAL" clId="{859296AE-058C-4C65-BA04-6986791C2943}" dt="2024-01-31T11:00:01.520" v="10839" actId="478"/>
          <ac:spMkLst>
            <pc:docMk/>
            <pc:sldMk cId="1688075584" sldId="2147480302"/>
            <ac:spMk id="27" creationId="{34F5752C-D9AD-FF8F-0782-D69726FBAD93}"/>
          </ac:spMkLst>
        </pc:spChg>
        <pc:spChg chg="add mod">
          <ac:chgData name="Laurence ANGILBERT" userId="28ea2967-f540-4e7d-a641-d418703ece22" providerId="ADAL" clId="{859296AE-058C-4C65-BA04-6986791C2943}" dt="2024-02-01T12:57:10.238" v="22470" actId="1076"/>
          <ac:spMkLst>
            <pc:docMk/>
            <pc:sldMk cId="1688075584" sldId="2147480302"/>
            <ac:spMk id="29" creationId="{656008AB-84F9-A756-5E24-694B62D6FF1B}"/>
          </ac:spMkLst>
        </pc:spChg>
        <pc:spChg chg="add del mod">
          <ac:chgData name="Laurence ANGILBERT" userId="28ea2967-f540-4e7d-a641-d418703ece22" providerId="ADAL" clId="{859296AE-058C-4C65-BA04-6986791C2943}" dt="2024-02-01T12:50:20.386" v="22244" actId="478"/>
          <ac:spMkLst>
            <pc:docMk/>
            <pc:sldMk cId="1688075584" sldId="2147480302"/>
            <ac:spMk id="30" creationId="{3C8E7D1F-CC31-EDC4-E553-970EA6836723}"/>
          </ac:spMkLst>
        </pc:spChg>
        <pc:spChg chg="add del mod">
          <ac:chgData name="Laurence ANGILBERT" userId="28ea2967-f540-4e7d-a641-d418703ece22" providerId="ADAL" clId="{859296AE-058C-4C65-BA04-6986791C2943}" dt="2024-01-31T16:15:10.173" v="14861" actId="478"/>
          <ac:spMkLst>
            <pc:docMk/>
            <pc:sldMk cId="1688075584" sldId="2147480302"/>
            <ac:spMk id="31" creationId="{B2A39A04-3263-82EB-3D56-C9F6B44490C5}"/>
          </ac:spMkLst>
        </pc:spChg>
        <pc:spChg chg="add mod">
          <ac:chgData name="Laurence ANGILBERT" userId="28ea2967-f540-4e7d-a641-d418703ece22" providerId="ADAL" clId="{859296AE-058C-4C65-BA04-6986791C2943}" dt="2024-02-01T12:56:29.208" v="22433" actId="14100"/>
          <ac:spMkLst>
            <pc:docMk/>
            <pc:sldMk cId="1688075584" sldId="2147480302"/>
            <ac:spMk id="32" creationId="{8CFE4001-B6BE-E6C3-191B-1B362D32EF8F}"/>
          </ac:spMkLst>
        </pc:spChg>
        <pc:spChg chg="add mod">
          <ac:chgData name="Laurence ANGILBERT" userId="28ea2967-f540-4e7d-a641-d418703ece22" providerId="ADAL" clId="{859296AE-058C-4C65-BA04-6986791C2943}" dt="2024-01-31T11:32:36.164" v="11555" actId="14100"/>
          <ac:spMkLst>
            <pc:docMk/>
            <pc:sldMk cId="1688075584" sldId="2147480302"/>
            <ac:spMk id="33" creationId="{A1654466-0E14-27E8-5018-2461CDD59461}"/>
          </ac:spMkLst>
        </pc:spChg>
        <pc:spChg chg="add del mod">
          <ac:chgData name="Laurence ANGILBERT" userId="28ea2967-f540-4e7d-a641-d418703ece22" providerId="ADAL" clId="{859296AE-058C-4C65-BA04-6986791C2943}" dt="2024-02-01T12:49:16.957" v="22239" actId="478"/>
          <ac:spMkLst>
            <pc:docMk/>
            <pc:sldMk cId="1688075584" sldId="2147480302"/>
            <ac:spMk id="35" creationId="{0951FF4B-188B-7DEB-8131-71D2405ADD01}"/>
          </ac:spMkLst>
        </pc:spChg>
        <pc:spChg chg="add mod">
          <ac:chgData name="Laurence ANGILBERT" userId="28ea2967-f540-4e7d-a641-d418703ece22" providerId="ADAL" clId="{859296AE-058C-4C65-BA04-6986791C2943}" dt="2024-02-01T12:56:49.022" v="22453" actId="1036"/>
          <ac:spMkLst>
            <pc:docMk/>
            <pc:sldMk cId="1688075584" sldId="2147480302"/>
            <ac:spMk id="36" creationId="{E9E175A2-C73C-AABD-A739-04B1DE268FF2}"/>
          </ac:spMkLst>
        </pc:spChg>
        <pc:spChg chg="add mod">
          <ac:chgData name="Laurence ANGILBERT" userId="28ea2967-f540-4e7d-a641-d418703ece22" providerId="ADAL" clId="{859296AE-058C-4C65-BA04-6986791C2943}" dt="2024-02-01T12:56:49.022" v="22453" actId="1036"/>
          <ac:spMkLst>
            <pc:docMk/>
            <pc:sldMk cId="1688075584" sldId="2147480302"/>
            <ac:spMk id="37" creationId="{349CCB2E-84F0-3A8A-0FCB-9CA4F208CC61}"/>
          </ac:spMkLst>
        </pc:spChg>
        <pc:spChg chg="add mod">
          <ac:chgData name="Laurence ANGILBERT" userId="28ea2967-f540-4e7d-a641-d418703ece22" providerId="ADAL" clId="{859296AE-058C-4C65-BA04-6986791C2943}" dt="2024-02-01T12:56:37.149" v="22434" actId="14100"/>
          <ac:spMkLst>
            <pc:docMk/>
            <pc:sldMk cId="1688075584" sldId="2147480302"/>
            <ac:spMk id="38" creationId="{3436AD79-08F5-111F-CCE1-F83A13D07389}"/>
          </ac:spMkLst>
        </pc:spChg>
        <pc:spChg chg="add mod">
          <ac:chgData name="Laurence ANGILBERT" userId="28ea2967-f540-4e7d-a641-d418703ece22" providerId="ADAL" clId="{859296AE-058C-4C65-BA04-6986791C2943}" dt="2024-02-01T12:54:44.609" v="22396" actId="1038"/>
          <ac:spMkLst>
            <pc:docMk/>
            <pc:sldMk cId="1688075584" sldId="2147480302"/>
            <ac:spMk id="39" creationId="{218867C9-B999-EF64-1414-3DF24F961137}"/>
          </ac:spMkLst>
        </pc:spChg>
        <pc:spChg chg="add mod">
          <ac:chgData name="Laurence ANGILBERT" userId="28ea2967-f540-4e7d-a641-d418703ece22" providerId="ADAL" clId="{859296AE-058C-4C65-BA04-6986791C2943}" dt="2024-02-01T13:12:25.225" v="22591" actId="14100"/>
          <ac:spMkLst>
            <pc:docMk/>
            <pc:sldMk cId="1688075584" sldId="2147480302"/>
            <ac:spMk id="40" creationId="{B8806870-0E59-80FC-B87E-840D4B353AA5}"/>
          </ac:spMkLst>
        </pc:spChg>
        <pc:spChg chg="add mod">
          <ac:chgData name="Laurence ANGILBERT" userId="28ea2967-f540-4e7d-a641-d418703ece22" providerId="ADAL" clId="{859296AE-058C-4C65-BA04-6986791C2943}" dt="2024-02-01T12:55:23.505" v="22415" actId="1076"/>
          <ac:spMkLst>
            <pc:docMk/>
            <pc:sldMk cId="1688075584" sldId="2147480302"/>
            <ac:spMk id="44" creationId="{37FAB019-EC7D-43F1-2256-7BB22DD16542}"/>
          </ac:spMkLst>
        </pc:spChg>
        <pc:spChg chg="add mod">
          <ac:chgData name="Laurence ANGILBERT" userId="28ea2967-f540-4e7d-a641-d418703ece22" providerId="ADAL" clId="{859296AE-058C-4C65-BA04-6986791C2943}" dt="2024-02-01T12:56:18.541" v="22430" actId="1076"/>
          <ac:spMkLst>
            <pc:docMk/>
            <pc:sldMk cId="1688075584" sldId="2147480302"/>
            <ac:spMk id="46" creationId="{4FE048C3-F106-C914-0163-03D57904C9A6}"/>
          </ac:spMkLst>
        </pc:spChg>
        <pc:spChg chg="add mod">
          <ac:chgData name="Laurence ANGILBERT" userId="28ea2967-f540-4e7d-a641-d418703ece22" providerId="ADAL" clId="{859296AE-058C-4C65-BA04-6986791C2943}" dt="2024-02-01T12:51:11.309" v="22258" actId="1076"/>
          <ac:spMkLst>
            <pc:docMk/>
            <pc:sldMk cId="1688075584" sldId="2147480302"/>
            <ac:spMk id="47" creationId="{0B8E7557-7CB1-B5C6-18DC-20166E1E7291}"/>
          </ac:spMkLst>
        </pc:spChg>
        <pc:spChg chg="add mod">
          <ac:chgData name="Laurence ANGILBERT" userId="28ea2967-f540-4e7d-a641-d418703ece22" providerId="ADAL" clId="{859296AE-058C-4C65-BA04-6986791C2943}" dt="2024-02-01T12:52:21.202" v="22264" actId="1076"/>
          <ac:spMkLst>
            <pc:docMk/>
            <pc:sldMk cId="1688075584" sldId="2147480302"/>
            <ac:spMk id="48" creationId="{CA330848-ED40-D5AD-4144-CB569E4FC14D}"/>
          </ac:spMkLst>
        </pc:spChg>
        <pc:spChg chg="add mod">
          <ac:chgData name="Laurence ANGILBERT" userId="28ea2967-f540-4e7d-a641-d418703ece22" providerId="ADAL" clId="{859296AE-058C-4C65-BA04-6986791C2943}" dt="2024-02-01T12:55:07.180" v="22411" actId="13926"/>
          <ac:spMkLst>
            <pc:docMk/>
            <pc:sldMk cId="1688075584" sldId="2147480302"/>
            <ac:spMk id="49" creationId="{2C1D346B-D042-826C-E008-BEB6A4340451}"/>
          </ac:spMkLst>
        </pc:spChg>
        <pc:spChg chg="add mod">
          <ac:chgData name="Laurence ANGILBERT" userId="28ea2967-f540-4e7d-a641-d418703ece22" providerId="ADAL" clId="{859296AE-058C-4C65-BA04-6986791C2943}" dt="2024-02-01T12:55:48.662" v="22424" actId="20577"/>
          <ac:spMkLst>
            <pc:docMk/>
            <pc:sldMk cId="1688075584" sldId="2147480302"/>
            <ac:spMk id="50" creationId="{B1E85E31-A2B1-030D-19F8-950922AC070F}"/>
          </ac:spMkLst>
        </pc:spChg>
        <pc:spChg chg="add mod">
          <ac:chgData name="Laurence ANGILBERT" userId="28ea2967-f540-4e7d-a641-d418703ece22" providerId="ADAL" clId="{859296AE-058C-4C65-BA04-6986791C2943}" dt="2024-02-01T12:57:10.238" v="22470" actId="1076"/>
          <ac:spMkLst>
            <pc:docMk/>
            <pc:sldMk cId="1688075584" sldId="2147480302"/>
            <ac:spMk id="53" creationId="{2A75B5B9-A4C3-96DE-1F7E-CDEBCCF8994B}"/>
          </ac:spMkLst>
        </pc:spChg>
        <pc:spChg chg="add mod">
          <ac:chgData name="Laurence ANGILBERT" userId="28ea2967-f540-4e7d-a641-d418703ece22" providerId="ADAL" clId="{859296AE-058C-4C65-BA04-6986791C2943}" dt="2024-02-01T12:57:10.238" v="22470" actId="1076"/>
          <ac:spMkLst>
            <pc:docMk/>
            <pc:sldMk cId="1688075584" sldId="2147480302"/>
            <ac:spMk id="55" creationId="{49909B7D-7EF1-D360-587A-9769C8875961}"/>
          </ac:spMkLst>
        </pc:spChg>
        <pc:spChg chg="add del mod">
          <ac:chgData name="Laurence ANGILBERT" userId="28ea2967-f540-4e7d-a641-d418703ece22" providerId="ADAL" clId="{859296AE-058C-4C65-BA04-6986791C2943}" dt="2024-01-31T15:20:37.437" v="13731" actId="478"/>
          <ac:spMkLst>
            <pc:docMk/>
            <pc:sldMk cId="1688075584" sldId="2147480302"/>
            <ac:spMk id="56" creationId="{790C25C5-DE09-0EF4-11DD-D044EBE8E869}"/>
          </ac:spMkLst>
        </pc:spChg>
        <pc:spChg chg="add mod">
          <ac:chgData name="Laurence ANGILBERT" userId="28ea2967-f540-4e7d-a641-d418703ece22" providerId="ADAL" clId="{859296AE-058C-4C65-BA04-6986791C2943}" dt="2024-02-01T12:55:00.953" v="22409" actId="1036"/>
          <ac:spMkLst>
            <pc:docMk/>
            <pc:sldMk cId="1688075584" sldId="2147480302"/>
            <ac:spMk id="57" creationId="{784650A3-D0C6-7E41-447C-10EAEAFB6060}"/>
          </ac:spMkLst>
        </pc:spChg>
        <pc:spChg chg="add mod">
          <ac:chgData name="Laurence ANGILBERT" userId="28ea2967-f540-4e7d-a641-d418703ece22" providerId="ADAL" clId="{859296AE-058C-4C65-BA04-6986791C2943}" dt="2024-02-01T12:55:45.287" v="22421" actId="1076"/>
          <ac:spMkLst>
            <pc:docMk/>
            <pc:sldMk cId="1688075584" sldId="2147480302"/>
            <ac:spMk id="58" creationId="{70086247-BD41-27F2-CD08-8F9BB939D4A6}"/>
          </ac:spMkLst>
        </pc:spChg>
        <pc:spChg chg="add mod">
          <ac:chgData name="Laurence ANGILBERT" userId="28ea2967-f540-4e7d-a641-d418703ece22" providerId="ADAL" clId="{859296AE-058C-4C65-BA04-6986791C2943}" dt="2024-02-01T12:53:51.381" v="22310" actId="1076"/>
          <ac:spMkLst>
            <pc:docMk/>
            <pc:sldMk cId="1688075584" sldId="2147480302"/>
            <ac:spMk id="59" creationId="{10CC8475-70D0-C097-F0E9-E14A75056703}"/>
          </ac:spMkLst>
        </pc:spChg>
        <pc:spChg chg="add mod">
          <ac:chgData name="Laurence ANGILBERT" userId="28ea2967-f540-4e7d-a641-d418703ece22" providerId="ADAL" clId="{859296AE-058C-4C65-BA04-6986791C2943}" dt="2024-02-01T12:57:10.238" v="22470" actId="1076"/>
          <ac:spMkLst>
            <pc:docMk/>
            <pc:sldMk cId="1688075584" sldId="2147480302"/>
            <ac:spMk id="61" creationId="{68443930-C9FB-E83F-C942-5138B68A1F7B}"/>
          </ac:spMkLst>
        </pc:spChg>
        <pc:spChg chg="add mod">
          <ac:chgData name="Laurence ANGILBERT" userId="28ea2967-f540-4e7d-a641-d418703ece22" providerId="ADAL" clId="{859296AE-058C-4C65-BA04-6986791C2943}" dt="2024-02-01T12:57:10.238" v="22470" actId="1076"/>
          <ac:spMkLst>
            <pc:docMk/>
            <pc:sldMk cId="1688075584" sldId="2147480302"/>
            <ac:spMk id="63" creationId="{5BA96670-E09F-6065-F4D2-24E6C0C137FA}"/>
          </ac:spMkLst>
        </pc:spChg>
        <pc:spChg chg="add mod">
          <ac:chgData name="Laurence ANGILBERT" userId="28ea2967-f540-4e7d-a641-d418703ece22" providerId="ADAL" clId="{859296AE-058C-4C65-BA04-6986791C2943}" dt="2024-02-01T12:55:45.287" v="22421" actId="1076"/>
          <ac:spMkLst>
            <pc:docMk/>
            <pc:sldMk cId="1688075584" sldId="2147480302"/>
            <ac:spMk id="3073" creationId="{33C703C2-3AD3-32E4-5D04-E1416B32781B}"/>
          </ac:spMkLst>
        </pc:spChg>
        <pc:spChg chg="add mod">
          <ac:chgData name="Laurence ANGILBERT" userId="28ea2967-f540-4e7d-a641-d418703ece22" providerId="ADAL" clId="{859296AE-058C-4C65-BA04-6986791C2943}" dt="2024-02-01T12:55:00.953" v="22409" actId="1036"/>
          <ac:spMkLst>
            <pc:docMk/>
            <pc:sldMk cId="1688075584" sldId="2147480302"/>
            <ac:spMk id="3077" creationId="{F66A105F-817F-A99F-578A-7018E04C97E6}"/>
          </ac:spMkLst>
        </pc:spChg>
        <pc:spChg chg="add mod">
          <ac:chgData name="Laurence ANGILBERT" userId="28ea2967-f540-4e7d-a641-d418703ece22" providerId="ADAL" clId="{859296AE-058C-4C65-BA04-6986791C2943}" dt="2024-02-01T12:52:40.552" v="22301" actId="1036"/>
          <ac:spMkLst>
            <pc:docMk/>
            <pc:sldMk cId="1688075584" sldId="2147480302"/>
            <ac:spMk id="3080" creationId="{183C693B-60C3-33C9-8093-66F3FA8D943E}"/>
          </ac:spMkLst>
        </pc:spChg>
        <pc:spChg chg="add del mod">
          <ac:chgData name="Laurence ANGILBERT" userId="28ea2967-f540-4e7d-a641-d418703ece22" providerId="ADAL" clId="{859296AE-058C-4C65-BA04-6986791C2943}" dt="2024-01-31T10:59:37.630" v="10836" actId="478"/>
          <ac:spMkLst>
            <pc:docMk/>
            <pc:sldMk cId="1688075584" sldId="2147480302"/>
            <ac:spMk id="3082" creationId="{21102EE6-EE4A-B8C3-C22F-33AD236EF6B1}"/>
          </ac:spMkLst>
        </pc:spChg>
        <pc:spChg chg="add del mod">
          <ac:chgData name="Laurence ANGILBERT" userId="28ea2967-f540-4e7d-a641-d418703ece22" providerId="ADAL" clId="{859296AE-058C-4C65-BA04-6986791C2943}" dt="2024-01-31T10:59:41.018" v="10837" actId="478"/>
          <ac:spMkLst>
            <pc:docMk/>
            <pc:sldMk cId="1688075584" sldId="2147480302"/>
            <ac:spMk id="3084" creationId="{894C8082-7041-95C0-B84E-1AC23061F4E9}"/>
          </ac:spMkLst>
        </pc:spChg>
        <pc:spChg chg="add mod ord">
          <ac:chgData name="Laurence ANGILBERT" userId="28ea2967-f540-4e7d-a641-d418703ece22" providerId="ADAL" clId="{859296AE-058C-4C65-BA04-6986791C2943}" dt="2024-02-01T12:56:42.229" v="22435" actId="14100"/>
          <ac:spMkLst>
            <pc:docMk/>
            <pc:sldMk cId="1688075584" sldId="2147480302"/>
            <ac:spMk id="3105" creationId="{4C00C1B2-BFF5-007E-6628-81ECBF184AD8}"/>
          </ac:spMkLst>
        </pc:spChg>
        <pc:spChg chg="add mod ord">
          <ac:chgData name="Laurence ANGILBERT" userId="28ea2967-f540-4e7d-a641-d418703ece22" providerId="ADAL" clId="{859296AE-058C-4C65-BA04-6986791C2943}" dt="2024-02-01T12:56:45.613" v="22436" actId="14100"/>
          <ac:spMkLst>
            <pc:docMk/>
            <pc:sldMk cId="1688075584" sldId="2147480302"/>
            <ac:spMk id="3106" creationId="{8D4ADADB-587E-DDF2-60C8-474982841F62}"/>
          </ac:spMkLst>
        </pc:spChg>
        <pc:spChg chg="mod">
          <ac:chgData name="Laurence ANGILBERT" userId="28ea2967-f540-4e7d-a641-d418703ece22" providerId="ADAL" clId="{859296AE-058C-4C65-BA04-6986791C2943}" dt="2024-02-01T17:08:53.318" v="23630" actId="207"/>
          <ac:spMkLst>
            <pc:docMk/>
            <pc:sldMk cId="1688075584" sldId="2147480302"/>
            <ac:spMk id="3140" creationId="{4C27EEC7-1F5C-4C7A-9012-D2BF4A9DF235}"/>
          </ac:spMkLst>
        </pc:spChg>
        <pc:spChg chg="add mod">
          <ac:chgData name="Laurence ANGILBERT" userId="28ea2967-f540-4e7d-a641-d418703ece22" providerId="ADAL" clId="{859296AE-058C-4C65-BA04-6986791C2943}" dt="2024-02-01T12:55:38.877" v="22420" actId="1076"/>
          <ac:spMkLst>
            <pc:docMk/>
            <pc:sldMk cId="1688075584" sldId="2147480302"/>
            <ac:spMk id="3160" creationId="{DCB63890-06D0-B348-915F-0F66C4749F42}"/>
          </ac:spMkLst>
        </pc:spChg>
        <pc:spChg chg="add mod">
          <ac:chgData name="Laurence ANGILBERT" userId="28ea2967-f540-4e7d-a641-d418703ece22" providerId="ADAL" clId="{859296AE-058C-4C65-BA04-6986791C2943}" dt="2024-02-01T12:56:06.048" v="22427" actId="1076"/>
          <ac:spMkLst>
            <pc:docMk/>
            <pc:sldMk cId="1688075584" sldId="2147480302"/>
            <ac:spMk id="3161" creationId="{9D7FB382-38EF-42FC-F5D0-CF9677C86893}"/>
          </ac:spMkLst>
        </pc:spChg>
        <pc:spChg chg="add mod">
          <ac:chgData name="Laurence ANGILBERT" userId="28ea2967-f540-4e7d-a641-d418703ece22" providerId="ADAL" clId="{859296AE-058C-4C65-BA04-6986791C2943}" dt="2024-02-01T13:12:05.805" v="22590" actId="207"/>
          <ac:spMkLst>
            <pc:docMk/>
            <pc:sldMk cId="1688075584" sldId="2147480302"/>
            <ac:spMk id="3165" creationId="{B36D89E9-18DD-18C3-02CE-225D0DEA7BB5}"/>
          </ac:spMkLst>
        </pc:spChg>
        <pc:picChg chg="del">
          <ac:chgData name="Laurence ANGILBERT" userId="28ea2967-f540-4e7d-a641-d418703ece22" providerId="ADAL" clId="{859296AE-058C-4C65-BA04-6986791C2943}" dt="2024-01-31T09:55:51.432" v="10291" actId="478"/>
          <ac:picMkLst>
            <pc:docMk/>
            <pc:sldMk cId="1688075584" sldId="2147480302"/>
            <ac:picMk id="23" creationId="{77FDF1C8-DD6C-7720-BD63-94DBC38947A4}"/>
          </ac:picMkLst>
        </pc:picChg>
        <pc:picChg chg="add mod">
          <ac:chgData name="Laurence ANGILBERT" userId="28ea2967-f540-4e7d-a641-d418703ece22" providerId="ADAL" clId="{859296AE-058C-4C65-BA04-6986791C2943}" dt="2024-02-01T12:50:40.473" v="22251" actId="1076"/>
          <ac:picMkLst>
            <pc:docMk/>
            <pc:sldMk cId="1688075584" sldId="2147480302"/>
            <ac:picMk id="27" creationId="{80FDCE6F-F5CA-FA0E-45A3-9D8934862EA8}"/>
          </ac:picMkLst>
        </pc:picChg>
        <pc:picChg chg="add mod">
          <ac:chgData name="Laurence ANGILBERT" userId="28ea2967-f540-4e7d-a641-d418703ece22" providerId="ADAL" clId="{859296AE-058C-4C65-BA04-6986791C2943}" dt="2024-02-01T12:57:10.238" v="22470" actId="1076"/>
          <ac:picMkLst>
            <pc:docMk/>
            <pc:sldMk cId="1688075584" sldId="2147480302"/>
            <ac:picMk id="28" creationId="{A9B22746-374E-B15F-07EE-BCFD9D104AC6}"/>
          </ac:picMkLst>
        </pc:picChg>
        <pc:picChg chg="add mod">
          <ac:chgData name="Laurence ANGILBERT" userId="28ea2967-f540-4e7d-a641-d418703ece22" providerId="ADAL" clId="{859296AE-058C-4C65-BA04-6986791C2943}" dt="2024-01-31T11:32:17.126" v="11549" actId="1035"/>
          <ac:picMkLst>
            <pc:docMk/>
            <pc:sldMk cId="1688075584" sldId="2147480302"/>
            <ac:picMk id="34" creationId="{DF586CCA-7B0B-6774-12CA-12BF99924BE6}"/>
          </ac:picMkLst>
        </pc:picChg>
        <pc:picChg chg="add mod">
          <ac:chgData name="Laurence ANGILBERT" userId="28ea2967-f540-4e7d-a641-d418703ece22" providerId="ADAL" clId="{859296AE-058C-4C65-BA04-6986791C2943}" dt="2024-02-01T12:50:38.657" v="22250" actId="1076"/>
          <ac:picMkLst>
            <pc:docMk/>
            <pc:sldMk cId="1688075584" sldId="2147480302"/>
            <ac:picMk id="41" creationId="{C87C92EF-FFF7-650A-E3CA-0B9C69BC2807}"/>
          </ac:picMkLst>
        </pc:picChg>
        <pc:picChg chg="add mod">
          <ac:chgData name="Laurence ANGILBERT" userId="28ea2967-f540-4e7d-a641-d418703ece22" providerId="ADAL" clId="{859296AE-058C-4C65-BA04-6986791C2943}" dt="2024-02-01T12:55:16.084" v="22412" actId="1076"/>
          <ac:picMkLst>
            <pc:docMk/>
            <pc:sldMk cId="1688075584" sldId="2147480302"/>
            <ac:picMk id="42" creationId="{D6754AFA-46D6-DECF-5583-3A01EEAFA441}"/>
          </ac:picMkLst>
        </pc:picChg>
        <pc:picChg chg="add mod">
          <ac:chgData name="Laurence ANGILBERT" userId="28ea2967-f540-4e7d-a641-d418703ece22" providerId="ADAL" clId="{859296AE-058C-4C65-BA04-6986791C2943}" dt="2024-02-01T12:54:46.525" v="22397" actId="1076"/>
          <ac:picMkLst>
            <pc:docMk/>
            <pc:sldMk cId="1688075584" sldId="2147480302"/>
            <ac:picMk id="43" creationId="{46811E38-21E5-76B0-579B-F3D9A049D455}"/>
          </ac:picMkLst>
        </pc:picChg>
        <pc:picChg chg="add mod">
          <ac:chgData name="Laurence ANGILBERT" userId="28ea2967-f540-4e7d-a641-d418703ece22" providerId="ADAL" clId="{859296AE-058C-4C65-BA04-6986791C2943}" dt="2024-02-01T12:55:21.798" v="22414" actId="1076"/>
          <ac:picMkLst>
            <pc:docMk/>
            <pc:sldMk cId="1688075584" sldId="2147480302"/>
            <ac:picMk id="45" creationId="{8189CF34-4F44-DD8C-93F8-A8C8B519A925}"/>
          </ac:picMkLst>
        </pc:picChg>
        <pc:picChg chg="add del mod">
          <ac:chgData name="Laurence ANGILBERT" userId="28ea2967-f540-4e7d-a641-d418703ece22" providerId="ADAL" clId="{859296AE-058C-4C65-BA04-6986791C2943}" dt="2024-01-31T10:43:45.655" v="10703" actId="478"/>
          <ac:picMkLst>
            <pc:docMk/>
            <pc:sldMk cId="1688075584" sldId="2147480302"/>
            <ac:picMk id="54" creationId="{EC3ECBA7-9313-0EC1-9394-E06F36647239}"/>
          </ac:picMkLst>
        </pc:picChg>
        <pc:picChg chg="add mod">
          <ac:chgData name="Laurence ANGILBERT" userId="28ea2967-f540-4e7d-a641-d418703ece22" providerId="ADAL" clId="{859296AE-058C-4C65-BA04-6986791C2943}" dt="2024-02-01T12:57:10.238" v="22470" actId="1076"/>
          <ac:picMkLst>
            <pc:docMk/>
            <pc:sldMk cId="1688075584" sldId="2147480302"/>
            <ac:picMk id="60" creationId="{9000CA11-A90B-C0E7-2D6B-7DCD54E21E5B}"/>
          </ac:picMkLst>
        </pc:picChg>
        <pc:picChg chg="add mod">
          <ac:chgData name="Laurence ANGILBERT" userId="28ea2967-f540-4e7d-a641-d418703ece22" providerId="ADAL" clId="{859296AE-058C-4C65-BA04-6986791C2943}" dt="2024-02-01T12:57:10.238" v="22470" actId="1076"/>
          <ac:picMkLst>
            <pc:docMk/>
            <pc:sldMk cId="1688075584" sldId="2147480302"/>
            <ac:picMk id="62" creationId="{10504DA1-08F8-FA98-01BA-E53504EFF9E3}"/>
          </ac:picMkLst>
        </pc:picChg>
        <pc:picChg chg="add mod">
          <ac:chgData name="Laurence ANGILBERT" userId="28ea2967-f540-4e7d-a641-d418703ece22" providerId="ADAL" clId="{859296AE-058C-4C65-BA04-6986791C2943}" dt="2024-02-01T12:55:45.287" v="22421" actId="1076"/>
          <ac:picMkLst>
            <pc:docMk/>
            <pc:sldMk cId="1688075584" sldId="2147480302"/>
            <ac:picMk id="3072" creationId="{7628632D-02F4-A089-ECAE-1BE84F93A33F}"/>
          </ac:picMkLst>
        </pc:picChg>
        <pc:picChg chg="add mod">
          <ac:chgData name="Laurence ANGILBERT" userId="28ea2967-f540-4e7d-a641-d418703ece22" providerId="ADAL" clId="{859296AE-058C-4C65-BA04-6986791C2943}" dt="2024-02-01T12:55:45.287" v="22421" actId="1076"/>
          <ac:picMkLst>
            <pc:docMk/>
            <pc:sldMk cId="1688075584" sldId="2147480302"/>
            <ac:picMk id="3074" creationId="{8A1EEE6C-7232-F814-BAB4-8E0D827AFE16}"/>
          </ac:picMkLst>
        </pc:picChg>
        <pc:picChg chg="add mod">
          <ac:chgData name="Laurence ANGILBERT" userId="28ea2967-f540-4e7d-a641-d418703ece22" providerId="ADAL" clId="{859296AE-058C-4C65-BA04-6986791C2943}" dt="2024-02-01T12:55:00.953" v="22409" actId="1036"/>
          <ac:picMkLst>
            <pc:docMk/>
            <pc:sldMk cId="1688075584" sldId="2147480302"/>
            <ac:picMk id="3075" creationId="{3F3914D7-620F-76B8-2C8F-E0D0BFBB91BB}"/>
          </ac:picMkLst>
        </pc:picChg>
        <pc:picChg chg="add mod">
          <ac:chgData name="Laurence ANGILBERT" userId="28ea2967-f540-4e7d-a641-d418703ece22" providerId="ADAL" clId="{859296AE-058C-4C65-BA04-6986791C2943}" dt="2024-02-01T12:55:00.953" v="22409" actId="1036"/>
          <ac:picMkLst>
            <pc:docMk/>
            <pc:sldMk cId="1688075584" sldId="2147480302"/>
            <ac:picMk id="3076" creationId="{06EF85DA-6355-293E-16F0-586A16D17671}"/>
          </ac:picMkLst>
        </pc:picChg>
        <pc:picChg chg="add mod">
          <ac:chgData name="Laurence ANGILBERT" userId="28ea2967-f540-4e7d-a641-d418703ece22" providerId="ADAL" clId="{859296AE-058C-4C65-BA04-6986791C2943}" dt="2024-02-01T12:53:51.381" v="22310" actId="1076"/>
          <ac:picMkLst>
            <pc:docMk/>
            <pc:sldMk cId="1688075584" sldId="2147480302"/>
            <ac:picMk id="3078" creationId="{20026058-1223-6E97-D660-3FCC235CCE64}"/>
          </ac:picMkLst>
        </pc:picChg>
        <pc:picChg chg="add mod">
          <ac:chgData name="Laurence ANGILBERT" userId="28ea2967-f540-4e7d-a641-d418703ece22" providerId="ADAL" clId="{859296AE-058C-4C65-BA04-6986791C2943}" dt="2024-02-01T12:52:40.552" v="22301" actId="1036"/>
          <ac:picMkLst>
            <pc:docMk/>
            <pc:sldMk cId="1688075584" sldId="2147480302"/>
            <ac:picMk id="3079" creationId="{53DA01D3-15B0-C6C0-AF8D-81EF69C349DF}"/>
          </ac:picMkLst>
        </pc:picChg>
        <pc:picChg chg="add del mod">
          <ac:chgData name="Laurence ANGILBERT" userId="28ea2967-f540-4e7d-a641-d418703ece22" providerId="ADAL" clId="{859296AE-058C-4C65-BA04-6986791C2943}" dt="2024-01-31T10:59:37.630" v="10836" actId="478"/>
          <ac:picMkLst>
            <pc:docMk/>
            <pc:sldMk cId="1688075584" sldId="2147480302"/>
            <ac:picMk id="3081" creationId="{59FD6D1C-11BA-BDC3-B113-1794C5CCCD83}"/>
          </ac:picMkLst>
        </pc:picChg>
        <pc:picChg chg="add del mod">
          <ac:chgData name="Laurence ANGILBERT" userId="28ea2967-f540-4e7d-a641-d418703ece22" providerId="ADAL" clId="{859296AE-058C-4C65-BA04-6986791C2943}" dt="2024-01-31T10:59:42.453" v="10838" actId="478"/>
          <ac:picMkLst>
            <pc:docMk/>
            <pc:sldMk cId="1688075584" sldId="2147480302"/>
            <ac:picMk id="3083" creationId="{F698F744-3F17-45BE-AA3D-DA507EF4370C}"/>
          </ac:picMkLst>
        </pc:picChg>
        <pc:picChg chg="add mod modCrop">
          <ac:chgData name="Laurence ANGILBERT" userId="28ea2967-f540-4e7d-a641-d418703ece22" providerId="ADAL" clId="{859296AE-058C-4C65-BA04-6986791C2943}" dt="2024-02-01T12:57:10.238" v="22470" actId="1076"/>
          <ac:picMkLst>
            <pc:docMk/>
            <pc:sldMk cId="1688075584" sldId="2147480302"/>
            <ac:picMk id="3136" creationId="{1649B587-0B7D-B125-3897-D498C4F2D7BF}"/>
          </ac:picMkLst>
        </pc:picChg>
        <pc:picChg chg="add del mod">
          <ac:chgData name="Laurence ANGILBERT" userId="28ea2967-f540-4e7d-a641-d418703ece22" providerId="ADAL" clId="{859296AE-058C-4C65-BA04-6986791C2943}" dt="2024-02-01T12:50:32.076" v="22247" actId="21"/>
          <ac:picMkLst>
            <pc:docMk/>
            <pc:sldMk cId="1688075584" sldId="2147480302"/>
            <ac:picMk id="3137" creationId="{80FDCE6F-F5CA-FA0E-45A3-9D8934862EA8}"/>
          </ac:picMkLst>
        </pc:picChg>
        <pc:cxnChg chg="add del">
          <ac:chgData name="Laurence ANGILBERT" userId="28ea2967-f540-4e7d-a641-d418703ece22" providerId="ADAL" clId="{859296AE-058C-4C65-BA04-6986791C2943}" dt="2024-01-31T10:43:24.648" v="10699" actId="478"/>
          <ac:cxnSpMkLst>
            <pc:docMk/>
            <pc:sldMk cId="1688075584" sldId="2147480302"/>
            <ac:cxnSpMk id="52" creationId="{A893686A-2B31-65C1-2541-98616CC21347}"/>
          </ac:cxnSpMkLst>
        </pc:cxnChg>
        <pc:cxnChg chg="add mod">
          <ac:chgData name="Laurence ANGILBERT" userId="28ea2967-f540-4e7d-a641-d418703ece22" providerId="ADAL" clId="{859296AE-058C-4C65-BA04-6986791C2943}" dt="2024-02-01T12:57:23.949" v="22472" actId="14100"/>
          <ac:cxnSpMkLst>
            <pc:docMk/>
            <pc:sldMk cId="1688075584" sldId="2147480302"/>
            <ac:cxnSpMk id="3086" creationId="{38C5C80F-3EFB-D38A-EAF7-902C5FCF8D6E}"/>
          </ac:cxnSpMkLst>
        </pc:cxnChg>
        <pc:cxnChg chg="add del mod">
          <ac:chgData name="Laurence ANGILBERT" userId="28ea2967-f540-4e7d-a641-d418703ece22" providerId="ADAL" clId="{859296AE-058C-4C65-BA04-6986791C2943}" dt="2024-01-31T11:08:02.078" v="10989" actId="478"/>
          <ac:cxnSpMkLst>
            <pc:docMk/>
            <pc:sldMk cId="1688075584" sldId="2147480302"/>
            <ac:cxnSpMk id="3087" creationId="{3710469F-7B52-AB0D-65DC-B277D6E9A534}"/>
          </ac:cxnSpMkLst>
        </pc:cxnChg>
        <pc:cxnChg chg="add mod">
          <ac:chgData name="Laurence ANGILBERT" userId="28ea2967-f540-4e7d-a641-d418703ece22" providerId="ADAL" clId="{859296AE-058C-4C65-BA04-6986791C2943}" dt="2024-01-31T19:57:50.075" v="17954" actId="14100"/>
          <ac:cxnSpMkLst>
            <pc:docMk/>
            <pc:sldMk cId="1688075584" sldId="2147480302"/>
            <ac:cxnSpMk id="3091" creationId="{46D70A3B-1419-4900-234F-E70DE603F231}"/>
          </ac:cxnSpMkLst>
        </pc:cxnChg>
        <pc:cxnChg chg="add mod">
          <ac:chgData name="Laurence ANGILBERT" userId="28ea2967-f540-4e7d-a641-d418703ece22" providerId="ADAL" clId="{859296AE-058C-4C65-BA04-6986791C2943}" dt="2024-02-01T12:55:28.756" v="22417" actId="14100"/>
          <ac:cxnSpMkLst>
            <pc:docMk/>
            <pc:sldMk cId="1688075584" sldId="2147480302"/>
            <ac:cxnSpMk id="3094" creationId="{D0C4D244-A74E-C167-F4AF-B94EC49ABA06}"/>
          </ac:cxnSpMkLst>
        </pc:cxnChg>
        <pc:cxnChg chg="add mod">
          <ac:chgData name="Laurence ANGILBERT" userId="28ea2967-f540-4e7d-a641-d418703ece22" providerId="ADAL" clId="{859296AE-058C-4C65-BA04-6986791C2943}" dt="2024-02-01T12:55:32.703" v="22418" actId="14100"/>
          <ac:cxnSpMkLst>
            <pc:docMk/>
            <pc:sldMk cId="1688075584" sldId="2147480302"/>
            <ac:cxnSpMk id="3097" creationId="{71B78758-B5AD-48DC-1B64-990833AD920F}"/>
          </ac:cxnSpMkLst>
        </pc:cxnChg>
        <pc:cxnChg chg="add mod">
          <ac:chgData name="Laurence ANGILBERT" userId="28ea2967-f540-4e7d-a641-d418703ece22" providerId="ADAL" clId="{859296AE-058C-4C65-BA04-6986791C2943}" dt="2024-02-01T13:12:25.225" v="22591" actId="14100"/>
          <ac:cxnSpMkLst>
            <pc:docMk/>
            <pc:sldMk cId="1688075584" sldId="2147480302"/>
            <ac:cxnSpMk id="3100" creationId="{21D040B4-2642-6E64-8E15-8E6D8BAC7C19}"/>
          </ac:cxnSpMkLst>
        </pc:cxnChg>
        <pc:cxnChg chg="add del mod">
          <ac:chgData name="Laurence ANGILBERT" userId="28ea2967-f540-4e7d-a641-d418703ece22" providerId="ADAL" clId="{859296AE-058C-4C65-BA04-6986791C2943}" dt="2024-01-31T11:30:34.077" v="11521" actId="478"/>
          <ac:cxnSpMkLst>
            <pc:docMk/>
            <pc:sldMk cId="1688075584" sldId="2147480302"/>
            <ac:cxnSpMk id="3110" creationId="{938951F9-2336-B54F-7CD7-F19EE19D1160}"/>
          </ac:cxnSpMkLst>
        </pc:cxnChg>
        <pc:cxnChg chg="add mod">
          <ac:chgData name="Laurence ANGILBERT" userId="28ea2967-f540-4e7d-a641-d418703ece22" providerId="ADAL" clId="{859296AE-058C-4C65-BA04-6986791C2943}" dt="2024-02-01T12:57:19.587" v="22471" actId="14100"/>
          <ac:cxnSpMkLst>
            <pc:docMk/>
            <pc:sldMk cId="1688075584" sldId="2147480302"/>
            <ac:cxnSpMk id="3129" creationId="{2F347F9B-2676-F74F-C620-96FD15DEA0DB}"/>
          </ac:cxnSpMkLst>
        </pc:cxnChg>
      </pc:sldChg>
      <pc:sldChg chg="add">
        <pc:chgData name="Laurence ANGILBERT" userId="28ea2967-f540-4e7d-a641-d418703ece22" providerId="ADAL" clId="{859296AE-058C-4C65-BA04-6986791C2943}" dt="2024-02-02T08:31:06.481" v="24641"/>
        <pc:sldMkLst>
          <pc:docMk/>
          <pc:sldMk cId="3741438624" sldId="2147480302"/>
        </pc:sldMkLst>
      </pc:sldChg>
      <pc:sldChg chg="addSp modSp mod">
        <pc:chgData name="Laurence ANGILBERT" userId="28ea2967-f540-4e7d-a641-d418703ece22" providerId="ADAL" clId="{859296AE-058C-4C65-BA04-6986791C2943}" dt="2024-02-02T13:56:59.462" v="28661" actId="20577"/>
        <pc:sldMkLst>
          <pc:docMk/>
          <pc:sldMk cId="2459109621" sldId="2147480303"/>
        </pc:sldMkLst>
        <pc:spChg chg="add mod">
          <ac:chgData name="Laurence ANGILBERT" userId="28ea2967-f540-4e7d-a641-d418703ece22" providerId="ADAL" clId="{859296AE-058C-4C65-BA04-6986791C2943}" dt="2024-02-01T09:14:08.748" v="19908" actId="14100"/>
          <ac:spMkLst>
            <pc:docMk/>
            <pc:sldMk cId="2459109621" sldId="2147480303"/>
            <ac:spMk id="4" creationId="{24507632-32C2-F669-EE29-340927A024AC}"/>
          </ac:spMkLst>
        </pc:spChg>
        <pc:spChg chg="add mod">
          <ac:chgData name="Laurence ANGILBERT" userId="28ea2967-f540-4e7d-a641-d418703ece22" providerId="ADAL" clId="{859296AE-058C-4C65-BA04-6986791C2943}" dt="2024-02-01T09:14:46.376" v="19984" actId="20577"/>
          <ac:spMkLst>
            <pc:docMk/>
            <pc:sldMk cId="2459109621" sldId="2147480303"/>
            <ac:spMk id="6" creationId="{20E57D82-F953-A9CF-842C-01CC7439B287}"/>
          </ac:spMkLst>
        </pc:spChg>
        <pc:spChg chg="add mod">
          <ac:chgData name="Laurence ANGILBERT" userId="28ea2967-f540-4e7d-a641-d418703ece22" providerId="ADAL" clId="{859296AE-058C-4C65-BA04-6986791C2943}" dt="2024-02-01T09:15:35.079" v="20099" actId="14100"/>
          <ac:spMkLst>
            <pc:docMk/>
            <pc:sldMk cId="2459109621" sldId="2147480303"/>
            <ac:spMk id="7" creationId="{3CD9D581-C0E7-7963-AE8B-7185D2347A50}"/>
          </ac:spMkLst>
        </pc:spChg>
        <pc:spChg chg="mod">
          <ac:chgData name="Laurence ANGILBERT" userId="28ea2967-f540-4e7d-a641-d418703ece22" providerId="ADAL" clId="{859296AE-058C-4C65-BA04-6986791C2943}" dt="2024-02-01T08:55:02.901" v="19450" actId="20577"/>
          <ac:spMkLst>
            <pc:docMk/>
            <pc:sldMk cId="2459109621" sldId="2147480303"/>
            <ac:spMk id="22" creationId="{0F5CC068-BEB6-75F0-2653-BF4C75B26F43}"/>
          </ac:spMkLst>
        </pc:spChg>
        <pc:spChg chg="mod">
          <ac:chgData name="Laurence ANGILBERT" userId="28ea2967-f540-4e7d-a641-d418703ece22" providerId="ADAL" clId="{859296AE-058C-4C65-BA04-6986791C2943}" dt="2024-02-02T13:56:59.462" v="28661" actId="20577"/>
          <ac:spMkLst>
            <pc:docMk/>
            <pc:sldMk cId="2459109621" sldId="2147480303"/>
            <ac:spMk id="23" creationId="{3E67951F-645C-75D5-4C00-0501D91507E4}"/>
          </ac:spMkLst>
        </pc:spChg>
        <pc:spChg chg="mod">
          <ac:chgData name="Laurence ANGILBERT" userId="28ea2967-f540-4e7d-a641-d418703ece22" providerId="ADAL" clId="{859296AE-058C-4C65-BA04-6986791C2943}" dt="2024-02-02T09:12:17.771" v="25667" actId="20577"/>
          <ac:spMkLst>
            <pc:docMk/>
            <pc:sldMk cId="2459109621" sldId="2147480303"/>
            <ac:spMk id="25" creationId="{F8CEBBC7-D764-0EBC-C71D-FCD6989F1589}"/>
          </ac:spMkLst>
        </pc:spChg>
      </pc:sldChg>
      <pc:sldChg chg="addSp delSp modSp add mod modNotesTx">
        <pc:chgData name="Laurence ANGILBERT" userId="28ea2967-f540-4e7d-a641-d418703ece22" providerId="ADAL" clId="{859296AE-058C-4C65-BA04-6986791C2943}" dt="2024-02-02T18:08:34.478" v="30138" actId="1076"/>
        <pc:sldMkLst>
          <pc:docMk/>
          <pc:sldMk cId="1464809953" sldId="2147480304"/>
        </pc:sldMkLst>
        <pc:spChg chg="mod">
          <ac:chgData name="Laurence ANGILBERT" userId="28ea2967-f540-4e7d-a641-d418703ece22" providerId="ADAL" clId="{859296AE-058C-4C65-BA04-6986791C2943}" dt="2024-02-02T09:03:40.734" v="25456" actId="207"/>
          <ac:spMkLst>
            <pc:docMk/>
            <pc:sldMk cId="1464809953" sldId="2147480304"/>
            <ac:spMk id="2" creationId="{A2D57B31-7B0D-92C3-B33F-D94DC4725E53}"/>
          </ac:spMkLst>
        </pc:spChg>
        <pc:spChg chg="del">
          <ac:chgData name="Laurence ANGILBERT" userId="28ea2967-f540-4e7d-a641-d418703ece22" providerId="ADAL" clId="{859296AE-058C-4C65-BA04-6986791C2943}" dt="2024-01-26T13:55:14.635" v="16" actId="478"/>
          <ac:spMkLst>
            <pc:docMk/>
            <pc:sldMk cId="1464809953" sldId="2147480304"/>
            <ac:spMk id="3" creationId="{A1F640A5-A34D-1558-7EA4-8C07178926C3}"/>
          </ac:spMkLst>
        </pc:spChg>
        <pc:spChg chg="mod topLvl">
          <ac:chgData name="Laurence ANGILBERT" userId="28ea2967-f540-4e7d-a641-d418703ece22" providerId="ADAL" clId="{859296AE-058C-4C65-BA04-6986791C2943}" dt="2024-01-31T14:23:09.122" v="13282" actId="6549"/>
          <ac:spMkLst>
            <pc:docMk/>
            <pc:sldMk cId="1464809953" sldId="2147480304"/>
            <ac:spMk id="4" creationId="{B5DBEA63-28A2-79C6-E7C7-A07954455BFD}"/>
          </ac:spMkLst>
        </pc:spChg>
        <pc:spChg chg="add del mod">
          <ac:chgData name="Laurence ANGILBERT" userId="28ea2967-f540-4e7d-a641-d418703ece22" providerId="ADAL" clId="{859296AE-058C-4C65-BA04-6986791C2943}" dt="2024-01-29T16:37:59.586" v="1233" actId="478"/>
          <ac:spMkLst>
            <pc:docMk/>
            <pc:sldMk cId="1464809953" sldId="2147480304"/>
            <ac:spMk id="6" creationId="{39DA5E27-07ED-ECB5-A2C2-DFB4B0DA8EB2}"/>
          </ac:spMkLst>
        </pc:spChg>
        <pc:spChg chg="del mod">
          <ac:chgData name="Laurence ANGILBERT" userId="28ea2967-f540-4e7d-a641-d418703ece22" providerId="ADAL" clId="{859296AE-058C-4C65-BA04-6986791C2943}" dt="2024-01-29T09:01:16.409" v="1010" actId="478"/>
          <ac:spMkLst>
            <pc:docMk/>
            <pc:sldMk cId="1464809953" sldId="2147480304"/>
            <ac:spMk id="6" creationId="{C2AAE23C-5F9F-7991-50E3-6ED2C26155FE}"/>
          </ac:spMkLst>
        </pc:spChg>
        <pc:spChg chg="add del mod">
          <ac:chgData name="Laurence ANGILBERT" userId="28ea2967-f540-4e7d-a641-d418703ece22" providerId="ADAL" clId="{859296AE-058C-4C65-BA04-6986791C2943}" dt="2024-01-31T14:27:19.644" v="13372" actId="478"/>
          <ac:spMkLst>
            <pc:docMk/>
            <pc:sldMk cId="1464809953" sldId="2147480304"/>
            <ac:spMk id="7" creationId="{8ED139BA-570E-476C-60A6-EC4DB1F457DC}"/>
          </ac:spMkLst>
        </pc:spChg>
        <pc:spChg chg="mod topLvl">
          <ac:chgData name="Laurence ANGILBERT" userId="28ea2967-f540-4e7d-a641-d418703ece22" providerId="ADAL" clId="{859296AE-058C-4C65-BA04-6986791C2943}" dt="2024-01-31T13:04:35.248" v="11682" actId="1038"/>
          <ac:spMkLst>
            <pc:docMk/>
            <pc:sldMk cId="1464809953" sldId="2147480304"/>
            <ac:spMk id="8" creationId="{51050D41-9C3F-45F2-DF67-3D32DC0FD903}"/>
          </ac:spMkLst>
        </pc:spChg>
        <pc:spChg chg="add mod">
          <ac:chgData name="Laurence ANGILBERT" userId="28ea2967-f540-4e7d-a641-d418703ece22" providerId="ADAL" clId="{859296AE-058C-4C65-BA04-6986791C2943}" dt="2024-02-01T09:24:22.203" v="20523" actId="20577"/>
          <ac:spMkLst>
            <pc:docMk/>
            <pc:sldMk cId="1464809953" sldId="2147480304"/>
            <ac:spMk id="8" creationId="{F54C2E7E-F641-FC22-F4B8-8301E157DA08}"/>
          </ac:spMkLst>
        </pc:spChg>
        <pc:spChg chg="del">
          <ac:chgData name="Laurence ANGILBERT" userId="28ea2967-f540-4e7d-a641-d418703ece22" providerId="ADAL" clId="{859296AE-058C-4C65-BA04-6986791C2943}" dt="2024-01-26T13:55:14.635" v="16" actId="478"/>
          <ac:spMkLst>
            <pc:docMk/>
            <pc:sldMk cId="1464809953" sldId="2147480304"/>
            <ac:spMk id="9" creationId="{460B5401-3D89-A33C-68AE-6A93B1ACCCD3}"/>
          </ac:spMkLst>
        </pc:spChg>
        <pc:spChg chg="del">
          <ac:chgData name="Laurence ANGILBERT" userId="28ea2967-f540-4e7d-a641-d418703ece22" providerId="ADAL" clId="{859296AE-058C-4C65-BA04-6986791C2943}" dt="2024-01-26T13:55:14.635" v="16" actId="478"/>
          <ac:spMkLst>
            <pc:docMk/>
            <pc:sldMk cId="1464809953" sldId="2147480304"/>
            <ac:spMk id="10" creationId="{4DEAEFA3-B2AC-3B06-7C53-E1B5A33F3F8E}"/>
          </ac:spMkLst>
        </pc:spChg>
        <pc:spChg chg="mod">
          <ac:chgData name="Laurence ANGILBERT" userId="28ea2967-f540-4e7d-a641-d418703ece22" providerId="ADAL" clId="{859296AE-058C-4C65-BA04-6986791C2943}" dt="2024-02-01T08:23:28.643" v="18394" actId="20577"/>
          <ac:spMkLst>
            <pc:docMk/>
            <pc:sldMk cId="1464809953" sldId="2147480304"/>
            <ac:spMk id="10" creationId="{5CC3FCF3-C9D6-2CC5-2FAB-EA87BAD383D4}"/>
          </ac:spMkLst>
        </pc:spChg>
        <pc:spChg chg="add del mod">
          <ac:chgData name="Laurence ANGILBERT" userId="28ea2967-f540-4e7d-a641-d418703ece22" providerId="ADAL" clId="{859296AE-058C-4C65-BA04-6986791C2943}" dt="2024-01-31T03:47:20.566" v="8407" actId="478"/>
          <ac:spMkLst>
            <pc:docMk/>
            <pc:sldMk cId="1464809953" sldId="2147480304"/>
            <ac:spMk id="11" creationId="{EF998B4F-057F-09C4-37E7-2CF43279FA8E}"/>
          </ac:spMkLst>
        </pc:spChg>
        <pc:spChg chg="mod">
          <ac:chgData name="Laurence ANGILBERT" userId="28ea2967-f540-4e7d-a641-d418703ece22" providerId="ADAL" clId="{859296AE-058C-4C65-BA04-6986791C2943}" dt="2024-02-01T08:06:19.464" v="18060" actId="208"/>
          <ac:spMkLst>
            <pc:docMk/>
            <pc:sldMk cId="1464809953" sldId="2147480304"/>
            <ac:spMk id="12" creationId="{8B14E636-F4FD-DB8B-C6C8-56974E085836}"/>
          </ac:spMkLst>
        </pc:spChg>
        <pc:spChg chg="mod">
          <ac:chgData name="Laurence ANGILBERT" userId="28ea2967-f540-4e7d-a641-d418703ece22" providerId="ADAL" clId="{859296AE-058C-4C65-BA04-6986791C2943}" dt="2024-02-01T08:05:02.362" v="18053" actId="207"/>
          <ac:spMkLst>
            <pc:docMk/>
            <pc:sldMk cId="1464809953" sldId="2147480304"/>
            <ac:spMk id="13" creationId="{625BAB93-C0A5-CA04-C4E0-009F6402AE8E}"/>
          </ac:spMkLst>
        </pc:spChg>
        <pc:spChg chg="add del mod">
          <ac:chgData name="Laurence ANGILBERT" userId="28ea2967-f540-4e7d-a641-d418703ece22" providerId="ADAL" clId="{859296AE-058C-4C65-BA04-6986791C2943}" dt="2024-01-31T03:45:43.109" v="8143" actId="478"/>
          <ac:spMkLst>
            <pc:docMk/>
            <pc:sldMk cId="1464809953" sldId="2147480304"/>
            <ac:spMk id="13" creationId="{7082E50E-2BA2-0D95-74A5-3FD3BFA224E2}"/>
          </ac:spMkLst>
        </pc:spChg>
        <pc:spChg chg="mod">
          <ac:chgData name="Laurence ANGILBERT" userId="28ea2967-f540-4e7d-a641-d418703ece22" providerId="ADAL" clId="{859296AE-058C-4C65-BA04-6986791C2943}" dt="2024-02-01T08:06:16.187" v="18059" actId="208"/>
          <ac:spMkLst>
            <pc:docMk/>
            <pc:sldMk cId="1464809953" sldId="2147480304"/>
            <ac:spMk id="14" creationId="{1D8CCB36-C415-019F-6169-AF384BD47DEE}"/>
          </ac:spMkLst>
        </pc:spChg>
        <pc:spChg chg="add mod">
          <ac:chgData name="Laurence ANGILBERT" userId="28ea2967-f540-4e7d-a641-d418703ece22" providerId="ADAL" clId="{859296AE-058C-4C65-BA04-6986791C2943}" dt="2024-01-29T11:14:37.392" v="1044" actId="207"/>
          <ac:spMkLst>
            <pc:docMk/>
            <pc:sldMk cId="1464809953" sldId="2147480304"/>
            <ac:spMk id="14" creationId="{E4520713-BC86-8812-2BB7-D617A6FB5555}"/>
          </ac:spMkLst>
        </pc:spChg>
        <pc:spChg chg="del mod">
          <ac:chgData name="Laurence ANGILBERT" userId="28ea2967-f540-4e7d-a641-d418703ece22" providerId="ADAL" clId="{859296AE-058C-4C65-BA04-6986791C2943}" dt="2024-01-31T14:23:00.881" v="13281" actId="478"/>
          <ac:spMkLst>
            <pc:docMk/>
            <pc:sldMk cId="1464809953" sldId="2147480304"/>
            <ac:spMk id="15" creationId="{A8663677-EF84-4DF9-A490-C13CBC282EB7}"/>
          </ac:spMkLst>
        </pc:spChg>
        <pc:spChg chg="add mod">
          <ac:chgData name="Laurence ANGILBERT" userId="28ea2967-f540-4e7d-a641-d418703ece22" providerId="ADAL" clId="{859296AE-058C-4C65-BA04-6986791C2943}" dt="2024-01-29T11:14:37.392" v="1044" actId="207"/>
          <ac:spMkLst>
            <pc:docMk/>
            <pc:sldMk cId="1464809953" sldId="2147480304"/>
            <ac:spMk id="15" creationId="{D9686A66-F433-9F64-DEBF-139695044192}"/>
          </ac:spMkLst>
        </pc:spChg>
        <pc:spChg chg="add mod">
          <ac:chgData name="Laurence ANGILBERT" userId="28ea2967-f540-4e7d-a641-d418703ece22" providerId="ADAL" clId="{859296AE-058C-4C65-BA04-6986791C2943}" dt="2024-01-29T11:14:37.392" v="1044" actId="207"/>
          <ac:spMkLst>
            <pc:docMk/>
            <pc:sldMk cId="1464809953" sldId="2147480304"/>
            <ac:spMk id="16" creationId="{34A841CE-B88F-1704-E2B2-753020DA1EFF}"/>
          </ac:spMkLst>
        </pc:spChg>
        <pc:spChg chg="mod topLvl">
          <ac:chgData name="Laurence ANGILBERT" userId="28ea2967-f540-4e7d-a641-d418703ece22" providerId="ADAL" clId="{859296AE-058C-4C65-BA04-6986791C2943}" dt="2024-01-31T13:04:35.248" v="11682" actId="1038"/>
          <ac:spMkLst>
            <pc:docMk/>
            <pc:sldMk cId="1464809953" sldId="2147480304"/>
            <ac:spMk id="18" creationId="{8D0F6BD6-D28E-550F-11AF-797E613226B3}"/>
          </ac:spMkLst>
        </pc:spChg>
        <pc:spChg chg="add mod">
          <ac:chgData name="Laurence ANGILBERT" userId="28ea2967-f540-4e7d-a641-d418703ece22" providerId="ADAL" clId="{859296AE-058C-4C65-BA04-6986791C2943}" dt="2024-01-29T11:14:37.392" v="1044" actId="207"/>
          <ac:spMkLst>
            <pc:docMk/>
            <pc:sldMk cId="1464809953" sldId="2147480304"/>
            <ac:spMk id="19" creationId="{DFAFD7B6-0C84-50F7-04AB-534974B6D190}"/>
          </ac:spMkLst>
        </pc:spChg>
        <pc:spChg chg="mod topLvl">
          <ac:chgData name="Laurence ANGILBERT" userId="28ea2967-f540-4e7d-a641-d418703ece22" providerId="ADAL" clId="{859296AE-058C-4C65-BA04-6986791C2943}" dt="2024-01-31T13:04:35.248" v="11682" actId="1038"/>
          <ac:spMkLst>
            <pc:docMk/>
            <pc:sldMk cId="1464809953" sldId="2147480304"/>
            <ac:spMk id="20" creationId="{12B05C26-95EC-A956-E705-3899CA9A4F8E}"/>
          </ac:spMkLst>
        </pc:spChg>
        <pc:spChg chg="add del mod">
          <ac:chgData name="Laurence ANGILBERT" userId="28ea2967-f540-4e7d-a641-d418703ece22" providerId="ADAL" clId="{859296AE-058C-4C65-BA04-6986791C2943}" dt="2024-01-29T11:15:20.196" v="1048" actId="478"/>
          <ac:spMkLst>
            <pc:docMk/>
            <pc:sldMk cId="1464809953" sldId="2147480304"/>
            <ac:spMk id="24" creationId="{9E97A7B6-1D31-D987-E4CB-C96862D991D9}"/>
          </ac:spMkLst>
        </pc:spChg>
        <pc:spChg chg="add mod ord">
          <ac:chgData name="Laurence ANGILBERT" userId="28ea2967-f540-4e7d-a641-d418703ece22" providerId="ADAL" clId="{859296AE-058C-4C65-BA04-6986791C2943}" dt="2024-01-31T14:19:38.069" v="13248" actId="1582"/>
          <ac:spMkLst>
            <pc:docMk/>
            <pc:sldMk cId="1464809953" sldId="2147480304"/>
            <ac:spMk id="24" creationId="{C8964802-08BF-861D-056F-48624439FD6A}"/>
          </ac:spMkLst>
        </pc:spChg>
        <pc:spChg chg="mod">
          <ac:chgData name="Laurence ANGILBERT" userId="28ea2967-f540-4e7d-a641-d418703ece22" providerId="ADAL" clId="{859296AE-058C-4C65-BA04-6986791C2943}" dt="2024-02-01T07:43:53.112" v="18032" actId="207"/>
          <ac:spMkLst>
            <pc:docMk/>
            <pc:sldMk cId="1464809953" sldId="2147480304"/>
            <ac:spMk id="26" creationId="{D28D840D-9040-2F96-E213-A4B4BBC84C14}"/>
          </ac:spMkLst>
        </pc:spChg>
        <pc:spChg chg="mod ord">
          <ac:chgData name="Laurence ANGILBERT" userId="28ea2967-f540-4e7d-a641-d418703ece22" providerId="ADAL" clId="{859296AE-058C-4C65-BA04-6986791C2943}" dt="2024-02-01T07:44:25.212" v="18033" actId="208"/>
          <ac:spMkLst>
            <pc:docMk/>
            <pc:sldMk cId="1464809953" sldId="2147480304"/>
            <ac:spMk id="27" creationId="{4ED430CA-A705-2884-75AC-702A617DA0D8}"/>
          </ac:spMkLst>
        </pc:spChg>
        <pc:spChg chg="mod">
          <ac:chgData name="Laurence ANGILBERT" userId="28ea2967-f540-4e7d-a641-d418703ece22" providerId="ADAL" clId="{859296AE-058C-4C65-BA04-6986791C2943}" dt="2024-02-02T18:08:05.776" v="30135" actId="1076"/>
          <ac:spMkLst>
            <pc:docMk/>
            <pc:sldMk cId="1464809953" sldId="2147480304"/>
            <ac:spMk id="28" creationId="{6665339A-B286-BD2D-9B8A-B5A1C1DAB789}"/>
          </ac:spMkLst>
        </pc:spChg>
        <pc:spChg chg="mod">
          <ac:chgData name="Laurence ANGILBERT" userId="28ea2967-f540-4e7d-a641-d418703ece22" providerId="ADAL" clId="{859296AE-058C-4C65-BA04-6986791C2943}" dt="2024-02-01T08:05:29.596" v="18058" actId="207"/>
          <ac:spMkLst>
            <pc:docMk/>
            <pc:sldMk cId="1464809953" sldId="2147480304"/>
            <ac:spMk id="30" creationId="{F2DD44DF-9784-A594-7A03-6BEECA56F396}"/>
          </ac:spMkLst>
        </pc:spChg>
        <pc:spChg chg="mod">
          <ac:chgData name="Laurence ANGILBERT" userId="28ea2967-f540-4e7d-a641-d418703ece22" providerId="ADAL" clId="{859296AE-058C-4C65-BA04-6986791C2943}" dt="2024-02-01T08:06:23.258" v="18061" actId="208"/>
          <ac:spMkLst>
            <pc:docMk/>
            <pc:sldMk cId="1464809953" sldId="2147480304"/>
            <ac:spMk id="31" creationId="{376A6590-0C0C-0C5E-9DC0-2613D50A8F52}"/>
          </ac:spMkLst>
        </pc:spChg>
        <pc:spChg chg="mod">
          <ac:chgData name="Laurence ANGILBERT" userId="28ea2967-f540-4e7d-a641-d418703ece22" providerId="ADAL" clId="{859296AE-058C-4C65-BA04-6986791C2943}" dt="2024-01-31T03:47:29.897" v="8408" actId="20577"/>
          <ac:spMkLst>
            <pc:docMk/>
            <pc:sldMk cId="1464809953" sldId="2147480304"/>
            <ac:spMk id="34" creationId="{2D026223-753B-06AB-D43C-3B9635938FB6}"/>
          </ac:spMkLst>
        </pc:spChg>
        <pc:spChg chg="mod">
          <ac:chgData name="Laurence ANGILBERT" userId="28ea2967-f540-4e7d-a641-d418703ece22" providerId="ADAL" clId="{859296AE-058C-4C65-BA04-6986791C2943}" dt="2024-01-31T03:45:52.289" v="8144" actId="478"/>
          <ac:spMkLst>
            <pc:docMk/>
            <pc:sldMk cId="1464809953" sldId="2147480304"/>
            <ac:spMk id="35" creationId="{2A4536C6-9C39-9315-AB8C-897F0B457218}"/>
          </ac:spMkLst>
        </pc:spChg>
        <pc:spChg chg="mod">
          <ac:chgData name="Laurence ANGILBERT" userId="28ea2967-f540-4e7d-a641-d418703ece22" providerId="ADAL" clId="{859296AE-058C-4C65-BA04-6986791C2943}" dt="2024-02-01T07:44:55.434" v="18038" actId="208"/>
          <ac:spMkLst>
            <pc:docMk/>
            <pc:sldMk cId="1464809953" sldId="2147480304"/>
            <ac:spMk id="53" creationId="{893EC842-4BD8-432C-A4CD-F1FB01F4DE27}"/>
          </ac:spMkLst>
        </pc:spChg>
        <pc:spChg chg="mod">
          <ac:chgData name="Laurence ANGILBERT" userId="28ea2967-f540-4e7d-a641-d418703ece22" providerId="ADAL" clId="{859296AE-058C-4C65-BA04-6986791C2943}" dt="2024-02-01T08:09:48.179" v="18226" actId="208"/>
          <ac:spMkLst>
            <pc:docMk/>
            <pc:sldMk cId="1464809953" sldId="2147480304"/>
            <ac:spMk id="59" creationId="{001AAFD9-536E-E2AD-6D91-9B681AE73FE6}"/>
          </ac:spMkLst>
        </pc:spChg>
        <pc:spChg chg="del">
          <ac:chgData name="Laurence ANGILBERT" userId="28ea2967-f540-4e7d-a641-d418703ece22" providerId="ADAL" clId="{859296AE-058C-4C65-BA04-6986791C2943}" dt="2024-02-01T17:23:33.911" v="23657" actId="478"/>
          <ac:spMkLst>
            <pc:docMk/>
            <pc:sldMk cId="1464809953" sldId="2147480304"/>
            <ac:spMk id="1042" creationId="{7DF79873-0EA5-1EE5-5B08-7AB3A8DAD319}"/>
          </ac:spMkLst>
        </pc:spChg>
        <pc:grpChg chg="add del mod">
          <ac:chgData name="Laurence ANGILBERT" userId="28ea2967-f540-4e7d-a641-d418703ece22" providerId="ADAL" clId="{859296AE-058C-4C65-BA04-6986791C2943}" dt="2024-01-29T09:00:05.528" v="850" actId="165"/>
          <ac:grpSpMkLst>
            <pc:docMk/>
            <pc:sldMk cId="1464809953" sldId="2147480304"/>
            <ac:grpSpMk id="3" creationId="{CA3C1EC8-E085-B84D-32F5-23F8AD93A982}"/>
          </ac:grpSpMkLst>
        </pc:grpChg>
        <pc:grpChg chg="add mod">
          <ac:chgData name="Laurence ANGILBERT" userId="28ea2967-f540-4e7d-a641-d418703ece22" providerId="ADAL" clId="{859296AE-058C-4C65-BA04-6986791C2943}" dt="2024-01-31T13:04:35.248" v="11682" actId="1038"/>
          <ac:grpSpMkLst>
            <pc:docMk/>
            <pc:sldMk cId="1464809953" sldId="2147480304"/>
            <ac:grpSpMk id="9" creationId="{3D256AAE-E97D-47AC-9360-01077ABE7137}"/>
          </ac:grpSpMkLst>
        </pc:grpChg>
        <pc:grpChg chg="mod">
          <ac:chgData name="Laurence ANGILBERT" userId="28ea2967-f540-4e7d-a641-d418703ece22" providerId="ADAL" clId="{859296AE-058C-4C65-BA04-6986791C2943}" dt="2024-01-31T13:04:35.248" v="11682" actId="1038"/>
          <ac:grpSpMkLst>
            <pc:docMk/>
            <pc:sldMk cId="1464809953" sldId="2147480304"/>
            <ac:grpSpMk id="11" creationId="{BCC0FAC9-BBAB-FAE2-2F2C-23ECDD2F2430}"/>
          </ac:grpSpMkLst>
        </pc:grpChg>
        <pc:grpChg chg="mod">
          <ac:chgData name="Laurence ANGILBERT" userId="28ea2967-f540-4e7d-a641-d418703ece22" providerId="ADAL" clId="{859296AE-058C-4C65-BA04-6986791C2943}" dt="2024-02-02T18:08:05.776" v="30135" actId="1076"/>
          <ac:grpSpMkLst>
            <pc:docMk/>
            <pc:sldMk cId="1464809953" sldId="2147480304"/>
            <ac:grpSpMk id="11" creationId="{E28AFED8-6D0C-CEC0-C327-B6C7EFE757F9}"/>
          </ac:grpSpMkLst>
        </pc:grpChg>
        <pc:grpChg chg="mod">
          <ac:chgData name="Laurence ANGILBERT" userId="28ea2967-f540-4e7d-a641-d418703ece22" providerId="ADAL" clId="{859296AE-058C-4C65-BA04-6986791C2943}" dt="2024-02-02T18:08:01.388" v="30134" actId="1076"/>
          <ac:grpSpMkLst>
            <pc:docMk/>
            <pc:sldMk cId="1464809953" sldId="2147480304"/>
            <ac:grpSpMk id="15" creationId="{5DB63412-8081-B8F8-B50D-5D5A1F5B8224}"/>
          </ac:grpSpMkLst>
        </pc:grpChg>
        <pc:grpChg chg="del">
          <ac:chgData name="Laurence ANGILBERT" userId="28ea2967-f540-4e7d-a641-d418703ece22" providerId="ADAL" clId="{859296AE-058C-4C65-BA04-6986791C2943}" dt="2024-01-31T14:25:03.892" v="13320" actId="478"/>
          <ac:grpSpMkLst>
            <pc:docMk/>
            <pc:sldMk cId="1464809953" sldId="2147480304"/>
            <ac:grpSpMk id="16" creationId="{37F04A7D-9DE1-FF1D-BF85-7BFEC27FB3EE}"/>
          </ac:grpSpMkLst>
        </pc:grpChg>
        <pc:grpChg chg="add del mod">
          <ac:chgData name="Laurence ANGILBERT" userId="28ea2967-f540-4e7d-a641-d418703ece22" providerId="ADAL" clId="{859296AE-058C-4C65-BA04-6986791C2943}" dt="2024-01-29T08:59:43.608" v="843" actId="165"/>
          <ac:grpSpMkLst>
            <pc:docMk/>
            <pc:sldMk cId="1464809953" sldId="2147480304"/>
            <ac:grpSpMk id="17" creationId="{34FA6A2D-9980-518A-A60A-2269789F2483}"/>
          </ac:grpSpMkLst>
        </pc:grpChg>
        <pc:grpChg chg="mod">
          <ac:chgData name="Laurence ANGILBERT" userId="28ea2967-f540-4e7d-a641-d418703ece22" providerId="ADAL" clId="{859296AE-058C-4C65-BA04-6986791C2943}" dt="2024-02-02T18:08:16.744" v="30137" actId="1076"/>
          <ac:grpSpMkLst>
            <pc:docMk/>
            <pc:sldMk cId="1464809953" sldId="2147480304"/>
            <ac:grpSpMk id="21" creationId="{700E93AB-4E1D-7324-C605-C1905D669968}"/>
          </ac:grpSpMkLst>
        </pc:grpChg>
        <pc:grpChg chg="add del mod ord">
          <ac:chgData name="Laurence ANGILBERT" userId="28ea2967-f540-4e7d-a641-d418703ece22" providerId="ADAL" clId="{859296AE-058C-4C65-BA04-6986791C2943}" dt="2024-01-29T11:15:23.106" v="1049" actId="478"/>
          <ac:grpSpMkLst>
            <pc:docMk/>
            <pc:sldMk cId="1464809953" sldId="2147480304"/>
            <ac:grpSpMk id="22" creationId="{9A733DAA-DAAC-EEBA-1F30-5CBE3F3E9559}"/>
          </ac:grpSpMkLst>
        </pc:grpChg>
        <pc:grpChg chg="add mod">
          <ac:chgData name="Laurence ANGILBERT" userId="28ea2967-f540-4e7d-a641-d418703ece22" providerId="ADAL" clId="{859296AE-058C-4C65-BA04-6986791C2943}" dt="2024-01-31T13:04:35.248" v="11682" actId="1038"/>
          <ac:grpSpMkLst>
            <pc:docMk/>
            <pc:sldMk cId="1464809953" sldId="2147480304"/>
            <ac:grpSpMk id="25" creationId="{B6A48F8A-C687-339E-CD4F-285448036D82}"/>
          </ac:grpSpMkLst>
        </pc:grpChg>
        <pc:grpChg chg="add mod">
          <ac:chgData name="Laurence ANGILBERT" userId="28ea2967-f540-4e7d-a641-d418703ece22" providerId="ADAL" clId="{859296AE-058C-4C65-BA04-6986791C2943}" dt="2024-01-31T13:04:35.248" v="11682" actId="1038"/>
          <ac:grpSpMkLst>
            <pc:docMk/>
            <pc:sldMk cId="1464809953" sldId="2147480304"/>
            <ac:grpSpMk id="29" creationId="{7FEB62D9-BD22-6012-E31F-99F8FBB4AC80}"/>
          </ac:grpSpMkLst>
        </pc:grpChg>
        <pc:grpChg chg="add del mod">
          <ac:chgData name="Laurence ANGILBERT" userId="28ea2967-f540-4e7d-a641-d418703ece22" providerId="ADAL" clId="{859296AE-058C-4C65-BA04-6986791C2943}" dt="2024-01-31T13:02:12.446" v="11643" actId="478"/>
          <ac:grpSpMkLst>
            <pc:docMk/>
            <pc:sldMk cId="1464809953" sldId="2147480304"/>
            <ac:grpSpMk id="33" creationId="{7748AA19-5A59-BD3D-AD4A-D9AAF13A0417}"/>
          </ac:grpSpMkLst>
        </pc:grpChg>
        <pc:grpChg chg="del">
          <ac:chgData name="Laurence ANGILBERT" userId="28ea2967-f540-4e7d-a641-d418703ece22" providerId="ADAL" clId="{859296AE-058C-4C65-BA04-6986791C2943}" dt="2024-02-01T08:09:03.696" v="18164" actId="478"/>
          <ac:grpSpMkLst>
            <pc:docMk/>
            <pc:sldMk cId="1464809953" sldId="2147480304"/>
            <ac:grpSpMk id="44" creationId="{EA7D42E2-1DE2-3283-36BA-4523F1E0154F}"/>
          </ac:grpSpMkLst>
        </pc:grpChg>
        <pc:grpChg chg="mod">
          <ac:chgData name="Laurence ANGILBERT" userId="28ea2967-f540-4e7d-a641-d418703ece22" providerId="ADAL" clId="{859296AE-058C-4C65-BA04-6986791C2943}" dt="2024-02-01T08:09:31.427" v="18225" actId="1035"/>
          <ac:grpSpMkLst>
            <pc:docMk/>
            <pc:sldMk cId="1464809953" sldId="2147480304"/>
            <ac:grpSpMk id="45" creationId="{4B1BE460-FBB7-D4B9-E93A-CA4890D9C98D}"/>
          </ac:grpSpMkLst>
        </pc:grpChg>
        <pc:grpChg chg="mod">
          <ac:chgData name="Laurence ANGILBERT" userId="28ea2967-f540-4e7d-a641-d418703ece22" providerId="ADAL" clId="{859296AE-058C-4C65-BA04-6986791C2943}" dt="2024-02-01T08:09:31.427" v="18225" actId="1035"/>
          <ac:grpSpMkLst>
            <pc:docMk/>
            <pc:sldMk cId="1464809953" sldId="2147480304"/>
            <ac:grpSpMk id="46" creationId="{175CE625-4794-6C99-14D7-C57752997DAD}"/>
          </ac:grpSpMkLst>
        </pc:grpChg>
        <pc:grpChg chg="mod">
          <ac:chgData name="Laurence ANGILBERT" userId="28ea2967-f540-4e7d-a641-d418703ece22" providerId="ADAL" clId="{859296AE-058C-4C65-BA04-6986791C2943}" dt="2024-02-01T08:09:10.619" v="18184" actId="1036"/>
          <ac:grpSpMkLst>
            <pc:docMk/>
            <pc:sldMk cId="1464809953" sldId="2147480304"/>
            <ac:grpSpMk id="49" creationId="{B0A569CE-E6D1-499A-3269-0D5F517F5E5B}"/>
          </ac:grpSpMkLst>
        </pc:grpChg>
        <pc:grpChg chg="mod">
          <ac:chgData name="Laurence ANGILBERT" userId="28ea2967-f540-4e7d-a641-d418703ece22" providerId="ADAL" clId="{859296AE-058C-4C65-BA04-6986791C2943}" dt="2024-02-01T08:09:10.619" v="18184" actId="1036"/>
          <ac:grpSpMkLst>
            <pc:docMk/>
            <pc:sldMk cId="1464809953" sldId="2147480304"/>
            <ac:grpSpMk id="50" creationId="{8203805C-4018-1313-4E22-76C4D268D26A}"/>
          </ac:grpSpMkLst>
        </pc:grpChg>
        <pc:grpChg chg="mod">
          <ac:chgData name="Laurence ANGILBERT" userId="28ea2967-f540-4e7d-a641-d418703ece22" providerId="ADAL" clId="{859296AE-058C-4C65-BA04-6986791C2943}" dt="2024-02-01T08:09:10.619" v="18184" actId="1036"/>
          <ac:grpSpMkLst>
            <pc:docMk/>
            <pc:sldMk cId="1464809953" sldId="2147480304"/>
            <ac:grpSpMk id="51" creationId="{15AB5409-BA2B-9BC4-734E-0682893CB03A}"/>
          </ac:grpSpMkLst>
        </pc:grpChg>
        <pc:grpChg chg="mod">
          <ac:chgData name="Laurence ANGILBERT" userId="28ea2967-f540-4e7d-a641-d418703ece22" providerId="ADAL" clId="{859296AE-058C-4C65-BA04-6986791C2943}" dt="2024-02-01T08:09:10.619" v="18184" actId="1036"/>
          <ac:grpSpMkLst>
            <pc:docMk/>
            <pc:sldMk cId="1464809953" sldId="2147480304"/>
            <ac:grpSpMk id="1034" creationId="{8A06EDAA-8AAF-42CF-BEE9-F9C309EF3E8C}"/>
          </ac:grpSpMkLst>
        </pc:grpChg>
        <pc:grpChg chg="mod">
          <ac:chgData name="Laurence ANGILBERT" userId="28ea2967-f540-4e7d-a641-d418703ece22" providerId="ADAL" clId="{859296AE-058C-4C65-BA04-6986791C2943}" dt="2024-02-01T08:09:10.619" v="18184" actId="1036"/>
          <ac:grpSpMkLst>
            <pc:docMk/>
            <pc:sldMk cId="1464809953" sldId="2147480304"/>
            <ac:grpSpMk id="1035" creationId="{9E237317-AF22-DDE6-4DCA-371DF6CB84BB}"/>
          </ac:grpSpMkLst>
        </pc:grpChg>
        <pc:graphicFrameChg chg="del">
          <ac:chgData name="Laurence ANGILBERT" userId="28ea2967-f540-4e7d-a641-d418703ece22" providerId="ADAL" clId="{859296AE-058C-4C65-BA04-6986791C2943}" dt="2024-01-26T13:55:14.635" v="16" actId="478"/>
          <ac:graphicFrameMkLst>
            <pc:docMk/>
            <pc:sldMk cId="1464809953" sldId="2147480304"/>
            <ac:graphicFrameMk id="4" creationId="{0E2F88A0-CD37-77A7-8DC3-1C3ABDC6F35D}"/>
          </ac:graphicFrameMkLst>
        </pc:graphicFrameChg>
        <pc:graphicFrameChg chg="del">
          <ac:chgData name="Laurence ANGILBERT" userId="28ea2967-f540-4e7d-a641-d418703ece22" providerId="ADAL" clId="{859296AE-058C-4C65-BA04-6986791C2943}" dt="2024-01-26T13:55:14.635" v="16" actId="478"/>
          <ac:graphicFrameMkLst>
            <pc:docMk/>
            <pc:sldMk cId="1464809953" sldId="2147480304"/>
            <ac:graphicFrameMk id="5" creationId="{CA84C0C7-604A-D5FF-3D64-F2820D651A3E}"/>
          </ac:graphicFrameMkLst>
        </pc:graphicFrameChg>
        <pc:picChg chg="add del mod">
          <ac:chgData name="Laurence ANGILBERT" userId="28ea2967-f540-4e7d-a641-d418703ece22" providerId="ADAL" clId="{859296AE-058C-4C65-BA04-6986791C2943}" dt="2024-01-31T13:02:12.446" v="11643" actId="478"/>
          <ac:picMkLst>
            <pc:docMk/>
            <pc:sldMk cId="1464809953" sldId="2147480304"/>
            <ac:picMk id="3" creationId="{52A9A6CE-FEBA-277A-1EC7-F682C4A2A905}"/>
          </ac:picMkLst>
        </pc:picChg>
        <pc:picChg chg="mod topLvl">
          <ac:chgData name="Laurence ANGILBERT" userId="28ea2967-f540-4e7d-a641-d418703ece22" providerId="ADAL" clId="{859296AE-058C-4C65-BA04-6986791C2943}" dt="2024-01-31T13:04:35.248" v="11682" actId="1038"/>
          <ac:picMkLst>
            <pc:docMk/>
            <pc:sldMk cId="1464809953" sldId="2147480304"/>
            <ac:picMk id="5" creationId="{F85C0CF2-C2D8-13F4-DF4B-F6719B5A8511}"/>
          </ac:picMkLst>
        </pc:picChg>
        <pc:picChg chg="add del mod">
          <ac:chgData name="Laurence ANGILBERT" userId="28ea2967-f540-4e7d-a641-d418703ece22" providerId="ADAL" clId="{859296AE-058C-4C65-BA04-6986791C2943}" dt="2024-01-31T08:36:46.819" v="8525" actId="478"/>
          <ac:picMkLst>
            <pc:docMk/>
            <pc:sldMk cId="1464809953" sldId="2147480304"/>
            <ac:picMk id="6" creationId="{1F816B2A-A588-1975-6A2D-10AEF9F057D6}"/>
          </ac:picMkLst>
        </pc:picChg>
        <pc:picChg chg="mod">
          <ac:chgData name="Laurence ANGILBERT" userId="28ea2967-f540-4e7d-a641-d418703ece22" providerId="ADAL" clId="{859296AE-058C-4C65-BA04-6986791C2943}" dt="2024-02-02T18:08:10.272" v="30136" actId="1076"/>
          <ac:picMkLst>
            <pc:docMk/>
            <pc:sldMk cId="1464809953" sldId="2147480304"/>
            <ac:picMk id="8" creationId="{64DF2E6B-4467-3AD1-67F8-6B9E5A4A173F}"/>
          </ac:picMkLst>
        </pc:picChg>
        <pc:picChg chg="mod">
          <ac:chgData name="Laurence ANGILBERT" userId="28ea2967-f540-4e7d-a641-d418703ece22" providerId="ADAL" clId="{859296AE-058C-4C65-BA04-6986791C2943}" dt="2024-02-02T18:08:34.478" v="30138" actId="1076"/>
          <ac:picMkLst>
            <pc:docMk/>
            <pc:sldMk cId="1464809953" sldId="2147480304"/>
            <ac:picMk id="9" creationId="{51C649B1-5EC9-BE37-EA45-8D0E9588999C}"/>
          </ac:picMkLst>
        </pc:picChg>
        <pc:picChg chg="del mod">
          <ac:chgData name="Laurence ANGILBERT" userId="28ea2967-f540-4e7d-a641-d418703ece22" providerId="ADAL" clId="{859296AE-058C-4C65-BA04-6986791C2943}" dt="2024-01-29T09:01:34.713" v="1011" actId="478"/>
          <ac:picMkLst>
            <pc:docMk/>
            <pc:sldMk cId="1464809953" sldId="2147480304"/>
            <ac:picMk id="11" creationId="{CCBD1B6B-FFF8-280A-F403-FA1F3EEA079E}"/>
          </ac:picMkLst>
        </pc:picChg>
        <pc:picChg chg="add">
          <ac:chgData name="Laurence ANGILBERT" userId="28ea2967-f540-4e7d-a641-d418703ece22" providerId="ADAL" clId="{859296AE-058C-4C65-BA04-6986791C2943}" dt="2024-01-29T11:13:35.425" v="1031"/>
          <ac:picMkLst>
            <pc:docMk/>
            <pc:sldMk cId="1464809953" sldId="2147480304"/>
            <ac:picMk id="13" creationId="{58DDD2CB-160B-5D28-7501-1D21DCF5E01E}"/>
          </ac:picMkLst>
        </pc:picChg>
        <pc:picChg chg="mod">
          <ac:chgData name="Laurence ANGILBERT" userId="28ea2967-f540-4e7d-a641-d418703ece22" providerId="ADAL" clId="{859296AE-058C-4C65-BA04-6986791C2943}" dt="2024-02-02T18:08:05.776" v="30135" actId="1076"/>
          <ac:picMkLst>
            <pc:docMk/>
            <pc:sldMk cId="1464809953" sldId="2147480304"/>
            <ac:picMk id="19" creationId="{5566F477-1CE2-8E2E-D2AC-D9AEEF40FA84}"/>
          </ac:picMkLst>
        </pc:picChg>
        <pc:picChg chg="mod topLvl">
          <ac:chgData name="Laurence ANGILBERT" userId="28ea2967-f540-4e7d-a641-d418703ece22" providerId="ADAL" clId="{859296AE-058C-4C65-BA04-6986791C2943}" dt="2024-01-31T13:04:35.248" v="11682" actId="1038"/>
          <ac:picMkLst>
            <pc:docMk/>
            <pc:sldMk cId="1464809953" sldId="2147480304"/>
            <ac:picMk id="21" creationId="{CE4DDA4D-B238-A63B-79D0-C9546658EBAF}"/>
          </ac:picMkLst>
        </pc:picChg>
        <pc:picChg chg="mod ord">
          <ac:chgData name="Laurence ANGILBERT" userId="28ea2967-f540-4e7d-a641-d418703ece22" providerId="ADAL" clId="{859296AE-058C-4C65-BA04-6986791C2943}" dt="2024-01-31T14:18:59.500" v="13246" actId="1076"/>
          <ac:picMkLst>
            <pc:docMk/>
            <pc:sldMk cId="1464809953" sldId="2147480304"/>
            <ac:picMk id="22" creationId="{38B001F8-9C93-3EB0-F22A-08FB20E853E5}"/>
          </ac:picMkLst>
        </pc:picChg>
        <pc:picChg chg="add del mod">
          <ac:chgData name="Laurence ANGILBERT" userId="28ea2967-f540-4e7d-a641-d418703ece22" providerId="ADAL" clId="{859296AE-058C-4C65-BA04-6986791C2943}" dt="2024-01-31T14:17:30.175" v="13215" actId="478"/>
          <ac:picMkLst>
            <pc:docMk/>
            <pc:sldMk cId="1464809953" sldId="2147480304"/>
            <ac:picMk id="23" creationId="{00A9B1A5-2A50-27BC-063E-51B290059AE5}"/>
          </ac:picMkLst>
        </pc:picChg>
        <pc:picChg chg="add del mod">
          <ac:chgData name="Laurence ANGILBERT" userId="28ea2967-f540-4e7d-a641-d418703ece22" providerId="ADAL" clId="{859296AE-058C-4C65-BA04-6986791C2943}" dt="2024-01-29T11:14:01.966" v="1037" actId="478"/>
          <ac:picMkLst>
            <pc:docMk/>
            <pc:sldMk cId="1464809953" sldId="2147480304"/>
            <ac:picMk id="23" creationId="{E68E46E4-3746-A75F-BFDD-948619A44DB9}"/>
          </ac:picMkLst>
        </pc:picChg>
        <pc:picChg chg="del mod">
          <ac:chgData name="Laurence ANGILBERT" userId="28ea2967-f540-4e7d-a641-d418703ece22" providerId="ADAL" clId="{859296AE-058C-4C65-BA04-6986791C2943}" dt="2024-01-29T08:58:45.398" v="831" actId="478"/>
          <ac:picMkLst>
            <pc:docMk/>
            <pc:sldMk cId="1464809953" sldId="2147480304"/>
            <ac:picMk id="28" creationId="{0ED594C2-9A7D-3BE5-B41F-8A0DDF9CC0D7}"/>
          </ac:picMkLst>
        </pc:picChg>
        <pc:picChg chg="del mod">
          <ac:chgData name="Laurence ANGILBERT" userId="28ea2967-f540-4e7d-a641-d418703ece22" providerId="ADAL" clId="{859296AE-058C-4C65-BA04-6986791C2943}" dt="2024-01-29T09:01:38.126" v="1012" actId="478"/>
          <ac:picMkLst>
            <pc:docMk/>
            <pc:sldMk cId="1464809953" sldId="2147480304"/>
            <ac:picMk id="32" creationId="{33AD8DC7-6BFB-F122-30D8-066EF59ACAD4}"/>
          </ac:picMkLst>
        </pc:picChg>
        <pc:picChg chg="del mod">
          <ac:chgData name="Laurence ANGILBERT" userId="28ea2967-f540-4e7d-a641-d418703ece22" providerId="ADAL" clId="{859296AE-058C-4C65-BA04-6986791C2943}" dt="2024-01-31T03:45:52.289" v="8144" actId="478"/>
          <ac:picMkLst>
            <pc:docMk/>
            <pc:sldMk cId="1464809953" sldId="2147480304"/>
            <ac:picMk id="36" creationId="{4125DE00-F6BB-0453-2BF0-3C0BF118BC69}"/>
          </ac:picMkLst>
        </pc:picChg>
        <pc:picChg chg="mod">
          <ac:chgData name="Laurence ANGILBERT" userId="28ea2967-f540-4e7d-a641-d418703ece22" providerId="ADAL" clId="{859296AE-058C-4C65-BA04-6986791C2943}" dt="2024-02-01T07:44:43.739" v="18036"/>
          <ac:picMkLst>
            <pc:docMk/>
            <pc:sldMk cId="1464809953" sldId="2147480304"/>
            <ac:picMk id="38" creationId="{092758EB-32C8-C91D-1B1C-CC2BAB864DE5}"/>
          </ac:picMkLst>
        </pc:picChg>
        <pc:picChg chg="mod">
          <ac:chgData name="Laurence ANGILBERT" userId="28ea2967-f540-4e7d-a641-d418703ece22" providerId="ADAL" clId="{859296AE-058C-4C65-BA04-6986791C2943}" dt="2024-02-01T08:06:36.039" v="18063"/>
          <ac:picMkLst>
            <pc:docMk/>
            <pc:sldMk cId="1464809953" sldId="2147480304"/>
            <ac:picMk id="42" creationId="{CB0C7562-8C56-2742-CBAB-E047199E1299}"/>
          </ac:picMkLst>
        </pc:picChg>
        <pc:picChg chg="mod">
          <ac:chgData name="Laurence ANGILBERT" userId="28ea2967-f540-4e7d-a641-d418703ece22" providerId="ADAL" clId="{859296AE-058C-4C65-BA04-6986791C2943}" dt="2024-02-01T08:06:42.714" v="18064"/>
          <ac:picMkLst>
            <pc:docMk/>
            <pc:sldMk cId="1464809953" sldId="2147480304"/>
            <ac:picMk id="47" creationId="{63D37AA3-1EF0-E078-5FEE-9D8300FC88DE}"/>
          </ac:picMkLst>
        </pc:picChg>
        <pc:picChg chg="mod">
          <ac:chgData name="Laurence ANGILBERT" userId="28ea2967-f540-4e7d-a641-d418703ece22" providerId="ADAL" clId="{859296AE-058C-4C65-BA04-6986791C2943}" dt="2024-02-01T08:06:30.021" v="18062"/>
          <ac:picMkLst>
            <pc:docMk/>
            <pc:sldMk cId="1464809953" sldId="2147480304"/>
            <ac:picMk id="48" creationId="{472B2BA3-8EED-1FC6-83A6-C2D3F15EF3D6}"/>
          </ac:picMkLst>
        </pc:picChg>
        <pc:picChg chg="mod">
          <ac:chgData name="Laurence ANGILBERT" userId="28ea2967-f540-4e7d-a641-d418703ece22" providerId="ADAL" clId="{859296AE-058C-4C65-BA04-6986791C2943}" dt="2024-02-01T07:44:51.030" v="18037"/>
          <ac:picMkLst>
            <pc:docMk/>
            <pc:sldMk cId="1464809953" sldId="2147480304"/>
            <ac:picMk id="54" creationId="{8B683649-82DA-D286-BCEF-18B5B9CC235E}"/>
          </ac:picMkLst>
        </pc:picChg>
        <pc:picChg chg="mod">
          <ac:chgData name="Laurence ANGILBERT" userId="28ea2967-f540-4e7d-a641-d418703ece22" providerId="ADAL" clId="{859296AE-058C-4C65-BA04-6986791C2943}" dt="2024-02-01T08:09:56.136" v="18227"/>
          <ac:picMkLst>
            <pc:docMk/>
            <pc:sldMk cId="1464809953" sldId="2147480304"/>
            <ac:picMk id="60" creationId="{431C6633-EFF7-51D9-93A2-DA115A8B35D8}"/>
          </ac:picMkLst>
        </pc:picChg>
        <pc:picChg chg="add mod">
          <ac:chgData name="Laurence ANGILBERT" userId="28ea2967-f540-4e7d-a641-d418703ece22" providerId="ADAL" clId="{859296AE-058C-4C65-BA04-6986791C2943}" dt="2024-01-31T13:04:35.248" v="11682" actId="1038"/>
          <ac:picMkLst>
            <pc:docMk/>
            <pc:sldMk cId="1464809953" sldId="2147480304"/>
            <ac:picMk id="1026" creationId="{BB37E5D9-8341-0EC3-3474-0379AC0EEF23}"/>
          </ac:picMkLst>
        </pc:picChg>
        <pc:picChg chg="add mod">
          <ac:chgData name="Laurence ANGILBERT" userId="28ea2967-f540-4e7d-a641-d418703ece22" providerId="ADAL" clId="{859296AE-058C-4C65-BA04-6986791C2943}" dt="2024-01-31T13:04:35.248" v="11682" actId="1038"/>
          <ac:picMkLst>
            <pc:docMk/>
            <pc:sldMk cId="1464809953" sldId="2147480304"/>
            <ac:picMk id="1028" creationId="{F92612FA-6DA5-4F57-B8B9-4262F6B6A9D6}"/>
          </ac:picMkLst>
        </pc:picChg>
        <pc:picChg chg="add mod">
          <ac:chgData name="Laurence ANGILBERT" userId="28ea2967-f540-4e7d-a641-d418703ece22" providerId="ADAL" clId="{859296AE-058C-4C65-BA04-6986791C2943}" dt="2024-01-31T14:19:29.647" v="13247" actId="1582"/>
          <ac:picMkLst>
            <pc:docMk/>
            <pc:sldMk cId="1464809953" sldId="2147480304"/>
            <ac:picMk id="1030" creationId="{423F84E0-8386-980E-7653-85661EB6CE07}"/>
          </ac:picMkLst>
        </pc:picChg>
        <pc:cxnChg chg="add del">
          <ac:chgData name="Laurence ANGILBERT" userId="28ea2967-f540-4e7d-a641-d418703ece22" providerId="ADAL" clId="{859296AE-058C-4C65-BA04-6986791C2943}" dt="2024-02-01T09:23:08.759" v="20372" actId="478"/>
          <ac:cxnSpMkLst>
            <pc:docMk/>
            <pc:sldMk cId="1464809953" sldId="2147480304"/>
            <ac:cxnSpMk id="4" creationId="{5EA8894A-678D-CD11-E53C-C35D7B34E812}"/>
          </ac:cxnSpMkLst>
        </pc:cxnChg>
      </pc:sldChg>
      <pc:sldChg chg="addSp delSp modSp mod">
        <pc:chgData name="Laurence ANGILBERT" userId="28ea2967-f540-4e7d-a641-d418703ece22" providerId="ADAL" clId="{859296AE-058C-4C65-BA04-6986791C2943}" dt="2024-02-02T13:51:24.587" v="28651" actId="20577"/>
        <pc:sldMkLst>
          <pc:docMk/>
          <pc:sldMk cId="1097620525" sldId="2147480307"/>
        </pc:sldMkLst>
        <pc:spChg chg="mod">
          <ac:chgData name="Laurence ANGILBERT" userId="28ea2967-f540-4e7d-a641-d418703ece22" providerId="ADAL" clId="{859296AE-058C-4C65-BA04-6986791C2943}" dt="2024-01-31T09:13:11.255" v="9245" actId="14100"/>
          <ac:spMkLst>
            <pc:docMk/>
            <pc:sldMk cId="1097620525" sldId="2147480307"/>
            <ac:spMk id="3" creationId="{667C8A85-8CD5-181E-1B44-9BED4BC58ECF}"/>
          </ac:spMkLst>
        </pc:spChg>
        <pc:spChg chg="mod">
          <ac:chgData name="Laurence ANGILBERT" userId="28ea2967-f540-4e7d-a641-d418703ece22" providerId="ADAL" clId="{859296AE-058C-4C65-BA04-6986791C2943}" dt="2024-01-31T08:56:32.034" v="8874" actId="207"/>
          <ac:spMkLst>
            <pc:docMk/>
            <pc:sldMk cId="1097620525" sldId="2147480307"/>
            <ac:spMk id="5" creationId="{544069F3-8220-51EE-508A-1C07112F822D}"/>
          </ac:spMkLst>
        </pc:spChg>
        <pc:spChg chg="add del mod">
          <ac:chgData name="Laurence ANGILBERT" userId="28ea2967-f540-4e7d-a641-d418703ece22" providerId="ADAL" clId="{859296AE-058C-4C65-BA04-6986791C2943}" dt="2024-02-01T17:03:55.588" v="23560" actId="478"/>
          <ac:spMkLst>
            <pc:docMk/>
            <pc:sldMk cId="1097620525" sldId="2147480307"/>
            <ac:spMk id="6" creationId="{B8C4F883-BA41-CE71-93AA-B3DA779D4220}"/>
          </ac:spMkLst>
        </pc:spChg>
        <pc:spChg chg="mod">
          <ac:chgData name="Laurence ANGILBERT" userId="28ea2967-f540-4e7d-a641-d418703ece22" providerId="ADAL" clId="{859296AE-058C-4C65-BA04-6986791C2943}" dt="2024-01-31T09:04:06.909" v="9060" actId="20578"/>
          <ac:spMkLst>
            <pc:docMk/>
            <pc:sldMk cId="1097620525" sldId="2147480307"/>
            <ac:spMk id="7" creationId="{8079125D-CFC6-49E2-531A-B3BCD8992476}"/>
          </ac:spMkLst>
        </pc:spChg>
        <pc:spChg chg="mod">
          <ac:chgData name="Laurence ANGILBERT" userId="28ea2967-f540-4e7d-a641-d418703ece22" providerId="ADAL" clId="{859296AE-058C-4C65-BA04-6986791C2943}" dt="2024-01-31T08:57:09.839" v="8903" actId="207"/>
          <ac:spMkLst>
            <pc:docMk/>
            <pc:sldMk cId="1097620525" sldId="2147480307"/>
            <ac:spMk id="8" creationId="{DE545888-F0D1-9B72-F95E-9BE644FB71DD}"/>
          </ac:spMkLst>
        </pc:spChg>
        <pc:spChg chg="add del mod">
          <ac:chgData name="Laurence ANGILBERT" userId="28ea2967-f540-4e7d-a641-d418703ece22" providerId="ADAL" clId="{859296AE-058C-4C65-BA04-6986791C2943}" dt="2024-01-31T08:56:19.258" v="8872" actId="478"/>
          <ac:spMkLst>
            <pc:docMk/>
            <pc:sldMk cId="1097620525" sldId="2147480307"/>
            <ac:spMk id="12" creationId="{25C2FAC8-38D0-E3FF-5270-903468CEC845}"/>
          </ac:spMkLst>
        </pc:spChg>
        <pc:spChg chg="add del mod">
          <ac:chgData name="Laurence ANGILBERT" userId="28ea2967-f540-4e7d-a641-d418703ece22" providerId="ADAL" clId="{859296AE-058C-4C65-BA04-6986791C2943}" dt="2024-02-01T17:32:58.978" v="23683" actId="478"/>
          <ac:spMkLst>
            <pc:docMk/>
            <pc:sldMk cId="1097620525" sldId="2147480307"/>
            <ac:spMk id="12" creationId="{81B4BA2C-27D3-8220-A3BB-6AE64BB08BE8}"/>
          </ac:spMkLst>
        </pc:spChg>
        <pc:spChg chg="del">
          <ac:chgData name="Laurence ANGILBERT" userId="28ea2967-f540-4e7d-a641-d418703ece22" providerId="ADAL" clId="{859296AE-058C-4C65-BA04-6986791C2943}" dt="2024-01-31T03:41:29.275" v="8099" actId="478"/>
          <ac:spMkLst>
            <pc:docMk/>
            <pc:sldMk cId="1097620525" sldId="2147480307"/>
            <ac:spMk id="12" creationId="{9D8F7B25-71EA-5957-C56A-F22A4B3A46E0}"/>
          </ac:spMkLst>
        </pc:spChg>
        <pc:spChg chg="del mod">
          <ac:chgData name="Laurence ANGILBERT" userId="28ea2967-f540-4e7d-a641-d418703ece22" providerId="ADAL" clId="{859296AE-058C-4C65-BA04-6986791C2943}" dt="2024-01-31T09:10:04.850" v="9203" actId="478"/>
          <ac:spMkLst>
            <pc:docMk/>
            <pc:sldMk cId="1097620525" sldId="2147480307"/>
            <ac:spMk id="13" creationId="{1C8F7348-02FC-948B-3C99-0B281EC55F6F}"/>
          </ac:spMkLst>
        </pc:spChg>
        <pc:spChg chg="add mod">
          <ac:chgData name="Laurence ANGILBERT" userId="28ea2967-f540-4e7d-a641-d418703ece22" providerId="ADAL" clId="{859296AE-058C-4C65-BA04-6986791C2943}" dt="2024-02-02T13:45:34.805" v="28551" actId="207"/>
          <ac:spMkLst>
            <pc:docMk/>
            <pc:sldMk cId="1097620525" sldId="2147480307"/>
            <ac:spMk id="13" creationId="{7F408A1A-4FC2-B985-9FE5-C7766DD5F078}"/>
          </ac:spMkLst>
        </pc:spChg>
        <pc:spChg chg="del">
          <ac:chgData name="Laurence ANGILBERT" userId="28ea2967-f540-4e7d-a641-d418703ece22" providerId="ADAL" clId="{859296AE-058C-4C65-BA04-6986791C2943}" dt="2024-01-31T03:41:32.835" v="8101" actId="478"/>
          <ac:spMkLst>
            <pc:docMk/>
            <pc:sldMk cId="1097620525" sldId="2147480307"/>
            <ac:spMk id="15" creationId="{87894977-D37B-BFAA-ACB2-71D798227DEA}"/>
          </ac:spMkLst>
        </pc:spChg>
        <pc:spChg chg="del">
          <ac:chgData name="Laurence ANGILBERT" userId="28ea2967-f540-4e7d-a641-d418703ece22" providerId="ADAL" clId="{859296AE-058C-4C65-BA04-6986791C2943}" dt="2024-02-01T17:07:39.957" v="23626" actId="478"/>
          <ac:spMkLst>
            <pc:docMk/>
            <pc:sldMk cId="1097620525" sldId="2147480307"/>
            <ac:spMk id="15" creationId="{8E92742F-7C56-65FB-D929-C1F4B640105E}"/>
          </ac:spMkLst>
        </pc:spChg>
        <pc:spChg chg="add del mod">
          <ac:chgData name="Laurence ANGILBERT" userId="28ea2967-f540-4e7d-a641-d418703ece22" providerId="ADAL" clId="{859296AE-058C-4C65-BA04-6986791C2943}" dt="2024-01-31T08:57:11.376" v="8904" actId="478"/>
          <ac:spMkLst>
            <pc:docMk/>
            <pc:sldMk cId="1097620525" sldId="2147480307"/>
            <ac:spMk id="15" creationId="{BD3D874D-BA47-43E3-56CA-6ABC00E741E2}"/>
          </ac:spMkLst>
        </pc:spChg>
        <pc:spChg chg="del">
          <ac:chgData name="Laurence ANGILBERT" userId="28ea2967-f540-4e7d-a641-d418703ece22" providerId="ADAL" clId="{859296AE-058C-4C65-BA04-6986791C2943}" dt="2024-01-31T03:41:31.180" v="8100" actId="478"/>
          <ac:spMkLst>
            <pc:docMk/>
            <pc:sldMk cId="1097620525" sldId="2147480307"/>
            <ac:spMk id="16" creationId="{F9F73472-5CAA-C09A-3734-EB5F864E69C3}"/>
          </ac:spMkLst>
        </pc:spChg>
        <pc:spChg chg="add del mod">
          <ac:chgData name="Laurence ANGILBERT" userId="28ea2967-f540-4e7d-a641-d418703ece22" providerId="ADAL" clId="{859296AE-058C-4C65-BA04-6986791C2943}" dt="2024-01-31T16:40:06.422" v="15202" actId="478"/>
          <ac:spMkLst>
            <pc:docMk/>
            <pc:sldMk cId="1097620525" sldId="2147480307"/>
            <ac:spMk id="17" creationId="{E94ECFCE-5B43-FABD-6D9B-0C2DA4D14349}"/>
          </ac:spMkLst>
        </pc:spChg>
        <pc:spChg chg="mod">
          <ac:chgData name="Laurence ANGILBERT" userId="28ea2967-f540-4e7d-a641-d418703ece22" providerId="ADAL" clId="{859296AE-058C-4C65-BA04-6986791C2943}" dt="2024-02-02T13:51:24.587" v="28651" actId="20577"/>
          <ac:spMkLst>
            <pc:docMk/>
            <pc:sldMk cId="1097620525" sldId="2147480307"/>
            <ac:spMk id="18" creationId="{C8231268-C2B2-BE48-01AF-35E343770CEF}"/>
          </ac:spMkLst>
        </pc:spChg>
        <pc:spChg chg="mod">
          <ac:chgData name="Laurence ANGILBERT" userId="28ea2967-f540-4e7d-a641-d418703ece22" providerId="ADAL" clId="{859296AE-058C-4C65-BA04-6986791C2943}" dt="2024-01-31T19:22:24.012" v="17181" actId="1037"/>
          <ac:spMkLst>
            <pc:docMk/>
            <pc:sldMk cId="1097620525" sldId="2147480307"/>
            <ac:spMk id="19" creationId="{2919C7B7-E893-CF95-29BA-9D5F3B7828C1}"/>
          </ac:spMkLst>
        </pc:spChg>
        <pc:spChg chg="add del mod">
          <ac:chgData name="Laurence ANGILBERT" userId="28ea2967-f540-4e7d-a641-d418703ece22" providerId="ADAL" clId="{859296AE-058C-4C65-BA04-6986791C2943}" dt="2024-01-31T03:13:18.550" v="7393" actId="21"/>
          <ac:spMkLst>
            <pc:docMk/>
            <pc:sldMk cId="1097620525" sldId="2147480307"/>
            <ac:spMk id="20" creationId="{8EB115D8-F97A-3F0B-A2E8-D15ADFDFD9B5}"/>
          </ac:spMkLst>
        </pc:spChg>
        <pc:spChg chg="add del mod">
          <ac:chgData name="Laurence ANGILBERT" userId="28ea2967-f540-4e7d-a641-d418703ece22" providerId="ADAL" clId="{859296AE-058C-4C65-BA04-6986791C2943}" dt="2024-01-31T08:45:02.287" v="8665" actId="478"/>
          <ac:spMkLst>
            <pc:docMk/>
            <pc:sldMk cId="1097620525" sldId="2147480307"/>
            <ac:spMk id="21" creationId="{9A0BF0DF-7AA6-465D-ADE1-892E147E922C}"/>
          </ac:spMkLst>
        </pc:spChg>
        <pc:spChg chg="add del mod">
          <ac:chgData name="Laurence ANGILBERT" userId="28ea2967-f540-4e7d-a641-d418703ece22" providerId="ADAL" clId="{859296AE-058C-4C65-BA04-6986791C2943}" dt="2024-01-31T09:13:29.891" v="9269" actId="478"/>
          <ac:spMkLst>
            <pc:docMk/>
            <pc:sldMk cId="1097620525" sldId="2147480307"/>
            <ac:spMk id="22" creationId="{35EE2F13-A5D7-65D4-0DF5-4632F143099A}"/>
          </ac:spMkLst>
        </pc:spChg>
        <pc:spChg chg="add del mod">
          <ac:chgData name="Laurence ANGILBERT" userId="28ea2967-f540-4e7d-a641-d418703ece22" providerId="ADAL" clId="{859296AE-058C-4C65-BA04-6986791C2943}" dt="2024-01-31T03:41:12.028" v="8097" actId="478"/>
          <ac:spMkLst>
            <pc:docMk/>
            <pc:sldMk cId="1097620525" sldId="2147480307"/>
            <ac:spMk id="22" creationId="{4AE99BC4-CBCB-1D64-A018-80AA116B0EBB}"/>
          </ac:spMkLst>
        </pc:spChg>
        <pc:spChg chg="mod">
          <ac:chgData name="Laurence ANGILBERT" userId="28ea2967-f540-4e7d-a641-d418703ece22" providerId="ADAL" clId="{859296AE-058C-4C65-BA04-6986791C2943}" dt="2024-02-01T17:32:19.902" v="23681" actId="207"/>
          <ac:spMkLst>
            <pc:docMk/>
            <pc:sldMk cId="1097620525" sldId="2147480307"/>
            <ac:spMk id="25" creationId="{1515E993-6069-6C0D-1BB2-F62EC1A5417F}"/>
          </ac:spMkLst>
        </pc:spChg>
        <pc:spChg chg="add del mod">
          <ac:chgData name="Laurence ANGILBERT" userId="28ea2967-f540-4e7d-a641-d418703ece22" providerId="ADAL" clId="{859296AE-058C-4C65-BA04-6986791C2943}" dt="2024-01-31T17:43:17.732" v="16110" actId="478"/>
          <ac:spMkLst>
            <pc:docMk/>
            <pc:sldMk cId="1097620525" sldId="2147480307"/>
            <ac:spMk id="27" creationId="{936252C3-D099-B770-75BD-D0D8FB6008CA}"/>
          </ac:spMkLst>
        </pc:spChg>
        <pc:spChg chg="add del mod">
          <ac:chgData name="Laurence ANGILBERT" userId="28ea2967-f540-4e7d-a641-d418703ece22" providerId="ADAL" clId="{859296AE-058C-4C65-BA04-6986791C2943}" dt="2024-01-31T17:49:18.533" v="16561" actId="478"/>
          <ac:spMkLst>
            <pc:docMk/>
            <pc:sldMk cId="1097620525" sldId="2147480307"/>
            <ac:spMk id="28" creationId="{76560B6D-8EC5-1734-8B5D-666163009C6F}"/>
          </ac:spMkLst>
        </pc:spChg>
        <pc:spChg chg="mod">
          <ac:chgData name="Laurence ANGILBERT" userId="28ea2967-f540-4e7d-a641-d418703ece22" providerId="ADAL" clId="{859296AE-058C-4C65-BA04-6986791C2943}" dt="2024-02-02T09:06:09.361" v="25526" actId="1035"/>
          <ac:spMkLst>
            <pc:docMk/>
            <pc:sldMk cId="1097620525" sldId="2147480307"/>
            <ac:spMk id="30" creationId="{A8A15718-341E-1618-BBFE-8DE79C4D1726}"/>
          </ac:spMkLst>
        </pc:spChg>
        <pc:spChg chg="mod">
          <ac:chgData name="Laurence ANGILBERT" userId="28ea2967-f540-4e7d-a641-d418703ece22" providerId="ADAL" clId="{859296AE-058C-4C65-BA04-6986791C2943}" dt="2024-02-02T09:05:58.288" v="25514"/>
          <ac:spMkLst>
            <pc:docMk/>
            <pc:sldMk cId="1097620525" sldId="2147480307"/>
            <ac:spMk id="31" creationId="{DCE0C919-2FF0-B960-B4CB-977F62465439}"/>
          </ac:spMkLst>
        </pc:spChg>
        <pc:spChg chg="mod">
          <ac:chgData name="Laurence ANGILBERT" userId="28ea2967-f540-4e7d-a641-d418703ece22" providerId="ADAL" clId="{859296AE-058C-4C65-BA04-6986791C2943}" dt="2024-01-31T08:56:25.091" v="8873" actId="207"/>
          <ac:spMkLst>
            <pc:docMk/>
            <pc:sldMk cId="1097620525" sldId="2147480307"/>
            <ac:spMk id="32" creationId="{B3495833-9CC2-ED21-6E68-56E657DD98F8}"/>
          </ac:spMkLst>
        </pc:spChg>
        <pc:spChg chg="mod">
          <ac:chgData name="Laurence ANGILBERT" userId="28ea2967-f540-4e7d-a641-d418703ece22" providerId="ADAL" clId="{859296AE-058C-4C65-BA04-6986791C2943}" dt="2024-02-01T16:57:02.591" v="23474" actId="20577"/>
          <ac:spMkLst>
            <pc:docMk/>
            <pc:sldMk cId="1097620525" sldId="2147480307"/>
            <ac:spMk id="33" creationId="{7A064286-2ACC-8408-C2B8-83BB75643094}"/>
          </ac:spMkLst>
        </pc:spChg>
        <pc:spChg chg="mod">
          <ac:chgData name="Laurence ANGILBERT" userId="28ea2967-f540-4e7d-a641-d418703ece22" providerId="ADAL" clId="{859296AE-058C-4C65-BA04-6986791C2943}" dt="2024-02-01T17:03:40.435" v="23557" actId="1036"/>
          <ac:spMkLst>
            <pc:docMk/>
            <pc:sldMk cId="1097620525" sldId="2147480307"/>
            <ac:spMk id="34" creationId="{9650F1C7-7C98-3C61-8C3C-2BBA81E3429C}"/>
          </ac:spMkLst>
        </pc:spChg>
        <pc:spChg chg="add del mod">
          <ac:chgData name="Laurence ANGILBERT" userId="28ea2967-f540-4e7d-a641-d418703ece22" providerId="ADAL" clId="{859296AE-058C-4C65-BA04-6986791C2943}" dt="2024-02-01T16:56:40.321" v="23468" actId="478"/>
          <ac:spMkLst>
            <pc:docMk/>
            <pc:sldMk cId="1097620525" sldId="2147480307"/>
            <ac:spMk id="35" creationId="{EB09B0F1-8D55-2332-398B-0CA4B7468CBF}"/>
          </ac:spMkLst>
        </pc:spChg>
        <pc:spChg chg="mod">
          <ac:chgData name="Laurence ANGILBERT" userId="28ea2967-f540-4e7d-a641-d418703ece22" providerId="ADAL" clId="{859296AE-058C-4C65-BA04-6986791C2943}" dt="2024-01-31T09:01:03.988" v="9008" actId="14100"/>
          <ac:spMkLst>
            <pc:docMk/>
            <pc:sldMk cId="1097620525" sldId="2147480307"/>
            <ac:spMk id="38" creationId="{B39395E4-28F0-BDD2-0069-AD0984A16A96}"/>
          </ac:spMkLst>
        </pc:spChg>
        <pc:spChg chg="add del mod">
          <ac:chgData name="Laurence ANGILBERT" userId="28ea2967-f540-4e7d-a641-d418703ece22" providerId="ADAL" clId="{859296AE-058C-4C65-BA04-6986791C2943}" dt="2024-01-31T19:25:05.245" v="17262" actId="478"/>
          <ac:spMkLst>
            <pc:docMk/>
            <pc:sldMk cId="1097620525" sldId="2147480307"/>
            <ac:spMk id="40" creationId="{90AAABCC-9154-72C6-6ED8-C902251DA42A}"/>
          </ac:spMkLst>
        </pc:spChg>
        <pc:spChg chg="add del mod">
          <ac:chgData name="Laurence ANGILBERT" userId="28ea2967-f540-4e7d-a641-d418703ece22" providerId="ADAL" clId="{859296AE-058C-4C65-BA04-6986791C2943}" dt="2024-01-31T19:15:57.142" v="17011" actId="478"/>
          <ac:spMkLst>
            <pc:docMk/>
            <pc:sldMk cId="1097620525" sldId="2147480307"/>
            <ac:spMk id="41" creationId="{78BF870D-9A0A-1216-D02E-7484AA345F12}"/>
          </ac:spMkLst>
        </pc:spChg>
        <pc:spChg chg="add del mod">
          <ac:chgData name="Laurence ANGILBERT" userId="28ea2967-f540-4e7d-a641-d418703ece22" providerId="ADAL" clId="{859296AE-058C-4C65-BA04-6986791C2943}" dt="2024-01-31T08:41:29.695" v="8604" actId="478"/>
          <ac:spMkLst>
            <pc:docMk/>
            <pc:sldMk cId="1097620525" sldId="2147480307"/>
            <ac:spMk id="47" creationId="{8EB115D8-F97A-3F0B-A2E8-D15ADFDFD9B5}"/>
          </ac:spMkLst>
        </pc:spChg>
        <pc:grpChg chg="mod">
          <ac:chgData name="Laurence ANGILBERT" userId="28ea2967-f540-4e7d-a641-d418703ece22" providerId="ADAL" clId="{859296AE-058C-4C65-BA04-6986791C2943}" dt="2024-02-01T17:03:44.757" v="23558" actId="14100"/>
          <ac:grpSpMkLst>
            <pc:docMk/>
            <pc:sldMk cId="1097620525" sldId="2147480307"/>
            <ac:grpSpMk id="2" creationId="{EA28810B-0F1A-33FC-557D-04A040D2357B}"/>
          </ac:grpSpMkLst>
        </pc:grpChg>
        <pc:grpChg chg="mod">
          <ac:chgData name="Laurence ANGILBERT" userId="28ea2967-f540-4e7d-a641-d418703ece22" providerId="ADAL" clId="{859296AE-058C-4C65-BA04-6986791C2943}" dt="2024-01-31T19:22:13.801" v="17152" actId="14100"/>
          <ac:grpSpMkLst>
            <pc:docMk/>
            <pc:sldMk cId="1097620525" sldId="2147480307"/>
            <ac:grpSpMk id="4" creationId="{824A06BA-A461-44F3-8AA9-4CAAA46DE75A}"/>
          </ac:grpSpMkLst>
        </pc:grpChg>
        <pc:grpChg chg="mod">
          <ac:chgData name="Laurence ANGILBERT" userId="28ea2967-f540-4e7d-a641-d418703ece22" providerId="ADAL" clId="{859296AE-058C-4C65-BA04-6986791C2943}" dt="2024-01-31T09:13:41.974" v="9271" actId="14100"/>
          <ac:grpSpMkLst>
            <pc:docMk/>
            <pc:sldMk cId="1097620525" sldId="2147480307"/>
            <ac:grpSpMk id="10" creationId="{15AADAC6-D9A2-7ECC-DBED-296040E229F2}"/>
          </ac:grpSpMkLst>
        </pc:grpChg>
        <pc:grpChg chg="mod">
          <ac:chgData name="Laurence ANGILBERT" userId="28ea2967-f540-4e7d-a641-d418703ece22" providerId="ADAL" clId="{859296AE-058C-4C65-BA04-6986791C2943}" dt="2024-01-31T09:13:46.687" v="9289" actId="1036"/>
          <ac:grpSpMkLst>
            <pc:docMk/>
            <pc:sldMk cId="1097620525" sldId="2147480307"/>
            <ac:grpSpMk id="11" creationId="{9C7CABAD-85B9-725B-FC7C-03E6727DD17A}"/>
          </ac:grpSpMkLst>
        </pc:grpChg>
        <pc:grpChg chg="mod">
          <ac:chgData name="Laurence ANGILBERT" userId="28ea2967-f540-4e7d-a641-d418703ece22" providerId="ADAL" clId="{859296AE-058C-4C65-BA04-6986791C2943}" dt="2024-01-31T09:13:16.573" v="9263" actId="1036"/>
          <ac:grpSpMkLst>
            <pc:docMk/>
            <pc:sldMk cId="1097620525" sldId="2147480307"/>
            <ac:grpSpMk id="14" creationId="{E4069771-A32A-EC0F-B433-AD1F41F55C7A}"/>
          </ac:grpSpMkLst>
        </pc:grpChg>
        <pc:picChg chg="del">
          <ac:chgData name="Laurence ANGILBERT" userId="28ea2967-f540-4e7d-a641-d418703ece22" providerId="ADAL" clId="{859296AE-058C-4C65-BA04-6986791C2943}" dt="2024-01-31T09:14:15.032" v="9291" actId="478"/>
          <ac:picMkLst>
            <pc:docMk/>
            <pc:sldMk cId="1097620525" sldId="2147480307"/>
            <ac:picMk id="6" creationId="{BA2E81AC-9F07-04EA-5F37-1F7FA2A01E67}"/>
          </ac:picMkLst>
        </pc:picChg>
        <pc:picChg chg="mod">
          <ac:chgData name="Laurence ANGILBERT" userId="28ea2967-f540-4e7d-a641-d418703ece22" providerId="ADAL" clId="{859296AE-058C-4C65-BA04-6986791C2943}" dt="2024-01-31T09:04:06.909" v="9060" actId="20578"/>
          <ac:picMkLst>
            <pc:docMk/>
            <pc:sldMk cId="1097620525" sldId="2147480307"/>
            <ac:picMk id="9" creationId="{5904BD4C-6B18-D95B-413D-D7C652B5B9EE}"/>
          </ac:picMkLst>
        </pc:picChg>
        <pc:picChg chg="add mod">
          <ac:chgData name="Laurence ANGILBERT" userId="28ea2967-f540-4e7d-a641-d418703ece22" providerId="ADAL" clId="{859296AE-058C-4C65-BA04-6986791C2943}" dt="2024-01-31T19:22:24.012" v="17181" actId="1037"/>
          <ac:picMkLst>
            <pc:docMk/>
            <pc:sldMk cId="1097620525" sldId="2147480307"/>
            <ac:picMk id="16" creationId="{AAEFF45A-7C30-570B-777B-84E6E0CEC8A5}"/>
          </ac:picMkLst>
        </pc:picChg>
        <pc:picChg chg="add mod">
          <ac:chgData name="Laurence ANGILBERT" userId="28ea2967-f540-4e7d-a641-d418703ece22" providerId="ADAL" clId="{859296AE-058C-4C65-BA04-6986791C2943}" dt="2024-01-31T09:14:18.832" v="9302" actId="1036"/>
          <ac:picMkLst>
            <pc:docMk/>
            <pc:sldMk cId="1097620525" sldId="2147480307"/>
            <ac:picMk id="23" creationId="{E8F8225A-CC3C-6B0E-B9D1-38066DE0938E}"/>
          </ac:picMkLst>
        </pc:picChg>
        <pc:picChg chg="add mod">
          <ac:chgData name="Laurence ANGILBERT" userId="28ea2967-f540-4e7d-a641-d418703ece22" providerId="ADAL" clId="{859296AE-058C-4C65-BA04-6986791C2943}" dt="2024-01-31T09:14:31.259" v="9305" actId="1076"/>
          <ac:picMkLst>
            <pc:docMk/>
            <pc:sldMk cId="1097620525" sldId="2147480307"/>
            <ac:picMk id="24" creationId="{E788CB7D-8539-3557-3653-54B83FFAB907}"/>
          </ac:picMkLst>
        </pc:picChg>
        <pc:picChg chg="del">
          <ac:chgData name="Laurence ANGILBERT" userId="28ea2967-f540-4e7d-a641-d418703ece22" providerId="ADAL" clId="{859296AE-058C-4C65-BA04-6986791C2943}" dt="2024-01-31T09:14:27.482" v="9303" actId="478"/>
          <ac:picMkLst>
            <pc:docMk/>
            <pc:sldMk cId="1097620525" sldId="2147480307"/>
            <ac:picMk id="26" creationId="{D5AD588F-5B77-D8D8-9D30-96C8BB2D1731}"/>
          </ac:picMkLst>
        </pc:picChg>
        <pc:picChg chg="add mod">
          <ac:chgData name="Laurence ANGILBERT" userId="28ea2967-f540-4e7d-a641-d418703ece22" providerId="ADAL" clId="{859296AE-058C-4C65-BA04-6986791C2943}" dt="2024-02-01T17:03:40.435" v="23557" actId="1036"/>
          <ac:picMkLst>
            <pc:docMk/>
            <pc:sldMk cId="1097620525" sldId="2147480307"/>
            <ac:picMk id="36" creationId="{B9775266-8DCD-FD3E-3AED-2EBE183D4629}"/>
          </ac:picMkLst>
        </pc:picChg>
        <pc:picChg chg="add mod">
          <ac:chgData name="Laurence ANGILBERT" userId="28ea2967-f540-4e7d-a641-d418703ece22" providerId="ADAL" clId="{859296AE-058C-4C65-BA04-6986791C2943}" dt="2024-02-01T17:03:40.435" v="23557" actId="1036"/>
          <ac:picMkLst>
            <pc:docMk/>
            <pc:sldMk cId="1097620525" sldId="2147480307"/>
            <ac:picMk id="37" creationId="{43BAABDC-D51E-3147-E1B6-6A8DA1662435}"/>
          </ac:picMkLst>
        </pc:picChg>
        <pc:picChg chg="del mod">
          <ac:chgData name="Laurence ANGILBERT" userId="28ea2967-f540-4e7d-a641-d418703ece22" providerId="ADAL" clId="{859296AE-058C-4C65-BA04-6986791C2943}" dt="2024-01-31T08:57:02.725" v="8900" actId="478"/>
          <ac:picMkLst>
            <pc:docMk/>
            <pc:sldMk cId="1097620525" sldId="2147480307"/>
            <ac:picMk id="39" creationId="{EDA1B137-74C6-F626-009B-D825BB4A19EF}"/>
          </ac:picMkLst>
        </pc:picChg>
      </pc:sldChg>
      <pc:sldChg chg="addSp delSp modSp mod">
        <pc:chgData name="Laurence ANGILBERT" userId="28ea2967-f540-4e7d-a641-d418703ece22" providerId="ADAL" clId="{859296AE-058C-4C65-BA04-6986791C2943}" dt="2024-02-02T09:07:19.152" v="25592" actId="1035"/>
        <pc:sldMkLst>
          <pc:docMk/>
          <pc:sldMk cId="1174410406" sldId="2147480308"/>
        </pc:sldMkLst>
        <pc:spChg chg="add del mod">
          <ac:chgData name="Laurence ANGILBERT" userId="28ea2967-f540-4e7d-a641-d418703ece22" providerId="ADAL" clId="{859296AE-058C-4C65-BA04-6986791C2943}" dt="2024-01-31T16:40:29.586" v="15208" actId="478"/>
          <ac:spMkLst>
            <pc:docMk/>
            <pc:sldMk cId="1174410406" sldId="2147480308"/>
            <ac:spMk id="2" creationId="{02FBE1AF-1179-8830-5704-9DC97D7F6E32}"/>
          </ac:spMkLst>
        </pc:spChg>
        <pc:spChg chg="add del mod">
          <ac:chgData name="Laurence ANGILBERT" userId="28ea2967-f540-4e7d-a641-d418703ece22" providerId="ADAL" clId="{859296AE-058C-4C65-BA04-6986791C2943}" dt="2024-02-01T17:35:01.765" v="23684" actId="478"/>
          <ac:spMkLst>
            <pc:docMk/>
            <pc:sldMk cId="1174410406" sldId="2147480308"/>
            <ac:spMk id="2" creationId="{D8E01C3A-852A-6FC0-F901-66E7493FFEC9}"/>
          </ac:spMkLst>
        </pc:spChg>
        <pc:spChg chg="mod">
          <ac:chgData name="Laurence ANGILBERT" userId="28ea2967-f540-4e7d-a641-d418703ece22" providerId="ADAL" clId="{859296AE-058C-4C65-BA04-6986791C2943}" dt="2024-01-31T13:44:22.524" v="12780" actId="108"/>
          <ac:spMkLst>
            <pc:docMk/>
            <pc:sldMk cId="1174410406" sldId="2147480308"/>
            <ac:spMk id="3" creationId="{667C8A85-8CD5-181E-1B44-9BED4BC58ECF}"/>
          </ac:spMkLst>
        </pc:spChg>
        <pc:spChg chg="mod">
          <ac:chgData name="Laurence ANGILBERT" userId="28ea2967-f540-4e7d-a641-d418703ece22" providerId="ADAL" clId="{859296AE-058C-4C65-BA04-6986791C2943}" dt="2024-01-31T08:58:04.977" v="8914" actId="207"/>
          <ac:spMkLst>
            <pc:docMk/>
            <pc:sldMk cId="1174410406" sldId="2147480308"/>
            <ac:spMk id="5" creationId="{544069F3-8220-51EE-508A-1C07112F822D}"/>
          </ac:spMkLst>
        </pc:spChg>
        <pc:spChg chg="mod">
          <ac:chgData name="Laurence ANGILBERT" userId="28ea2967-f540-4e7d-a641-d418703ece22" providerId="ADAL" clId="{859296AE-058C-4C65-BA04-6986791C2943}" dt="2024-01-31T13:25:29.680" v="11807" actId="20578"/>
          <ac:spMkLst>
            <pc:docMk/>
            <pc:sldMk cId="1174410406" sldId="2147480308"/>
            <ac:spMk id="7" creationId="{8079125D-CFC6-49E2-531A-B3BCD8992476}"/>
          </ac:spMkLst>
        </pc:spChg>
        <pc:spChg chg="mod">
          <ac:chgData name="Laurence ANGILBERT" userId="28ea2967-f540-4e7d-a641-d418703ece22" providerId="ADAL" clId="{859296AE-058C-4C65-BA04-6986791C2943}" dt="2024-01-31T08:58:18.442" v="8918" actId="207"/>
          <ac:spMkLst>
            <pc:docMk/>
            <pc:sldMk cId="1174410406" sldId="2147480308"/>
            <ac:spMk id="8" creationId="{DE545888-F0D1-9B72-F95E-9BE644FB71DD}"/>
          </ac:spMkLst>
        </pc:spChg>
        <pc:spChg chg="del">
          <ac:chgData name="Laurence ANGILBERT" userId="28ea2967-f540-4e7d-a641-d418703ece22" providerId="ADAL" clId="{859296AE-058C-4C65-BA04-6986791C2943}" dt="2024-01-30T13:57:55.275" v="3323" actId="478"/>
          <ac:spMkLst>
            <pc:docMk/>
            <pc:sldMk cId="1174410406" sldId="2147480308"/>
            <ac:spMk id="10" creationId="{0A1DF6F6-8895-DE6C-C30E-4B01C1043A0F}"/>
          </ac:spMkLst>
        </pc:spChg>
        <pc:spChg chg="add del mod">
          <ac:chgData name="Laurence ANGILBERT" userId="28ea2967-f540-4e7d-a641-d418703ece22" providerId="ADAL" clId="{859296AE-058C-4C65-BA04-6986791C2943}" dt="2024-01-31T19:57:16.644" v="17953" actId="478"/>
          <ac:spMkLst>
            <pc:docMk/>
            <pc:sldMk cId="1174410406" sldId="2147480308"/>
            <ac:spMk id="10" creationId="{39D32870-8B00-4AF6-CC6A-BD9931118E66}"/>
          </ac:spMkLst>
        </pc:spChg>
        <pc:spChg chg="del">
          <ac:chgData name="Laurence ANGILBERT" userId="28ea2967-f540-4e7d-a641-d418703ece22" providerId="ADAL" clId="{859296AE-058C-4C65-BA04-6986791C2943}" dt="2024-02-01T17:07:49.940" v="23627" actId="478"/>
          <ac:spMkLst>
            <pc:docMk/>
            <pc:sldMk cId="1174410406" sldId="2147480308"/>
            <ac:spMk id="10" creationId="{50A54719-F6D1-6857-4987-65592439BE4F}"/>
          </ac:spMkLst>
        </pc:spChg>
        <pc:spChg chg="add del mod">
          <ac:chgData name="Laurence ANGILBERT" userId="28ea2967-f540-4e7d-a641-d418703ece22" providerId="ADAL" clId="{859296AE-058C-4C65-BA04-6986791C2943}" dt="2024-01-31T13:27:21.128" v="11963" actId="478"/>
          <ac:spMkLst>
            <pc:docMk/>
            <pc:sldMk cId="1174410406" sldId="2147480308"/>
            <ac:spMk id="10" creationId="{D56C0AF3-BF18-72F3-683A-5A92911F5211}"/>
          </ac:spMkLst>
        </pc:spChg>
        <pc:spChg chg="add del mod">
          <ac:chgData name="Laurence ANGILBERT" userId="28ea2967-f540-4e7d-a641-d418703ece22" providerId="ADAL" clId="{859296AE-058C-4C65-BA04-6986791C2943}" dt="2024-01-31T13:29:25.989" v="12164" actId="478"/>
          <ac:spMkLst>
            <pc:docMk/>
            <pc:sldMk cId="1174410406" sldId="2147480308"/>
            <ac:spMk id="11" creationId="{8AA40199-5024-5FA6-EE14-B8E873FA7BDD}"/>
          </ac:spMkLst>
        </pc:spChg>
        <pc:spChg chg="add del mod">
          <ac:chgData name="Laurence ANGILBERT" userId="28ea2967-f540-4e7d-a641-d418703ece22" providerId="ADAL" clId="{859296AE-058C-4C65-BA04-6986791C2943}" dt="2024-02-01T17:06:16.906" v="23566" actId="478"/>
          <ac:spMkLst>
            <pc:docMk/>
            <pc:sldMk cId="1174410406" sldId="2147480308"/>
            <ac:spMk id="11" creationId="{FF17EF2B-F242-42F2-B445-507B71841A84}"/>
          </ac:spMkLst>
        </pc:spChg>
        <pc:spChg chg="add del mod">
          <ac:chgData name="Laurence ANGILBERT" userId="28ea2967-f540-4e7d-a641-d418703ece22" providerId="ADAL" clId="{859296AE-058C-4C65-BA04-6986791C2943}" dt="2024-01-31T13:23:28.216" v="11743" actId="478"/>
          <ac:spMkLst>
            <pc:docMk/>
            <pc:sldMk cId="1174410406" sldId="2147480308"/>
            <ac:spMk id="14" creationId="{1E75A72B-70D3-8894-2663-3142553CCFE0}"/>
          </ac:spMkLst>
        </pc:spChg>
        <pc:spChg chg="add del mod">
          <ac:chgData name="Laurence ANGILBERT" userId="28ea2967-f540-4e7d-a641-d418703ece22" providerId="ADAL" clId="{859296AE-058C-4C65-BA04-6986791C2943}" dt="2024-01-31T08:58:20.754" v="8919" actId="478"/>
          <ac:spMkLst>
            <pc:docMk/>
            <pc:sldMk cId="1174410406" sldId="2147480308"/>
            <ac:spMk id="17" creationId="{83C25AF8-E7C8-DBC8-3503-AE1093A1472F}"/>
          </ac:spMkLst>
        </pc:spChg>
        <pc:spChg chg="mod">
          <ac:chgData name="Laurence ANGILBERT" userId="28ea2967-f540-4e7d-a641-d418703ece22" providerId="ADAL" clId="{859296AE-058C-4C65-BA04-6986791C2943}" dt="2024-02-01T17:06:14.242" v="23565" actId="20577"/>
          <ac:spMkLst>
            <pc:docMk/>
            <pc:sldMk cId="1174410406" sldId="2147480308"/>
            <ac:spMk id="18" creationId="{C8231268-C2B2-BE48-01AF-35E343770CEF}"/>
          </ac:spMkLst>
        </pc:spChg>
        <pc:spChg chg="mod">
          <ac:chgData name="Laurence ANGILBERT" userId="28ea2967-f540-4e7d-a641-d418703ece22" providerId="ADAL" clId="{859296AE-058C-4C65-BA04-6986791C2943}" dt="2024-01-31T08:58:12.843" v="8916" actId="207"/>
          <ac:spMkLst>
            <pc:docMk/>
            <pc:sldMk cId="1174410406" sldId="2147480308"/>
            <ac:spMk id="19" creationId="{2919C7B7-E893-CF95-29BA-9D5F3B7828C1}"/>
          </ac:spMkLst>
        </pc:spChg>
        <pc:spChg chg="add del mod">
          <ac:chgData name="Laurence ANGILBERT" userId="28ea2967-f540-4e7d-a641-d418703ece22" providerId="ADAL" clId="{859296AE-058C-4C65-BA04-6986791C2943}" dt="2024-01-31T08:58:20.754" v="8919" actId="478"/>
          <ac:spMkLst>
            <pc:docMk/>
            <pc:sldMk cId="1174410406" sldId="2147480308"/>
            <ac:spMk id="20" creationId="{1398CDBF-2623-9764-84F3-84FAB6767683}"/>
          </ac:spMkLst>
        </pc:spChg>
        <pc:spChg chg="add del mod">
          <ac:chgData name="Laurence ANGILBERT" userId="28ea2967-f540-4e7d-a641-d418703ece22" providerId="ADAL" clId="{859296AE-058C-4C65-BA04-6986791C2943}" dt="2024-01-31T17:43:29.251" v="16113" actId="478"/>
          <ac:spMkLst>
            <pc:docMk/>
            <pc:sldMk cId="1174410406" sldId="2147480308"/>
            <ac:spMk id="21" creationId="{418E6639-A2AF-3AD8-616D-6C5D554FA12A}"/>
          </ac:spMkLst>
        </pc:spChg>
        <pc:spChg chg="add del mod">
          <ac:chgData name="Laurence ANGILBERT" userId="28ea2967-f540-4e7d-a641-d418703ece22" providerId="ADAL" clId="{859296AE-058C-4C65-BA04-6986791C2943}" dt="2024-01-31T17:49:53.854" v="16588" actId="478"/>
          <ac:spMkLst>
            <pc:docMk/>
            <pc:sldMk cId="1174410406" sldId="2147480308"/>
            <ac:spMk id="22" creationId="{39BD5085-9126-78A7-039C-B6D35D8E4457}"/>
          </ac:spMkLst>
        </pc:spChg>
        <pc:spChg chg="add del mod">
          <ac:chgData name="Laurence ANGILBERT" userId="28ea2967-f540-4e7d-a641-d418703ece22" providerId="ADAL" clId="{859296AE-058C-4C65-BA04-6986791C2943}" dt="2024-02-01T16:58:30.041" v="23507" actId="478"/>
          <ac:spMkLst>
            <pc:docMk/>
            <pc:sldMk cId="1174410406" sldId="2147480308"/>
            <ac:spMk id="23" creationId="{272101D4-E2F4-5122-D41B-ACAB97FEF86E}"/>
          </ac:spMkLst>
        </pc:spChg>
        <pc:spChg chg="mod">
          <ac:chgData name="Laurence ANGILBERT" userId="28ea2967-f540-4e7d-a641-d418703ece22" providerId="ADAL" clId="{859296AE-058C-4C65-BA04-6986791C2943}" dt="2024-02-01T17:27:38.737" v="23674" actId="20577"/>
          <ac:spMkLst>
            <pc:docMk/>
            <pc:sldMk cId="1174410406" sldId="2147480308"/>
            <ac:spMk id="25" creationId="{1515E993-6069-6C0D-1BB2-F62EC1A5417F}"/>
          </ac:spMkLst>
        </pc:spChg>
        <pc:spChg chg="add del mod">
          <ac:chgData name="Laurence ANGILBERT" userId="28ea2967-f540-4e7d-a641-d418703ece22" providerId="ADAL" clId="{859296AE-058C-4C65-BA04-6986791C2943}" dt="2024-01-31T19:49:20.176" v="17618" actId="478"/>
          <ac:spMkLst>
            <pc:docMk/>
            <pc:sldMk cId="1174410406" sldId="2147480308"/>
            <ac:spMk id="28" creationId="{1C25234A-211C-5530-B594-2FD2221AFFF7}"/>
          </ac:spMkLst>
        </pc:spChg>
        <pc:spChg chg="mod">
          <ac:chgData name="Laurence ANGILBERT" userId="28ea2967-f540-4e7d-a641-d418703ece22" providerId="ADAL" clId="{859296AE-058C-4C65-BA04-6986791C2943}" dt="2024-02-02T09:07:19.152" v="25592" actId="1035"/>
          <ac:spMkLst>
            <pc:docMk/>
            <pc:sldMk cId="1174410406" sldId="2147480308"/>
            <ac:spMk id="30" creationId="{A8A15718-341E-1618-BBFE-8DE79C4D1726}"/>
          </ac:spMkLst>
        </pc:spChg>
        <pc:spChg chg="mod">
          <ac:chgData name="Laurence ANGILBERT" userId="28ea2967-f540-4e7d-a641-d418703ece22" providerId="ADAL" clId="{859296AE-058C-4C65-BA04-6986791C2943}" dt="2024-01-31T13:42:33.048" v="12617" actId="20577"/>
          <ac:spMkLst>
            <pc:docMk/>
            <pc:sldMk cId="1174410406" sldId="2147480308"/>
            <ac:spMk id="32" creationId="{B3495833-9CC2-ED21-6E68-56E657DD98F8}"/>
          </ac:spMkLst>
        </pc:spChg>
        <pc:spChg chg="mod">
          <ac:chgData name="Laurence ANGILBERT" userId="28ea2967-f540-4e7d-a641-d418703ece22" providerId="ADAL" clId="{859296AE-058C-4C65-BA04-6986791C2943}" dt="2024-01-31T13:43:21.158" v="12662" actId="108"/>
          <ac:spMkLst>
            <pc:docMk/>
            <pc:sldMk cId="1174410406" sldId="2147480308"/>
            <ac:spMk id="33" creationId="{7A064286-2ACC-8408-C2B8-83BB75643094}"/>
          </ac:spMkLst>
        </pc:spChg>
        <pc:spChg chg="mod">
          <ac:chgData name="Laurence ANGILBERT" userId="28ea2967-f540-4e7d-a641-d418703ece22" providerId="ADAL" clId="{859296AE-058C-4C65-BA04-6986791C2943}" dt="2024-01-31T19:27:51.784" v="17465" actId="1036"/>
          <ac:spMkLst>
            <pc:docMk/>
            <pc:sldMk cId="1174410406" sldId="2147480308"/>
            <ac:spMk id="34" creationId="{9650F1C7-7C98-3C61-8C3C-2BBA81E3429C}"/>
          </ac:spMkLst>
        </pc:spChg>
        <pc:spChg chg="add del mod">
          <ac:chgData name="Laurence ANGILBERT" userId="28ea2967-f540-4e7d-a641-d418703ece22" providerId="ADAL" clId="{859296AE-058C-4C65-BA04-6986791C2943}" dt="2024-01-31T19:26:45.484" v="17345" actId="478"/>
          <ac:spMkLst>
            <pc:docMk/>
            <pc:sldMk cId="1174410406" sldId="2147480308"/>
            <ac:spMk id="35" creationId="{236424A5-C14B-0310-02A2-48E84B176BB6}"/>
          </ac:spMkLst>
        </pc:spChg>
        <pc:spChg chg="mod">
          <ac:chgData name="Laurence ANGILBERT" userId="28ea2967-f540-4e7d-a641-d418703ece22" providerId="ADAL" clId="{859296AE-058C-4C65-BA04-6986791C2943}" dt="2024-01-31T08:58:15.843" v="8917" actId="207"/>
          <ac:spMkLst>
            <pc:docMk/>
            <pc:sldMk cId="1174410406" sldId="2147480308"/>
            <ac:spMk id="38" creationId="{B39395E4-28F0-BDD2-0069-AD0984A16A96}"/>
          </ac:spMkLst>
        </pc:spChg>
        <pc:grpChg chg="mod">
          <ac:chgData name="Laurence ANGILBERT" userId="28ea2967-f540-4e7d-a641-d418703ece22" providerId="ADAL" clId="{859296AE-058C-4C65-BA04-6986791C2943}" dt="2024-01-31T13:25:29.680" v="11807" actId="20578"/>
          <ac:grpSpMkLst>
            <pc:docMk/>
            <pc:sldMk cId="1174410406" sldId="2147480308"/>
            <ac:grpSpMk id="4" creationId="{824A06BA-A461-44F3-8AA9-4CAAA46DE75A}"/>
          </ac:grpSpMkLst>
        </pc:grpChg>
        <pc:picChg chg="mod">
          <ac:chgData name="Laurence ANGILBERT" userId="28ea2967-f540-4e7d-a641-d418703ece22" providerId="ADAL" clId="{859296AE-058C-4C65-BA04-6986791C2943}" dt="2024-01-31T13:25:29.680" v="11807" actId="20578"/>
          <ac:picMkLst>
            <pc:docMk/>
            <pc:sldMk cId="1174410406" sldId="2147480308"/>
            <ac:picMk id="9" creationId="{5904BD4C-6B18-D95B-413D-D7C652B5B9EE}"/>
          </ac:picMkLst>
        </pc:picChg>
        <pc:picChg chg="add mod">
          <ac:chgData name="Laurence ANGILBERT" userId="28ea2967-f540-4e7d-a641-d418703ece22" providerId="ADAL" clId="{859296AE-058C-4C65-BA04-6986791C2943}" dt="2024-01-31T19:27:51.784" v="17465" actId="1036"/>
          <ac:picMkLst>
            <pc:docMk/>
            <pc:sldMk cId="1174410406" sldId="2147480308"/>
            <ac:picMk id="24" creationId="{05FF0777-84EC-A037-44B1-B7294EFEC440}"/>
          </ac:picMkLst>
        </pc:picChg>
        <pc:picChg chg="add mod">
          <ac:chgData name="Laurence ANGILBERT" userId="28ea2967-f540-4e7d-a641-d418703ece22" providerId="ADAL" clId="{859296AE-058C-4C65-BA04-6986791C2943}" dt="2024-01-31T19:27:51.784" v="17465" actId="1036"/>
          <ac:picMkLst>
            <pc:docMk/>
            <pc:sldMk cId="1174410406" sldId="2147480308"/>
            <ac:picMk id="27" creationId="{940D74CE-0EA6-6A62-A7F8-15E7A07AEC6A}"/>
          </ac:picMkLst>
        </pc:picChg>
      </pc:sldChg>
      <pc:sldChg chg="addSp delSp modSp add mod ord">
        <pc:chgData name="Laurence ANGILBERT" userId="28ea2967-f540-4e7d-a641-d418703ece22" providerId="ADAL" clId="{859296AE-058C-4C65-BA04-6986791C2943}" dt="2024-02-02T09:26:23.780" v="25771"/>
        <pc:sldMkLst>
          <pc:docMk/>
          <pc:sldMk cId="4075207573" sldId="2147480309"/>
        </pc:sldMkLst>
        <pc:spChg chg="add mod">
          <ac:chgData name="Laurence ANGILBERT" userId="28ea2967-f540-4e7d-a641-d418703ece22" providerId="ADAL" clId="{859296AE-058C-4C65-BA04-6986791C2943}" dt="2024-01-27T18:08:18.686" v="383" actId="1038"/>
          <ac:spMkLst>
            <pc:docMk/>
            <pc:sldMk cId="4075207573" sldId="2147480309"/>
            <ac:spMk id="2" creationId="{9D2C2667-C273-4C08-8F92-6889403313BE}"/>
          </ac:spMkLst>
        </pc:spChg>
        <pc:spChg chg="mod">
          <ac:chgData name="Laurence ANGILBERT" userId="28ea2967-f540-4e7d-a641-d418703ece22" providerId="ADAL" clId="{859296AE-058C-4C65-BA04-6986791C2943}" dt="2024-02-01T17:32:42.873" v="23682" actId="1076"/>
          <ac:spMkLst>
            <pc:docMk/>
            <pc:sldMk cId="4075207573" sldId="2147480309"/>
            <ac:spMk id="3" creationId="{C0332F43-C885-A3A9-6D6C-01F6B3BB0BDB}"/>
          </ac:spMkLst>
        </pc:spChg>
        <pc:spChg chg="add mod">
          <ac:chgData name="Laurence ANGILBERT" userId="28ea2967-f540-4e7d-a641-d418703ece22" providerId="ADAL" clId="{859296AE-058C-4C65-BA04-6986791C2943}" dt="2024-01-27T18:08:18.686" v="383" actId="1038"/>
          <ac:spMkLst>
            <pc:docMk/>
            <pc:sldMk cId="4075207573" sldId="2147480309"/>
            <ac:spMk id="4" creationId="{491A6851-B35F-41FD-B7A2-C04047AFCA2C}"/>
          </ac:spMkLst>
        </pc:spChg>
        <pc:spChg chg="add mod">
          <ac:chgData name="Laurence ANGILBERT" userId="28ea2967-f540-4e7d-a641-d418703ece22" providerId="ADAL" clId="{859296AE-058C-4C65-BA04-6986791C2943}" dt="2024-01-27T18:08:18.686" v="383" actId="1038"/>
          <ac:spMkLst>
            <pc:docMk/>
            <pc:sldMk cId="4075207573" sldId="2147480309"/>
            <ac:spMk id="10" creationId="{896A5EA6-8D19-4C02-AF36-50552C78CEDA}"/>
          </ac:spMkLst>
        </pc:spChg>
        <pc:spChg chg="add mod">
          <ac:chgData name="Laurence ANGILBERT" userId="28ea2967-f540-4e7d-a641-d418703ece22" providerId="ADAL" clId="{859296AE-058C-4C65-BA04-6986791C2943}" dt="2024-01-27T18:08:18.686" v="383" actId="1038"/>
          <ac:spMkLst>
            <pc:docMk/>
            <pc:sldMk cId="4075207573" sldId="2147480309"/>
            <ac:spMk id="22" creationId="{29EC2FAC-3F2F-4EA7-9E1E-1A3C1CC1E397}"/>
          </ac:spMkLst>
        </pc:spChg>
        <pc:spChg chg="mod">
          <ac:chgData name="Laurence ANGILBERT" userId="28ea2967-f540-4e7d-a641-d418703ece22" providerId="ADAL" clId="{859296AE-058C-4C65-BA04-6986791C2943}" dt="2024-02-02T09:26:23.780" v="25771"/>
          <ac:spMkLst>
            <pc:docMk/>
            <pc:sldMk cId="4075207573" sldId="2147480309"/>
            <ac:spMk id="30" creationId="{A8A15718-341E-1618-BBFE-8DE79C4D1726}"/>
          </ac:spMkLst>
        </pc:spChg>
        <pc:spChg chg="del">
          <ac:chgData name="Laurence ANGILBERT" userId="28ea2967-f540-4e7d-a641-d418703ece22" providerId="ADAL" clId="{859296AE-058C-4C65-BA04-6986791C2943}" dt="2024-01-27T18:06:52.624" v="310" actId="478"/>
          <ac:spMkLst>
            <pc:docMk/>
            <pc:sldMk cId="4075207573" sldId="2147480309"/>
            <ac:spMk id="34" creationId="{9650F1C7-7C98-3C61-8C3C-2BBA81E3429C}"/>
          </ac:spMkLst>
        </pc:spChg>
        <pc:spChg chg="mod">
          <ac:chgData name="Laurence ANGILBERT" userId="28ea2967-f540-4e7d-a641-d418703ece22" providerId="ADAL" clId="{859296AE-058C-4C65-BA04-6986791C2943}" dt="2024-01-27T18:08:18.686" v="383" actId="1038"/>
          <ac:spMkLst>
            <pc:docMk/>
            <pc:sldMk cId="4075207573" sldId="2147480309"/>
            <ac:spMk id="36" creationId="{C5635492-5D53-9845-C7D5-FB5441941BBB}"/>
          </ac:spMkLst>
        </pc:spChg>
        <pc:spChg chg="mod">
          <ac:chgData name="Laurence ANGILBERT" userId="28ea2967-f540-4e7d-a641-d418703ece22" providerId="ADAL" clId="{859296AE-058C-4C65-BA04-6986791C2943}" dt="2024-01-27T18:08:18.686" v="383" actId="1038"/>
          <ac:spMkLst>
            <pc:docMk/>
            <pc:sldMk cId="4075207573" sldId="2147480309"/>
            <ac:spMk id="41" creationId="{0727A7C4-76BC-E587-6FD4-8BF3D0ABB5B4}"/>
          </ac:spMkLst>
        </pc:spChg>
        <pc:spChg chg="add mod">
          <ac:chgData name="Laurence ANGILBERT" userId="28ea2967-f540-4e7d-a641-d418703ece22" providerId="ADAL" clId="{859296AE-058C-4C65-BA04-6986791C2943}" dt="2024-01-27T18:08:18.686" v="383" actId="1038"/>
          <ac:spMkLst>
            <pc:docMk/>
            <pc:sldMk cId="4075207573" sldId="2147480309"/>
            <ac:spMk id="42" creationId="{91AEBB1E-A8B8-DC55-4A9D-F7797B0382B1}"/>
          </ac:spMkLst>
        </pc:spChg>
        <pc:spChg chg="add mod">
          <ac:chgData name="Laurence ANGILBERT" userId="28ea2967-f540-4e7d-a641-d418703ece22" providerId="ADAL" clId="{859296AE-058C-4C65-BA04-6986791C2943}" dt="2024-01-27T18:08:18.686" v="383" actId="1038"/>
          <ac:spMkLst>
            <pc:docMk/>
            <pc:sldMk cId="4075207573" sldId="2147480309"/>
            <ac:spMk id="43" creationId="{CE92218A-460D-A7DF-BAFF-6F33EDDEA9EA}"/>
          </ac:spMkLst>
        </pc:spChg>
        <pc:grpChg chg="del">
          <ac:chgData name="Laurence ANGILBERT" userId="28ea2967-f540-4e7d-a641-d418703ece22" providerId="ADAL" clId="{859296AE-058C-4C65-BA04-6986791C2943}" dt="2024-01-27T18:06:52.624" v="310" actId="478"/>
          <ac:grpSpMkLst>
            <pc:docMk/>
            <pc:sldMk cId="4075207573" sldId="2147480309"/>
            <ac:grpSpMk id="15" creationId="{BD17B117-05FB-2314-602F-ABA5B9766B19}"/>
          </ac:grpSpMkLst>
        </pc:grpChg>
        <pc:grpChg chg="del">
          <ac:chgData name="Laurence ANGILBERT" userId="28ea2967-f540-4e7d-a641-d418703ece22" providerId="ADAL" clId="{859296AE-058C-4C65-BA04-6986791C2943}" dt="2024-01-27T18:06:52.624" v="310" actId="478"/>
          <ac:grpSpMkLst>
            <pc:docMk/>
            <pc:sldMk cId="4075207573" sldId="2147480309"/>
            <ac:grpSpMk id="16" creationId="{E103CC10-A6A7-9A33-7864-8A7A76424CDB}"/>
          </ac:grpSpMkLst>
        </pc:grpChg>
        <pc:grpChg chg="del">
          <ac:chgData name="Laurence ANGILBERT" userId="28ea2967-f540-4e7d-a641-d418703ece22" providerId="ADAL" clId="{859296AE-058C-4C65-BA04-6986791C2943}" dt="2024-01-27T18:06:52.624" v="310" actId="478"/>
          <ac:grpSpMkLst>
            <pc:docMk/>
            <pc:sldMk cId="4075207573" sldId="2147480309"/>
            <ac:grpSpMk id="20" creationId="{5C943D1A-95E0-5305-4853-662961D148BE}"/>
          </ac:grpSpMkLst>
        </pc:grpChg>
        <pc:grpChg chg="add mod">
          <ac:chgData name="Laurence ANGILBERT" userId="28ea2967-f540-4e7d-a641-d418703ece22" providerId="ADAL" clId="{859296AE-058C-4C65-BA04-6986791C2943}" dt="2024-01-27T18:08:18.686" v="383" actId="1038"/>
          <ac:grpSpMkLst>
            <pc:docMk/>
            <pc:sldMk cId="4075207573" sldId="2147480309"/>
            <ac:grpSpMk id="24" creationId="{3673066D-51AF-C36E-4DDD-FF8DD9C67909}"/>
          </ac:grpSpMkLst>
        </pc:grpChg>
        <pc:grpChg chg="del">
          <ac:chgData name="Laurence ANGILBERT" userId="28ea2967-f540-4e7d-a641-d418703ece22" providerId="ADAL" clId="{859296AE-058C-4C65-BA04-6986791C2943}" dt="2024-01-27T18:06:52.624" v="310" actId="478"/>
          <ac:grpSpMkLst>
            <pc:docMk/>
            <pc:sldMk cId="4075207573" sldId="2147480309"/>
            <ac:grpSpMk id="27" creationId="{3323E204-0F0B-F947-C480-611E6BD7732E}"/>
          </ac:grpSpMkLst>
        </pc:grpChg>
        <pc:grpChg chg="del">
          <ac:chgData name="Laurence ANGILBERT" userId="28ea2967-f540-4e7d-a641-d418703ece22" providerId="ADAL" clId="{859296AE-058C-4C65-BA04-6986791C2943}" dt="2024-01-27T18:06:52.624" v="310" actId="478"/>
          <ac:grpSpMkLst>
            <pc:docMk/>
            <pc:sldMk cId="4075207573" sldId="2147480309"/>
            <ac:grpSpMk id="35" creationId="{65559D40-C722-5A0B-24DE-F744F3C2E3C9}"/>
          </ac:grpSpMkLst>
        </pc:grpChg>
        <pc:grpChg chg="add mod">
          <ac:chgData name="Laurence ANGILBERT" userId="28ea2967-f540-4e7d-a641-d418703ece22" providerId="ADAL" clId="{859296AE-058C-4C65-BA04-6986791C2943}" dt="2024-01-27T18:08:18.686" v="383" actId="1038"/>
          <ac:grpSpMkLst>
            <pc:docMk/>
            <pc:sldMk cId="4075207573" sldId="2147480309"/>
            <ac:grpSpMk id="37" creationId="{B7B39669-D8CF-BD73-EC9B-BE997EB26DF2}"/>
          </ac:grpSpMkLst>
        </pc:grpChg>
        <pc:picChg chg="add mod">
          <ac:chgData name="Laurence ANGILBERT" userId="28ea2967-f540-4e7d-a641-d418703ece22" providerId="ADAL" clId="{859296AE-058C-4C65-BA04-6986791C2943}" dt="2024-01-27T18:08:18.686" v="383" actId="1038"/>
          <ac:picMkLst>
            <pc:docMk/>
            <pc:sldMk cId="4075207573" sldId="2147480309"/>
            <ac:picMk id="11" creationId="{4FFD70F6-6BEE-2FC2-6567-52D378C1BEA3}"/>
          </ac:picMkLst>
        </pc:picChg>
        <pc:picChg chg="add mod">
          <ac:chgData name="Laurence ANGILBERT" userId="28ea2967-f540-4e7d-a641-d418703ece22" providerId="ADAL" clId="{859296AE-058C-4C65-BA04-6986791C2943}" dt="2024-01-27T18:08:18.686" v="383" actId="1038"/>
          <ac:picMkLst>
            <pc:docMk/>
            <pc:sldMk cId="4075207573" sldId="2147480309"/>
            <ac:picMk id="14" creationId="{9C171945-75C2-921F-857A-A136CB02EA6B}"/>
          </ac:picMkLst>
        </pc:picChg>
        <pc:picChg chg="add mod">
          <ac:chgData name="Laurence ANGILBERT" userId="28ea2967-f540-4e7d-a641-d418703ece22" providerId="ADAL" clId="{859296AE-058C-4C65-BA04-6986791C2943}" dt="2024-01-27T18:08:18.686" v="383" actId="1038"/>
          <ac:picMkLst>
            <pc:docMk/>
            <pc:sldMk cId="4075207573" sldId="2147480309"/>
            <ac:picMk id="21" creationId="{49F0F508-4ABF-6FE6-6A27-3256D5041DC4}"/>
          </ac:picMkLst>
        </pc:picChg>
        <pc:picChg chg="add mod">
          <ac:chgData name="Laurence ANGILBERT" userId="28ea2967-f540-4e7d-a641-d418703ece22" providerId="ADAL" clId="{859296AE-058C-4C65-BA04-6986791C2943}" dt="2024-01-27T18:08:18.686" v="383" actId="1038"/>
          <ac:picMkLst>
            <pc:docMk/>
            <pc:sldMk cId="4075207573" sldId="2147480309"/>
            <ac:picMk id="23" creationId="{1ADE99E7-1330-CC43-3055-0564137C15AB}"/>
          </ac:picMkLst>
        </pc:picChg>
        <pc:picChg chg="mod">
          <ac:chgData name="Laurence ANGILBERT" userId="28ea2967-f540-4e7d-a641-d418703ece22" providerId="ADAL" clId="{859296AE-058C-4C65-BA04-6986791C2943}" dt="2024-01-27T18:08:18.686" v="383" actId="1038"/>
          <ac:picMkLst>
            <pc:docMk/>
            <pc:sldMk cId="4075207573" sldId="2147480309"/>
            <ac:picMk id="28" creationId="{34627426-B785-E0E0-C6A6-7C098B83E59D}"/>
          </ac:picMkLst>
        </pc:picChg>
        <pc:picChg chg="mod">
          <ac:chgData name="Laurence ANGILBERT" userId="28ea2967-f540-4e7d-a641-d418703ece22" providerId="ADAL" clId="{859296AE-058C-4C65-BA04-6986791C2943}" dt="2024-01-27T18:08:18.686" v="383" actId="1038"/>
          <ac:picMkLst>
            <pc:docMk/>
            <pc:sldMk cId="4075207573" sldId="2147480309"/>
            <ac:picMk id="40" creationId="{109A9A58-FA07-1AF6-F4DB-AD19CA500462}"/>
          </ac:picMkLst>
        </pc:picChg>
      </pc:sldChg>
      <pc:sldChg chg="addSp delSp modSp add mod">
        <pc:chgData name="Laurence ANGILBERT" userId="28ea2967-f540-4e7d-a641-d418703ece22" providerId="ADAL" clId="{859296AE-058C-4C65-BA04-6986791C2943}" dt="2024-02-02T09:06:25.979" v="25539" actId="1076"/>
        <pc:sldMkLst>
          <pc:docMk/>
          <pc:sldMk cId="2065068344" sldId="2147480310"/>
        </pc:sldMkLst>
        <pc:spChg chg="add mod">
          <ac:chgData name="Laurence ANGILBERT" userId="28ea2967-f540-4e7d-a641-d418703ece22" providerId="ADAL" clId="{859296AE-058C-4C65-BA04-6986791C2943}" dt="2024-01-27T18:08:29.113" v="384"/>
          <ac:spMkLst>
            <pc:docMk/>
            <pc:sldMk cId="2065068344" sldId="2147480310"/>
            <ac:spMk id="12" creationId="{A69472D7-2493-2CA6-688C-D454739D34D4}"/>
          </ac:spMkLst>
        </pc:spChg>
        <pc:spChg chg="add mod">
          <ac:chgData name="Laurence ANGILBERT" userId="28ea2967-f540-4e7d-a641-d418703ece22" providerId="ADAL" clId="{859296AE-058C-4C65-BA04-6986791C2943}" dt="2024-01-27T18:08:29.113" v="384"/>
          <ac:spMkLst>
            <pc:docMk/>
            <pc:sldMk cId="2065068344" sldId="2147480310"/>
            <ac:spMk id="13" creationId="{60144A62-D7A0-7B1B-0A70-C0D515E9FA51}"/>
          </ac:spMkLst>
        </pc:spChg>
        <pc:spChg chg="mod">
          <ac:chgData name="Laurence ANGILBERT" userId="28ea2967-f540-4e7d-a641-d418703ece22" providerId="ADAL" clId="{859296AE-058C-4C65-BA04-6986791C2943}" dt="2024-02-02T09:06:20.673" v="25538" actId="1035"/>
          <ac:spMkLst>
            <pc:docMk/>
            <pc:sldMk cId="2065068344" sldId="2147480310"/>
            <ac:spMk id="30" creationId="{A8A15718-341E-1618-BBFE-8DE79C4D1726}"/>
          </ac:spMkLst>
        </pc:spChg>
        <pc:spChg chg="del">
          <ac:chgData name="Laurence ANGILBERT" userId="28ea2967-f540-4e7d-a641-d418703ece22" providerId="ADAL" clId="{859296AE-058C-4C65-BA04-6986791C2943}" dt="2024-01-27T18:07:31.036" v="315" actId="478"/>
          <ac:spMkLst>
            <pc:docMk/>
            <pc:sldMk cId="2065068344" sldId="2147480310"/>
            <ac:spMk id="34" creationId="{9650F1C7-7C98-3C61-8C3C-2BBA81E3429C}"/>
          </ac:spMkLst>
        </pc:spChg>
        <pc:spChg chg="mod">
          <ac:chgData name="Laurence ANGILBERT" userId="28ea2967-f540-4e7d-a641-d418703ece22" providerId="ADAL" clId="{859296AE-058C-4C65-BA04-6986791C2943}" dt="2024-02-02T09:06:25.979" v="25539" actId="1076"/>
          <ac:spMkLst>
            <pc:docMk/>
            <pc:sldMk cId="2065068344" sldId="2147480310"/>
            <ac:spMk id="39" creationId="{D9DE7A75-20EC-4FAC-8EB5-97A55E3BCACF}"/>
          </ac:spMkLst>
        </pc:spChg>
        <pc:grpChg chg="del">
          <ac:chgData name="Laurence ANGILBERT" userId="28ea2967-f540-4e7d-a641-d418703ece22" providerId="ADAL" clId="{859296AE-058C-4C65-BA04-6986791C2943}" dt="2024-01-27T18:07:31.036" v="315" actId="478"/>
          <ac:grpSpMkLst>
            <pc:docMk/>
            <pc:sldMk cId="2065068344" sldId="2147480310"/>
            <ac:grpSpMk id="2" creationId="{EA28810B-0F1A-33FC-557D-04A040D2357B}"/>
          </ac:grpSpMkLst>
        </pc:grpChg>
        <pc:grpChg chg="del">
          <ac:chgData name="Laurence ANGILBERT" userId="28ea2967-f540-4e7d-a641-d418703ece22" providerId="ADAL" clId="{859296AE-058C-4C65-BA04-6986791C2943}" dt="2024-01-27T18:07:31.036" v="315" actId="478"/>
          <ac:grpSpMkLst>
            <pc:docMk/>
            <pc:sldMk cId="2065068344" sldId="2147480310"/>
            <ac:grpSpMk id="4" creationId="{824A06BA-A461-44F3-8AA9-4CAAA46DE75A}"/>
          </ac:grpSpMkLst>
        </pc:grpChg>
        <pc:grpChg chg="del">
          <ac:chgData name="Laurence ANGILBERT" userId="28ea2967-f540-4e7d-a641-d418703ece22" providerId="ADAL" clId="{859296AE-058C-4C65-BA04-6986791C2943}" dt="2024-01-27T18:07:31.036" v="315" actId="478"/>
          <ac:grpSpMkLst>
            <pc:docMk/>
            <pc:sldMk cId="2065068344" sldId="2147480310"/>
            <ac:grpSpMk id="10" creationId="{15AADAC6-D9A2-7ECC-DBED-296040E229F2}"/>
          </ac:grpSpMkLst>
        </pc:grpChg>
        <pc:grpChg chg="del">
          <ac:chgData name="Laurence ANGILBERT" userId="28ea2967-f540-4e7d-a641-d418703ece22" providerId="ADAL" clId="{859296AE-058C-4C65-BA04-6986791C2943}" dt="2024-01-27T18:07:31.036" v="315" actId="478"/>
          <ac:grpSpMkLst>
            <pc:docMk/>
            <pc:sldMk cId="2065068344" sldId="2147480310"/>
            <ac:grpSpMk id="11" creationId="{9C7CABAD-85B9-725B-FC7C-03E6727DD17A}"/>
          </ac:grpSpMkLst>
        </pc:grpChg>
        <pc:grpChg chg="del">
          <ac:chgData name="Laurence ANGILBERT" userId="28ea2967-f540-4e7d-a641-d418703ece22" providerId="ADAL" clId="{859296AE-058C-4C65-BA04-6986791C2943}" dt="2024-01-27T18:07:31.036" v="315" actId="478"/>
          <ac:grpSpMkLst>
            <pc:docMk/>
            <pc:sldMk cId="2065068344" sldId="2147480310"/>
            <ac:grpSpMk id="14" creationId="{E4069771-A32A-EC0F-B433-AD1F41F55C7A}"/>
          </ac:grpSpMkLst>
        </pc:grpChg>
      </pc:sldChg>
      <pc:sldChg chg="addSp delSp modSp add del mod">
        <pc:chgData name="Laurence ANGILBERT" userId="28ea2967-f540-4e7d-a641-d418703ece22" providerId="ADAL" clId="{859296AE-058C-4C65-BA04-6986791C2943}" dt="2024-01-30T14:13:19.173" v="4076" actId="47"/>
        <pc:sldMkLst>
          <pc:docMk/>
          <pc:sldMk cId="364384949" sldId="2147480311"/>
        </pc:sldMkLst>
        <pc:spChg chg="add mod">
          <ac:chgData name="Laurence ANGILBERT" userId="28ea2967-f540-4e7d-a641-d418703ece22" providerId="ADAL" clId="{859296AE-058C-4C65-BA04-6986791C2943}" dt="2024-01-27T18:09:05.360" v="389"/>
          <ac:spMkLst>
            <pc:docMk/>
            <pc:sldMk cId="364384949" sldId="2147480311"/>
            <ac:spMk id="2" creationId="{153B8CAF-9837-5C42-29D8-6B026B7CF920}"/>
          </ac:spMkLst>
        </pc:spChg>
        <pc:spChg chg="add mod">
          <ac:chgData name="Laurence ANGILBERT" userId="28ea2967-f540-4e7d-a641-d418703ece22" providerId="ADAL" clId="{859296AE-058C-4C65-BA04-6986791C2943}" dt="2024-01-30T14:12:59.334" v="4075" actId="20577"/>
          <ac:spMkLst>
            <pc:docMk/>
            <pc:sldMk cId="364384949" sldId="2147480311"/>
            <ac:spMk id="3" creationId="{3F53E136-5133-5D88-EBC1-32887FD2C0A6}"/>
          </ac:spMkLst>
        </pc:spChg>
        <pc:spChg chg="add mod">
          <ac:chgData name="Laurence ANGILBERT" userId="28ea2967-f540-4e7d-a641-d418703ece22" providerId="ADAL" clId="{859296AE-058C-4C65-BA04-6986791C2943}" dt="2024-01-27T18:09:05.360" v="389"/>
          <ac:spMkLst>
            <pc:docMk/>
            <pc:sldMk cId="364384949" sldId="2147480311"/>
            <ac:spMk id="10" creationId="{D497FA2A-BBD3-EF44-C701-BC51ADBE86FF}"/>
          </ac:spMkLst>
        </pc:spChg>
        <pc:spChg chg="mod">
          <ac:chgData name="Laurence ANGILBERT" userId="28ea2967-f540-4e7d-a641-d418703ece22" providerId="ADAL" clId="{859296AE-058C-4C65-BA04-6986791C2943}" dt="2024-01-30T14:12:41.336" v="4054"/>
          <ac:spMkLst>
            <pc:docMk/>
            <pc:sldMk cId="364384949" sldId="2147480311"/>
            <ac:spMk id="30" creationId="{A8A15718-341E-1618-BBFE-8DE79C4D1726}"/>
          </ac:spMkLst>
        </pc:spChg>
        <pc:spChg chg="del">
          <ac:chgData name="Laurence ANGILBERT" userId="28ea2967-f540-4e7d-a641-d418703ece22" providerId="ADAL" clId="{859296AE-058C-4C65-BA04-6986791C2943}" dt="2024-01-27T18:08:55.309" v="388" actId="478"/>
          <ac:spMkLst>
            <pc:docMk/>
            <pc:sldMk cId="364384949" sldId="2147480311"/>
            <ac:spMk id="34" creationId="{9650F1C7-7C98-3C61-8C3C-2BBA81E3429C}"/>
          </ac:spMkLst>
        </pc:spChg>
        <pc:grpChg chg="del">
          <ac:chgData name="Laurence ANGILBERT" userId="28ea2967-f540-4e7d-a641-d418703ece22" providerId="ADAL" clId="{859296AE-058C-4C65-BA04-6986791C2943}" dt="2024-01-27T18:08:55.309" v="388" actId="478"/>
          <ac:grpSpMkLst>
            <pc:docMk/>
            <pc:sldMk cId="364384949" sldId="2147480311"/>
            <ac:grpSpMk id="4" creationId="{824A06BA-A461-44F3-8AA9-4CAAA46DE75A}"/>
          </ac:grpSpMkLst>
        </pc:grpChg>
        <pc:grpChg chg="del">
          <ac:chgData name="Laurence ANGILBERT" userId="28ea2967-f540-4e7d-a641-d418703ece22" providerId="ADAL" clId="{859296AE-058C-4C65-BA04-6986791C2943}" dt="2024-01-27T18:08:55.309" v="388" actId="478"/>
          <ac:grpSpMkLst>
            <pc:docMk/>
            <pc:sldMk cId="364384949" sldId="2147480311"/>
            <ac:grpSpMk id="12" creationId="{13EEDC31-401C-1294-52D7-6A99D1887501}"/>
          </ac:grpSpMkLst>
        </pc:grpChg>
        <pc:grpChg chg="del">
          <ac:chgData name="Laurence ANGILBERT" userId="28ea2967-f540-4e7d-a641-d418703ece22" providerId="ADAL" clId="{859296AE-058C-4C65-BA04-6986791C2943}" dt="2024-01-27T18:08:55.309" v="388" actId="478"/>
          <ac:grpSpMkLst>
            <pc:docMk/>
            <pc:sldMk cId="364384949" sldId="2147480311"/>
            <ac:grpSpMk id="13" creationId="{682A4517-7D9B-394B-F7A0-DA6827440CB0}"/>
          </ac:grpSpMkLst>
        </pc:grpChg>
        <pc:grpChg chg="del">
          <ac:chgData name="Laurence ANGILBERT" userId="28ea2967-f540-4e7d-a641-d418703ece22" providerId="ADAL" clId="{859296AE-058C-4C65-BA04-6986791C2943}" dt="2024-01-27T18:08:55.309" v="388" actId="478"/>
          <ac:grpSpMkLst>
            <pc:docMk/>
            <pc:sldMk cId="364384949" sldId="2147480311"/>
            <ac:grpSpMk id="15" creationId="{79A4B582-91E7-C401-C90B-99D21C1E8904}"/>
          </ac:grpSpMkLst>
        </pc:grpChg>
        <pc:grpChg chg="del">
          <ac:chgData name="Laurence ANGILBERT" userId="28ea2967-f540-4e7d-a641-d418703ece22" providerId="ADAL" clId="{859296AE-058C-4C65-BA04-6986791C2943}" dt="2024-01-27T18:08:55.309" v="388" actId="478"/>
          <ac:grpSpMkLst>
            <pc:docMk/>
            <pc:sldMk cId="364384949" sldId="2147480311"/>
            <ac:grpSpMk id="16" creationId="{E24A5035-662C-044B-71E3-3188C88FED1B}"/>
          </ac:grpSpMkLst>
        </pc:grpChg>
      </pc:sldChg>
      <pc:sldChg chg="addSp delSp modSp add del mod">
        <pc:chgData name="Laurence ANGILBERT" userId="28ea2967-f540-4e7d-a641-d418703ece22" providerId="ADAL" clId="{859296AE-058C-4C65-BA04-6986791C2943}" dt="2024-01-30T14:13:19.173" v="4076" actId="47"/>
        <pc:sldMkLst>
          <pc:docMk/>
          <pc:sldMk cId="1702848080" sldId="2147480312"/>
        </pc:sldMkLst>
        <pc:spChg chg="add mod">
          <ac:chgData name="Laurence ANGILBERT" userId="28ea2967-f540-4e7d-a641-d418703ece22" providerId="ADAL" clId="{859296AE-058C-4C65-BA04-6986791C2943}" dt="2024-01-27T18:12:26.221" v="446" actId="2085"/>
          <ac:spMkLst>
            <pc:docMk/>
            <pc:sldMk cId="1702848080" sldId="2147480312"/>
            <ac:spMk id="2" creationId="{7172FC22-29DA-C4E5-003F-B7D1286A9AF5}"/>
          </ac:spMkLst>
        </pc:spChg>
        <pc:spChg chg="del">
          <ac:chgData name="Laurence ANGILBERT" userId="28ea2967-f540-4e7d-a641-d418703ece22" providerId="ADAL" clId="{859296AE-058C-4C65-BA04-6986791C2943}" dt="2024-01-27T18:10:58.424" v="414" actId="478"/>
          <ac:spMkLst>
            <pc:docMk/>
            <pc:sldMk cId="1702848080" sldId="2147480312"/>
            <ac:spMk id="12" creationId="{A69472D7-2493-2CA6-688C-D454739D34D4}"/>
          </ac:spMkLst>
        </pc:spChg>
        <pc:spChg chg="del">
          <ac:chgData name="Laurence ANGILBERT" userId="28ea2967-f540-4e7d-a641-d418703ece22" providerId="ADAL" clId="{859296AE-058C-4C65-BA04-6986791C2943}" dt="2024-01-27T18:11:00.498" v="415" actId="478"/>
          <ac:spMkLst>
            <pc:docMk/>
            <pc:sldMk cId="1702848080" sldId="2147480312"/>
            <ac:spMk id="13" creationId="{60144A62-D7A0-7B1B-0A70-C0D515E9FA51}"/>
          </ac:spMkLst>
        </pc:spChg>
        <pc:spChg chg="mod">
          <ac:chgData name="Laurence ANGILBERT" userId="28ea2967-f540-4e7d-a641-d418703ece22" providerId="ADAL" clId="{859296AE-058C-4C65-BA04-6986791C2943}" dt="2024-01-27T18:10:54.562" v="413" actId="20577"/>
          <ac:spMkLst>
            <pc:docMk/>
            <pc:sldMk cId="1702848080" sldId="2147480312"/>
            <ac:spMk id="30" creationId="{A8A15718-341E-1618-BBFE-8DE79C4D1726}"/>
          </ac:spMkLst>
        </pc:spChg>
      </pc:sldChg>
      <pc:sldChg chg="modSp add del mod">
        <pc:chgData name="Laurence ANGILBERT" userId="28ea2967-f540-4e7d-a641-d418703ece22" providerId="ADAL" clId="{859296AE-058C-4C65-BA04-6986791C2943}" dt="2024-01-30T14:13:19.173" v="4076" actId="47"/>
        <pc:sldMkLst>
          <pc:docMk/>
          <pc:sldMk cId="3878690686" sldId="2147480313"/>
        </pc:sldMkLst>
        <pc:spChg chg="mod">
          <ac:chgData name="Laurence ANGILBERT" userId="28ea2967-f540-4e7d-a641-d418703ece22" providerId="ADAL" clId="{859296AE-058C-4C65-BA04-6986791C2943}" dt="2024-01-27T18:11:44.974" v="423" actId="20577"/>
          <ac:spMkLst>
            <pc:docMk/>
            <pc:sldMk cId="3878690686" sldId="2147480313"/>
            <ac:spMk id="30" creationId="{A8A15718-341E-1618-BBFE-8DE79C4D1726}"/>
          </ac:spMkLst>
        </pc:spChg>
      </pc:sldChg>
      <pc:sldChg chg="modSp add del mod">
        <pc:chgData name="Laurence ANGILBERT" userId="28ea2967-f540-4e7d-a641-d418703ece22" providerId="ADAL" clId="{859296AE-058C-4C65-BA04-6986791C2943}" dt="2024-01-30T14:13:19.173" v="4076" actId="47"/>
        <pc:sldMkLst>
          <pc:docMk/>
          <pc:sldMk cId="168179773" sldId="2147480314"/>
        </pc:sldMkLst>
        <pc:spChg chg="mod">
          <ac:chgData name="Laurence ANGILBERT" userId="28ea2967-f540-4e7d-a641-d418703ece22" providerId="ADAL" clId="{859296AE-058C-4C65-BA04-6986791C2943}" dt="2024-01-27T18:11:55.970" v="432" actId="20577"/>
          <ac:spMkLst>
            <pc:docMk/>
            <pc:sldMk cId="168179773" sldId="2147480314"/>
            <ac:spMk id="30" creationId="{A8A15718-341E-1618-BBFE-8DE79C4D1726}"/>
          </ac:spMkLst>
        </pc:spChg>
      </pc:sldChg>
      <pc:sldChg chg="delSp add mod">
        <pc:chgData name="Laurence ANGILBERT" userId="28ea2967-f540-4e7d-a641-d418703ece22" providerId="ADAL" clId="{859296AE-058C-4C65-BA04-6986791C2943}" dt="2024-01-29T08:51:41.404" v="501" actId="478"/>
        <pc:sldMkLst>
          <pc:docMk/>
          <pc:sldMk cId="1160266745" sldId="2147480315"/>
        </pc:sldMkLst>
        <pc:spChg chg="del">
          <ac:chgData name="Laurence ANGILBERT" userId="28ea2967-f540-4e7d-a641-d418703ece22" providerId="ADAL" clId="{859296AE-058C-4C65-BA04-6986791C2943}" dt="2024-01-29T08:51:41.404" v="501" actId="478"/>
          <ac:spMkLst>
            <pc:docMk/>
            <pc:sldMk cId="1160266745" sldId="2147480315"/>
            <ac:spMk id="4" creationId="{611B54D2-930B-C1FB-0006-EB962D6A9529}"/>
          </ac:spMkLst>
        </pc:spChg>
      </pc:sldChg>
      <pc:sldChg chg="addSp delSp modSp add mod modCm">
        <pc:chgData name="Laurence ANGILBERT" userId="28ea2967-f540-4e7d-a641-d418703ece22" providerId="ADAL" clId="{859296AE-058C-4C65-BA04-6986791C2943}" dt="2024-01-31T15:33:18.985" v="13798" actId="6549"/>
        <pc:sldMkLst>
          <pc:docMk/>
          <pc:sldMk cId="2540365924" sldId="2147480316"/>
        </pc:sldMkLst>
        <pc:spChg chg="mod">
          <ac:chgData name="Laurence ANGILBERT" userId="28ea2967-f540-4e7d-a641-d418703ece22" providerId="ADAL" clId="{859296AE-058C-4C65-BA04-6986791C2943}" dt="2024-01-31T15:32:32.792" v="13774" actId="20577"/>
          <ac:spMkLst>
            <pc:docMk/>
            <pc:sldMk cId="2540365924" sldId="2147480316"/>
            <ac:spMk id="2" creationId="{5C91E337-74B9-4A35-882F-27BDB4F76934}"/>
          </ac:spMkLst>
        </pc:spChg>
        <pc:spChg chg="add mod">
          <ac:chgData name="Laurence ANGILBERT" userId="28ea2967-f540-4e7d-a641-d418703ece22" providerId="ADAL" clId="{859296AE-058C-4C65-BA04-6986791C2943}" dt="2024-01-29T16:35:17.177" v="1100" actId="207"/>
          <ac:spMkLst>
            <pc:docMk/>
            <pc:sldMk cId="2540365924" sldId="2147480316"/>
            <ac:spMk id="3" creationId="{1B0CF0A1-8A11-8462-D143-C7C523CD7DE4}"/>
          </ac:spMkLst>
        </pc:spChg>
        <pc:spChg chg="del">
          <ac:chgData name="Laurence ANGILBERT" userId="28ea2967-f540-4e7d-a641-d418703ece22" providerId="ADAL" clId="{859296AE-058C-4C65-BA04-6986791C2943}" dt="2024-01-29T08:52:14.419" v="504" actId="478"/>
          <ac:spMkLst>
            <pc:docMk/>
            <pc:sldMk cId="2540365924" sldId="2147480316"/>
            <ac:spMk id="3" creationId="{D12F086C-D57A-E5E1-D6B9-243FC6CF3E4A}"/>
          </ac:spMkLst>
        </pc:spChg>
        <pc:spChg chg="del">
          <ac:chgData name="Laurence ANGILBERT" userId="28ea2967-f540-4e7d-a641-d418703ece22" providerId="ADAL" clId="{859296AE-058C-4C65-BA04-6986791C2943}" dt="2024-01-29T08:52:14.419" v="504" actId="478"/>
          <ac:spMkLst>
            <pc:docMk/>
            <pc:sldMk cId="2540365924" sldId="2147480316"/>
            <ac:spMk id="4" creationId="{57894F96-70C8-2EF7-4474-546B825A05B8}"/>
          </ac:spMkLst>
        </pc:spChg>
        <pc:spChg chg="del">
          <ac:chgData name="Laurence ANGILBERT" userId="28ea2967-f540-4e7d-a641-d418703ece22" providerId="ADAL" clId="{859296AE-058C-4C65-BA04-6986791C2943}" dt="2024-01-29T08:52:14.419" v="504" actId="478"/>
          <ac:spMkLst>
            <pc:docMk/>
            <pc:sldMk cId="2540365924" sldId="2147480316"/>
            <ac:spMk id="5" creationId="{DECE02C2-7970-9BDA-359B-CAFF5915B1ED}"/>
          </ac:spMkLst>
        </pc:spChg>
        <pc:spChg chg="add del mod">
          <ac:chgData name="Laurence ANGILBERT" userId="28ea2967-f540-4e7d-a641-d418703ece22" providerId="ADAL" clId="{859296AE-058C-4C65-BA04-6986791C2943}" dt="2024-01-31T15:32:10.479" v="13767" actId="478"/>
          <ac:spMkLst>
            <pc:docMk/>
            <pc:sldMk cId="2540365924" sldId="2147480316"/>
            <ac:spMk id="6" creationId="{3C23719C-7EA8-A54B-ECA1-6F16B97CE428}"/>
          </ac:spMkLst>
        </pc:spChg>
        <pc:spChg chg="del">
          <ac:chgData name="Laurence ANGILBERT" userId="28ea2967-f540-4e7d-a641-d418703ece22" providerId="ADAL" clId="{859296AE-058C-4C65-BA04-6986791C2943}" dt="2024-01-29T08:52:14.419" v="504" actId="478"/>
          <ac:spMkLst>
            <pc:docMk/>
            <pc:sldMk cId="2540365924" sldId="2147480316"/>
            <ac:spMk id="7" creationId="{C3923B5C-6BA9-8CEC-4B14-C4A04FA99815}"/>
          </ac:spMkLst>
        </pc:spChg>
        <pc:spChg chg="add mod">
          <ac:chgData name="Laurence ANGILBERT" userId="28ea2967-f540-4e7d-a641-d418703ece22" providerId="ADAL" clId="{859296AE-058C-4C65-BA04-6986791C2943}" dt="2024-01-31T15:32:46.348" v="13776"/>
          <ac:spMkLst>
            <pc:docMk/>
            <pc:sldMk cId="2540365924" sldId="2147480316"/>
            <ac:spMk id="9" creationId="{2D6E74EB-6995-4B5E-B9DF-7BA70719DFC9}"/>
          </ac:spMkLst>
        </pc:spChg>
        <pc:spChg chg="add mod">
          <ac:chgData name="Laurence ANGILBERT" userId="28ea2967-f540-4e7d-a641-d418703ece22" providerId="ADAL" clId="{859296AE-058C-4C65-BA04-6986791C2943}" dt="2024-01-31T15:32:46.348" v="13776"/>
          <ac:spMkLst>
            <pc:docMk/>
            <pc:sldMk cId="2540365924" sldId="2147480316"/>
            <ac:spMk id="10" creationId="{35F8A326-CE9E-4B99-8F0E-C9EB5DECE0ED}"/>
          </ac:spMkLst>
        </pc:spChg>
        <pc:spChg chg="add mod">
          <ac:chgData name="Laurence ANGILBERT" userId="28ea2967-f540-4e7d-a641-d418703ece22" providerId="ADAL" clId="{859296AE-058C-4C65-BA04-6986791C2943}" dt="2024-01-31T15:32:52.622" v="13777" actId="404"/>
          <ac:spMkLst>
            <pc:docMk/>
            <pc:sldMk cId="2540365924" sldId="2147480316"/>
            <ac:spMk id="12" creationId="{4DF0AD62-E2F6-49EF-8132-C76354BDCB1E}"/>
          </ac:spMkLst>
        </pc:spChg>
        <pc:spChg chg="del">
          <ac:chgData name="Laurence ANGILBERT" userId="28ea2967-f540-4e7d-a641-d418703ece22" providerId="ADAL" clId="{859296AE-058C-4C65-BA04-6986791C2943}" dt="2024-01-29T08:52:14.419" v="504" actId="478"/>
          <ac:spMkLst>
            <pc:docMk/>
            <pc:sldMk cId="2540365924" sldId="2147480316"/>
            <ac:spMk id="14" creationId="{1FEF8A34-F03D-1D98-8CC0-90C92BD42FB2}"/>
          </ac:spMkLst>
        </pc:spChg>
        <pc:spChg chg="add mod">
          <ac:chgData name="Laurence ANGILBERT" userId="28ea2967-f540-4e7d-a641-d418703ece22" providerId="ADAL" clId="{859296AE-058C-4C65-BA04-6986791C2943}" dt="2024-01-31T15:33:10.239" v="13790" actId="6549"/>
          <ac:spMkLst>
            <pc:docMk/>
            <pc:sldMk cId="2540365924" sldId="2147480316"/>
            <ac:spMk id="14" creationId="{3EAEB484-7CEC-42D1-B935-3692E94373B7}"/>
          </ac:spMkLst>
        </pc:spChg>
        <pc:spChg chg="add mod">
          <ac:chgData name="Laurence ANGILBERT" userId="28ea2967-f540-4e7d-a641-d418703ece22" providerId="ADAL" clId="{859296AE-058C-4C65-BA04-6986791C2943}" dt="2024-01-31T15:32:46.348" v="13776"/>
          <ac:spMkLst>
            <pc:docMk/>
            <pc:sldMk cId="2540365924" sldId="2147480316"/>
            <ac:spMk id="18" creationId="{C20756BF-0A8C-4947-A796-DD565B7C7B26}"/>
          </ac:spMkLst>
        </pc:spChg>
        <pc:spChg chg="add mod">
          <ac:chgData name="Laurence ANGILBERT" userId="28ea2967-f540-4e7d-a641-d418703ece22" providerId="ADAL" clId="{859296AE-058C-4C65-BA04-6986791C2943}" dt="2024-01-31T15:32:46.348" v="13776"/>
          <ac:spMkLst>
            <pc:docMk/>
            <pc:sldMk cId="2540365924" sldId="2147480316"/>
            <ac:spMk id="19" creationId="{17CE1DF9-01CB-4B43-8D3C-E1B745DDF820}"/>
          </ac:spMkLst>
        </pc:spChg>
        <pc:spChg chg="add mod">
          <ac:chgData name="Laurence ANGILBERT" userId="28ea2967-f540-4e7d-a641-d418703ece22" providerId="ADAL" clId="{859296AE-058C-4C65-BA04-6986791C2943}" dt="2024-01-31T15:32:52.622" v="13777" actId="404"/>
          <ac:spMkLst>
            <pc:docMk/>
            <pc:sldMk cId="2540365924" sldId="2147480316"/>
            <ac:spMk id="20" creationId="{C02A6146-81D8-4A9B-9EB8-2D36F0FD30C0}"/>
          </ac:spMkLst>
        </pc:spChg>
        <pc:spChg chg="add mod">
          <ac:chgData name="Laurence ANGILBERT" userId="28ea2967-f540-4e7d-a641-d418703ece22" providerId="ADAL" clId="{859296AE-058C-4C65-BA04-6986791C2943}" dt="2024-01-31T15:33:18.985" v="13798" actId="6549"/>
          <ac:spMkLst>
            <pc:docMk/>
            <pc:sldMk cId="2540365924" sldId="2147480316"/>
            <ac:spMk id="21" creationId="{AC45AED6-0FB5-4638-A56D-DBD151792A42}"/>
          </ac:spMkLst>
        </pc:spChg>
        <pc:spChg chg="add mod">
          <ac:chgData name="Laurence ANGILBERT" userId="28ea2967-f540-4e7d-a641-d418703ece22" providerId="ADAL" clId="{859296AE-058C-4C65-BA04-6986791C2943}" dt="2024-01-31T15:32:46.348" v="13776"/>
          <ac:spMkLst>
            <pc:docMk/>
            <pc:sldMk cId="2540365924" sldId="2147480316"/>
            <ac:spMk id="22" creationId="{C5D2B797-AC8D-40AC-9116-C1E2DF2AD98E}"/>
          </ac:spMkLst>
        </pc:spChg>
        <pc:spChg chg="del">
          <ac:chgData name="Laurence ANGILBERT" userId="28ea2967-f540-4e7d-a641-d418703ece22" providerId="ADAL" clId="{859296AE-058C-4C65-BA04-6986791C2943}" dt="2024-01-29T08:52:14.419" v="504" actId="478"/>
          <ac:spMkLst>
            <pc:docMk/>
            <pc:sldMk cId="2540365924" sldId="2147480316"/>
            <ac:spMk id="30" creationId="{96F1C8A1-2962-BB7D-3BD3-A252955E641F}"/>
          </ac:spMkLst>
        </pc:spChg>
        <pc:spChg chg="del">
          <ac:chgData name="Laurence ANGILBERT" userId="28ea2967-f540-4e7d-a641-d418703ece22" providerId="ADAL" clId="{859296AE-058C-4C65-BA04-6986791C2943}" dt="2024-01-29T08:52:14.419" v="504" actId="478"/>
          <ac:spMkLst>
            <pc:docMk/>
            <pc:sldMk cId="2540365924" sldId="2147480316"/>
            <ac:spMk id="31" creationId="{CFD54F2B-8D36-66D3-B6DB-B054E7B07C61}"/>
          </ac:spMkLst>
        </pc:spChg>
        <pc:spChg chg="del">
          <ac:chgData name="Laurence ANGILBERT" userId="28ea2967-f540-4e7d-a641-d418703ece22" providerId="ADAL" clId="{859296AE-058C-4C65-BA04-6986791C2943}" dt="2024-01-29T08:52:14.419" v="504" actId="478"/>
          <ac:spMkLst>
            <pc:docMk/>
            <pc:sldMk cId="2540365924" sldId="2147480316"/>
            <ac:spMk id="32" creationId="{0B929C85-9D4B-E69C-4BCD-332DC53B8CEA}"/>
          </ac:spMkLst>
        </pc:spChg>
        <pc:spChg chg="del">
          <ac:chgData name="Laurence ANGILBERT" userId="28ea2967-f540-4e7d-a641-d418703ece22" providerId="ADAL" clId="{859296AE-058C-4C65-BA04-6986791C2943}" dt="2024-01-29T08:52:14.419" v="504" actId="478"/>
          <ac:spMkLst>
            <pc:docMk/>
            <pc:sldMk cId="2540365924" sldId="2147480316"/>
            <ac:spMk id="33" creationId="{31497491-A6D2-98DE-A132-FA20A1178C54}"/>
          </ac:spMkLst>
        </pc:spChg>
        <pc:spChg chg="del">
          <ac:chgData name="Laurence ANGILBERT" userId="28ea2967-f540-4e7d-a641-d418703ece22" providerId="ADAL" clId="{859296AE-058C-4C65-BA04-6986791C2943}" dt="2024-01-29T08:52:14.419" v="504" actId="478"/>
          <ac:spMkLst>
            <pc:docMk/>
            <pc:sldMk cId="2540365924" sldId="2147480316"/>
            <ac:spMk id="34" creationId="{DA04F47B-DC2E-A0F5-7CE3-49965D4DB7AF}"/>
          </ac:spMkLst>
        </pc:spChg>
        <pc:spChg chg="del">
          <ac:chgData name="Laurence ANGILBERT" userId="28ea2967-f540-4e7d-a641-d418703ece22" providerId="ADAL" clId="{859296AE-058C-4C65-BA04-6986791C2943}" dt="2024-01-29T08:52:14.419" v="504" actId="478"/>
          <ac:spMkLst>
            <pc:docMk/>
            <pc:sldMk cId="2540365924" sldId="2147480316"/>
            <ac:spMk id="39" creationId="{BA12CC62-77CD-F9DB-5734-BF473D4CE7FD}"/>
          </ac:spMkLst>
        </pc:spChg>
        <pc:spChg chg="del">
          <ac:chgData name="Laurence ANGILBERT" userId="28ea2967-f540-4e7d-a641-d418703ece22" providerId="ADAL" clId="{859296AE-058C-4C65-BA04-6986791C2943}" dt="2024-01-29T08:52:14.419" v="504" actId="478"/>
          <ac:spMkLst>
            <pc:docMk/>
            <pc:sldMk cId="2540365924" sldId="2147480316"/>
            <ac:spMk id="40" creationId="{E8D2F53B-010B-0B84-FF4D-932E792DFCBE}"/>
          </ac:spMkLst>
        </pc:spChg>
        <pc:spChg chg="del">
          <ac:chgData name="Laurence ANGILBERT" userId="28ea2967-f540-4e7d-a641-d418703ece22" providerId="ADAL" clId="{859296AE-058C-4C65-BA04-6986791C2943}" dt="2024-01-29T08:52:14.419" v="504" actId="478"/>
          <ac:spMkLst>
            <pc:docMk/>
            <pc:sldMk cId="2540365924" sldId="2147480316"/>
            <ac:spMk id="42" creationId="{B3FF3078-66F1-8298-9AD9-698D52502DDE}"/>
          </ac:spMkLst>
        </pc:spChg>
        <pc:spChg chg="del">
          <ac:chgData name="Laurence ANGILBERT" userId="28ea2967-f540-4e7d-a641-d418703ece22" providerId="ADAL" clId="{859296AE-058C-4C65-BA04-6986791C2943}" dt="2024-01-29T08:52:14.419" v="504" actId="478"/>
          <ac:spMkLst>
            <pc:docMk/>
            <pc:sldMk cId="2540365924" sldId="2147480316"/>
            <ac:spMk id="44" creationId="{06820649-6F8F-2F1E-6519-DC49313A27D4}"/>
          </ac:spMkLst>
        </pc:spChg>
        <pc:spChg chg="del">
          <ac:chgData name="Laurence ANGILBERT" userId="28ea2967-f540-4e7d-a641-d418703ece22" providerId="ADAL" clId="{859296AE-058C-4C65-BA04-6986791C2943}" dt="2024-01-29T08:52:14.419" v="504" actId="478"/>
          <ac:spMkLst>
            <pc:docMk/>
            <pc:sldMk cId="2540365924" sldId="2147480316"/>
            <ac:spMk id="46" creationId="{15E11043-5A0D-F04E-1437-BA1A351A4F12}"/>
          </ac:spMkLst>
        </pc:spChg>
        <pc:spChg chg="del">
          <ac:chgData name="Laurence ANGILBERT" userId="28ea2967-f540-4e7d-a641-d418703ece22" providerId="ADAL" clId="{859296AE-058C-4C65-BA04-6986791C2943}" dt="2024-01-29T08:52:14.419" v="504" actId="478"/>
          <ac:spMkLst>
            <pc:docMk/>
            <pc:sldMk cId="2540365924" sldId="2147480316"/>
            <ac:spMk id="48" creationId="{7FC0027D-CA65-DE88-12A3-0C69106385E0}"/>
          </ac:spMkLst>
        </pc:spChg>
        <pc:spChg chg="del">
          <ac:chgData name="Laurence ANGILBERT" userId="28ea2967-f540-4e7d-a641-d418703ece22" providerId="ADAL" clId="{859296AE-058C-4C65-BA04-6986791C2943}" dt="2024-01-29T08:52:14.419" v="504" actId="478"/>
          <ac:spMkLst>
            <pc:docMk/>
            <pc:sldMk cId="2540365924" sldId="2147480316"/>
            <ac:spMk id="50" creationId="{403557D1-1088-1E0E-B86B-AA3A9B9FC349}"/>
          </ac:spMkLst>
        </pc:spChg>
        <pc:spChg chg="del">
          <ac:chgData name="Laurence ANGILBERT" userId="28ea2967-f540-4e7d-a641-d418703ece22" providerId="ADAL" clId="{859296AE-058C-4C65-BA04-6986791C2943}" dt="2024-01-29T08:52:14.419" v="504" actId="478"/>
          <ac:spMkLst>
            <pc:docMk/>
            <pc:sldMk cId="2540365924" sldId="2147480316"/>
            <ac:spMk id="51" creationId="{B429B38F-DF09-604F-24D2-3685D4763F3D}"/>
          </ac:spMkLst>
        </pc:spChg>
        <pc:spChg chg="del">
          <ac:chgData name="Laurence ANGILBERT" userId="28ea2967-f540-4e7d-a641-d418703ece22" providerId="ADAL" clId="{859296AE-058C-4C65-BA04-6986791C2943}" dt="2024-01-29T08:52:14.419" v="504" actId="478"/>
          <ac:spMkLst>
            <pc:docMk/>
            <pc:sldMk cId="2540365924" sldId="2147480316"/>
            <ac:spMk id="52" creationId="{7ABFBC85-064A-7847-5303-B7B945134DC5}"/>
          </ac:spMkLst>
        </pc:spChg>
        <pc:spChg chg="del">
          <ac:chgData name="Laurence ANGILBERT" userId="28ea2967-f540-4e7d-a641-d418703ece22" providerId="ADAL" clId="{859296AE-058C-4C65-BA04-6986791C2943}" dt="2024-01-29T08:52:14.419" v="504" actId="478"/>
          <ac:spMkLst>
            <pc:docMk/>
            <pc:sldMk cId="2540365924" sldId="2147480316"/>
            <ac:spMk id="53" creationId="{D82BCEAA-8E4E-9620-8F44-435632332B56}"/>
          </ac:spMkLst>
        </pc:spChg>
        <pc:spChg chg="del">
          <ac:chgData name="Laurence ANGILBERT" userId="28ea2967-f540-4e7d-a641-d418703ece22" providerId="ADAL" clId="{859296AE-058C-4C65-BA04-6986791C2943}" dt="2024-01-29T08:52:14.419" v="504" actId="478"/>
          <ac:spMkLst>
            <pc:docMk/>
            <pc:sldMk cId="2540365924" sldId="2147480316"/>
            <ac:spMk id="56" creationId="{EAAA241A-F03F-4835-5BB9-E8D84BFEC3D7}"/>
          </ac:spMkLst>
        </pc:spChg>
        <pc:spChg chg="del">
          <ac:chgData name="Laurence ANGILBERT" userId="28ea2967-f540-4e7d-a641-d418703ece22" providerId="ADAL" clId="{859296AE-058C-4C65-BA04-6986791C2943}" dt="2024-01-29T08:52:14.419" v="504" actId="478"/>
          <ac:spMkLst>
            <pc:docMk/>
            <pc:sldMk cId="2540365924" sldId="2147480316"/>
            <ac:spMk id="57" creationId="{01109496-096C-CA55-830D-1DD41E98639F}"/>
          </ac:spMkLst>
        </pc:spChg>
        <pc:spChg chg="del">
          <ac:chgData name="Laurence ANGILBERT" userId="28ea2967-f540-4e7d-a641-d418703ece22" providerId="ADAL" clId="{859296AE-058C-4C65-BA04-6986791C2943}" dt="2024-01-29T08:52:14.419" v="504" actId="478"/>
          <ac:spMkLst>
            <pc:docMk/>
            <pc:sldMk cId="2540365924" sldId="2147480316"/>
            <ac:spMk id="58" creationId="{33996D55-C7C3-BB18-A669-7040C2CF165F}"/>
          </ac:spMkLst>
        </pc:spChg>
        <pc:spChg chg="del">
          <ac:chgData name="Laurence ANGILBERT" userId="28ea2967-f540-4e7d-a641-d418703ece22" providerId="ADAL" clId="{859296AE-058C-4C65-BA04-6986791C2943}" dt="2024-01-29T08:52:14.419" v="504" actId="478"/>
          <ac:spMkLst>
            <pc:docMk/>
            <pc:sldMk cId="2540365924" sldId="2147480316"/>
            <ac:spMk id="59" creationId="{CBAF0517-238D-7149-785F-CB5E620BDA8F}"/>
          </ac:spMkLst>
        </pc:spChg>
        <pc:spChg chg="del">
          <ac:chgData name="Laurence ANGILBERT" userId="28ea2967-f540-4e7d-a641-d418703ece22" providerId="ADAL" clId="{859296AE-058C-4C65-BA04-6986791C2943}" dt="2024-01-29T08:52:14.419" v="504" actId="478"/>
          <ac:spMkLst>
            <pc:docMk/>
            <pc:sldMk cId="2540365924" sldId="2147480316"/>
            <ac:spMk id="60" creationId="{E37C64BC-55F1-E6FB-E64E-AF2B6F155CE7}"/>
          </ac:spMkLst>
        </pc:spChg>
        <pc:spChg chg="del">
          <ac:chgData name="Laurence ANGILBERT" userId="28ea2967-f540-4e7d-a641-d418703ece22" providerId="ADAL" clId="{859296AE-058C-4C65-BA04-6986791C2943}" dt="2024-01-29T08:52:14.419" v="504" actId="478"/>
          <ac:spMkLst>
            <pc:docMk/>
            <pc:sldMk cId="2540365924" sldId="2147480316"/>
            <ac:spMk id="61" creationId="{038141E5-5C7A-D441-7919-B2B11E58D492}"/>
          </ac:spMkLst>
        </pc:spChg>
        <pc:spChg chg="del">
          <ac:chgData name="Laurence ANGILBERT" userId="28ea2967-f540-4e7d-a641-d418703ece22" providerId="ADAL" clId="{859296AE-058C-4C65-BA04-6986791C2943}" dt="2024-01-29T08:52:14.419" v="504" actId="478"/>
          <ac:spMkLst>
            <pc:docMk/>
            <pc:sldMk cId="2540365924" sldId="2147480316"/>
            <ac:spMk id="62" creationId="{93472FFA-19B4-AF6D-55C6-2465D6DA8091}"/>
          </ac:spMkLst>
        </pc:spChg>
        <pc:spChg chg="del">
          <ac:chgData name="Laurence ANGILBERT" userId="28ea2967-f540-4e7d-a641-d418703ece22" providerId="ADAL" clId="{859296AE-058C-4C65-BA04-6986791C2943}" dt="2024-01-29T08:52:14.419" v="504" actId="478"/>
          <ac:spMkLst>
            <pc:docMk/>
            <pc:sldMk cId="2540365924" sldId="2147480316"/>
            <ac:spMk id="63" creationId="{4CDBC6EE-5C4C-400D-413E-F92FB254474D}"/>
          </ac:spMkLst>
        </pc:spChg>
        <pc:spChg chg="del">
          <ac:chgData name="Laurence ANGILBERT" userId="28ea2967-f540-4e7d-a641-d418703ece22" providerId="ADAL" clId="{859296AE-058C-4C65-BA04-6986791C2943}" dt="2024-01-29T08:52:14.419" v="504" actId="478"/>
          <ac:spMkLst>
            <pc:docMk/>
            <pc:sldMk cId="2540365924" sldId="2147480316"/>
            <ac:spMk id="64" creationId="{63FAAAEC-26DD-FF05-D8AD-888DECB95D87}"/>
          </ac:spMkLst>
        </pc:spChg>
        <pc:spChg chg="del">
          <ac:chgData name="Laurence ANGILBERT" userId="28ea2967-f540-4e7d-a641-d418703ece22" providerId="ADAL" clId="{859296AE-058C-4C65-BA04-6986791C2943}" dt="2024-01-29T08:52:14.419" v="504" actId="478"/>
          <ac:spMkLst>
            <pc:docMk/>
            <pc:sldMk cId="2540365924" sldId="2147480316"/>
            <ac:spMk id="65" creationId="{C63AD7A2-D30E-2F3F-C094-43A6AC3D0CBA}"/>
          </ac:spMkLst>
        </pc:spChg>
        <pc:spChg chg="del">
          <ac:chgData name="Laurence ANGILBERT" userId="28ea2967-f540-4e7d-a641-d418703ece22" providerId="ADAL" clId="{859296AE-058C-4C65-BA04-6986791C2943}" dt="2024-01-29T08:52:14.419" v="504" actId="478"/>
          <ac:spMkLst>
            <pc:docMk/>
            <pc:sldMk cId="2540365924" sldId="2147480316"/>
            <ac:spMk id="66" creationId="{0D76B70D-B181-3C29-4BE9-309A11A735B1}"/>
          </ac:spMkLst>
        </pc:spChg>
        <pc:spChg chg="del">
          <ac:chgData name="Laurence ANGILBERT" userId="28ea2967-f540-4e7d-a641-d418703ece22" providerId="ADAL" clId="{859296AE-058C-4C65-BA04-6986791C2943}" dt="2024-01-29T08:52:14.419" v="504" actId="478"/>
          <ac:spMkLst>
            <pc:docMk/>
            <pc:sldMk cId="2540365924" sldId="2147480316"/>
            <ac:spMk id="67" creationId="{3FCA3673-883C-929D-19AC-42607BAD038C}"/>
          </ac:spMkLst>
        </pc:spChg>
        <pc:spChg chg="del">
          <ac:chgData name="Laurence ANGILBERT" userId="28ea2967-f540-4e7d-a641-d418703ece22" providerId="ADAL" clId="{859296AE-058C-4C65-BA04-6986791C2943}" dt="2024-01-29T08:52:14.419" v="504" actId="478"/>
          <ac:spMkLst>
            <pc:docMk/>
            <pc:sldMk cId="2540365924" sldId="2147480316"/>
            <ac:spMk id="83" creationId="{230408EB-2317-D689-A2A8-45B9FC4971D5}"/>
          </ac:spMkLst>
        </pc:spChg>
        <pc:spChg chg="del">
          <ac:chgData name="Laurence ANGILBERT" userId="28ea2967-f540-4e7d-a641-d418703ece22" providerId="ADAL" clId="{859296AE-058C-4C65-BA04-6986791C2943}" dt="2024-01-29T08:52:14.419" v="504" actId="478"/>
          <ac:spMkLst>
            <pc:docMk/>
            <pc:sldMk cId="2540365924" sldId="2147480316"/>
            <ac:spMk id="107" creationId="{7D507D3E-AF4A-D99D-432E-8492E6C9EF1F}"/>
          </ac:spMkLst>
        </pc:spChg>
        <pc:spChg chg="del">
          <ac:chgData name="Laurence ANGILBERT" userId="28ea2967-f540-4e7d-a641-d418703ece22" providerId="ADAL" clId="{859296AE-058C-4C65-BA04-6986791C2943}" dt="2024-01-29T08:52:14.419" v="504" actId="478"/>
          <ac:spMkLst>
            <pc:docMk/>
            <pc:sldMk cId="2540365924" sldId="2147480316"/>
            <ac:spMk id="109" creationId="{0CB62A5A-3593-DCF0-128F-A6528451837D}"/>
          </ac:spMkLst>
        </pc:spChg>
        <pc:spChg chg="del">
          <ac:chgData name="Laurence ANGILBERT" userId="28ea2967-f540-4e7d-a641-d418703ece22" providerId="ADAL" clId="{859296AE-058C-4C65-BA04-6986791C2943}" dt="2024-01-29T08:52:14.419" v="504" actId="478"/>
          <ac:spMkLst>
            <pc:docMk/>
            <pc:sldMk cId="2540365924" sldId="2147480316"/>
            <ac:spMk id="110" creationId="{F0BD6880-3F76-7890-2570-A098D32C18B1}"/>
          </ac:spMkLst>
        </pc:spChg>
        <pc:spChg chg="del">
          <ac:chgData name="Laurence ANGILBERT" userId="28ea2967-f540-4e7d-a641-d418703ece22" providerId="ADAL" clId="{859296AE-058C-4C65-BA04-6986791C2943}" dt="2024-01-29T08:52:14.419" v="504" actId="478"/>
          <ac:spMkLst>
            <pc:docMk/>
            <pc:sldMk cId="2540365924" sldId="2147480316"/>
            <ac:spMk id="111" creationId="{23C27633-1515-836C-B5C7-FE7A16FC5703}"/>
          </ac:spMkLst>
        </pc:spChg>
        <pc:spChg chg="del">
          <ac:chgData name="Laurence ANGILBERT" userId="28ea2967-f540-4e7d-a641-d418703ece22" providerId="ADAL" clId="{859296AE-058C-4C65-BA04-6986791C2943}" dt="2024-01-29T08:52:14.419" v="504" actId="478"/>
          <ac:spMkLst>
            <pc:docMk/>
            <pc:sldMk cId="2540365924" sldId="2147480316"/>
            <ac:spMk id="119" creationId="{B6172B17-1CAD-D56C-B283-CABDDBC8A09F}"/>
          </ac:spMkLst>
        </pc:spChg>
        <pc:spChg chg="del">
          <ac:chgData name="Laurence ANGILBERT" userId="28ea2967-f540-4e7d-a641-d418703ece22" providerId="ADAL" clId="{859296AE-058C-4C65-BA04-6986791C2943}" dt="2024-01-29T08:52:14.419" v="504" actId="478"/>
          <ac:spMkLst>
            <pc:docMk/>
            <pc:sldMk cId="2540365924" sldId="2147480316"/>
            <ac:spMk id="122" creationId="{3926BFFB-A92B-4B54-DD47-2977D9B6D84C}"/>
          </ac:spMkLst>
        </pc:spChg>
        <pc:spChg chg="del">
          <ac:chgData name="Laurence ANGILBERT" userId="28ea2967-f540-4e7d-a641-d418703ece22" providerId="ADAL" clId="{859296AE-058C-4C65-BA04-6986791C2943}" dt="2024-01-29T08:52:14.419" v="504" actId="478"/>
          <ac:spMkLst>
            <pc:docMk/>
            <pc:sldMk cId="2540365924" sldId="2147480316"/>
            <ac:spMk id="123" creationId="{FF6209E0-599D-A29F-7740-1961D89FCDAD}"/>
          </ac:spMkLst>
        </pc:spChg>
        <pc:spChg chg="del">
          <ac:chgData name="Laurence ANGILBERT" userId="28ea2967-f540-4e7d-a641-d418703ece22" providerId="ADAL" clId="{859296AE-058C-4C65-BA04-6986791C2943}" dt="2024-01-29T08:52:14.419" v="504" actId="478"/>
          <ac:spMkLst>
            <pc:docMk/>
            <pc:sldMk cId="2540365924" sldId="2147480316"/>
            <ac:spMk id="124" creationId="{E25A8A1A-9060-8918-404F-DE4693C0C8B5}"/>
          </ac:spMkLst>
        </pc:spChg>
        <pc:spChg chg="del">
          <ac:chgData name="Laurence ANGILBERT" userId="28ea2967-f540-4e7d-a641-d418703ece22" providerId="ADAL" clId="{859296AE-058C-4C65-BA04-6986791C2943}" dt="2024-01-29T08:52:14.419" v="504" actId="478"/>
          <ac:spMkLst>
            <pc:docMk/>
            <pc:sldMk cId="2540365924" sldId="2147480316"/>
            <ac:spMk id="2048" creationId="{DD0C2D69-665C-977E-448B-2649C5B91ED9}"/>
          </ac:spMkLst>
        </pc:spChg>
        <pc:grpChg chg="del">
          <ac:chgData name="Laurence ANGILBERT" userId="28ea2967-f540-4e7d-a641-d418703ece22" providerId="ADAL" clId="{859296AE-058C-4C65-BA04-6986791C2943}" dt="2024-01-29T08:52:14.419" v="504" actId="478"/>
          <ac:grpSpMkLst>
            <pc:docMk/>
            <pc:sldMk cId="2540365924" sldId="2147480316"/>
            <ac:grpSpMk id="12" creationId="{36714A37-EE90-4DA0-016C-D6FAD43770A7}"/>
          </ac:grpSpMkLst>
        </pc:grpChg>
        <pc:grpChg chg="del">
          <ac:chgData name="Laurence ANGILBERT" userId="28ea2967-f540-4e7d-a641-d418703ece22" providerId="ADAL" clId="{859296AE-058C-4C65-BA04-6986791C2943}" dt="2024-01-29T08:52:14.419" v="504" actId="478"/>
          <ac:grpSpMkLst>
            <pc:docMk/>
            <pc:sldMk cId="2540365924" sldId="2147480316"/>
            <ac:grpSpMk id="18" creationId="{B5BEC36E-DCD6-793C-1A37-360CED9A9E18}"/>
          </ac:grpSpMkLst>
        </pc:grpChg>
        <pc:grpChg chg="del">
          <ac:chgData name="Laurence ANGILBERT" userId="28ea2967-f540-4e7d-a641-d418703ece22" providerId="ADAL" clId="{859296AE-058C-4C65-BA04-6986791C2943}" dt="2024-01-29T08:52:14.419" v="504" actId="478"/>
          <ac:grpSpMkLst>
            <pc:docMk/>
            <pc:sldMk cId="2540365924" sldId="2147480316"/>
            <ac:grpSpMk id="21" creationId="{5C692242-3745-A15C-1BA8-6F3769A9C2E0}"/>
          </ac:grpSpMkLst>
        </pc:grpChg>
        <pc:picChg chg="del">
          <ac:chgData name="Laurence ANGILBERT" userId="28ea2967-f540-4e7d-a641-d418703ece22" providerId="ADAL" clId="{859296AE-058C-4C65-BA04-6986791C2943}" dt="2024-01-29T08:52:14.419" v="504" actId="478"/>
          <ac:picMkLst>
            <pc:docMk/>
            <pc:sldMk cId="2540365924" sldId="2147480316"/>
            <ac:picMk id="8" creationId="{327A1E60-4FEA-E2EB-90CD-5D9C5F8E12C1}"/>
          </ac:picMkLst>
        </pc:picChg>
        <pc:picChg chg="del">
          <ac:chgData name="Laurence ANGILBERT" userId="28ea2967-f540-4e7d-a641-d418703ece22" providerId="ADAL" clId="{859296AE-058C-4C65-BA04-6986791C2943}" dt="2024-01-29T08:52:14.419" v="504" actId="478"/>
          <ac:picMkLst>
            <pc:docMk/>
            <pc:sldMk cId="2540365924" sldId="2147480316"/>
            <ac:picMk id="9" creationId="{F3FF6A12-3C94-5D56-5289-92D0AF6FA303}"/>
          </ac:picMkLst>
        </pc:picChg>
        <pc:picChg chg="del">
          <ac:chgData name="Laurence ANGILBERT" userId="28ea2967-f540-4e7d-a641-d418703ece22" providerId="ADAL" clId="{859296AE-058C-4C65-BA04-6986791C2943}" dt="2024-01-29T08:52:14.419" v="504" actId="478"/>
          <ac:picMkLst>
            <pc:docMk/>
            <pc:sldMk cId="2540365924" sldId="2147480316"/>
            <ac:picMk id="11" creationId="{CC62A1A3-A1A0-C606-F971-84217571F07F}"/>
          </ac:picMkLst>
        </pc:picChg>
        <pc:picChg chg="add mod">
          <ac:chgData name="Laurence ANGILBERT" userId="28ea2967-f540-4e7d-a641-d418703ece22" providerId="ADAL" clId="{859296AE-058C-4C65-BA04-6986791C2943}" dt="2024-01-31T15:32:46.348" v="13776"/>
          <ac:picMkLst>
            <pc:docMk/>
            <pc:sldMk cId="2540365924" sldId="2147480316"/>
            <ac:picMk id="16" creationId="{130F1E42-66E8-4FB5-8719-8A6DCBBBC412}"/>
          </ac:picMkLst>
        </pc:picChg>
        <pc:picChg chg="del">
          <ac:chgData name="Laurence ANGILBERT" userId="28ea2967-f540-4e7d-a641-d418703ece22" providerId="ADAL" clId="{859296AE-058C-4C65-BA04-6986791C2943}" dt="2024-01-29T08:52:14.419" v="504" actId="478"/>
          <ac:picMkLst>
            <pc:docMk/>
            <pc:sldMk cId="2540365924" sldId="2147480316"/>
            <ac:picMk id="35" creationId="{1CFEC578-5C84-F6E9-CA6C-9DA81390A27F}"/>
          </ac:picMkLst>
        </pc:picChg>
        <pc:picChg chg="del">
          <ac:chgData name="Laurence ANGILBERT" userId="28ea2967-f540-4e7d-a641-d418703ece22" providerId="ADAL" clId="{859296AE-058C-4C65-BA04-6986791C2943}" dt="2024-01-29T08:52:14.419" v="504" actId="478"/>
          <ac:picMkLst>
            <pc:docMk/>
            <pc:sldMk cId="2540365924" sldId="2147480316"/>
            <ac:picMk id="49" creationId="{E0242875-B528-5BB0-E495-2D44183E0D50}"/>
          </ac:picMkLst>
        </pc:picChg>
        <pc:picChg chg="del">
          <ac:chgData name="Laurence ANGILBERT" userId="28ea2967-f540-4e7d-a641-d418703ece22" providerId="ADAL" clId="{859296AE-058C-4C65-BA04-6986791C2943}" dt="2024-01-29T08:52:14.419" v="504" actId="478"/>
          <ac:picMkLst>
            <pc:docMk/>
            <pc:sldMk cId="2540365924" sldId="2147480316"/>
            <ac:picMk id="54" creationId="{0CC75377-D09C-6F04-2BA8-5EDA6D38EDAD}"/>
          </ac:picMkLst>
        </pc:picChg>
        <pc:picChg chg="del">
          <ac:chgData name="Laurence ANGILBERT" userId="28ea2967-f540-4e7d-a641-d418703ece22" providerId="ADAL" clId="{859296AE-058C-4C65-BA04-6986791C2943}" dt="2024-01-29T08:52:14.419" v="504" actId="478"/>
          <ac:picMkLst>
            <pc:docMk/>
            <pc:sldMk cId="2540365924" sldId="2147480316"/>
            <ac:picMk id="55" creationId="{566F9760-B841-394D-7313-FF9F0600AEEE}"/>
          </ac:picMkLst>
        </pc:picChg>
        <pc:picChg chg="del">
          <ac:chgData name="Laurence ANGILBERT" userId="28ea2967-f540-4e7d-a641-d418703ece22" providerId="ADAL" clId="{859296AE-058C-4C65-BA04-6986791C2943}" dt="2024-01-29T08:52:14.419" v="504" actId="478"/>
          <ac:picMkLst>
            <pc:docMk/>
            <pc:sldMk cId="2540365924" sldId="2147480316"/>
            <ac:picMk id="68" creationId="{8CDAFBA7-828F-8A59-A1DC-CF706B811E96}"/>
          </ac:picMkLst>
        </pc:picChg>
        <pc:extLst>
          <p:ext xmlns:p="http://schemas.openxmlformats.org/presentationml/2006/main" uri="{D6D511B9-2390-475A-947B-AFAB55BFBCF1}">
            <pc226:cmChg xmlns:pc226="http://schemas.microsoft.com/office/powerpoint/2022/06/main/command" chg="mod">
              <pc226:chgData name="Laurence ANGILBERT" userId="28ea2967-f540-4e7d-a641-d418703ece22" providerId="ADAL" clId="{859296AE-058C-4C65-BA04-6986791C2943}" dt="2024-01-29T08:52:14.465" v="505" actId="2056"/>
              <pc2:cmMkLst xmlns:pc2="http://schemas.microsoft.com/office/powerpoint/2019/9/main/command">
                <pc:docMk/>
                <pc:sldMk cId="2540365924" sldId="2147480316"/>
                <pc2:cmMk id="{F8B52FAA-D62F-4748-85B2-0E2ABD499E76}"/>
              </pc2:cmMkLst>
            </pc226:cmChg>
          </p:ext>
        </pc:extLst>
      </pc:sldChg>
      <pc:sldChg chg="addSp delSp modSp mod">
        <pc:chgData name="Laurence ANGILBERT" userId="28ea2967-f540-4e7d-a641-d418703ece22" providerId="ADAL" clId="{859296AE-058C-4C65-BA04-6986791C2943}" dt="2024-02-02T18:12:41.212" v="30160" actId="20577"/>
        <pc:sldMkLst>
          <pc:docMk/>
          <pc:sldMk cId="2099106951" sldId="2147480317"/>
        </pc:sldMkLst>
        <pc:spChg chg="mod">
          <ac:chgData name="Laurence ANGILBERT" userId="28ea2967-f540-4e7d-a641-d418703ece22" providerId="ADAL" clId="{859296AE-058C-4C65-BA04-6986791C2943}" dt="2024-02-02T09:08:49.994" v="25619" actId="1076"/>
          <ac:spMkLst>
            <pc:docMk/>
            <pc:sldMk cId="2099106951" sldId="2147480317"/>
            <ac:spMk id="2" creationId="{79BEB425-9E0E-5DC0-A086-FCE256816139}"/>
          </ac:spMkLst>
        </pc:spChg>
        <pc:spChg chg="mod">
          <ac:chgData name="Laurence ANGILBERT" userId="28ea2967-f540-4e7d-a641-d418703ece22" providerId="ADAL" clId="{859296AE-058C-4C65-BA04-6986791C2943}" dt="2024-01-30T17:24:34.046" v="5239"/>
          <ac:spMkLst>
            <pc:docMk/>
            <pc:sldMk cId="2099106951" sldId="2147480317"/>
            <ac:spMk id="3" creationId="{D4E38D81-BD1B-CA7C-5594-3ABC758921A4}"/>
          </ac:spMkLst>
        </pc:spChg>
        <pc:spChg chg="add mod">
          <ac:chgData name="Laurence ANGILBERT" userId="28ea2967-f540-4e7d-a641-d418703ece22" providerId="ADAL" clId="{859296AE-058C-4C65-BA04-6986791C2943}" dt="2024-02-01T17:39:10.488" v="23794" actId="20577"/>
          <ac:spMkLst>
            <pc:docMk/>
            <pc:sldMk cId="2099106951" sldId="2147480317"/>
            <ac:spMk id="4" creationId="{31F9FB02-B873-80BB-986F-4363391C0DFD}"/>
          </ac:spMkLst>
        </pc:spChg>
        <pc:spChg chg="add del">
          <ac:chgData name="Laurence ANGILBERT" userId="28ea2967-f540-4e7d-a641-d418703ece22" providerId="ADAL" clId="{859296AE-058C-4C65-BA04-6986791C2943}" dt="2024-01-30T17:24:08.380" v="5203" actId="478"/>
          <ac:spMkLst>
            <pc:docMk/>
            <pc:sldMk cId="2099106951" sldId="2147480317"/>
            <ac:spMk id="4" creationId="{B2427920-E84F-2E8E-6CAC-889B00D850C0}"/>
          </ac:spMkLst>
        </pc:spChg>
        <pc:spChg chg="del">
          <ac:chgData name="Laurence ANGILBERT" userId="28ea2967-f540-4e7d-a641-d418703ece22" providerId="ADAL" clId="{859296AE-058C-4C65-BA04-6986791C2943}" dt="2024-02-01T17:39:25.656" v="23795" actId="478"/>
          <ac:spMkLst>
            <pc:docMk/>
            <pc:sldMk cId="2099106951" sldId="2147480317"/>
            <ac:spMk id="4" creationId="{F04FD7BE-6AEE-6F7D-D07C-530C1A5C71C7}"/>
          </ac:spMkLst>
        </pc:spChg>
        <pc:spChg chg="mod">
          <ac:chgData name="Laurence ANGILBERT" userId="28ea2967-f540-4e7d-a641-d418703ece22" providerId="ADAL" clId="{859296AE-058C-4C65-BA04-6986791C2943}" dt="2024-02-01T17:39:32.812" v="23797" actId="207"/>
          <ac:spMkLst>
            <pc:docMk/>
            <pc:sldMk cId="2099106951" sldId="2147480317"/>
            <ac:spMk id="5" creationId="{31F9FB02-B873-80BB-986F-4363391C0DFD}"/>
          </ac:spMkLst>
        </pc:spChg>
        <pc:spChg chg="add del mod">
          <ac:chgData name="Laurence ANGILBERT" userId="28ea2967-f540-4e7d-a641-d418703ece22" providerId="ADAL" clId="{859296AE-058C-4C65-BA04-6986791C2943}" dt="2024-02-01T17:38:23.497" v="23777" actId="478"/>
          <ac:spMkLst>
            <pc:docMk/>
            <pc:sldMk cId="2099106951" sldId="2147480317"/>
            <ac:spMk id="5" creationId="{8E5985F5-A93F-47CF-6471-F2EB7B8ED4B8}"/>
          </ac:spMkLst>
        </pc:spChg>
        <pc:spChg chg="add del mod">
          <ac:chgData name="Laurence ANGILBERT" userId="28ea2967-f540-4e7d-a641-d418703ece22" providerId="ADAL" clId="{859296AE-058C-4C65-BA04-6986791C2943}" dt="2024-01-29T18:18:16.408" v="2442" actId="478"/>
          <ac:spMkLst>
            <pc:docMk/>
            <pc:sldMk cId="2099106951" sldId="2147480317"/>
            <ac:spMk id="7" creationId="{E28C6AC3-9A9D-6863-E7E0-DA121ABE5EFA}"/>
          </ac:spMkLst>
        </pc:spChg>
        <pc:spChg chg="mod">
          <ac:chgData name="Laurence ANGILBERT" userId="28ea2967-f540-4e7d-a641-d418703ece22" providerId="ADAL" clId="{859296AE-058C-4C65-BA04-6986791C2943}" dt="2024-02-01T17:37:33.737" v="23773"/>
          <ac:spMkLst>
            <pc:docMk/>
            <pc:sldMk cId="2099106951" sldId="2147480317"/>
            <ac:spMk id="41" creationId="{7CAAACC4-3B3D-9B2F-87DF-8B270EB1CA14}"/>
          </ac:spMkLst>
        </pc:spChg>
        <pc:spChg chg="mod">
          <ac:chgData name="Laurence ANGILBERT" userId="28ea2967-f540-4e7d-a641-d418703ece22" providerId="ADAL" clId="{859296AE-058C-4C65-BA04-6986791C2943}" dt="2024-02-01T17:37:43.083" v="23776"/>
          <ac:spMkLst>
            <pc:docMk/>
            <pc:sldMk cId="2099106951" sldId="2147480317"/>
            <ac:spMk id="42" creationId="{F2EA099A-43EF-C3CA-1F70-C35EA14758FC}"/>
          </ac:spMkLst>
        </pc:spChg>
        <pc:spChg chg="mod">
          <ac:chgData name="Laurence ANGILBERT" userId="28ea2967-f540-4e7d-a641-d418703ece22" providerId="ADAL" clId="{859296AE-058C-4C65-BA04-6986791C2943}" dt="2024-02-02T18:12:41.212" v="30160" actId="20577"/>
          <ac:spMkLst>
            <pc:docMk/>
            <pc:sldMk cId="2099106951" sldId="2147480317"/>
            <ac:spMk id="203" creationId="{D113490F-A536-D20A-DBAC-FEFF8816594C}"/>
          </ac:spMkLst>
        </pc:spChg>
        <pc:spChg chg="mod">
          <ac:chgData name="Laurence ANGILBERT" userId="28ea2967-f540-4e7d-a641-d418703ece22" providerId="ADAL" clId="{859296AE-058C-4C65-BA04-6986791C2943}" dt="2024-01-29T18:18:10.566" v="2441" actId="20577"/>
          <ac:spMkLst>
            <pc:docMk/>
            <pc:sldMk cId="2099106951" sldId="2147480317"/>
            <ac:spMk id="204" creationId="{44D66E35-4B7E-6762-ED34-1C832269F88C}"/>
          </ac:spMkLst>
        </pc:spChg>
      </pc:sldChg>
      <pc:sldChg chg="modSp mod">
        <pc:chgData name="Laurence ANGILBERT" userId="28ea2967-f540-4e7d-a641-d418703ece22" providerId="ADAL" clId="{859296AE-058C-4C65-BA04-6986791C2943}" dt="2024-02-02T09:07:05.672" v="25581" actId="1035"/>
        <pc:sldMkLst>
          <pc:docMk/>
          <pc:sldMk cId="4077997474" sldId="2147480324"/>
        </pc:sldMkLst>
        <pc:spChg chg="mod">
          <ac:chgData name="Laurence ANGILBERT" userId="28ea2967-f540-4e7d-a641-d418703ece22" providerId="ADAL" clId="{859296AE-058C-4C65-BA04-6986791C2943}" dt="2024-02-02T09:07:05.672" v="25581" actId="1035"/>
          <ac:spMkLst>
            <pc:docMk/>
            <pc:sldMk cId="4077997474" sldId="2147480324"/>
            <ac:spMk id="12" creationId="{A69472D7-2493-2CA6-688C-D454739D34D4}"/>
          </ac:spMkLst>
        </pc:spChg>
        <pc:spChg chg="mod">
          <ac:chgData name="Laurence ANGILBERT" userId="28ea2967-f540-4e7d-a641-d418703ece22" providerId="ADAL" clId="{859296AE-058C-4C65-BA04-6986791C2943}" dt="2024-02-02T09:06:59.261" v="25574" actId="1035"/>
          <ac:spMkLst>
            <pc:docMk/>
            <pc:sldMk cId="4077997474" sldId="2147480324"/>
            <ac:spMk id="30" creationId="{A8A15718-341E-1618-BBFE-8DE79C4D1726}"/>
          </ac:spMkLst>
        </pc:spChg>
        <pc:spChg chg="mod">
          <ac:chgData name="Laurence ANGILBERT" userId="28ea2967-f540-4e7d-a641-d418703ece22" providerId="ADAL" clId="{859296AE-058C-4C65-BA04-6986791C2943}" dt="2024-02-02T09:07:05.672" v="25581" actId="1035"/>
          <ac:spMkLst>
            <pc:docMk/>
            <pc:sldMk cId="4077997474" sldId="2147480324"/>
            <ac:spMk id="41" creationId="{FCC8CA04-A669-EB00-CF2D-BF0B2CFAA0B2}"/>
          </ac:spMkLst>
        </pc:spChg>
      </pc:sldChg>
      <pc:sldChg chg="add del">
        <pc:chgData name="Laurence ANGILBERT" userId="28ea2967-f540-4e7d-a641-d418703ece22" providerId="ADAL" clId="{859296AE-058C-4C65-BA04-6986791C2943}" dt="2024-01-31T03:32:16.418" v="7790" actId="47"/>
        <pc:sldMkLst>
          <pc:docMk/>
          <pc:sldMk cId="3237022096" sldId="2147480325"/>
        </pc:sldMkLst>
      </pc:sldChg>
      <pc:sldChg chg="addSp delSp modSp mod">
        <pc:chgData name="Laurence ANGILBERT" userId="28ea2967-f540-4e7d-a641-d418703ece22" providerId="ADAL" clId="{859296AE-058C-4C65-BA04-6986791C2943}" dt="2024-02-02T18:04:37.635" v="30133" actId="20577"/>
        <pc:sldMkLst>
          <pc:docMk/>
          <pc:sldMk cId="3058333471" sldId="2147480328"/>
        </pc:sldMkLst>
        <pc:spChg chg="mod">
          <ac:chgData name="Laurence ANGILBERT" userId="28ea2967-f540-4e7d-a641-d418703ece22" providerId="ADAL" clId="{859296AE-058C-4C65-BA04-6986791C2943}" dt="2024-02-02T09:19:21.187" v="25695"/>
          <ac:spMkLst>
            <pc:docMk/>
            <pc:sldMk cId="3058333471" sldId="2147480328"/>
            <ac:spMk id="2" creationId="{7E57833B-F9F8-3CAB-30A5-335812052FC8}"/>
          </ac:spMkLst>
        </pc:spChg>
        <pc:spChg chg="add mod">
          <ac:chgData name="Laurence ANGILBERT" userId="28ea2967-f540-4e7d-a641-d418703ece22" providerId="ADAL" clId="{859296AE-058C-4C65-BA04-6986791C2943}" dt="2024-01-30T17:00:11.960" v="4402" actId="207"/>
          <ac:spMkLst>
            <pc:docMk/>
            <pc:sldMk cId="3058333471" sldId="2147480328"/>
            <ac:spMk id="4" creationId="{EAF9AB6C-200A-7C13-6B57-2F846D17F25B}"/>
          </ac:spMkLst>
        </pc:spChg>
        <pc:spChg chg="add mod">
          <ac:chgData name="Laurence ANGILBERT" userId="28ea2967-f540-4e7d-a641-d418703ece22" providerId="ADAL" clId="{859296AE-058C-4C65-BA04-6986791C2943}" dt="2024-01-30T17:22:12.630" v="5132" actId="20577"/>
          <ac:spMkLst>
            <pc:docMk/>
            <pc:sldMk cId="3058333471" sldId="2147480328"/>
            <ac:spMk id="13" creationId="{E19A8905-A87F-7E93-2086-8B51ACBE82C0}"/>
          </ac:spMkLst>
        </pc:spChg>
        <pc:spChg chg="mod">
          <ac:chgData name="Laurence ANGILBERT" userId="28ea2967-f540-4e7d-a641-d418703ece22" providerId="ADAL" clId="{859296AE-058C-4C65-BA04-6986791C2943}" dt="2024-02-02T18:04:37.635" v="30133" actId="20577"/>
          <ac:spMkLst>
            <pc:docMk/>
            <pc:sldMk cId="3058333471" sldId="2147480328"/>
            <ac:spMk id="28" creationId="{214159E9-73C8-F734-A2BD-65D5BA6E0994}"/>
          </ac:spMkLst>
        </pc:spChg>
        <pc:spChg chg="add del mod">
          <ac:chgData name="Laurence ANGILBERT" userId="28ea2967-f540-4e7d-a641-d418703ece22" providerId="ADAL" clId="{859296AE-058C-4C65-BA04-6986791C2943}" dt="2024-02-01T07:58:51.736" v="18041" actId="478"/>
          <ac:spMkLst>
            <pc:docMk/>
            <pc:sldMk cId="3058333471" sldId="2147480328"/>
            <ac:spMk id="36" creationId="{44F8B76D-C1AB-5D2D-663D-B0777EE8596D}"/>
          </ac:spMkLst>
        </pc:spChg>
        <pc:spChg chg="mod">
          <ac:chgData name="Laurence ANGILBERT" userId="28ea2967-f540-4e7d-a641-d418703ece22" providerId="ADAL" clId="{859296AE-058C-4C65-BA04-6986791C2943}" dt="2024-02-01T07:59:46.574" v="18052" actId="20577"/>
          <ac:spMkLst>
            <pc:docMk/>
            <pc:sldMk cId="3058333471" sldId="2147480328"/>
            <ac:spMk id="70" creationId="{662A894B-6EDF-37C6-2D87-268253FD4F03}"/>
          </ac:spMkLst>
        </pc:spChg>
        <pc:spChg chg="mod">
          <ac:chgData name="Laurence ANGILBERT" userId="28ea2967-f540-4e7d-a641-d418703ece22" providerId="ADAL" clId="{859296AE-058C-4C65-BA04-6986791C2943}" dt="2024-02-02T09:19:28.063" v="25696" actId="1076"/>
          <ac:spMkLst>
            <pc:docMk/>
            <pc:sldMk cId="3058333471" sldId="2147480328"/>
            <ac:spMk id="83" creationId="{C239288C-3F8B-5FF8-45D9-EDB48F87E700}"/>
          </ac:spMkLst>
        </pc:spChg>
      </pc:sldChg>
      <pc:sldChg chg="addSp delSp modSp add del mod">
        <pc:chgData name="Laurence ANGILBERT" userId="28ea2967-f540-4e7d-a641-d418703ece22" providerId="ADAL" clId="{859296AE-058C-4C65-BA04-6986791C2943}" dt="2024-02-02T09:11:03.368" v="25639" actId="2696"/>
        <pc:sldMkLst>
          <pc:docMk/>
          <pc:sldMk cId="1296099944" sldId="2147480329"/>
        </pc:sldMkLst>
        <pc:spChg chg="del">
          <ac:chgData name="Laurence ANGILBERT" userId="28ea2967-f540-4e7d-a641-d418703ece22" providerId="ADAL" clId="{859296AE-058C-4C65-BA04-6986791C2943}" dt="2024-01-31T09:26:15.856" v="9514" actId="478"/>
          <ac:spMkLst>
            <pc:docMk/>
            <pc:sldMk cId="1296099944" sldId="2147480329"/>
            <ac:spMk id="2" creationId="{096D9B1D-4B46-FA35-261B-9EA18A326D0F}"/>
          </ac:spMkLst>
        </pc:spChg>
        <pc:spChg chg="add del mod">
          <ac:chgData name="Laurence ANGILBERT" userId="28ea2967-f540-4e7d-a641-d418703ece22" providerId="ADAL" clId="{859296AE-058C-4C65-BA04-6986791C2943}" dt="2024-02-01T12:38:01.125" v="22190" actId="21"/>
          <ac:spMkLst>
            <pc:docMk/>
            <pc:sldMk cId="1296099944" sldId="2147480329"/>
            <ac:spMk id="2" creationId="{800E1417-3EBA-0B2E-E8E7-99DC63A5730E}"/>
          </ac:spMkLst>
        </pc:spChg>
        <pc:spChg chg="mod">
          <ac:chgData name="Laurence ANGILBERT" userId="28ea2967-f540-4e7d-a641-d418703ece22" providerId="ADAL" clId="{859296AE-058C-4C65-BA04-6986791C2943}" dt="2024-02-01T13:15:54.720" v="22656" actId="1076"/>
          <ac:spMkLst>
            <pc:docMk/>
            <pc:sldMk cId="1296099944" sldId="2147480329"/>
            <ac:spMk id="3" creationId="{1DD85468-970B-4013-D370-EA2A4D5D1BA1}"/>
          </ac:spMkLst>
        </pc:spChg>
        <pc:spChg chg="add del mod">
          <ac:chgData name="Laurence ANGILBERT" userId="28ea2967-f540-4e7d-a641-d418703ece22" providerId="ADAL" clId="{859296AE-058C-4C65-BA04-6986791C2943}" dt="2024-02-01T12:59:28.026" v="22482" actId="478"/>
          <ac:spMkLst>
            <pc:docMk/>
            <pc:sldMk cId="1296099944" sldId="2147480329"/>
            <ac:spMk id="4" creationId="{B4420729-5430-2A41-6079-9913AF16F39F}"/>
          </ac:spMkLst>
        </pc:spChg>
        <pc:spChg chg="del">
          <ac:chgData name="Laurence ANGILBERT" userId="28ea2967-f540-4e7d-a641-d418703ece22" providerId="ADAL" clId="{859296AE-058C-4C65-BA04-6986791C2943}" dt="2024-01-31T09:39:47.880" v="9911" actId="478"/>
          <ac:spMkLst>
            <pc:docMk/>
            <pc:sldMk cId="1296099944" sldId="2147480329"/>
            <ac:spMk id="4" creationId="{B45A4892-FF4B-57AE-B1BE-8B25B579B799}"/>
          </ac:spMkLst>
        </pc:spChg>
        <pc:spChg chg="mod">
          <ac:chgData name="Laurence ANGILBERT" userId="28ea2967-f540-4e7d-a641-d418703ece22" providerId="ADAL" clId="{859296AE-058C-4C65-BA04-6986791C2943}" dt="2024-02-01T13:16:01.968" v="22670" actId="1035"/>
          <ac:spMkLst>
            <pc:docMk/>
            <pc:sldMk cId="1296099944" sldId="2147480329"/>
            <ac:spMk id="5" creationId="{A9805C1D-147B-B4B0-986F-E6803E8936D2}"/>
          </ac:spMkLst>
        </pc:spChg>
        <pc:spChg chg="mod">
          <ac:chgData name="Laurence ANGILBERT" userId="28ea2967-f540-4e7d-a641-d418703ece22" providerId="ADAL" clId="{859296AE-058C-4C65-BA04-6986791C2943}" dt="2024-02-01T13:16:01.968" v="22670" actId="1035"/>
          <ac:spMkLst>
            <pc:docMk/>
            <pc:sldMk cId="1296099944" sldId="2147480329"/>
            <ac:spMk id="6" creationId="{22C78D11-37A1-CDCF-93E9-E62129580193}"/>
          </ac:spMkLst>
        </pc:spChg>
        <pc:spChg chg="mod">
          <ac:chgData name="Laurence ANGILBERT" userId="28ea2967-f540-4e7d-a641-d418703ece22" providerId="ADAL" clId="{859296AE-058C-4C65-BA04-6986791C2943}" dt="2024-01-31T09:52:26.574" v="10220" actId="1035"/>
          <ac:spMkLst>
            <pc:docMk/>
            <pc:sldMk cId="1296099944" sldId="2147480329"/>
            <ac:spMk id="7" creationId="{A1F8B092-9CD0-5DD6-A0A1-297DEFEA9E4F}"/>
          </ac:spMkLst>
        </pc:spChg>
        <pc:spChg chg="add del mod">
          <ac:chgData name="Laurence ANGILBERT" userId="28ea2967-f540-4e7d-a641-d418703ece22" providerId="ADAL" clId="{859296AE-058C-4C65-BA04-6986791C2943}" dt="2024-02-01T12:59:26.633" v="22481" actId="478"/>
          <ac:spMkLst>
            <pc:docMk/>
            <pc:sldMk cId="1296099944" sldId="2147480329"/>
            <ac:spMk id="7" creationId="{D51DB9D5-6970-D3EC-18DB-94538894519F}"/>
          </ac:spMkLst>
        </pc:spChg>
        <pc:spChg chg="del">
          <ac:chgData name="Laurence ANGILBERT" userId="28ea2967-f540-4e7d-a641-d418703ece22" providerId="ADAL" clId="{859296AE-058C-4C65-BA04-6986791C2943}" dt="2024-01-31T09:26:23.953" v="9516" actId="478"/>
          <ac:spMkLst>
            <pc:docMk/>
            <pc:sldMk cId="1296099944" sldId="2147480329"/>
            <ac:spMk id="8" creationId="{4F4FFC49-FB2E-DCA5-2E6C-FDE496AEE99A}"/>
          </ac:spMkLst>
        </pc:spChg>
        <pc:spChg chg="add mod">
          <ac:chgData name="Laurence ANGILBERT" userId="28ea2967-f540-4e7d-a641-d418703ece22" providerId="ADAL" clId="{859296AE-058C-4C65-BA04-6986791C2943}" dt="2024-02-01T12:59:52.454" v="22491" actId="20577"/>
          <ac:spMkLst>
            <pc:docMk/>
            <pc:sldMk cId="1296099944" sldId="2147480329"/>
            <ac:spMk id="8" creationId="{9273A8F3-E845-FA5A-EA6F-AB2926CB9117}"/>
          </ac:spMkLst>
        </pc:spChg>
        <pc:spChg chg="mod">
          <ac:chgData name="Laurence ANGILBERT" userId="28ea2967-f540-4e7d-a641-d418703ece22" providerId="ADAL" clId="{859296AE-058C-4C65-BA04-6986791C2943}" dt="2024-02-01T13:16:01.968" v="22670" actId="1035"/>
          <ac:spMkLst>
            <pc:docMk/>
            <pc:sldMk cId="1296099944" sldId="2147480329"/>
            <ac:spMk id="9" creationId="{66EB49D6-BB51-7D45-D375-8A151FDF5E56}"/>
          </ac:spMkLst>
        </pc:spChg>
        <pc:spChg chg="mod">
          <ac:chgData name="Laurence ANGILBERT" userId="28ea2967-f540-4e7d-a641-d418703ece22" providerId="ADAL" clId="{859296AE-058C-4C65-BA04-6986791C2943}" dt="2024-02-01T13:16:01.968" v="22670" actId="1035"/>
          <ac:spMkLst>
            <pc:docMk/>
            <pc:sldMk cId="1296099944" sldId="2147480329"/>
            <ac:spMk id="10" creationId="{D14BB2B0-040E-3510-DFE5-855F08829352}"/>
          </ac:spMkLst>
        </pc:spChg>
        <pc:spChg chg="add mod">
          <ac:chgData name="Laurence ANGILBERT" userId="28ea2967-f540-4e7d-a641-d418703ece22" providerId="ADAL" clId="{859296AE-058C-4C65-BA04-6986791C2943}" dt="2024-02-01T13:15:25.641" v="22655" actId="14100"/>
          <ac:spMkLst>
            <pc:docMk/>
            <pc:sldMk cId="1296099944" sldId="2147480329"/>
            <ac:spMk id="11" creationId="{7CFB4294-4C86-813C-1CD8-856733A73AD3}"/>
          </ac:spMkLst>
        </pc:spChg>
        <pc:spChg chg="mod">
          <ac:chgData name="Laurence ANGILBERT" userId="28ea2967-f540-4e7d-a641-d418703ece22" providerId="ADAL" clId="{859296AE-058C-4C65-BA04-6986791C2943}" dt="2024-01-31T09:52:26.574" v="10220" actId="1035"/>
          <ac:spMkLst>
            <pc:docMk/>
            <pc:sldMk cId="1296099944" sldId="2147480329"/>
            <ac:spMk id="11" creationId="{BAA3DDC7-5320-E950-E89D-4CD10B5E9099}"/>
          </ac:spMkLst>
        </pc:spChg>
        <pc:spChg chg="mod">
          <ac:chgData name="Laurence ANGILBERT" userId="28ea2967-f540-4e7d-a641-d418703ece22" providerId="ADAL" clId="{859296AE-058C-4C65-BA04-6986791C2943}" dt="2024-02-01T13:16:34.596" v="22675" actId="14100"/>
          <ac:spMkLst>
            <pc:docMk/>
            <pc:sldMk cId="1296099944" sldId="2147480329"/>
            <ac:spMk id="12" creationId="{748E64C8-4429-B3A9-1B63-62F518C01507}"/>
          </ac:spMkLst>
        </pc:spChg>
        <pc:spChg chg="mod">
          <ac:chgData name="Laurence ANGILBERT" userId="28ea2967-f540-4e7d-a641-d418703ece22" providerId="ADAL" clId="{859296AE-058C-4C65-BA04-6986791C2943}" dt="2024-02-01T13:16:01.968" v="22670" actId="1035"/>
          <ac:spMkLst>
            <pc:docMk/>
            <pc:sldMk cId="1296099944" sldId="2147480329"/>
            <ac:spMk id="13" creationId="{AD606E6B-2671-C8FD-D5F5-313B98829C5E}"/>
          </ac:spMkLst>
        </pc:spChg>
        <pc:spChg chg="mod">
          <ac:chgData name="Laurence ANGILBERT" userId="28ea2967-f540-4e7d-a641-d418703ece22" providerId="ADAL" clId="{859296AE-058C-4C65-BA04-6986791C2943}" dt="2024-02-01T13:16:01.968" v="22670" actId="1035"/>
          <ac:spMkLst>
            <pc:docMk/>
            <pc:sldMk cId="1296099944" sldId="2147480329"/>
            <ac:spMk id="14" creationId="{6230212D-4CFD-1D53-6B05-4E1206D94A3F}"/>
          </ac:spMkLst>
        </pc:spChg>
        <pc:spChg chg="mod">
          <ac:chgData name="Laurence ANGILBERT" userId="28ea2967-f540-4e7d-a641-d418703ece22" providerId="ADAL" clId="{859296AE-058C-4C65-BA04-6986791C2943}" dt="2024-02-01T13:16:01.968" v="22670" actId="1035"/>
          <ac:spMkLst>
            <pc:docMk/>
            <pc:sldMk cId="1296099944" sldId="2147480329"/>
            <ac:spMk id="15" creationId="{758E6134-039B-0297-664A-2087C54C2D7E}"/>
          </ac:spMkLst>
        </pc:spChg>
        <pc:spChg chg="mod">
          <ac:chgData name="Laurence ANGILBERT" userId="28ea2967-f540-4e7d-a641-d418703ece22" providerId="ADAL" clId="{859296AE-058C-4C65-BA04-6986791C2943}" dt="2024-02-01T13:16:01.968" v="22670" actId="1035"/>
          <ac:spMkLst>
            <pc:docMk/>
            <pc:sldMk cId="1296099944" sldId="2147480329"/>
            <ac:spMk id="16" creationId="{16E62982-8123-09D1-FCC1-AC82D91BBB42}"/>
          </ac:spMkLst>
        </pc:spChg>
        <pc:spChg chg="mod">
          <ac:chgData name="Laurence ANGILBERT" userId="28ea2967-f540-4e7d-a641-d418703ece22" providerId="ADAL" clId="{859296AE-058C-4C65-BA04-6986791C2943}" dt="2024-02-01T13:16:01.968" v="22670" actId="1035"/>
          <ac:spMkLst>
            <pc:docMk/>
            <pc:sldMk cId="1296099944" sldId="2147480329"/>
            <ac:spMk id="17" creationId="{1B52987F-16C6-94A2-FA64-00CBDF833CC2}"/>
          </ac:spMkLst>
        </pc:spChg>
        <pc:spChg chg="mod">
          <ac:chgData name="Laurence ANGILBERT" userId="28ea2967-f540-4e7d-a641-d418703ece22" providerId="ADAL" clId="{859296AE-058C-4C65-BA04-6986791C2943}" dt="2024-02-01T13:16:01.968" v="22670" actId="1035"/>
          <ac:spMkLst>
            <pc:docMk/>
            <pc:sldMk cId="1296099944" sldId="2147480329"/>
            <ac:spMk id="18" creationId="{A2DB48AD-5169-A000-6CD4-6D9172055D1D}"/>
          </ac:spMkLst>
        </pc:spChg>
        <pc:spChg chg="mod">
          <ac:chgData name="Laurence ANGILBERT" userId="28ea2967-f540-4e7d-a641-d418703ece22" providerId="ADAL" clId="{859296AE-058C-4C65-BA04-6986791C2943}" dt="2024-02-01T13:16:01.968" v="22670" actId="1035"/>
          <ac:spMkLst>
            <pc:docMk/>
            <pc:sldMk cId="1296099944" sldId="2147480329"/>
            <ac:spMk id="19" creationId="{ECCA6F3B-9E7D-EB6C-286A-FAC228A1064D}"/>
          </ac:spMkLst>
        </pc:spChg>
        <pc:spChg chg="del mod">
          <ac:chgData name="Laurence ANGILBERT" userId="28ea2967-f540-4e7d-a641-d418703ece22" providerId="ADAL" clId="{859296AE-058C-4C65-BA04-6986791C2943}" dt="2024-01-31T09:54:00.619" v="10283" actId="478"/>
          <ac:spMkLst>
            <pc:docMk/>
            <pc:sldMk cId="1296099944" sldId="2147480329"/>
            <ac:spMk id="20" creationId="{3943277C-F67A-08B7-FF20-0733C8093222}"/>
          </ac:spMkLst>
        </pc:spChg>
        <pc:spChg chg="del mod">
          <ac:chgData name="Laurence ANGILBERT" userId="28ea2967-f540-4e7d-a641-d418703ece22" providerId="ADAL" clId="{859296AE-058C-4C65-BA04-6986791C2943}" dt="2024-01-31T09:34:12.427" v="9807" actId="478"/>
          <ac:spMkLst>
            <pc:docMk/>
            <pc:sldMk cId="1296099944" sldId="2147480329"/>
            <ac:spMk id="21" creationId="{E9784446-C191-467E-0CEF-A3A1E20EE208}"/>
          </ac:spMkLst>
        </pc:spChg>
        <pc:spChg chg="mod">
          <ac:chgData name="Laurence ANGILBERT" userId="28ea2967-f540-4e7d-a641-d418703ece22" providerId="ADAL" clId="{859296AE-058C-4C65-BA04-6986791C2943}" dt="2024-02-01T13:16:01.968" v="22670" actId="1035"/>
          <ac:spMkLst>
            <pc:docMk/>
            <pc:sldMk cId="1296099944" sldId="2147480329"/>
            <ac:spMk id="22" creationId="{DA6D0126-8232-B6F2-082B-A0947BC49EC4}"/>
          </ac:spMkLst>
        </pc:spChg>
        <pc:spChg chg="del mod">
          <ac:chgData name="Laurence ANGILBERT" userId="28ea2967-f540-4e7d-a641-d418703ece22" providerId="ADAL" clId="{859296AE-058C-4C65-BA04-6986791C2943}" dt="2024-01-31T09:39:50.015" v="9913" actId="478"/>
          <ac:spMkLst>
            <pc:docMk/>
            <pc:sldMk cId="1296099944" sldId="2147480329"/>
            <ac:spMk id="24" creationId="{F29FA0D9-5054-CBEB-03DE-F02462CEE6EA}"/>
          </ac:spMkLst>
        </pc:spChg>
        <pc:spChg chg="add del mod">
          <ac:chgData name="Laurence ANGILBERT" userId="28ea2967-f540-4e7d-a641-d418703ece22" providerId="ADAL" clId="{859296AE-058C-4C65-BA04-6986791C2943}" dt="2024-01-31T09:25:18.896" v="9506" actId="478"/>
          <ac:spMkLst>
            <pc:docMk/>
            <pc:sldMk cId="1296099944" sldId="2147480329"/>
            <ac:spMk id="25" creationId="{01C31EFA-8A62-9DFD-27C5-350F2E046AE3}"/>
          </ac:spMkLst>
        </pc:spChg>
        <pc:spChg chg="mod">
          <ac:chgData name="Laurence ANGILBERT" userId="28ea2967-f540-4e7d-a641-d418703ece22" providerId="ADAL" clId="{859296AE-058C-4C65-BA04-6986791C2943}" dt="2024-02-01T13:16:23.791" v="22672" actId="404"/>
          <ac:spMkLst>
            <pc:docMk/>
            <pc:sldMk cId="1296099944" sldId="2147480329"/>
            <ac:spMk id="25" creationId="{BAA3DDC7-5320-E950-E89D-4CD10B5E9099}"/>
          </ac:spMkLst>
        </pc:spChg>
        <pc:spChg chg="add del mod">
          <ac:chgData name="Laurence ANGILBERT" userId="28ea2967-f540-4e7d-a641-d418703ece22" providerId="ADAL" clId="{859296AE-058C-4C65-BA04-6986791C2943}" dt="2024-01-31T09:25:51.785" v="9511" actId="478"/>
          <ac:spMkLst>
            <pc:docMk/>
            <pc:sldMk cId="1296099944" sldId="2147480329"/>
            <ac:spMk id="26" creationId="{F2D15C2B-B334-5FC3-51B0-E5B4FDA9101D}"/>
          </ac:spMkLst>
        </pc:spChg>
        <pc:spChg chg="add del mod">
          <ac:chgData name="Laurence ANGILBERT" userId="28ea2967-f540-4e7d-a641-d418703ece22" providerId="ADAL" clId="{859296AE-058C-4C65-BA04-6986791C2943}" dt="2024-01-31T09:25:53.577" v="9512" actId="478"/>
          <ac:spMkLst>
            <pc:docMk/>
            <pc:sldMk cId="1296099944" sldId="2147480329"/>
            <ac:spMk id="27" creationId="{8747C46E-77A4-839C-7C53-5BFB17FBA578}"/>
          </ac:spMkLst>
        </pc:spChg>
        <pc:spChg chg="mod">
          <ac:chgData name="Laurence ANGILBERT" userId="28ea2967-f540-4e7d-a641-d418703ece22" providerId="ADAL" clId="{859296AE-058C-4C65-BA04-6986791C2943}" dt="2024-02-01T17:09:16.420" v="23632" actId="208"/>
          <ac:spMkLst>
            <pc:docMk/>
            <pc:sldMk cId="1296099944" sldId="2147480329"/>
            <ac:spMk id="28" creationId="{04D19648-482F-7D00-B963-D41BD788660A}"/>
          </ac:spMkLst>
        </pc:spChg>
        <pc:spChg chg="add del mod">
          <ac:chgData name="Laurence ANGILBERT" userId="28ea2967-f540-4e7d-a641-d418703ece22" providerId="ADAL" clId="{859296AE-058C-4C65-BA04-6986791C2943}" dt="2024-01-31T09:42:49.496" v="9959" actId="21"/>
          <ac:spMkLst>
            <pc:docMk/>
            <pc:sldMk cId="1296099944" sldId="2147480329"/>
            <ac:spMk id="28" creationId="{364C2FD4-D30A-DE3C-3EB6-B3B3BB2FC67D}"/>
          </ac:spMkLst>
        </pc:spChg>
        <pc:spChg chg="mod">
          <ac:chgData name="Laurence ANGILBERT" userId="28ea2967-f540-4e7d-a641-d418703ece22" providerId="ADAL" clId="{859296AE-058C-4C65-BA04-6986791C2943}" dt="2024-02-01T17:09:09.657" v="23631" actId="207"/>
          <ac:spMkLst>
            <pc:docMk/>
            <pc:sldMk cId="1296099944" sldId="2147480329"/>
            <ac:spMk id="29" creationId="{9503236A-3AD6-8CFA-1D57-31B78BB90DA5}"/>
          </ac:spMkLst>
        </pc:spChg>
        <pc:spChg chg="add del mod">
          <ac:chgData name="Laurence ANGILBERT" userId="28ea2967-f540-4e7d-a641-d418703ece22" providerId="ADAL" clId="{859296AE-058C-4C65-BA04-6986791C2943}" dt="2024-01-31T09:42:49.496" v="9959" actId="21"/>
          <ac:spMkLst>
            <pc:docMk/>
            <pc:sldMk cId="1296099944" sldId="2147480329"/>
            <ac:spMk id="29" creationId="{B82881ED-E4C9-CECC-773A-BE8F5959AFB9}"/>
          </ac:spMkLst>
        </pc:spChg>
        <pc:spChg chg="add del mod">
          <ac:chgData name="Laurence ANGILBERT" userId="28ea2967-f540-4e7d-a641-d418703ece22" providerId="ADAL" clId="{859296AE-058C-4C65-BA04-6986791C2943}" dt="2024-01-31T09:42:49.496" v="9959" actId="21"/>
          <ac:spMkLst>
            <pc:docMk/>
            <pc:sldMk cId="1296099944" sldId="2147480329"/>
            <ac:spMk id="30" creationId="{7F4F9A9F-F886-0090-A007-7FA732BDE9A9}"/>
          </ac:spMkLst>
        </pc:spChg>
        <pc:spChg chg="add del mod">
          <ac:chgData name="Laurence ANGILBERT" userId="28ea2967-f540-4e7d-a641-d418703ece22" providerId="ADAL" clId="{859296AE-058C-4C65-BA04-6986791C2943}" dt="2024-01-31T09:42:49.496" v="9959" actId="21"/>
          <ac:spMkLst>
            <pc:docMk/>
            <pc:sldMk cId="1296099944" sldId="2147480329"/>
            <ac:spMk id="31" creationId="{2574D4F7-766F-87CF-7168-E5B6DF704C2A}"/>
          </ac:spMkLst>
        </pc:spChg>
        <pc:spChg chg="add del mod">
          <ac:chgData name="Laurence ANGILBERT" userId="28ea2967-f540-4e7d-a641-d418703ece22" providerId="ADAL" clId="{859296AE-058C-4C65-BA04-6986791C2943}" dt="2024-01-31T09:42:49.496" v="9959" actId="21"/>
          <ac:spMkLst>
            <pc:docMk/>
            <pc:sldMk cId="1296099944" sldId="2147480329"/>
            <ac:spMk id="32" creationId="{376A256E-E806-2029-4F99-6A96F65A4D78}"/>
          </ac:spMkLst>
        </pc:spChg>
        <pc:spChg chg="add mod">
          <ac:chgData name="Laurence ANGILBERT" userId="28ea2967-f540-4e7d-a641-d418703ece22" providerId="ADAL" clId="{859296AE-058C-4C65-BA04-6986791C2943}" dt="2024-02-01T13:16:34.596" v="22675" actId="14100"/>
          <ac:spMkLst>
            <pc:docMk/>
            <pc:sldMk cId="1296099944" sldId="2147480329"/>
            <ac:spMk id="33" creationId="{429262C6-DEE6-9A95-EA01-31FB2E057A81}"/>
          </ac:spMkLst>
        </pc:spChg>
        <pc:spChg chg="add mod">
          <ac:chgData name="Laurence ANGILBERT" userId="28ea2967-f540-4e7d-a641-d418703ece22" providerId="ADAL" clId="{859296AE-058C-4C65-BA04-6986791C2943}" dt="2024-02-01T13:16:34.596" v="22675" actId="14100"/>
          <ac:spMkLst>
            <pc:docMk/>
            <pc:sldMk cId="1296099944" sldId="2147480329"/>
            <ac:spMk id="34" creationId="{5B91CFBA-F415-07A6-A198-D027DDFB24B1}"/>
          </ac:spMkLst>
        </pc:spChg>
        <pc:spChg chg="add mod">
          <ac:chgData name="Laurence ANGILBERT" userId="28ea2967-f540-4e7d-a641-d418703ece22" providerId="ADAL" clId="{859296AE-058C-4C65-BA04-6986791C2943}" dt="2024-01-31T11:29:23.805" v="11497" actId="20577"/>
          <ac:spMkLst>
            <pc:docMk/>
            <pc:sldMk cId="1296099944" sldId="2147480329"/>
            <ac:spMk id="35" creationId="{4A19F14C-3500-0CCD-162D-1BF317B26A8C}"/>
          </ac:spMkLst>
        </pc:spChg>
        <pc:spChg chg="add del">
          <ac:chgData name="Laurence ANGILBERT" userId="28ea2967-f540-4e7d-a641-d418703ece22" providerId="ADAL" clId="{859296AE-058C-4C65-BA04-6986791C2943}" dt="2024-01-31T09:41:05.995" v="9932" actId="478"/>
          <ac:spMkLst>
            <pc:docMk/>
            <pc:sldMk cId="1296099944" sldId="2147480329"/>
            <ac:spMk id="36" creationId="{1CD59A4D-84EF-D365-4705-7A38F55F0933}"/>
          </ac:spMkLst>
        </pc:spChg>
        <pc:spChg chg="add">
          <ac:chgData name="Laurence ANGILBERT" userId="28ea2967-f540-4e7d-a641-d418703ece22" providerId="ADAL" clId="{859296AE-058C-4C65-BA04-6986791C2943}" dt="2024-01-31T09:42:06.954" v="9940"/>
          <ac:spMkLst>
            <pc:docMk/>
            <pc:sldMk cId="1296099944" sldId="2147480329"/>
            <ac:spMk id="39" creationId="{F534301A-CE13-E2F4-D905-6773DBD417DF}"/>
          </ac:spMkLst>
        </pc:spChg>
        <pc:spChg chg="add mod">
          <ac:chgData name="Laurence ANGILBERT" userId="28ea2967-f540-4e7d-a641-d418703ece22" providerId="ADAL" clId="{859296AE-058C-4C65-BA04-6986791C2943}" dt="2024-02-01T13:16:01.968" v="22670" actId="1035"/>
          <ac:spMkLst>
            <pc:docMk/>
            <pc:sldMk cId="1296099944" sldId="2147480329"/>
            <ac:spMk id="41" creationId="{364C2FD4-D30A-DE3C-3EB6-B3B3BB2FC67D}"/>
          </ac:spMkLst>
        </pc:spChg>
        <pc:spChg chg="add mod">
          <ac:chgData name="Laurence ANGILBERT" userId="28ea2967-f540-4e7d-a641-d418703ece22" providerId="ADAL" clId="{859296AE-058C-4C65-BA04-6986791C2943}" dt="2024-02-01T13:16:01.968" v="22670" actId="1035"/>
          <ac:spMkLst>
            <pc:docMk/>
            <pc:sldMk cId="1296099944" sldId="2147480329"/>
            <ac:spMk id="42" creationId="{B82881ED-E4C9-CECC-773A-BE8F5959AFB9}"/>
          </ac:spMkLst>
        </pc:spChg>
        <pc:spChg chg="add mod">
          <ac:chgData name="Laurence ANGILBERT" userId="28ea2967-f540-4e7d-a641-d418703ece22" providerId="ADAL" clId="{859296AE-058C-4C65-BA04-6986791C2943}" dt="2024-02-01T13:16:23.791" v="22672" actId="404"/>
          <ac:spMkLst>
            <pc:docMk/>
            <pc:sldMk cId="1296099944" sldId="2147480329"/>
            <ac:spMk id="43" creationId="{7F4F9A9F-F886-0090-A007-7FA732BDE9A9}"/>
          </ac:spMkLst>
        </pc:spChg>
        <pc:spChg chg="add mod">
          <ac:chgData name="Laurence ANGILBERT" userId="28ea2967-f540-4e7d-a641-d418703ece22" providerId="ADAL" clId="{859296AE-058C-4C65-BA04-6986791C2943}" dt="2024-02-01T13:19:02.386" v="22678"/>
          <ac:spMkLst>
            <pc:docMk/>
            <pc:sldMk cId="1296099944" sldId="2147480329"/>
            <ac:spMk id="44" creationId="{2574D4F7-766F-87CF-7168-E5B6DF704C2A}"/>
          </ac:spMkLst>
        </pc:spChg>
        <pc:spChg chg="add mod">
          <ac:chgData name="Laurence ANGILBERT" userId="28ea2967-f540-4e7d-a641-d418703ece22" providerId="ADAL" clId="{859296AE-058C-4C65-BA04-6986791C2943}" dt="2024-02-01T13:16:01.968" v="22670" actId="1035"/>
          <ac:spMkLst>
            <pc:docMk/>
            <pc:sldMk cId="1296099944" sldId="2147480329"/>
            <ac:spMk id="45" creationId="{376A256E-E806-2029-4F99-6A96F65A4D78}"/>
          </ac:spMkLst>
        </pc:spChg>
        <pc:spChg chg="add mod">
          <ac:chgData name="Laurence ANGILBERT" userId="28ea2967-f540-4e7d-a641-d418703ece22" providerId="ADAL" clId="{859296AE-058C-4C65-BA04-6986791C2943}" dt="2024-02-01T13:16:23.791" v="22672" actId="404"/>
          <ac:spMkLst>
            <pc:docMk/>
            <pc:sldMk cId="1296099944" sldId="2147480329"/>
            <ac:spMk id="47" creationId="{8DC4D8BC-2F8E-8979-5ECB-0A80B0E1848B}"/>
          </ac:spMkLst>
        </pc:spChg>
        <pc:spChg chg="add mod">
          <ac:chgData name="Laurence ANGILBERT" userId="28ea2967-f540-4e7d-a641-d418703ece22" providerId="ADAL" clId="{859296AE-058C-4C65-BA04-6986791C2943}" dt="2024-02-01T13:16:23.791" v="22672" actId="404"/>
          <ac:spMkLst>
            <pc:docMk/>
            <pc:sldMk cId="1296099944" sldId="2147480329"/>
            <ac:spMk id="48" creationId="{5328F06F-BEAF-D222-0EC6-922BE30DED0D}"/>
          </ac:spMkLst>
        </pc:spChg>
        <pc:spChg chg="add mod">
          <ac:chgData name="Laurence ANGILBERT" userId="28ea2967-f540-4e7d-a641-d418703ece22" providerId="ADAL" clId="{859296AE-058C-4C65-BA04-6986791C2943}" dt="2024-02-01T13:16:01.968" v="22670" actId="1035"/>
          <ac:spMkLst>
            <pc:docMk/>
            <pc:sldMk cId="1296099944" sldId="2147480329"/>
            <ac:spMk id="49" creationId="{D5B36E30-B6E6-08D6-BF3C-33CF9019D86F}"/>
          </ac:spMkLst>
        </pc:spChg>
        <pc:picChg chg="mod">
          <ac:chgData name="Laurence ANGILBERT" userId="28ea2967-f540-4e7d-a641-d418703ece22" providerId="ADAL" clId="{859296AE-058C-4C65-BA04-6986791C2943}" dt="2024-02-01T13:16:01.968" v="22670" actId="1035"/>
          <ac:picMkLst>
            <pc:docMk/>
            <pc:sldMk cId="1296099944" sldId="2147480329"/>
            <ac:picMk id="23" creationId="{77FDF1C8-DD6C-7720-BD63-94DBC38947A4}"/>
          </ac:picMkLst>
        </pc:picChg>
        <pc:picChg chg="add mod">
          <ac:chgData name="Laurence ANGILBERT" userId="28ea2967-f540-4e7d-a641-d418703ece22" providerId="ADAL" clId="{859296AE-058C-4C65-BA04-6986791C2943}" dt="2024-02-01T13:16:01.968" v="22670" actId="1035"/>
          <ac:picMkLst>
            <pc:docMk/>
            <pc:sldMk cId="1296099944" sldId="2147480329"/>
            <ac:picMk id="37" creationId="{906F965C-FC2A-E2E5-BDD1-58F529427D45}"/>
          </ac:picMkLst>
        </pc:picChg>
        <pc:picChg chg="add mod">
          <ac:chgData name="Laurence ANGILBERT" userId="28ea2967-f540-4e7d-a641-d418703ece22" providerId="ADAL" clId="{859296AE-058C-4C65-BA04-6986791C2943}" dt="2024-02-01T13:16:01.968" v="22670" actId="1035"/>
          <ac:picMkLst>
            <pc:docMk/>
            <pc:sldMk cId="1296099944" sldId="2147480329"/>
            <ac:picMk id="38" creationId="{48181FEC-8D95-C522-4CF1-3A39068126E9}"/>
          </ac:picMkLst>
        </pc:picChg>
        <pc:picChg chg="add del mod">
          <ac:chgData name="Laurence ANGILBERT" userId="28ea2967-f540-4e7d-a641-d418703ece22" providerId="ADAL" clId="{859296AE-058C-4C65-BA04-6986791C2943}" dt="2024-01-31T09:42:49.496" v="9959" actId="21"/>
          <ac:picMkLst>
            <pc:docMk/>
            <pc:sldMk cId="1296099944" sldId="2147480329"/>
            <ac:picMk id="40" creationId="{FB4B717B-44BF-EFD4-DB4C-43E18024B358}"/>
          </ac:picMkLst>
        </pc:picChg>
        <pc:picChg chg="add mod">
          <ac:chgData name="Laurence ANGILBERT" userId="28ea2967-f540-4e7d-a641-d418703ece22" providerId="ADAL" clId="{859296AE-058C-4C65-BA04-6986791C2943}" dt="2024-02-01T13:16:01.968" v="22670" actId="1035"/>
          <ac:picMkLst>
            <pc:docMk/>
            <pc:sldMk cId="1296099944" sldId="2147480329"/>
            <ac:picMk id="46" creationId="{FB4B717B-44BF-EFD4-DB4C-43E18024B358}"/>
          </ac:picMkLst>
        </pc:picChg>
      </pc:sldChg>
      <pc:sldChg chg="add">
        <pc:chgData name="Laurence ANGILBERT" userId="28ea2967-f540-4e7d-a641-d418703ece22" providerId="ADAL" clId="{859296AE-058C-4C65-BA04-6986791C2943}" dt="2024-02-02T09:11:10.832" v="25640"/>
        <pc:sldMkLst>
          <pc:docMk/>
          <pc:sldMk cId="3497514719" sldId="2147480329"/>
        </pc:sldMkLst>
      </pc:sldChg>
      <pc:sldChg chg="addSp delSp modSp add del mod">
        <pc:chgData name="Laurence ANGILBERT" userId="28ea2967-f540-4e7d-a641-d418703ece22" providerId="ADAL" clId="{859296AE-058C-4C65-BA04-6986791C2943}" dt="2024-02-02T09:11:03.368" v="25639" actId="2696"/>
        <pc:sldMkLst>
          <pc:docMk/>
          <pc:sldMk cId="429385748" sldId="2147480330"/>
        </pc:sldMkLst>
        <pc:spChg chg="del">
          <ac:chgData name="Laurence ANGILBERT" userId="28ea2967-f540-4e7d-a641-d418703ece22" providerId="ADAL" clId="{859296AE-058C-4C65-BA04-6986791C2943}" dt="2024-01-31T09:17:50.379" v="9317" actId="478"/>
          <ac:spMkLst>
            <pc:docMk/>
            <pc:sldMk cId="429385748" sldId="2147480330"/>
            <ac:spMk id="2" creationId="{096D9B1D-4B46-FA35-261B-9EA18A326D0F}"/>
          </ac:spMkLst>
        </pc:spChg>
        <pc:spChg chg="add mod">
          <ac:chgData name="Laurence ANGILBERT" userId="28ea2967-f540-4e7d-a641-d418703ece22" providerId="ADAL" clId="{859296AE-058C-4C65-BA04-6986791C2943}" dt="2024-02-01T10:50:16.138" v="21004" actId="1035"/>
          <ac:spMkLst>
            <pc:docMk/>
            <pc:sldMk cId="429385748" sldId="2147480330"/>
            <ac:spMk id="2" creationId="{A454CD39-512C-5DF0-9641-587567570270}"/>
          </ac:spMkLst>
        </pc:spChg>
        <pc:spChg chg="mod">
          <ac:chgData name="Laurence ANGILBERT" userId="28ea2967-f540-4e7d-a641-d418703ece22" providerId="ADAL" clId="{859296AE-058C-4C65-BA04-6986791C2943}" dt="2024-02-01T13:14:05.123" v="22595" actId="14100"/>
          <ac:spMkLst>
            <pc:docMk/>
            <pc:sldMk cId="429385748" sldId="2147480330"/>
            <ac:spMk id="3" creationId="{1DD85468-970B-4013-D370-EA2A4D5D1BA1}"/>
          </ac:spMkLst>
        </pc:spChg>
        <pc:spChg chg="del mod">
          <ac:chgData name="Laurence ANGILBERT" userId="28ea2967-f540-4e7d-a641-d418703ece22" providerId="ADAL" clId="{859296AE-058C-4C65-BA04-6986791C2943}" dt="2024-02-02T09:10:41.476" v="25638" actId="478"/>
          <ac:spMkLst>
            <pc:docMk/>
            <pc:sldMk cId="429385748" sldId="2147480330"/>
            <ac:spMk id="4" creationId="{B45A4892-FF4B-57AE-B1BE-8B25B579B799}"/>
          </ac:spMkLst>
        </pc:spChg>
        <pc:spChg chg="mod">
          <ac:chgData name="Laurence ANGILBERT" userId="28ea2967-f540-4e7d-a641-d418703ece22" providerId="ADAL" clId="{859296AE-058C-4C65-BA04-6986791C2943}" dt="2024-02-01T10:53:00.983" v="21145" actId="1036"/>
          <ac:spMkLst>
            <pc:docMk/>
            <pc:sldMk cId="429385748" sldId="2147480330"/>
            <ac:spMk id="5" creationId="{A9805C1D-147B-B4B0-986F-E6803E8936D2}"/>
          </ac:spMkLst>
        </pc:spChg>
        <pc:spChg chg="mod">
          <ac:chgData name="Laurence ANGILBERT" userId="28ea2967-f540-4e7d-a641-d418703ece22" providerId="ADAL" clId="{859296AE-058C-4C65-BA04-6986791C2943}" dt="2024-02-01T10:53:00.983" v="21145" actId="1036"/>
          <ac:spMkLst>
            <pc:docMk/>
            <pc:sldMk cId="429385748" sldId="2147480330"/>
            <ac:spMk id="6" creationId="{22C78D11-37A1-CDCF-93E9-E62129580193}"/>
          </ac:spMkLst>
        </pc:spChg>
        <pc:spChg chg="mod">
          <ac:chgData name="Laurence ANGILBERT" userId="28ea2967-f540-4e7d-a641-d418703ece22" providerId="ADAL" clId="{859296AE-058C-4C65-BA04-6986791C2943}" dt="2024-02-01T10:53:00.983" v="21145" actId="1036"/>
          <ac:spMkLst>
            <pc:docMk/>
            <pc:sldMk cId="429385748" sldId="2147480330"/>
            <ac:spMk id="7" creationId="{A1F8B092-9CD0-5DD6-A0A1-297DEFEA9E4F}"/>
          </ac:spMkLst>
        </pc:spChg>
        <pc:spChg chg="mod">
          <ac:chgData name="Laurence ANGILBERT" userId="28ea2967-f540-4e7d-a641-d418703ece22" providerId="ADAL" clId="{859296AE-058C-4C65-BA04-6986791C2943}" dt="2024-02-01T10:53:00.983" v="21145" actId="1036"/>
          <ac:spMkLst>
            <pc:docMk/>
            <pc:sldMk cId="429385748" sldId="2147480330"/>
            <ac:spMk id="8" creationId="{4F4FFC49-FB2E-DCA5-2E6C-FDE496AEE99A}"/>
          </ac:spMkLst>
        </pc:spChg>
        <pc:spChg chg="del mod">
          <ac:chgData name="Laurence ANGILBERT" userId="28ea2967-f540-4e7d-a641-d418703ece22" providerId="ADAL" clId="{859296AE-058C-4C65-BA04-6986791C2943}" dt="2024-02-01T10:50:56.761" v="21037" actId="478"/>
          <ac:spMkLst>
            <pc:docMk/>
            <pc:sldMk cId="429385748" sldId="2147480330"/>
            <ac:spMk id="9" creationId="{66EB49D6-BB51-7D45-D375-8A151FDF5E56}"/>
          </ac:spMkLst>
        </pc:spChg>
        <pc:spChg chg="del mod">
          <ac:chgData name="Laurence ANGILBERT" userId="28ea2967-f540-4e7d-a641-d418703ece22" providerId="ADAL" clId="{859296AE-058C-4C65-BA04-6986791C2943}" dt="2024-02-01T10:50:56.761" v="21037" actId="478"/>
          <ac:spMkLst>
            <pc:docMk/>
            <pc:sldMk cId="429385748" sldId="2147480330"/>
            <ac:spMk id="10" creationId="{D14BB2B0-040E-3510-DFE5-855F08829352}"/>
          </ac:spMkLst>
        </pc:spChg>
        <pc:spChg chg="add mod">
          <ac:chgData name="Laurence ANGILBERT" userId="28ea2967-f540-4e7d-a641-d418703ece22" providerId="ADAL" clId="{859296AE-058C-4C65-BA04-6986791C2943}" dt="2024-02-01T10:50:16.138" v="21004" actId="1035"/>
          <ac:spMkLst>
            <pc:docMk/>
            <pc:sldMk cId="429385748" sldId="2147480330"/>
            <ac:spMk id="11" creationId="{14D592EA-73C0-0F93-2863-252001D9BF24}"/>
          </ac:spMkLst>
        </pc:spChg>
        <pc:spChg chg="del">
          <ac:chgData name="Laurence ANGILBERT" userId="28ea2967-f540-4e7d-a641-d418703ece22" providerId="ADAL" clId="{859296AE-058C-4C65-BA04-6986791C2943}" dt="2024-01-31T09:19:57.362" v="9393" actId="478"/>
          <ac:spMkLst>
            <pc:docMk/>
            <pc:sldMk cId="429385748" sldId="2147480330"/>
            <ac:spMk id="11" creationId="{BAA3DDC7-5320-E950-E89D-4CD10B5E9099}"/>
          </ac:spMkLst>
        </pc:spChg>
        <pc:spChg chg="del mod">
          <ac:chgData name="Laurence ANGILBERT" userId="28ea2967-f540-4e7d-a641-d418703ece22" providerId="ADAL" clId="{859296AE-058C-4C65-BA04-6986791C2943}" dt="2024-02-01T10:50:56.761" v="21037" actId="478"/>
          <ac:spMkLst>
            <pc:docMk/>
            <pc:sldMk cId="429385748" sldId="2147480330"/>
            <ac:spMk id="12" creationId="{748E64C8-4429-B3A9-1B63-62F518C01507}"/>
          </ac:spMkLst>
        </pc:spChg>
        <pc:spChg chg="mod">
          <ac:chgData name="Laurence ANGILBERT" userId="28ea2967-f540-4e7d-a641-d418703ece22" providerId="ADAL" clId="{859296AE-058C-4C65-BA04-6986791C2943}" dt="2024-02-01T10:53:00.983" v="21145" actId="1036"/>
          <ac:spMkLst>
            <pc:docMk/>
            <pc:sldMk cId="429385748" sldId="2147480330"/>
            <ac:spMk id="13" creationId="{AD606E6B-2671-C8FD-D5F5-313B98829C5E}"/>
          </ac:spMkLst>
        </pc:spChg>
        <pc:spChg chg="del mod">
          <ac:chgData name="Laurence ANGILBERT" userId="28ea2967-f540-4e7d-a641-d418703ece22" providerId="ADAL" clId="{859296AE-058C-4C65-BA04-6986791C2943}" dt="2024-02-01T10:50:56.761" v="21037" actId="478"/>
          <ac:spMkLst>
            <pc:docMk/>
            <pc:sldMk cId="429385748" sldId="2147480330"/>
            <ac:spMk id="14" creationId="{6230212D-4CFD-1D53-6B05-4E1206D94A3F}"/>
          </ac:spMkLst>
        </pc:spChg>
        <pc:spChg chg="mod">
          <ac:chgData name="Laurence ANGILBERT" userId="28ea2967-f540-4e7d-a641-d418703ece22" providerId="ADAL" clId="{859296AE-058C-4C65-BA04-6986791C2943}" dt="2024-02-01T10:53:09.461" v="21164" actId="1036"/>
          <ac:spMkLst>
            <pc:docMk/>
            <pc:sldMk cId="429385748" sldId="2147480330"/>
            <ac:spMk id="15" creationId="{758E6134-039B-0297-664A-2087C54C2D7E}"/>
          </ac:spMkLst>
        </pc:spChg>
        <pc:spChg chg="mod">
          <ac:chgData name="Laurence ANGILBERT" userId="28ea2967-f540-4e7d-a641-d418703ece22" providerId="ADAL" clId="{859296AE-058C-4C65-BA04-6986791C2943}" dt="2024-02-01T10:53:09.461" v="21164" actId="1036"/>
          <ac:spMkLst>
            <pc:docMk/>
            <pc:sldMk cId="429385748" sldId="2147480330"/>
            <ac:spMk id="16" creationId="{16E62982-8123-09D1-FCC1-AC82D91BBB42}"/>
          </ac:spMkLst>
        </pc:spChg>
        <pc:spChg chg="mod">
          <ac:chgData name="Laurence ANGILBERT" userId="28ea2967-f540-4e7d-a641-d418703ece22" providerId="ADAL" clId="{859296AE-058C-4C65-BA04-6986791C2943}" dt="2024-02-01T10:53:09.461" v="21164" actId="1036"/>
          <ac:spMkLst>
            <pc:docMk/>
            <pc:sldMk cId="429385748" sldId="2147480330"/>
            <ac:spMk id="17" creationId="{1B52987F-16C6-94A2-FA64-00CBDF833CC2}"/>
          </ac:spMkLst>
        </pc:spChg>
        <pc:spChg chg="mod">
          <ac:chgData name="Laurence ANGILBERT" userId="28ea2967-f540-4e7d-a641-d418703ece22" providerId="ADAL" clId="{859296AE-058C-4C65-BA04-6986791C2943}" dt="2024-02-01T10:50:00.210" v="20977" actId="1036"/>
          <ac:spMkLst>
            <pc:docMk/>
            <pc:sldMk cId="429385748" sldId="2147480330"/>
            <ac:spMk id="18" creationId="{A2DB48AD-5169-A000-6CD4-6D9172055D1D}"/>
          </ac:spMkLst>
        </pc:spChg>
        <pc:spChg chg="mod">
          <ac:chgData name="Laurence ANGILBERT" userId="28ea2967-f540-4e7d-a641-d418703ece22" providerId="ADAL" clId="{859296AE-058C-4C65-BA04-6986791C2943}" dt="2024-02-01T10:50:00.210" v="20977" actId="1036"/>
          <ac:spMkLst>
            <pc:docMk/>
            <pc:sldMk cId="429385748" sldId="2147480330"/>
            <ac:spMk id="19" creationId="{ECCA6F3B-9E7D-EB6C-286A-FAC228A1064D}"/>
          </ac:spMkLst>
        </pc:spChg>
        <pc:spChg chg="mod">
          <ac:chgData name="Laurence ANGILBERT" userId="28ea2967-f540-4e7d-a641-d418703ece22" providerId="ADAL" clId="{859296AE-058C-4C65-BA04-6986791C2943}" dt="2024-01-31T09:39:04.640" v="9890" actId="1035"/>
          <ac:spMkLst>
            <pc:docMk/>
            <pc:sldMk cId="429385748" sldId="2147480330"/>
            <ac:spMk id="20" creationId="{3943277C-F67A-08B7-FF20-0733C8093222}"/>
          </ac:spMkLst>
        </pc:spChg>
        <pc:spChg chg="add mod">
          <ac:chgData name="Laurence ANGILBERT" userId="28ea2967-f540-4e7d-a641-d418703ece22" providerId="ADAL" clId="{859296AE-058C-4C65-BA04-6986791C2943}" dt="2024-02-01T10:50:16.138" v="21004" actId="1035"/>
          <ac:spMkLst>
            <pc:docMk/>
            <pc:sldMk cId="429385748" sldId="2147480330"/>
            <ac:spMk id="20" creationId="{71A47098-55A4-5FB6-EBDE-8D69767C7B7D}"/>
          </ac:spMkLst>
        </pc:spChg>
        <pc:spChg chg="mod">
          <ac:chgData name="Laurence ANGILBERT" userId="28ea2967-f540-4e7d-a641-d418703ece22" providerId="ADAL" clId="{859296AE-058C-4C65-BA04-6986791C2943}" dt="2024-02-01T10:50:00.210" v="20977" actId="1036"/>
          <ac:spMkLst>
            <pc:docMk/>
            <pc:sldMk cId="429385748" sldId="2147480330"/>
            <ac:spMk id="21" creationId="{E9784446-C191-467E-0CEF-A3A1E20EE208}"/>
          </ac:spMkLst>
        </pc:spChg>
        <pc:spChg chg="mod">
          <ac:chgData name="Laurence ANGILBERT" userId="28ea2967-f540-4e7d-a641-d418703ece22" providerId="ADAL" clId="{859296AE-058C-4C65-BA04-6986791C2943}" dt="2024-02-01T10:50:00.210" v="20977" actId="1036"/>
          <ac:spMkLst>
            <pc:docMk/>
            <pc:sldMk cId="429385748" sldId="2147480330"/>
            <ac:spMk id="22" creationId="{DA6D0126-8232-B6F2-082B-A0947BC49EC4}"/>
          </ac:spMkLst>
        </pc:spChg>
        <pc:spChg chg="add mod">
          <ac:chgData name="Laurence ANGILBERT" userId="28ea2967-f540-4e7d-a641-d418703ece22" providerId="ADAL" clId="{859296AE-058C-4C65-BA04-6986791C2943}" dt="2024-02-01T10:50:16.138" v="21004" actId="1035"/>
          <ac:spMkLst>
            <pc:docMk/>
            <pc:sldMk cId="429385748" sldId="2147480330"/>
            <ac:spMk id="23" creationId="{6ACB5000-DDB3-3DE1-7706-E40F877CCC7E}"/>
          </ac:spMkLst>
        </pc:spChg>
        <pc:spChg chg="del">
          <ac:chgData name="Laurence ANGILBERT" userId="28ea2967-f540-4e7d-a641-d418703ece22" providerId="ADAL" clId="{859296AE-058C-4C65-BA04-6986791C2943}" dt="2024-01-31T09:21:07.076" v="9475" actId="478"/>
          <ac:spMkLst>
            <pc:docMk/>
            <pc:sldMk cId="429385748" sldId="2147480330"/>
            <ac:spMk id="24" creationId="{F29FA0D9-5054-CBEB-03DE-F02462CEE6EA}"/>
          </ac:spMkLst>
        </pc:spChg>
        <pc:spChg chg="add del mod">
          <ac:chgData name="Laurence ANGILBERT" userId="28ea2967-f540-4e7d-a641-d418703ece22" providerId="ADAL" clId="{859296AE-058C-4C65-BA04-6986791C2943}" dt="2024-02-01T10:32:46.324" v="20766" actId="478"/>
          <ac:spMkLst>
            <pc:docMk/>
            <pc:sldMk cId="429385748" sldId="2147480330"/>
            <ac:spMk id="25" creationId="{A5FB98B1-2534-B629-4E25-A9BB3A514BCD}"/>
          </ac:spMkLst>
        </pc:spChg>
        <pc:spChg chg="add del mod">
          <ac:chgData name="Laurence ANGILBERT" userId="28ea2967-f540-4e7d-a641-d418703ece22" providerId="ADAL" clId="{859296AE-058C-4C65-BA04-6986791C2943}" dt="2024-01-31T09:24:21.017" v="9497" actId="478"/>
          <ac:spMkLst>
            <pc:docMk/>
            <pc:sldMk cId="429385748" sldId="2147480330"/>
            <ac:spMk id="25" creationId="{F6E2214A-5602-C356-8F8C-D88969CA0FB9}"/>
          </ac:spMkLst>
        </pc:spChg>
        <pc:spChg chg="del">
          <ac:chgData name="Laurence ANGILBERT" userId="28ea2967-f540-4e7d-a641-d418703ece22" providerId="ADAL" clId="{859296AE-058C-4C65-BA04-6986791C2943}" dt="2024-01-30T17:28:55.141" v="5517" actId="478"/>
          <ac:spMkLst>
            <pc:docMk/>
            <pc:sldMk cId="429385748" sldId="2147480330"/>
            <ac:spMk id="26" creationId="{896E1BBD-D27C-D9A1-8A90-E1CEFB9F5B6F}"/>
          </ac:spMkLst>
        </pc:spChg>
        <pc:spChg chg="add mod">
          <ac:chgData name="Laurence ANGILBERT" userId="28ea2967-f540-4e7d-a641-d418703ece22" providerId="ADAL" clId="{859296AE-058C-4C65-BA04-6986791C2943}" dt="2024-02-01T10:53:00.983" v="21145" actId="1036"/>
          <ac:spMkLst>
            <pc:docMk/>
            <pc:sldMk cId="429385748" sldId="2147480330"/>
            <ac:spMk id="27" creationId="{03D27A8D-552E-82B1-9D1A-FF28A12887C0}"/>
          </ac:spMkLst>
        </pc:spChg>
        <pc:spChg chg="add del mod">
          <ac:chgData name="Laurence ANGILBERT" userId="28ea2967-f540-4e7d-a641-d418703ece22" providerId="ADAL" clId="{859296AE-058C-4C65-BA04-6986791C2943}" dt="2024-02-01T10:50:56.761" v="21037" actId="478"/>
          <ac:spMkLst>
            <pc:docMk/>
            <pc:sldMk cId="429385748" sldId="2147480330"/>
            <ac:spMk id="28" creationId="{1BEA906E-E828-1E91-5BDB-3581F439F0FC}"/>
          </ac:spMkLst>
        </pc:spChg>
        <pc:spChg chg="add mod">
          <ac:chgData name="Laurence ANGILBERT" userId="28ea2967-f540-4e7d-a641-d418703ece22" providerId="ADAL" clId="{859296AE-058C-4C65-BA04-6986791C2943}" dt="2024-02-01T10:50:16.138" v="21004" actId="1035"/>
          <ac:spMkLst>
            <pc:docMk/>
            <pc:sldMk cId="429385748" sldId="2147480330"/>
            <ac:spMk id="29" creationId="{D9CDB481-A899-5DCB-49E2-56AA5D944FF8}"/>
          </ac:spMkLst>
        </pc:spChg>
        <pc:spChg chg="add del mod">
          <ac:chgData name="Laurence ANGILBERT" userId="28ea2967-f540-4e7d-a641-d418703ece22" providerId="ADAL" clId="{859296AE-058C-4C65-BA04-6986791C2943}" dt="2024-01-31T16:11:47.711" v="14791" actId="478"/>
          <ac:spMkLst>
            <pc:docMk/>
            <pc:sldMk cId="429385748" sldId="2147480330"/>
            <ac:spMk id="29" creationId="{E08C1EA1-2BBB-2DAB-5DB8-47DDD34B3D7F}"/>
          </ac:spMkLst>
        </pc:spChg>
        <pc:spChg chg="add mod">
          <ac:chgData name="Laurence ANGILBERT" userId="28ea2967-f540-4e7d-a641-d418703ece22" providerId="ADAL" clId="{859296AE-058C-4C65-BA04-6986791C2943}" dt="2024-01-31T09:39:04.640" v="9890" actId="1035"/>
          <ac:spMkLst>
            <pc:docMk/>
            <pc:sldMk cId="429385748" sldId="2147480330"/>
            <ac:spMk id="30" creationId="{014C8605-E6B4-CFCF-E189-34981B4466C3}"/>
          </ac:spMkLst>
        </pc:spChg>
        <pc:spChg chg="add mod">
          <ac:chgData name="Laurence ANGILBERT" userId="28ea2967-f540-4e7d-a641-d418703ece22" providerId="ADAL" clId="{859296AE-058C-4C65-BA04-6986791C2943}" dt="2024-02-01T10:50:16.138" v="21004" actId="1035"/>
          <ac:spMkLst>
            <pc:docMk/>
            <pc:sldMk cId="429385748" sldId="2147480330"/>
            <ac:spMk id="30" creationId="{637295AE-9FE9-83C4-4697-4E1913EB041D}"/>
          </ac:spMkLst>
        </pc:spChg>
        <pc:spChg chg="mod">
          <ac:chgData name="Laurence ANGILBERT" userId="28ea2967-f540-4e7d-a641-d418703ece22" providerId="ADAL" clId="{859296AE-058C-4C65-BA04-6986791C2943}" dt="2024-02-01T10:50:00.210" v="20977" actId="1036"/>
          <ac:spMkLst>
            <pc:docMk/>
            <pc:sldMk cId="429385748" sldId="2147480330"/>
            <ac:spMk id="32" creationId="{014C8605-E6B4-CFCF-E189-34981B4466C3}"/>
          </ac:spMkLst>
        </pc:spChg>
        <pc:spChg chg="add del mod">
          <ac:chgData name="Laurence ANGILBERT" userId="28ea2967-f540-4e7d-a641-d418703ece22" providerId="ADAL" clId="{859296AE-058C-4C65-BA04-6986791C2943}" dt="2024-01-31T09:28:55.693" v="9705" actId="478"/>
          <ac:spMkLst>
            <pc:docMk/>
            <pc:sldMk cId="429385748" sldId="2147480330"/>
            <ac:spMk id="32" creationId="{9284C299-4C05-DBAF-544E-DBD00CAE4E92}"/>
          </ac:spMkLst>
        </pc:spChg>
        <pc:spChg chg="add del mod">
          <ac:chgData name="Laurence ANGILBERT" userId="28ea2967-f540-4e7d-a641-d418703ece22" providerId="ADAL" clId="{859296AE-058C-4C65-BA04-6986791C2943}" dt="2024-01-31T09:29:54.657" v="9715" actId="478"/>
          <ac:spMkLst>
            <pc:docMk/>
            <pc:sldMk cId="429385748" sldId="2147480330"/>
            <ac:spMk id="33" creationId="{34BD3089-6A64-A233-4C6A-4856AC720CDF}"/>
          </ac:spMkLst>
        </pc:spChg>
        <pc:spChg chg="add del mod">
          <ac:chgData name="Laurence ANGILBERT" userId="28ea2967-f540-4e7d-a641-d418703ece22" providerId="ADAL" clId="{859296AE-058C-4C65-BA04-6986791C2943}" dt="2024-02-01T10:48:46.614" v="20937" actId="478"/>
          <ac:spMkLst>
            <pc:docMk/>
            <pc:sldMk cId="429385748" sldId="2147480330"/>
            <ac:spMk id="33" creationId="{450344AD-B680-BD0F-78E0-8586E3892FF4}"/>
          </ac:spMkLst>
        </pc:spChg>
        <pc:spChg chg="add mod">
          <ac:chgData name="Laurence ANGILBERT" userId="28ea2967-f540-4e7d-a641-d418703ece22" providerId="ADAL" clId="{859296AE-058C-4C65-BA04-6986791C2943}" dt="2024-02-01T10:53:33.435" v="21210" actId="14100"/>
          <ac:spMkLst>
            <pc:docMk/>
            <pc:sldMk cId="429385748" sldId="2147480330"/>
            <ac:spMk id="34" creationId="{84745C33-80F4-C01E-45F4-AFE8591818BD}"/>
          </ac:spMkLst>
        </pc:spChg>
        <pc:spChg chg="add del mod">
          <ac:chgData name="Laurence ANGILBERT" userId="28ea2967-f540-4e7d-a641-d418703ece22" providerId="ADAL" clId="{859296AE-058C-4C65-BA04-6986791C2943}" dt="2024-01-31T09:30:54.241" v="9723" actId="478"/>
          <ac:spMkLst>
            <pc:docMk/>
            <pc:sldMk cId="429385748" sldId="2147480330"/>
            <ac:spMk id="34" creationId="{F3CC3050-4120-E198-4928-75882AE96AA4}"/>
          </ac:spMkLst>
        </pc:spChg>
        <pc:spChg chg="add mod">
          <ac:chgData name="Laurence ANGILBERT" userId="28ea2967-f540-4e7d-a641-d418703ece22" providerId="ADAL" clId="{859296AE-058C-4C65-BA04-6986791C2943}" dt="2024-02-01T10:52:27.902" v="21125" actId="20577"/>
          <ac:spMkLst>
            <pc:docMk/>
            <pc:sldMk cId="429385748" sldId="2147480330"/>
            <ac:spMk id="35" creationId="{092D0269-7FD5-5D05-281A-ABFD5128ECA8}"/>
          </ac:spMkLst>
        </pc:spChg>
        <pc:spChg chg="add mod">
          <ac:chgData name="Laurence ANGILBERT" userId="28ea2967-f540-4e7d-a641-d418703ece22" providerId="ADAL" clId="{859296AE-058C-4C65-BA04-6986791C2943}" dt="2024-02-01T10:53:00.983" v="21145" actId="1036"/>
          <ac:spMkLst>
            <pc:docMk/>
            <pc:sldMk cId="429385748" sldId="2147480330"/>
            <ac:spMk id="37" creationId="{4D1AED53-2677-B63D-1342-36B7918C4ACA}"/>
          </ac:spMkLst>
        </pc:spChg>
        <pc:spChg chg="add mod">
          <ac:chgData name="Laurence ANGILBERT" userId="28ea2967-f540-4e7d-a641-d418703ece22" providerId="ADAL" clId="{859296AE-058C-4C65-BA04-6986791C2943}" dt="2024-02-01T10:53:00.983" v="21145" actId="1036"/>
          <ac:spMkLst>
            <pc:docMk/>
            <pc:sldMk cId="429385748" sldId="2147480330"/>
            <ac:spMk id="38" creationId="{09695A92-1AA6-B170-4A10-6AFFAEF4E0F0}"/>
          </ac:spMkLst>
        </pc:spChg>
        <pc:spChg chg="add mod">
          <ac:chgData name="Laurence ANGILBERT" userId="28ea2967-f540-4e7d-a641-d418703ece22" providerId="ADAL" clId="{859296AE-058C-4C65-BA04-6986791C2943}" dt="2024-02-01T12:12:51.843" v="21474" actId="20577"/>
          <ac:spMkLst>
            <pc:docMk/>
            <pc:sldMk cId="429385748" sldId="2147480330"/>
            <ac:spMk id="39" creationId="{872AE21F-CE61-691F-C9C2-B3F24BFD451A}"/>
          </ac:spMkLst>
        </pc:spChg>
        <pc:spChg chg="add mod">
          <ac:chgData name="Laurence ANGILBERT" userId="28ea2967-f540-4e7d-a641-d418703ece22" providerId="ADAL" clId="{859296AE-058C-4C65-BA04-6986791C2943}" dt="2024-02-01T10:53:00.983" v="21145" actId="1036"/>
          <ac:spMkLst>
            <pc:docMk/>
            <pc:sldMk cId="429385748" sldId="2147480330"/>
            <ac:spMk id="40" creationId="{EBF32AC7-DEC7-738C-89E4-272532D21CA2}"/>
          </ac:spMkLst>
        </pc:spChg>
        <pc:spChg chg="add mod">
          <ac:chgData name="Laurence ANGILBERT" userId="28ea2967-f540-4e7d-a641-d418703ece22" providerId="ADAL" clId="{859296AE-058C-4C65-BA04-6986791C2943}" dt="2024-02-01T10:53:00.983" v="21145" actId="1036"/>
          <ac:spMkLst>
            <pc:docMk/>
            <pc:sldMk cId="429385748" sldId="2147480330"/>
            <ac:spMk id="42" creationId="{46B13824-F6D9-F99E-110A-29C748BF9BF3}"/>
          </ac:spMkLst>
        </pc:spChg>
        <pc:spChg chg="add del mod">
          <ac:chgData name="Laurence ANGILBERT" userId="28ea2967-f540-4e7d-a641-d418703ece22" providerId="ADAL" clId="{859296AE-058C-4C65-BA04-6986791C2943}" dt="2024-02-01T10:51:51.282" v="21085" actId="478"/>
          <ac:spMkLst>
            <pc:docMk/>
            <pc:sldMk cId="429385748" sldId="2147480330"/>
            <ac:spMk id="43" creationId="{6150ABAB-CC54-7D9B-FB37-CFE325D83369}"/>
          </ac:spMkLst>
        </pc:spChg>
        <pc:picChg chg="del">
          <ac:chgData name="Laurence ANGILBERT" userId="28ea2967-f540-4e7d-a641-d418703ece22" providerId="ADAL" clId="{859296AE-058C-4C65-BA04-6986791C2943}" dt="2024-01-31T09:18:39.640" v="9322" actId="478"/>
          <ac:picMkLst>
            <pc:docMk/>
            <pc:sldMk cId="429385748" sldId="2147480330"/>
            <ac:picMk id="23" creationId="{77FDF1C8-DD6C-7720-BD63-94DBC38947A4}"/>
          </ac:picMkLst>
        </pc:picChg>
        <pc:picChg chg="add del mod">
          <ac:chgData name="Laurence ANGILBERT" userId="28ea2967-f540-4e7d-a641-d418703ece22" providerId="ADAL" clId="{859296AE-058C-4C65-BA04-6986791C2943}" dt="2024-02-01T10:32:52.561" v="20769" actId="478"/>
          <ac:picMkLst>
            <pc:docMk/>
            <pc:sldMk cId="429385748" sldId="2147480330"/>
            <ac:picMk id="24" creationId="{10231D14-7D1B-CE18-D506-40897ADF03D7}"/>
          </ac:picMkLst>
        </pc:picChg>
        <pc:picChg chg="add del mod">
          <ac:chgData name="Laurence ANGILBERT" userId="28ea2967-f540-4e7d-a641-d418703ece22" providerId="ADAL" clId="{859296AE-058C-4C65-BA04-6986791C2943}" dt="2024-02-01T10:51:19.928" v="21057" actId="478"/>
          <ac:picMkLst>
            <pc:docMk/>
            <pc:sldMk cId="429385748" sldId="2147480330"/>
            <ac:picMk id="26" creationId="{29550F6F-6598-12FB-4814-309AF8FADE0A}"/>
          </ac:picMkLst>
        </pc:picChg>
        <pc:picChg chg="add mod">
          <ac:chgData name="Laurence ANGILBERT" userId="28ea2967-f540-4e7d-a641-d418703ece22" providerId="ADAL" clId="{859296AE-058C-4C65-BA04-6986791C2943}" dt="2024-02-01T10:50:00.210" v="20977" actId="1036"/>
          <ac:picMkLst>
            <pc:docMk/>
            <pc:sldMk cId="429385748" sldId="2147480330"/>
            <ac:picMk id="31" creationId="{A5645588-0A03-74DF-F76F-19846FD5A2CC}"/>
          </ac:picMkLst>
        </pc:picChg>
        <pc:picChg chg="add del mod">
          <ac:chgData name="Laurence ANGILBERT" userId="28ea2967-f540-4e7d-a641-d418703ece22" providerId="ADAL" clId="{859296AE-058C-4C65-BA04-6986791C2943}" dt="2024-02-01T10:50:56.761" v="21037" actId="478"/>
          <ac:picMkLst>
            <pc:docMk/>
            <pc:sldMk cId="429385748" sldId="2147480330"/>
            <ac:picMk id="36" creationId="{3C7D989F-9FA9-09C9-F648-30C711C6EF05}"/>
          </ac:picMkLst>
        </pc:picChg>
        <pc:picChg chg="add mod">
          <ac:chgData name="Laurence ANGILBERT" userId="28ea2967-f540-4e7d-a641-d418703ece22" providerId="ADAL" clId="{859296AE-058C-4C65-BA04-6986791C2943}" dt="2024-02-01T10:53:00.983" v="21145" actId="1036"/>
          <ac:picMkLst>
            <pc:docMk/>
            <pc:sldMk cId="429385748" sldId="2147480330"/>
            <ac:picMk id="41" creationId="{0FC41425-6F91-E796-DB7A-607BD4190F8E}"/>
          </ac:picMkLst>
        </pc:picChg>
        <pc:picChg chg="add mod">
          <ac:chgData name="Laurence ANGILBERT" userId="28ea2967-f540-4e7d-a641-d418703ece22" providerId="ADAL" clId="{859296AE-058C-4C65-BA04-6986791C2943}" dt="2024-02-01T10:53:00.983" v="21145" actId="1036"/>
          <ac:picMkLst>
            <pc:docMk/>
            <pc:sldMk cId="429385748" sldId="2147480330"/>
            <ac:picMk id="44" creationId="{0CF7B312-17D5-F28A-45D5-52129FB08F3E}"/>
          </ac:picMkLst>
        </pc:picChg>
      </pc:sldChg>
      <pc:sldChg chg="add">
        <pc:chgData name="Laurence ANGILBERT" userId="28ea2967-f540-4e7d-a641-d418703ece22" providerId="ADAL" clId="{859296AE-058C-4C65-BA04-6986791C2943}" dt="2024-02-02T09:11:10.832" v="25640"/>
        <pc:sldMkLst>
          <pc:docMk/>
          <pc:sldMk cId="2011007016" sldId="2147480330"/>
        </pc:sldMkLst>
      </pc:sldChg>
      <pc:sldChg chg="addSp delSp modSp add mod">
        <pc:chgData name="Laurence ANGILBERT" userId="28ea2967-f540-4e7d-a641-d418703ece22" providerId="ADAL" clId="{859296AE-058C-4C65-BA04-6986791C2943}" dt="2024-02-02T18:10:30.719" v="30151" actId="478"/>
        <pc:sldMkLst>
          <pc:docMk/>
          <pc:sldMk cId="1704792734" sldId="2147480331"/>
        </pc:sldMkLst>
        <pc:spChg chg="mod">
          <ac:chgData name="Laurence ANGILBERT" userId="28ea2967-f540-4e7d-a641-d418703ece22" providerId="ADAL" clId="{859296AE-058C-4C65-BA04-6986791C2943}" dt="2024-02-02T09:26:13.843" v="25769" actId="14100"/>
          <ac:spMkLst>
            <pc:docMk/>
            <pc:sldMk cId="1704792734" sldId="2147480331"/>
            <ac:spMk id="2" creationId="{A2D57B31-7B0D-92C3-B33F-D94DC4725E53}"/>
          </ac:spMkLst>
        </pc:spChg>
        <pc:spChg chg="del mod">
          <ac:chgData name="Laurence ANGILBERT" userId="28ea2967-f540-4e7d-a641-d418703ece22" providerId="ADAL" clId="{859296AE-058C-4C65-BA04-6986791C2943}" dt="2024-01-31T16:17:07.439" v="14894" actId="478"/>
          <ac:spMkLst>
            <pc:docMk/>
            <pc:sldMk cId="1704792734" sldId="2147480331"/>
            <ac:spMk id="3" creationId="{0A7DACFE-1E91-2AC3-FB74-FCFF68CD8323}"/>
          </ac:spMkLst>
        </pc:spChg>
        <pc:spChg chg="add del mod">
          <ac:chgData name="Laurence ANGILBERT" userId="28ea2967-f540-4e7d-a641-d418703ece22" providerId="ADAL" clId="{859296AE-058C-4C65-BA04-6986791C2943}" dt="2024-02-02T13:43:35.234" v="28542" actId="478"/>
          <ac:spMkLst>
            <pc:docMk/>
            <pc:sldMk cId="1704792734" sldId="2147480331"/>
            <ac:spMk id="3" creationId="{4AC69EE7-886B-F7AD-7A88-7300A512FDFB}"/>
          </ac:spMkLst>
        </pc:spChg>
        <pc:spChg chg="del">
          <ac:chgData name="Laurence ANGILBERT" userId="28ea2967-f540-4e7d-a641-d418703ece22" providerId="ADAL" clId="{859296AE-058C-4C65-BA04-6986791C2943}" dt="2024-01-31T03:26:06.870" v="7649" actId="478"/>
          <ac:spMkLst>
            <pc:docMk/>
            <pc:sldMk cId="1704792734" sldId="2147480331"/>
            <ac:spMk id="3" creationId="{A1F640A5-A34D-1558-7EA4-8C07178926C3}"/>
          </ac:spMkLst>
        </pc:spChg>
        <pc:spChg chg="add del mod">
          <ac:chgData name="Laurence ANGILBERT" userId="28ea2967-f540-4e7d-a641-d418703ece22" providerId="ADAL" clId="{859296AE-058C-4C65-BA04-6986791C2943}" dt="2024-02-01T16:42:21.045" v="23122" actId="478"/>
          <ac:spMkLst>
            <pc:docMk/>
            <pc:sldMk cId="1704792734" sldId="2147480331"/>
            <ac:spMk id="3" creationId="{D34270E3-CF94-1364-7FA5-BB6A8E5C78A5}"/>
          </ac:spMkLst>
        </pc:spChg>
        <pc:spChg chg="add del mod">
          <ac:chgData name="Laurence ANGILBERT" userId="28ea2967-f540-4e7d-a641-d418703ece22" providerId="ADAL" clId="{859296AE-058C-4C65-BA04-6986791C2943}" dt="2024-02-01T17:28:58.921" v="23675" actId="478"/>
          <ac:spMkLst>
            <pc:docMk/>
            <pc:sldMk cId="1704792734" sldId="2147480331"/>
            <ac:spMk id="4" creationId="{0BCF78C4-0CA6-45A6-37A8-2336A04E4D33}"/>
          </ac:spMkLst>
        </pc:spChg>
        <pc:spChg chg="add del mod">
          <ac:chgData name="Laurence ANGILBERT" userId="28ea2967-f540-4e7d-a641-d418703ece22" providerId="ADAL" clId="{859296AE-058C-4C65-BA04-6986791C2943}" dt="2024-01-31T17:07:53.337" v="15748" actId="478"/>
          <ac:spMkLst>
            <pc:docMk/>
            <pc:sldMk cId="1704792734" sldId="2147480331"/>
            <ac:spMk id="4" creationId="{6408A7FC-E207-C50E-12A8-D818A640F414}"/>
          </ac:spMkLst>
        </pc:spChg>
        <pc:spChg chg="add mod">
          <ac:chgData name="Laurence ANGILBERT" userId="28ea2967-f540-4e7d-a641-d418703ece22" providerId="ADAL" clId="{859296AE-058C-4C65-BA04-6986791C2943}" dt="2024-02-02T13:48:44.457" v="28616" actId="1035"/>
          <ac:spMkLst>
            <pc:docMk/>
            <pc:sldMk cId="1704792734" sldId="2147480331"/>
            <ac:spMk id="4" creationId="{BC1053BD-FF92-2E1D-E45C-B7225BB97CD3}"/>
          </ac:spMkLst>
        </pc:spChg>
        <pc:spChg chg="add mod">
          <ac:chgData name="Laurence ANGILBERT" userId="28ea2967-f540-4e7d-a641-d418703ece22" providerId="ADAL" clId="{859296AE-058C-4C65-BA04-6986791C2943}" dt="2024-02-01T16:25:11.117" v="22771"/>
          <ac:spMkLst>
            <pc:docMk/>
            <pc:sldMk cId="1704792734" sldId="2147480331"/>
            <ac:spMk id="5" creationId="{9714C5FC-B3C4-87DE-B410-4C62EE6DE0CE}"/>
          </ac:spMkLst>
        </pc:spChg>
        <pc:spChg chg="add mod">
          <ac:chgData name="Laurence ANGILBERT" userId="28ea2967-f540-4e7d-a641-d418703ece22" providerId="ADAL" clId="{859296AE-058C-4C65-BA04-6986791C2943}" dt="2024-02-02T13:47:08.941" v="28572" actId="1035"/>
          <ac:spMkLst>
            <pc:docMk/>
            <pc:sldMk cId="1704792734" sldId="2147480331"/>
            <ac:spMk id="5" creationId="{97DE0C8E-AE0E-A128-EC1D-8082404D8F1B}"/>
          </ac:spMkLst>
        </pc:spChg>
        <pc:spChg chg="add del mod">
          <ac:chgData name="Laurence ANGILBERT" userId="28ea2967-f540-4e7d-a641-d418703ece22" providerId="ADAL" clId="{859296AE-058C-4C65-BA04-6986791C2943}" dt="2024-01-31T17:19:42.173" v="15986" actId="478"/>
          <ac:spMkLst>
            <pc:docMk/>
            <pc:sldMk cId="1704792734" sldId="2147480331"/>
            <ac:spMk id="5" creationId="{AF40F4C9-CA22-14B9-FDFA-244D424572A1}"/>
          </ac:spMkLst>
        </pc:spChg>
        <pc:spChg chg="add mod">
          <ac:chgData name="Laurence ANGILBERT" userId="28ea2967-f540-4e7d-a641-d418703ece22" providerId="ADAL" clId="{859296AE-058C-4C65-BA04-6986791C2943}" dt="2024-02-02T13:47:57.119" v="28605" actId="1037"/>
          <ac:spMkLst>
            <pc:docMk/>
            <pc:sldMk cId="1704792734" sldId="2147480331"/>
            <ac:spMk id="6" creationId="{5068C820-2692-F407-96DB-108CF72CBE3A}"/>
          </ac:spMkLst>
        </pc:spChg>
        <pc:spChg chg="add mod">
          <ac:chgData name="Laurence ANGILBERT" userId="28ea2967-f540-4e7d-a641-d418703ece22" providerId="ADAL" clId="{859296AE-058C-4C65-BA04-6986791C2943}" dt="2024-02-01T16:25:11.117" v="22771"/>
          <ac:spMkLst>
            <pc:docMk/>
            <pc:sldMk cId="1704792734" sldId="2147480331"/>
            <ac:spMk id="6" creationId="{B23EA02D-4C96-8F0B-07C2-ABAD31AD5897}"/>
          </ac:spMkLst>
        </pc:spChg>
        <pc:spChg chg="del">
          <ac:chgData name="Laurence ANGILBERT" userId="28ea2967-f540-4e7d-a641-d418703ece22" providerId="ADAL" clId="{859296AE-058C-4C65-BA04-6986791C2943}" dt="2024-01-31T03:26:01.050" v="7647" actId="478"/>
          <ac:spMkLst>
            <pc:docMk/>
            <pc:sldMk cId="1704792734" sldId="2147480331"/>
            <ac:spMk id="6" creationId="{C2AAE23C-5F9F-7991-50E3-6ED2C26155FE}"/>
          </ac:spMkLst>
        </pc:spChg>
        <pc:spChg chg="add mod">
          <ac:chgData name="Laurence ANGILBERT" userId="28ea2967-f540-4e7d-a641-d418703ece22" providerId="ADAL" clId="{859296AE-058C-4C65-BA04-6986791C2943}" dt="2024-02-02T13:43:46.087" v="28544" actId="14100"/>
          <ac:spMkLst>
            <pc:docMk/>
            <pc:sldMk cId="1704792734" sldId="2147480331"/>
            <ac:spMk id="7" creationId="{C0D635D1-975D-CDD3-DF63-DDFB742D8DB1}"/>
          </ac:spMkLst>
        </pc:spChg>
        <pc:spChg chg="add del mod">
          <ac:chgData name="Laurence ANGILBERT" userId="28ea2967-f540-4e7d-a641-d418703ece22" providerId="ADAL" clId="{859296AE-058C-4C65-BA04-6986791C2943}" dt="2024-01-31T17:00:16.589" v="15318" actId="478"/>
          <ac:spMkLst>
            <pc:docMk/>
            <pc:sldMk cId="1704792734" sldId="2147480331"/>
            <ac:spMk id="7" creationId="{D3DD6AD9-8B4C-0BDB-31DE-53679EF38E73}"/>
          </ac:spMkLst>
        </pc:spChg>
        <pc:spChg chg="del">
          <ac:chgData name="Laurence ANGILBERT" userId="28ea2967-f540-4e7d-a641-d418703ece22" providerId="ADAL" clId="{859296AE-058C-4C65-BA04-6986791C2943}" dt="2024-01-31T03:25:55.226" v="7646" actId="478"/>
          <ac:spMkLst>
            <pc:docMk/>
            <pc:sldMk cId="1704792734" sldId="2147480331"/>
            <ac:spMk id="8" creationId="{1B086139-18B4-38FE-4B00-980740AACDF7}"/>
          </ac:spMkLst>
        </pc:spChg>
        <pc:spChg chg="add mod ord">
          <ac:chgData name="Laurence ANGILBERT" userId="28ea2967-f540-4e7d-a641-d418703ece22" providerId="ADAL" clId="{859296AE-058C-4C65-BA04-6986791C2943}" dt="2024-02-02T13:43:27.992" v="28539" actId="1076"/>
          <ac:spMkLst>
            <pc:docMk/>
            <pc:sldMk cId="1704792734" sldId="2147480331"/>
            <ac:spMk id="8" creationId="{2658D537-B85B-7715-3703-4CEA410D17DB}"/>
          </ac:spMkLst>
        </pc:spChg>
        <pc:spChg chg="add del mod">
          <ac:chgData name="Laurence ANGILBERT" userId="28ea2967-f540-4e7d-a641-d418703ece22" providerId="ADAL" clId="{859296AE-058C-4C65-BA04-6986791C2943}" dt="2024-01-31T16:28:54.237" v="15122" actId="478"/>
          <ac:spMkLst>
            <pc:docMk/>
            <pc:sldMk cId="1704792734" sldId="2147480331"/>
            <ac:spMk id="8" creationId="{A78B0C80-A2BB-F86A-1E1F-786D96834741}"/>
          </ac:spMkLst>
        </pc:spChg>
        <pc:spChg chg="add mod">
          <ac:chgData name="Laurence ANGILBERT" userId="28ea2967-f540-4e7d-a641-d418703ece22" providerId="ADAL" clId="{859296AE-058C-4C65-BA04-6986791C2943}" dt="2024-02-02T13:41:27.443" v="28513" actId="1037"/>
          <ac:spMkLst>
            <pc:docMk/>
            <pc:sldMk cId="1704792734" sldId="2147480331"/>
            <ac:spMk id="9" creationId="{2F9A9040-8D13-4A5F-406B-235B96F14581}"/>
          </ac:spMkLst>
        </pc:spChg>
        <pc:spChg chg="del">
          <ac:chgData name="Laurence ANGILBERT" userId="28ea2967-f540-4e7d-a641-d418703ece22" providerId="ADAL" clId="{859296AE-058C-4C65-BA04-6986791C2943}" dt="2024-01-31T03:26:06.870" v="7649" actId="478"/>
          <ac:spMkLst>
            <pc:docMk/>
            <pc:sldMk cId="1704792734" sldId="2147480331"/>
            <ac:spMk id="9" creationId="{460B5401-3D89-A33C-68AE-6A93B1ACCCD3}"/>
          </ac:spMkLst>
        </pc:spChg>
        <pc:spChg chg="add del mod">
          <ac:chgData name="Laurence ANGILBERT" userId="28ea2967-f540-4e7d-a641-d418703ece22" providerId="ADAL" clId="{859296AE-058C-4C65-BA04-6986791C2943}" dt="2024-01-31T17:23:39.331" v="16061" actId="478"/>
          <ac:spMkLst>
            <pc:docMk/>
            <pc:sldMk cId="1704792734" sldId="2147480331"/>
            <ac:spMk id="9" creationId="{8917A84A-849D-D4E5-F1B9-CB190B46C18A}"/>
          </ac:spMkLst>
        </pc:spChg>
        <pc:spChg chg="del">
          <ac:chgData name="Laurence ANGILBERT" userId="28ea2967-f540-4e7d-a641-d418703ece22" providerId="ADAL" clId="{859296AE-058C-4C65-BA04-6986791C2943}" dt="2024-01-31T03:26:06.870" v="7649" actId="478"/>
          <ac:spMkLst>
            <pc:docMk/>
            <pc:sldMk cId="1704792734" sldId="2147480331"/>
            <ac:spMk id="10" creationId="{4DEAEFA3-B2AC-3B06-7C53-E1B5A33F3F8E}"/>
          </ac:spMkLst>
        </pc:spChg>
        <pc:spChg chg="add mod">
          <ac:chgData name="Laurence ANGILBERT" userId="28ea2967-f540-4e7d-a641-d418703ece22" providerId="ADAL" clId="{859296AE-058C-4C65-BA04-6986791C2943}" dt="2024-02-01T16:40:38.189" v="23069" actId="14100"/>
          <ac:spMkLst>
            <pc:docMk/>
            <pc:sldMk cId="1704792734" sldId="2147480331"/>
            <ac:spMk id="10" creationId="{5B767A9A-BEAD-99D4-28BC-3B230B544CD6}"/>
          </ac:spMkLst>
        </pc:spChg>
        <pc:spChg chg="add del mod">
          <ac:chgData name="Laurence ANGILBERT" userId="28ea2967-f540-4e7d-a641-d418703ece22" providerId="ADAL" clId="{859296AE-058C-4C65-BA04-6986791C2943}" dt="2024-01-31T16:29:54.006" v="15125" actId="478"/>
          <ac:spMkLst>
            <pc:docMk/>
            <pc:sldMk cId="1704792734" sldId="2147480331"/>
            <ac:spMk id="10" creationId="{66798E2D-B2AD-801A-E807-1CDF1217B029}"/>
          </ac:spMkLst>
        </pc:spChg>
        <pc:spChg chg="del">
          <ac:chgData name="Laurence ANGILBERT" userId="28ea2967-f540-4e7d-a641-d418703ece22" providerId="ADAL" clId="{859296AE-058C-4C65-BA04-6986791C2943}" dt="2024-01-31T03:26:02.598" v="7648" actId="478"/>
          <ac:spMkLst>
            <pc:docMk/>
            <pc:sldMk cId="1704792734" sldId="2147480331"/>
            <ac:spMk id="11" creationId="{8B59C05A-42DC-F1E5-3354-DBD555FAE10B}"/>
          </ac:spMkLst>
        </pc:spChg>
        <pc:spChg chg="add mod">
          <ac:chgData name="Laurence ANGILBERT" userId="28ea2967-f540-4e7d-a641-d418703ece22" providerId="ADAL" clId="{859296AE-058C-4C65-BA04-6986791C2943}" dt="2024-02-02T13:39:17.563" v="28469" actId="1037"/>
          <ac:spMkLst>
            <pc:docMk/>
            <pc:sldMk cId="1704792734" sldId="2147480331"/>
            <ac:spMk id="11" creationId="{90F7C32B-FBE5-1286-85DF-0A409395BBDE}"/>
          </ac:spMkLst>
        </pc:spChg>
        <pc:spChg chg="add del mod">
          <ac:chgData name="Laurence ANGILBERT" userId="28ea2967-f540-4e7d-a641-d418703ece22" providerId="ADAL" clId="{859296AE-058C-4C65-BA04-6986791C2943}" dt="2024-01-31T16:38:42.187" v="15153" actId="478"/>
          <ac:spMkLst>
            <pc:docMk/>
            <pc:sldMk cId="1704792734" sldId="2147480331"/>
            <ac:spMk id="11" creationId="{98CEA72E-4234-5D02-17F7-66A4873111AC}"/>
          </ac:spMkLst>
        </pc:spChg>
        <pc:spChg chg="add mod">
          <ac:chgData name="Laurence ANGILBERT" userId="28ea2967-f540-4e7d-a641-d418703ece22" providerId="ADAL" clId="{859296AE-058C-4C65-BA04-6986791C2943}" dt="2024-02-01T16:36:38.370" v="22985" actId="14100"/>
          <ac:spMkLst>
            <pc:docMk/>
            <pc:sldMk cId="1704792734" sldId="2147480331"/>
            <ac:spMk id="12" creationId="{FCFA250D-5B65-A1C5-69BD-58C9062DEDF6}"/>
          </ac:spMkLst>
        </pc:spChg>
        <pc:spChg chg="add mod">
          <ac:chgData name="Laurence ANGILBERT" userId="28ea2967-f540-4e7d-a641-d418703ece22" providerId="ADAL" clId="{859296AE-058C-4C65-BA04-6986791C2943}" dt="2024-01-31T17:14:10.673" v="15823" actId="1036"/>
          <ac:spMkLst>
            <pc:docMk/>
            <pc:sldMk cId="1704792734" sldId="2147480331"/>
            <ac:spMk id="13" creationId="{6414D3B7-D2DD-BDC7-A8B5-142AB4528379}"/>
          </ac:spMkLst>
        </pc:spChg>
        <pc:spChg chg="add mod">
          <ac:chgData name="Laurence ANGILBERT" userId="28ea2967-f540-4e7d-a641-d418703ece22" providerId="ADAL" clId="{859296AE-058C-4C65-BA04-6986791C2943}" dt="2024-02-01T16:52:15.066" v="23303" actId="14100"/>
          <ac:spMkLst>
            <pc:docMk/>
            <pc:sldMk cId="1704792734" sldId="2147480331"/>
            <ac:spMk id="14" creationId="{79DEBB1C-A2D5-25C2-B1FB-740A1A2E6F47}"/>
          </ac:spMkLst>
        </pc:spChg>
        <pc:spChg chg="add mod">
          <ac:chgData name="Laurence ANGILBERT" userId="28ea2967-f540-4e7d-a641-d418703ece22" providerId="ADAL" clId="{859296AE-058C-4C65-BA04-6986791C2943}" dt="2024-02-01T16:29:53.344" v="22862" actId="14100"/>
          <ac:spMkLst>
            <pc:docMk/>
            <pc:sldMk cId="1704792734" sldId="2147480331"/>
            <ac:spMk id="15" creationId="{5A1329A8-6F60-C9C3-5E39-A13D2EC76CE3}"/>
          </ac:spMkLst>
        </pc:spChg>
        <pc:spChg chg="add mod">
          <ac:chgData name="Laurence ANGILBERT" userId="28ea2967-f540-4e7d-a641-d418703ece22" providerId="ADAL" clId="{859296AE-058C-4C65-BA04-6986791C2943}" dt="2024-02-01T16:36:29.564" v="22980" actId="1036"/>
          <ac:spMkLst>
            <pc:docMk/>
            <pc:sldMk cId="1704792734" sldId="2147480331"/>
            <ac:spMk id="16" creationId="{C4637428-3174-4A3E-7BD6-E1E52594472E}"/>
          </ac:spMkLst>
        </pc:spChg>
        <pc:spChg chg="add mod">
          <ac:chgData name="Laurence ANGILBERT" userId="28ea2967-f540-4e7d-a641-d418703ece22" providerId="ADAL" clId="{859296AE-058C-4C65-BA04-6986791C2943}" dt="2024-01-31T17:16:18.035" v="15879" actId="1076"/>
          <ac:spMkLst>
            <pc:docMk/>
            <pc:sldMk cId="1704792734" sldId="2147480331"/>
            <ac:spMk id="17" creationId="{C78804CD-DE30-6511-DE0B-23188EA98E12}"/>
          </ac:spMkLst>
        </pc:spChg>
        <pc:spChg chg="add mod">
          <ac:chgData name="Laurence ANGILBERT" userId="28ea2967-f540-4e7d-a641-d418703ece22" providerId="ADAL" clId="{859296AE-058C-4C65-BA04-6986791C2943}" dt="2024-01-31T17:25:00.812" v="16097" actId="20577"/>
          <ac:spMkLst>
            <pc:docMk/>
            <pc:sldMk cId="1704792734" sldId="2147480331"/>
            <ac:spMk id="18" creationId="{FA6A2FC4-2315-7E54-5747-154BECA55AAF}"/>
          </ac:spMkLst>
        </pc:spChg>
        <pc:spChg chg="add mod">
          <ac:chgData name="Laurence ANGILBERT" userId="28ea2967-f540-4e7d-a641-d418703ece22" providerId="ADAL" clId="{859296AE-058C-4C65-BA04-6986791C2943}" dt="2024-01-31T03:28:10.706" v="7680"/>
          <ac:spMkLst>
            <pc:docMk/>
            <pc:sldMk cId="1704792734" sldId="2147480331"/>
            <ac:spMk id="19" creationId="{7A29BC5B-573D-F7CB-C0E2-744F818DBA87}"/>
          </ac:spMkLst>
        </pc:spChg>
        <pc:spChg chg="add del mod">
          <ac:chgData name="Laurence ANGILBERT" userId="28ea2967-f540-4e7d-a641-d418703ece22" providerId="ADAL" clId="{859296AE-058C-4C65-BA04-6986791C2943}" dt="2024-01-31T16:37:08.970" v="15145" actId="478"/>
          <ac:spMkLst>
            <pc:docMk/>
            <pc:sldMk cId="1704792734" sldId="2147480331"/>
            <ac:spMk id="19" creationId="{EBFA37CF-D875-2B06-DB12-F0FCA2464061}"/>
          </ac:spMkLst>
        </pc:spChg>
        <pc:spChg chg="add mod">
          <ac:chgData name="Laurence ANGILBERT" userId="28ea2967-f540-4e7d-a641-d418703ece22" providerId="ADAL" clId="{859296AE-058C-4C65-BA04-6986791C2943}" dt="2024-02-01T17:06:38.961" v="23577" actId="1035"/>
          <ac:spMkLst>
            <pc:docMk/>
            <pc:sldMk cId="1704792734" sldId="2147480331"/>
            <ac:spMk id="19" creationId="{F10FBF75-CD7F-3B1E-BCBF-69E2DFDEF136}"/>
          </ac:spMkLst>
        </pc:spChg>
        <pc:spChg chg="add mod">
          <ac:chgData name="Laurence ANGILBERT" userId="28ea2967-f540-4e7d-a641-d418703ece22" providerId="ADAL" clId="{859296AE-058C-4C65-BA04-6986791C2943}" dt="2024-02-01T16:52:10.178" v="23302" actId="14100"/>
          <ac:spMkLst>
            <pc:docMk/>
            <pc:sldMk cId="1704792734" sldId="2147480331"/>
            <ac:spMk id="20" creationId="{A7144061-CC12-81C0-FA8B-9FA94C621A06}"/>
          </ac:spMkLst>
        </pc:spChg>
        <pc:spChg chg="add mod">
          <ac:chgData name="Laurence ANGILBERT" userId="28ea2967-f540-4e7d-a641-d418703ece22" providerId="ADAL" clId="{859296AE-058C-4C65-BA04-6986791C2943}" dt="2024-02-01T17:26:56.995" v="23667" actId="20577"/>
          <ac:spMkLst>
            <pc:docMk/>
            <pc:sldMk cId="1704792734" sldId="2147480331"/>
            <ac:spMk id="21" creationId="{7A36680B-6E77-1CAE-95FC-45CF4F49C36E}"/>
          </ac:spMkLst>
        </pc:spChg>
        <pc:spChg chg="add mod">
          <ac:chgData name="Laurence ANGILBERT" userId="28ea2967-f540-4e7d-a641-d418703ece22" providerId="ADAL" clId="{859296AE-058C-4C65-BA04-6986791C2943}" dt="2024-02-02T13:54:32.686" v="28660" actId="115"/>
          <ac:spMkLst>
            <pc:docMk/>
            <pc:sldMk cId="1704792734" sldId="2147480331"/>
            <ac:spMk id="22" creationId="{DC347001-A07D-4C36-36D4-4F7C774F54EA}"/>
          </ac:spMkLst>
        </pc:spChg>
        <pc:spChg chg="add mod">
          <ac:chgData name="Laurence ANGILBERT" userId="28ea2967-f540-4e7d-a641-d418703ece22" providerId="ADAL" clId="{859296AE-058C-4C65-BA04-6986791C2943}" dt="2024-02-01T16:29:40.331" v="22860" actId="1035"/>
          <ac:spMkLst>
            <pc:docMk/>
            <pc:sldMk cId="1704792734" sldId="2147480331"/>
            <ac:spMk id="23" creationId="{EF204365-F7CA-EB1D-00FA-C023A74FE9EA}"/>
          </ac:spMkLst>
        </pc:spChg>
        <pc:spChg chg="add mod">
          <ac:chgData name="Laurence ANGILBERT" userId="28ea2967-f540-4e7d-a641-d418703ece22" providerId="ADAL" clId="{859296AE-058C-4C65-BA04-6986791C2943}" dt="2024-02-01T16:46:29.146" v="23188" actId="207"/>
          <ac:spMkLst>
            <pc:docMk/>
            <pc:sldMk cId="1704792734" sldId="2147480331"/>
            <ac:spMk id="24" creationId="{BCF6E7EC-0B87-5F17-9B44-F3FB68CF4070}"/>
          </ac:spMkLst>
        </pc:spChg>
        <pc:spChg chg="add mod">
          <ac:chgData name="Laurence ANGILBERT" userId="28ea2967-f540-4e7d-a641-d418703ece22" providerId="ADAL" clId="{859296AE-058C-4C65-BA04-6986791C2943}" dt="2024-01-31T03:28:36.119" v="7703" actId="1038"/>
          <ac:spMkLst>
            <pc:docMk/>
            <pc:sldMk cId="1704792734" sldId="2147480331"/>
            <ac:spMk id="26" creationId="{F8C18A7B-0F10-170D-5DD7-A196D6C92E37}"/>
          </ac:spMkLst>
        </pc:spChg>
        <pc:spChg chg="add mod">
          <ac:chgData name="Laurence ANGILBERT" userId="28ea2967-f540-4e7d-a641-d418703ece22" providerId="ADAL" clId="{859296AE-058C-4C65-BA04-6986791C2943}" dt="2024-01-31T03:28:36.119" v="7703" actId="1038"/>
          <ac:spMkLst>
            <pc:docMk/>
            <pc:sldMk cId="1704792734" sldId="2147480331"/>
            <ac:spMk id="27" creationId="{948496AD-016B-BE9D-9062-AEF4D20DE6AD}"/>
          </ac:spMkLst>
        </pc:spChg>
        <pc:spChg chg="add mod">
          <ac:chgData name="Laurence ANGILBERT" userId="28ea2967-f540-4e7d-a641-d418703ece22" providerId="ADAL" clId="{859296AE-058C-4C65-BA04-6986791C2943}" dt="2024-02-01T16:36:32.872" v="22984" actId="1036"/>
          <ac:spMkLst>
            <pc:docMk/>
            <pc:sldMk cId="1704792734" sldId="2147480331"/>
            <ac:spMk id="28" creationId="{A08E85E2-8DBD-C721-05DF-34C27C536CCE}"/>
          </ac:spMkLst>
        </pc:spChg>
        <pc:spChg chg="add mod">
          <ac:chgData name="Laurence ANGILBERT" userId="28ea2967-f540-4e7d-a641-d418703ece22" providerId="ADAL" clId="{859296AE-058C-4C65-BA04-6986791C2943}" dt="2024-02-01T17:06:32.903" v="23571" actId="1036"/>
          <ac:spMkLst>
            <pc:docMk/>
            <pc:sldMk cId="1704792734" sldId="2147480331"/>
            <ac:spMk id="29" creationId="{FB7B6FF7-552D-A240-BE68-FC4B8D230960}"/>
          </ac:spMkLst>
        </pc:spChg>
        <pc:spChg chg="add mod">
          <ac:chgData name="Laurence ANGILBERT" userId="28ea2967-f540-4e7d-a641-d418703ece22" providerId="ADAL" clId="{859296AE-058C-4C65-BA04-6986791C2943}" dt="2024-02-01T16:29:28.878" v="22853" actId="1035"/>
          <ac:spMkLst>
            <pc:docMk/>
            <pc:sldMk cId="1704792734" sldId="2147480331"/>
            <ac:spMk id="30" creationId="{3CBD92E3-F7A5-8073-FADC-5C10785237B7}"/>
          </ac:spMkLst>
        </pc:spChg>
        <pc:spChg chg="add mod">
          <ac:chgData name="Laurence ANGILBERT" userId="28ea2967-f540-4e7d-a641-d418703ece22" providerId="ADAL" clId="{859296AE-058C-4C65-BA04-6986791C2943}" dt="2024-02-01T16:37:45.542" v="23029" actId="14100"/>
          <ac:spMkLst>
            <pc:docMk/>
            <pc:sldMk cId="1704792734" sldId="2147480331"/>
            <ac:spMk id="32" creationId="{5E212476-D8E2-E191-A43D-5536980C27BA}"/>
          </ac:spMkLst>
        </pc:spChg>
        <pc:spChg chg="add mod">
          <ac:chgData name="Laurence ANGILBERT" userId="28ea2967-f540-4e7d-a641-d418703ece22" providerId="ADAL" clId="{859296AE-058C-4C65-BA04-6986791C2943}" dt="2024-02-02T13:42:55.226" v="28538" actId="14100"/>
          <ac:spMkLst>
            <pc:docMk/>
            <pc:sldMk cId="1704792734" sldId="2147480331"/>
            <ac:spMk id="33" creationId="{8154191D-733C-77D0-EF65-2FCDD5767F31}"/>
          </ac:spMkLst>
        </pc:spChg>
        <pc:spChg chg="add mod">
          <ac:chgData name="Laurence ANGILBERT" userId="28ea2967-f540-4e7d-a641-d418703ece22" providerId="ADAL" clId="{859296AE-058C-4C65-BA04-6986791C2943}" dt="2024-02-01T16:40:27.455" v="23067" actId="14100"/>
          <ac:spMkLst>
            <pc:docMk/>
            <pc:sldMk cId="1704792734" sldId="2147480331"/>
            <ac:spMk id="34" creationId="{5CBCF09F-38E5-08B7-AF21-8CD9E01F957D}"/>
          </ac:spMkLst>
        </pc:spChg>
        <pc:spChg chg="add mod">
          <ac:chgData name="Laurence ANGILBERT" userId="28ea2967-f540-4e7d-a641-d418703ece22" providerId="ADAL" clId="{859296AE-058C-4C65-BA04-6986791C2943}" dt="2024-02-02T13:42:29.507" v="28522" actId="1076"/>
          <ac:spMkLst>
            <pc:docMk/>
            <pc:sldMk cId="1704792734" sldId="2147480331"/>
            <ac:spMk id="35" creationId="{F5E26136-F2C2-6B6C-DCC1-0CA3A2E5C3DF}"/>
          </ac:spMkLst>
        </pc:spChg>
        <pc:spChg chg="add mod">
          <ac:chgData name="Laurence ANGILBERT" userId="28ea2967-f540-4e7d-a641-d418703ece22" providerId="ADAL" clId="{859296AE-058C-4C65-BA04-6986791C2943}" dt="2024-02-02T13:48:12.425" v="28615" actId="6549"/>
          <ac:spMkLst>
            <pc:docMk/>
            <pc:sldMk cId="1704792734" sldId="2147480331"/>
            <ac:spMk id="36" creationId="{0BF855AC-212E-39C9-E480-D8EC69A466D8}"/>
          </ac:spMkLst>
        </pc:spChg>
        <pc:spChg chg="add mod">
          <ac:chgData name="Laurence ANGILBERT" userId="28ea2967-f540-4e7d-a641-d418703ece22" providerId="ADAL" clId="{859296AE-058C-4C65-BA04-6986791C2943}" dt="2024-02-01T16:41:07.851" v="23081" actId="1035"/>
          <ac:spMkLst>
            <pc:docMk/>
            <pc:sldMk cId="1704792734" sldId="2147480331"/>
            <ac:spMk id="37" creationId="{E9472DAE-ED5E-3F82-09AD-4C2A68453682}"/>
          </ac:spMkLst>
        </pc:spChg>
        <pc:spChg chg="add mod">
          <ac:chgData name="Laurence ANGILBERT" userId="28ea2967-f540-4e7d-a641-d418703ece22" providerId="ADAL" clId="{859296AE-058C-4C65-BA04-6986791C2943}" dt="2024-02-01T17:07:23.035" v="23624" actId="1037"/>
          <ac:spMkLst>
            <pc:docMk/>
            <pc:sldMk cId="1704792734" sldId="2147480331"/>
            <ac:spMk id="38" creationId="{7B2A25EF-2411-3311-4265-E85A1397784F}"/>
          </ac:spMkLst>
        </pc:spChg>
        <pc:spChg chg="add del mod">
          <ac:chgData name="Laurence ANGILBERT" userId="28ea2967-f540-4e7d-a641-d418703ece22" providerId="ADAL" clId="{859296AE-058C-4C65-BA04-6986791C2943}" dt="2024-02-02T18:10:30.719" v="30151" actId="478"/>
          <ac:spMkLst>
            <pc:docMk/>
            <pc:sldMk cId="1704792734" sldId="2147480331"/>
            <ac:spMk id="41" creationId="{F6F3CD67-0CC4-A801-8BCD-C7B300930DF5}"/>
          </ac:spMkLst>
        </pc:spChg>
        <pc:spChg chg="add mod">
          <ac:chgData name="Laurence ANGILBERT" userId="28ea2967-f540-4e7d-a641-d418703ece22" providerId="ADAL" clId="{859296AE-058C-4C65-BA04-6986791C2943}" dt="2024-02-01T16:32:02.325" v="22904" actId="164"/>
          <ac:spMkLst>
            <pc:docMk/>
            <pc:sldMk cId="1704792734" sldId="2147480331"/>
            <ac:spMk id="42" creationId="{1F83EA59-2C1A-1BCE-75F2-AA35F5AEC879}"/>
          </ac:spMkLst>
        </pc:spChg>
        <pc:spChg chg="add del mod">
          <ac:chgData name="Laurence ANGILBERT" userId="28ea2967-f540-4e7d-a641-d418703ece22" providerId="ADAL" clId="{859296AE-058C-4C65-BA04-6986791C2943}" dt="2024-01-31T17:13:55.640" v="15783" actId="478"/>
          <ac:spMkLst>
            <pc:docMk/>
            <pc:sldMk cId="1704792734" sldId="2147480331"/>
            <ac:spMk id="43" creationId="{91765E57-7846-AAB8-8AFC-0A6E282F679A}"/>
          </ac:spMkLst>
        </pc:spChg>
        <pc:spChg chg="add mod">
          <ac:chgData name="Laurence ANGILBERT" userId="28ea2967-f540-4e7d-a641-d418703ece22" providerId="ADAL" clId="{859296AE-058C-4C65-BA04-6986791C2943}" dt="2024-02-01T16:37:41.361" v="23028" actId="14100"/>
          <ac:spMkLst>
            <pc:docMk/>
            <pc:sldMk cId="1704792734" sldId="2147480331"/>
            <ac:spMk id="44" creationId="{0DA24D1E-FAC7-DE03-1B4E-D4B48772BD69}"/>
          </ac:spMkLst>
        </pc:spChg>
        <pc:spChg chg="add del mod">
          <ac:chgData name="Laurence ANGILBERT" userId="28ea2967-f540-4e7d-a641-d418703ece22" providerId="ADAL" clId="{859296AE-058C-4C65-BA04-6986791C2943}" dt="2024-01-31T16:37:50.684" v="15150" actId="478"/>
          <ac:spMkLst>
            <pc:docMk/>
            <pc:sldMk cId="1704792734" sldId="2147480331"/>
            <ac:spMk id="45" creationId="{D863FE82-80CF-A8DA-D361-72D66860EA90}"/>
          </ac:spMkLst>
        </pc:spChg>
        <pc:spChg chg="add del mod">
          <ac:chgData name="Laurence ANGILBERT" userId="28ea2967-f540-4e7d-a641-d418703ece22" providerId="ADAL" clId="{859296AE-058C-4C65-BA04-6986791C2943}" dt="2024-01-31T17:07:55.527" v="15749" actId="478"/>
          <ac:spMkLst>
            <pc:docMk/>
            <pc:sldMk cId="1704792734" sldId="2147480331"/>
            <ac:spMk id="46" creationId="{3D3648C7-2907-E71A-E07C-210E6081549F}"/>
          </ac:spMkLst>
        </pc:spChg>
        <pc:spChg chg="add del mod">
          <ac:chgData name="Laurence ANGILBERT" userId="28ea2967-f540-4e7d-a641-d418703ece22" providerId="ADAL" clId="{859296AE-058C-4C65-BA04-6986791C2943}" dt="2024-01-31T03:35:08.692" v="7951" actId="478"/>
          <ac:spMkLst>
            <pc:docMk/>
            <pc:sldMk cId="1704792734" sldId="2147480331"/>
            <ac:spMk id="46" creationId="{A515375A-1BD5-9D46-B29F-B577E8B3E001}"/>
          </ac:spMkLst>
        </pc:spChg>
        <pc:spChg chg="add del mod">
          <ac:chgData name="Laurence ANGILBERT" userId="28ea2967-f540-4e7d-a641-d418703ece22" providerId="ADAL" clId="{859296AE-058C-4C65-BA04-6986791C2943}" dt="2024-01-31T17:07:51.295" v="15747" actId="478"/>
          <ac:spMkLst>
            <pc:docMk/>
            <pc:sldMk cId="1704792734" sldId="2147480331"/>
            <ac:spMk id="47" creationId="{57B83F5C-FEB2-6D5E-C805-319102D4F08F}"/>
          </ac:spMkLst>
        </pc:spChg>
        <pc:spChg chg="add del mod">
          <ac:chgData name="Laurence ANGILBERT" userId="28ea2967-f540-4e7d-a641-d418703ece22" providerId="ADAL" clId="{859296AE-058C-4C65-BA04-6986791C2943}" dt="2024-01-31T17:07:10.705" v="15728" actId="478"/>
          <ac:spMkLst>
            <pc:docMk/>
            <pc:sldMk cId="1704792734" sldId="2147480331"/>
            <ac:spMk id="48" creationId="{91E10A05-5EB9-36FE-EC3C-CEC4BCF60137}"/>
          </ac:spMkLst>
        </pc:spChg>
        <pc:spChg chg="add del mod">
          <ac:chgData name="Laurence ANGILBERT" userId="28ea2967-f540-4e7d-a641-d418703ece22" providerId="ADAL" clId="{859296AE-058C-4C65-BA04-6986791C2943}" dt="2024-01-31T03:30:59.309" v="7761" actId="478"/>
          <ac:spMkLst>
            <pc:docMk/>
            <pc:sldMk cId="1704792734" sldId="2147480331"/>
            <ac:spMk id="48" creationId="{A43B646C-3E5D-CB4C-EC53-F49680E8985C}"/>
          </ac:spMkLst>
        </pc:spChg>
        <pc:spChg chg="add mod">
          <ac:chgData name="Laurence ANGILBERT" userId="28ea2967-f540-4e7d-a641-d418703ece22" providerId="ADAL" clId="{859296AE-058C-4C65-BA04-6986791C2943}" dt="2024-02-02T13:53:51.303" v="28652" actId="1076"/>
          <ac:spMkLst>
            <pc:docMk/>
            <pc:sldMk cId="1704792734" sldId="2147480331"/>
            <ac:spMk id="48" creationId="{FCAA275D-D07A-3A01-CDD3-2AC87AB916E5}"/>
          </ac:spMkLst>
        </pc:spChg>
        <pc:spChg chg="add del mod">
          <ac:chgData name="Laurence ANGILBERT" userId="28ea2967-f540-4e7d-a641-d418703ece22" providerId="ADAL" clId="{859296AE-058C-4C65-BA04-6986791C2943}" dt="2024-01-31T17:19:45.179" v="15987" actId="478"/>
          <ac:spMkLst>
            <pc:docMk/>
            <pc:sldMk cId="1704792734" sldId="2147480331"/>
            <ac:spMk id="49" creationId="{6546207C-D893-F60A-4391-406556D545C1}"/>
          </ac:spMkLst>
        </pc:spChg>
        <pc:spChg chg="add del mod">
          <ac:chgData name="Laurence ANGILBERT" userId="28ea2967-f540-4e7d-a641-d418703ece22" providerId="ADAL" clId="{859296AE-058C-4C65-BA04-6986791C2943}" dt="2024-02-01T17:29:00.689" v="23676" actId="478"/>
          <ac:spMkLst>
            <pc:docMk/>
            <pc:sldMk cId="1704792734" sldId="2147480331"/>
            <ac:spMk id="50" creationId="{38651494-DFF5-B3F1-401E-51DA230150F3}"/>
          </ac:spMkLst>
        </pc:spChg>
        <pc:spChg chg="add mod">
          <ac:chgData name="Laurence ANGILBERT" userId="28ea2967-f540-4e7d-a641-d418703ece22" providerId="ADAL" clId="{859296AE-058C-4C65-BA04-6986791C2943}" dt="2024-02-02T13:47:57.119" v="28605" actId="1037"/>
          <ac:spMkLst>
            <pc:docMk/>
            <pc:sldMk cId="1704792734" sldId="2147480331"/>
            <ac:spMk id="50" creationId="{90DC5CDD-2D3F-95E9-2D80-84250FE907D9}"/>
          </ac:spMkLst>
        </pc:spChg>
        <pc:spChg chg="mod">
          <ac:chgData name="Laurence ANGILBERT" userId="28ea2967-f540-4e7d-a641-d418703ece22" providerId="ADAL" clId="{859296AE-058C-4C65-BA04-6986791C2943}" dt="2024-02-01T17:07:15.322" v="23620" actId="20577"/>
          <ac:spMkLst>
            <pc:docMk/>
            <pc:sldMk cId="1704792734" sldId="2147480331"/>
            <ac:spMk id="51" creationId="{A692BA76-726A-428B-0119-AB4F1F19ECF4}"/>
          </ac:spMkLst>
        </pc:spChg>
        <pc:spChg chg="mod">
          <ac:chgData name="Laurence ANGILBERT" userId="28ea2967-f540-4e7d-a641-d418703ece22" providerId="ADAL" clId="{859296AE-058C-4C65-BA04-6986791C2943}" dt="2024-02-01T17:06:52.177" v="23583" actId="1035"/>
          <ac:spMkLst>
            <pc:docMk/>
            <pc:sldMk cId="1704792734" sldId="2147480331"/>
            <ac:spMk id="52" creationId="{88996335-8D07-FFCA-587C-A3E5DD46D0BF}"/>
          </ac:spMkLst>
        </pc:spChg>
        <pc:spChg chg="add mod">
          <ac:chgData name="Laurence ANGILBERT" userId="28ea2967-f540-4e7d-a641-d418703ece22" providerId="ADAL" clId="{859296AE-058C-4C65-BA04-6986791C2943}" dt="2024-01-31T17:15:46.492" v="15868" actId="14100"/>
          <ac:spMkLst>
            <pc:docMk/>
            <pc:sldMk cId="1704792734" sldId="2147480331"/>
            <ac:spMk id="53" creationId="{1E5161C6-FD31-AE6B-4777-1B88B54BDB15}"/>
          </ac:spMkLst>
        </pc:spChg>
        <pc:spChg chg="add mod">
          <ac:chgData name="Laurence ANGILBERT" userId="28ea2967-f540-4e7d-a641-d418703ece22" providerId="ADAL" clId="{859296AE-058C-4C65-BA04-6986791C2943}" dt="2024-02-01T16:41:31.326" v="23093" actId="1076"/>
          <ac:spMkLst>
            <pc:docMk/>
            <pc:sldMk cId="1704792734" sldId="2147480331"/>
            <ac:spMk id="54" creationId="{E32F397C-D771-EAE0-9563-AC19A2F61626}"/>
          </ac:spMkLst>
        </pc:spChg>
        <pc:spChg chg="add del mod">
          <ac:chgData name="Laurence ANGILBERT" userId="28ea2967-f540-4e7d-a641-d418703ece22" providerId="ADAL" clId="{859296AE-058C-4C65-BA04-6986791C2943}" dt="2024-02-01T08:30:42.961" v="18406" actId="478"/>
          <ac:spMkLst>
            <pc:docMk/>
            <pc:sldMk cId="1704792734" sldId="2147480331"/>
            <ac:spMk id="54" creationId="{EF87DBE6-BF00-D665-482B-64FE18D05283}"/>
          </ac:spMkLst>
        </pc:spChg>
        <pc:spChg chg="add del mod">
          <ac:chgData name="Laurence ANGILBERT" userId="28ea2967-f540-4e7d-a641-d418703ece22" providerId="ADAL" clId="{859296AE-058C-4C65-BA04-6986791C2943}" dt="2024-02-01T16:27:24.578" v="22819" actId="478"/>
          <ac:spMkLst>
            <pc:docMk/>
            <pc:sldMk cId="1704792734" sldId="2147480331"/>
            <ac:spMk id="55" creationId="{E1C30CC0-6A43-41BE-E359-87FB5B0E0D55}"/>
          </ac:spMkLst>
        </pc:spChg>
        <pc:spChg chg="add del mod">
          <ac:chgData name="Laurence ANGILBERT" userId="28ea2967-f540-4e7d-a641-d418703ece22" providerId="ADAL" clId="{859296AE-058C-4C65-BA04-6986791C2943}" dt="2024-02-01T16:26:33.268" v="22795" actId="478"/>
          <ac:spMkLst>
            <pc:docMk/>
            <pc:sldMk cId="1704792734" sldId="2147480331"/>
            <ac:spMk id="56" creationId="{2830F68A-A37D-D5CB-70B0-BDD8B46D64E6}"/>
          </ac:spMkLst>
        </pc:spChg>
        <pc:spChg chg="add mod">
          <ac:chgData name="Laurence ANGILBERT" userId="28ea2967-f540-4e7d-a641-d418703ece22" providerId="ADAL" clId="{859296AE-058C-4C65-BA04-6986791C2943}" dt="2024-02-01T16:46:36.210" v="23190" actId="207"/>
          <ac:spMkLst>
            <pc:docMk/>
            <pc:sldMk cId="1704792734" sldId="2147480331"/>
            <ac:spMk id="57" creationId="{09644C5B-4AA9-9720-DA9D-3B4A7BB73172}"/>
          </ac:spMkLst>
        </pc:spChg>
        <pc:spChg chg="add mod">
          <ac:chgData name="Laurence ANGILBERT" userId="28ea2967-f540-4e7d-a641-d418703ece22" providerId="ADAL" clId="{859296AE-058C-4C65-BA04-6986791C2943}" dt="2024-02-01T17:06:48.954" v="23580" actId="1035"/>
          <ac:spMkLst>
            <pc:docMk/>
            <pc:sldMk cId="1704792734" sldId="2147480331"/>
            <ac:spMk id="58" creationId="{E3EBBDA7-C5AF-5C05-ABA7-F8FB0BEDB564}"/>
          </ac:spMkLst>
        </pc:spChg>
        <pc:spChg chg="add del mod">
          <ac:chgData name="Laurence ANGILBERT" userId="28ea2967-f540-4e7d-a641-d418703ece22" providerId="ADAL" clId="{859296AE-058C-4C65-BA04-6986791C2943}" dt="2024-02-01T08:30:40.606" v="18405" actId="478"/>
          <ac:spMkLst>
            <pc:docMk/>
            <pc:sldMk cId="1704792734" sldId="2147480331"/>
            <ac:spMk id="59" creationId="{627F65BB-8D8F-E023-026C-62192731BEAC}"/>
          </ac:spMkLst>
        </pc:spChg>
        <pc:spChg chg="add del mod">
          <ac:chgData name="Laurence ANGILBERT" userId="28ea2967-f540-4e7d-a641-d418703ece22" providerId="ADAL" clId="{859296AE-058C-4C65-BA04-6986791C2943}" dt="2024-02-01T16:26:33.268" v="22795" actId="478"/>
          <ac:spMkLst>
            <pc:docMk/>
            <pc:sldMk cId="1704792734" sldId="2147480331"/>
            <ac:spMk id="60" creationId="{F15DF651-B75A-E7D7-1D82-932C2401351A}"/>
          </ac:spMkLst>
        </pc:spChg>
        <pc:spChg chg="add del mod">
          <ac:chgData name="Laurence ANGILBERT" userId="28ea2967-f540-4e7d-a641-d418703ece22" providerId="ADAL" clId="{859296AE-058C-4C65-BA04-6986791C2943}" dt="2024-02-01T16:26:37.017" v="22796" actId="478"/>
          <ac:spMkLst>
            <pc:docMk/>
            <pc:sldMk cId="1704792734" sldId="2147480331"/>
            <ac:spMk id="61" creationId="{18E18167-B0AB-74D2-BE9D-537F893C19ED}"/>
          </ac:spMkLst>
        </pc:spChg>
        <pc:spChg chg="mod">
          <ac:chgData name="Laurence ANGILBERT" userId="28ea2967-f540-4e7d-a641-d418703ece22" providerId="ADAL" clId="{859296AE-058C-4C65-BA04-6986791C2943}" dt="2024-02-01T16:42:40.629" v="23125"/>
          <ac:spMkLst>
            <pc:docMk/>
            <pc:sldMk cId="1704792734" sldId="2147480331"/>
            <ac:spMk id="63" creationId="{11195E14-4CBD-025B-47A4-440D3A8DC027}"/>
          </ac:spMkLst>
        </pc:spChg>
        <pc:spChg chg="mod">
          <ac:chgData name="Laurence ANGILBERT" userId="28ea2967-f540-4e7d-a641-d418703ece22" providerId="ADAL" clId="{859296AE-058C-4C65-BA04-6986791C2943}" dt="2024-02-01T16:42:40.629" v="23125"/>
          <ac:spMkLst>
            <pc:docMk/>
            <pc:sldMk cId="1704792734" sldId="2147480331"/>
            <ac:spMk id="65" creationId="{9963733E-E37D-CA41-5FF3-49E9B3691B3E}"/>
          </ac:spMkLst>
        </pc:spChg>
        <pc:spChg chg="mod">
          <ac:chgData name="Laurence ANGILBERT" userId="28ea2967-f540-4e7d-a641-d418703ece22" providerId="ADAL" clId="{859296AE-058C-4C65-BA04-6986791C2943}" dt="2024-02-01T16:42:40.629" v="23125"/>
          <ac:spMkLst>
            <pc:docMk/>
            <pc:sldMk cId="1704792734" sldId="2147480331"/>
            <ac:spMk id="66" creationId="{7B2971E2-9357-02C9-B078-30CB2AFB4727}"/>
          </ac:spMkLst>
        </pc:spChg>
        <pc:spChg chg="add mod">
          <ac:chgData name="Laurence ANGILBERT" userId="28ea2967-f540-4e7d-a641-d418703ece22" providerId="ADAL" clId="{859296AE-058C-4C65-BA04-6986791C2943}" dt="2024-02-01T16:40:05.934" v="23066" actId="1035"/>
          <ac:spMkLst>
            <pc:docMk/>
            <pc:sldMk cId="1704792734" sldId="2147480331"/>
            <ac:spMk id="67" creationId="{87A386C9-AF95-4268-5660-C0FB8B61BFF0}"/>
          </ac:spMkLst>
        </pc:spChg>
        <pc:spChg chg="mod">
          <ac:chgData name="Laurence ANGILBERT" userId="28ea2967-f540-4e7d-a641-d418703ece22" providerId="ADAL" clId="{859296AE-058C-4C65-BA04-6986791C2943}" dt="2024-02-01T16:42:40.629" v="23125"/>
          <ac:spMkLst>
            <pc:docMk/>
            <pc:sldMk cId="1704792734" sldId="2147480331"/>
            <ac:spMk id="68" creationId="{FBB25CFE-B07D-A711-D25F-31D6A5E862A5}"/>
          </ac:spMkLst>
        </pc:spChg>
        <pc:spChg chg="add mod">
          <ac:chgData name="Laurence ANGILBERT" userId="28ea2967-f540-4e7d-a641-d418703ece22" providerId="ADAL" clId="{859296AE-058C-4C65-BA04-6986791C2943}" dt="2024-02-01T16:41:59.896" v="23115" actId="14100"/>
          <ac:spMkLst>
            <pc:docMk/>
            <pc:sldMk cId="1704792734" sldId="2147480331"/>
            <ac:spMk id="69" creationId="{8E1D112B-6D92-7827-FEB7-50258B673604}"/>
          </ac:spMkLst>
        </pc:spChg>
        <pc:spChg chg="add del mod">
          <ac:chgData name="Laurence ANGILBERT" userId="28ea2967-f540-4e7d-a641-d418703ece22" providerId="ADAL" clId="{859296AE-058C-4C65-BA04-6986791C2943}" dt="2024-02-01T16:45:12.951" v="23160" actId="478"/>
          <ac:spMkLst>
            <pc:docMk/>
            <pc:sldMk cId="1704792734" sldId="2147480331"/>
            <ac:spMk id="71" creationId="{528753F1-B4F6-E3CB-4CCE-4E580B08F747}"/>
          </ac:spMkLst>
        </pc:spChg>
        <pc:grpChg chg="add mod">
          <ac:chgData name="Laurence ANGILBERT" userId="28ea2967-f540-4e7d-a641-d418703ece22" providerId="ADAL" clId="{859296AE-058C-4C65-BA04-6986791C2943}" dt="2024-02-02T13:42:42.151" v="28524" actId="1076"/>
          <ac:grpSpMkLst>
            <pc:docMk/>
            <pc:sldMk cId="1704792734" sldId="2147480331"/>
            <ac:grpSpMk id="26" creationId="{97E6F6A1-D8CA-FB33-4F15-92CEEA60E66C}"/>
          </ac:grpSpMkLst>
        </pc:grpChg>
        <pc:grpChg chg="add del mod">
          <ac:chgData name="Laurence ANGILBERT" userId="28ea2967-f540-4e7d-a641-d418703ece22" providerId="ADAL" clId="{859296AE-058C-4C65-BA04-6986791C2943}" dt="2024-02-02T13:46:28.962" v="28552" actId="478"/>
          <ac:grpSpMkLst>
            <pc:docMk/>
            <pc:sldMk cId="1704792734" sldId="2147480331"/>
            <ac:grpSpMk id="27" creationId="{971365C5-9D69-9B3D-D108-BEFF2D03C34E}"/>
          </ac:grpSpMkLst>
        </pc:grpChg>
        <pc:grpChg chg="add mod">
          <ac:chgData name="Laurence ANGILBERT" userId="28ea2967-f540-4e7d-a641-d418703ece22" providerId="ADAL" clId="{859296AE-058C-4C65-BA04-6986791C2943}" dt="2024-02-01T16:41:07.851" v="23081" actId="1035"/>
          <ac:grpSpMkLst>
            <pc:docMk/>
            <pc:sldMk cId="1704792734" sldId="2147480331"/>
            <ac:grpSpMk id="43" creationId="{BF7289A8-6EC8-6C49-70CA-477DA6E3B93F}"/>
          </ac:grpSpMkLst>
        </pc:grpChg>
        <pc:grpChg chg="add mod">
          <ac:chgData name="Laurence ANGILBERT" userId="28ea2967-f540-4e7d-a641-d418703ece22" providerId="ADAL" clId="{859296AE-058C-4C65-BA04-6986791C2943}" dt="2024-02-01T16:41:17.784" v="23090" actId="1035"/>
          <ac:grpSpMkLst>
            <pc:docMk/>
            <pc:sldMk cId="1704792734" sldId="2147480331"/>
            <ac:grpSpMk id="45" creationId="{E12BC2F9-5DD0-5EB9-6211-B3F7E2BC0D5E}"/>
          </ac:grpSpMkLst>
        </pc:grpChg>
        <pc:grpChg chg="add mod">
          <ac:chgData name="Laurence ANGILBERT" userId="28ea2967-f540-4e7d-a641-d418703ece22" providerId="ADAL" clId="{859296AE-058C-4C65-BA04-6986791C2943}" dt="2024-02-01T17:03:05.693" v="23533" actId="1037"/>
          <ac:grpSpMkLst>
            <pc:docMk/>
            <pc:sldMk cId="1704792734" sldId="2147480331"/>
            <ac:grpSpMk id="46" creationId="{39B618AE-EC14-453B-B3F2-E45A14BDE461}"/>
          </ac:grpSpMkLst>
        </pc:grpChg>
        <pc:grpChg chg="add mod">
          <ac:chgData name="Laurence ANGILBERT" userId="28ea2967-f540-4e7d-a641-d418703ece22" providerId="ADAL" clId="{859296AE-058C-4C65-BA04-6986791C2943}" dt="2024-02-01T16:41:34.672" v="23098" actId="1035"/>
          <ac:grpSpMkLst>
            <pc:docMk/>
            <pc:sldMk cId="1704792734" sldId="2147480331"/>
            <ac:grpSpMk id="49" creationId="{26A7418E-D07B-33AF-41B8-96A80EC64C68}"/>
          </ac:grpSpMkLst>
        </pc:grpChg>
        <pc:grpChg chg="add del mod">
          <ac:chgData name="Laurence ANGILBERT" userId="28ea2967-f540-4e7d-a641-d418703ece22" providerId="ADAL" clId="{859296AE-058C-4C65-BA04-6986791C2943}" dt="2024-02-01T16:43:15.266" v="23133" actId="478"/>
          <ac:grpSpMkLst>
            <pc:docMk/>
            <pc:sldMk cId="1704792734" sldId="2147480331"/>
            <ac:grpSpMk id="62" creationId="{1BCB3D20-10E3-0DC1-E39E-60AA080C3545}"/>
          </ac:grpSpMkLst>
        </pc:grpChg>
        <pc:grpChg chg="mod">
          <ac:chgData name="Laurence ANGILBERT" userId="28ea2967-f540-4e7d-a641-d418703ece22" providerId="ADAL" clId="{859296AE-058C-4C65-BA04-6986791C2943}" dt="2024-02-01T16:42:40.629" v="23125"/>
          <ac:grpSpMkLst>
            <pc:docMk/>
            <pc:sldMk cId="1704792734" sldId="2147480331"/>
            <ac:grpSpMk id="64" creationId="{C82EBA98-6CD8-E6FE-A9F4-73F65B55ECD1}"/>
          </ac:grpSpMkLst>
        </pc:grpChg>
        <pc:graphicFrameChg chg="del">
          <ac:chgData name="Laurence ANGILBERT" userId="28ea2967-f540-4e7d-a641-d418703ece22" providerId="ADAL" clId="{859296AE-058C-4C65-BA04-6986791C2943}" dt="2024-01-31T03:26:06.870" v="7649" actId="478"/>
          <ac:graphicFrameMkLst>
            <pc:docMk/>
            <pc:sldMk cId="1704792734" sldId="2147480331"/>
            <ac:graphicFrameMk id="4" creationId="{0E2F88A0-CD37-77A7-8DC3-1C3ABDC6F35D}"/>
          </ac:graphicFrameMkLst>
        </pc:graphicFrameChg>
        <pc:graphicFrameChg chg="del">
          <ac:chgData name="Laurence ANGILBERT" userId="28ea2967-f540-4e7d-a641-d418703ece22" providerId="ADAL" clId="{859296AE-058C-4C65-BA04-6986791C2943}" dt="2024-01-31T03:26:06.870" v="7649" actId="478"/>
          <ac:graphicFrameMkLst>
            <pc:docMk/>
            <pc:sldMk cId="1704792734" sldId="2147480331"/>
            <ac:graphicFrameMk id="5" creationId="{CA84C0C7-604A-D5FF-3D64-F2820D651A3E}"/>
          </ac:graphicFrameMkLst>
        </pc:graphicFrameChg>
        <pc:graphicFrameChg chg="add mod modGraphic">
          <ac:chgData name="Laurence ANGILBERT" userId="28ea2967-f540-4e7d-a641-d418703ece22" providerId="ADAL" clId="{859296AE-058C-4C65-BA04-6986791C2943}" dt="2024-02-01T16:29:09.494" v="22846" actId="14100"/>
          <ac:graphicFrameMkLst>
            <pc:docMk/>
            <pc:sldMk cId="1704792734" sldId="2147480331"/>
            <ac:graphicFrameMk id="25" creationId="{002674AB-6B6B-02F7-5E25-0EB30DB53238}"/>
          </ac:graphicFrameMkLst>
        </pc:graphicFrameChg>
        <pc:picChg chg="add mod">
          <ac:chgData name="Laurence ANGILBERT" userId="28ea2967-f540-4e7d-a641-d418703ece22" providerId="ADAL" clId="{859296AE-058C-4C65-BA04-6986791C2943}" dt="2024-02-01T16:29:28.878" v="22853" actId="1035"/>
          <ac:picMkLst>
            <pc:docMk/>
            <pc:sldMk cId="1704792734" sldId="2147480331"/>
            <ac:picMk id="31" creationId="{E8AB060A-D555-1355-39A5-B0881CB8A04D}"/>
          </ac:picMkLst>
        </pc:picChg>
        <pc:picChg chg="add mod">
          <ac:chgData name="Laurence ANGILBERT" userId="28ea2967-f540-4e7d-a641-d418703ece22" providerId="ADAL" clId="{859296AE-058C-4C65-BA04-6986791C2943}" dt="2024-02-01T16:41:49.559" v="23102" actId="1076"/>
          <ac:picMkLst>
            <pc:docMk/>
            <pc:sldMk cId="1704792734" sldId="2147480331"/>
            <ac:picMk id="39" creationId="{3A197D7C-1D21-7FCD-8D54-6E5C7440A261}"/>
          </ac:picMkLst>
        </pc:picChg>
        <pc:picChg chg="add mod">
          <ac:chgData name="Laurence ANGILBERT" userId="28ea2967-f540-4e7d-a641-d418703ece22" providerId="ADAL" clId="{859296AE-058C-4C65-BA04-6986791C2943}" dt="2024-02-01T16:41:07.851" v="23081" actId="1035"/>
          <ac:picMkLst>
            <pc:docMk/>
            <pc:sldMk cId="1704792734" sldId="2147480331"/>
            <ac:picMk id="40" creationId="{66AADC91-F75C-8794-F565-06F654A51FCD}"/>
          </ac:picMkLst>
        </pc:picChg>
        <pc:picChg chg="add mod">
          <ac:chgData name="Laurence ANGILBERT" userId="28ea2967-f540-4e7d-a641-d418703ece22" providerId="ADAL" clId="{859296AE-058C-4C65-BA04-6986791C2943}" dt="2024-02-02T13:54:02.576" v="28658" actId="1037"/>
          <ac:picMkLst>
            <pc:docMk/>
            <pc:sldMk cId="1704792734" sldId="2147480331"/>
            <ac:picMk id="47" creationId="{76952FCD-6971-DDDA-8B3D-55AD92141D0D}"/>
          </ac:picMkLst>
        </pc:picChg>
        <pc:picChg chg="add mod">
          <ac:chgData name="Laurence ANGILBERT" userId="28ea2967-f540-4e7d-a641-d418703ece22" providerId="ADAL" clId="{859296AE-058C-4C65-BA04-6986791C2943}" dt="2024-02-01T16:41:28.236" v="23092" actId="1076"/>
          <ac:picMkLst>
            <pc:docMk/>
            <pc:sldMk cId="1704792734" sldId="2147480331"/>
            <ac:picMk id="59" creationId="{133C8939-9EAD-38B1-C338-1B4A5934B0A4}"/>
          </ac:picMkLst>
        </pc:picChg>
        <pc:picChg chg="add mod">
          <ac:chgData name="Laurence ANGILBERT" userId="28ea2967-f540-4e7d-a641-d418703ece22" providerId="ADAL" clId="{859296AE-058C-4C65-BA04-6986791C2943}" dt="2024-02-01T16:40:00.206" v="23063" actId="1035"/>
          <ac:picMkLst>
            <pc:docMk/>
            <pc:sldMk cId="1704792734" sldId="2147480331"/>
            <ac:picMk id="70" creationId="{0A25433D-5B3A-F90C-E2AF-4BB6A7ECDC27}"/>
          </ac:picMkLst>
        </pc:picChg>
      </pc:sldChg>
      <pc:sldChg chg="addSp modSp new mod">
        <pc:chgData name="Laurence ANGILBERT" userId="28ea2967-f540-4e7d-a641-d418703ece22" providerId="ADAL" clId="{859296AE-058C-4C65-BA04-6986791C2943}" dt="2024-01-31T03:31:45.951" v="7789" actId="403"/>
        <pc:sldMkLst>
          <pc:docMk/>
          <pc:sldMk cId="3398763446" sldId="2147480332"/>
        </pc:sldMkLst>
        <pc:spChg chg="add mod">
          <ac:chgData name="Laurence ANGILBERT" userId="28ea2967-f540-4e7d-a641-d418703ece22" providerId="ADAL" clId="{859296AE-058C-4C65-BA04-6986791C2943}" dt="2024-01-31T03:31:45.951" v="7789" actId="403"/>
          <ac:spMkLst>
            <pc:docMk/>
            <pc:sldMk cId="3398763446" sldId="2147480332"/>
            <ac:spMk id="6" creationId="{25ED78F4-32C6-1705-FC8D-078F85CA2906}"/>
          </ac:spMkLst>
        </pc:spChg>
      </pc:sldChg>
      <pc:sldChg chg="addSp delSp modSp add mod">
        <pc:chgData name="Laurence ANGILBERT" userId="28ea2967-f540-4e7d-a641-d418703ece22" providerId="ADAL" clId="{859296AE-058C-4C65-BA04-6986791C2943}" dt="2024-02-02T09:08:32.741" v="25616" actId="478"/>
        <pc:sldMkLst>
          <pc:docMk/>
          <pc:sldMk cId="3670225089" sldId="2147480333"/>
        </pc:sldMkLst>
        <pc:spChg chg="add del">
          <ac:chgData name="Laurence ANGILBERT" userId="28ea2967-f540-4e7d-a641-d418703ece22" providerId="ADAL" clId="{859296AE-058C-4C65-BA04-6986791C2943}" dt="2024-01-31T03:43:52.935" v="8115" actId="478"/>
          <ac:spMkLst>
            <pc:docMk/>
            <pc:sldMk cId="3670225089" sldId="2147480333"/>
            <ac:spMk id="2" creationId="{BF857A13-9B21-9D08-5BCE-9F6F794662F3}"/>
          </ac:spMkLst>
        </pc:spChg>
        <pc:spChg chg="add del">
          <ac:chgData name="Laurence ANGILBERT" userId="28ea2967-f540-4e7d-a641-d418703ece22" providerId="ADAL" clId="{859296AE-058C-4C65-BA04-6986791C2943}" dt="2024-01-31T03:43:52.935" v="8115" actId="478"/>
          <ac:spMkLst>
            <pc:docMk/>
            <pc:sldMk cId="3670225089" sldId="2147480333"/>
            <ac:spMk id="3" creationId="{CD2C8806-76FD-0C48-E7CE-AAACEF057CA1}"/>
          </ac:spMkLst>
        </pc:spChg>
        <pc:spChg chg="add del">
          <ac:chgData name="Laurence ANGILBERT" userId="28ea2967-f540-4e7d-a641-d418703ece22" providerId="ADAL" clId="{859296AE-058C-4C65-BA04-6986791C2943}" dt="2024-01-31T03:43:52.935" v="8115" actId="478"/>
          <ac:spMkLst>
            <pc:docMk/>
            <pc:sldMk cId="3670225089" sldId="2147480333"/>
            <ac:spMk id="4" creationId="{2C16A74B-6324-D090-A7CB-C426DA64F2FC}"/>
          </ac:spMkLst>
        </pc:spChg>
        <pc:spChg chg="add mod">
          <ac:chgData name="Laurence ANGILBERT" userId="28ea2967-f540-4e7d-a641-d418703ece22" providerId="ADAL" clId="{859296AE-058C-4C65-BA04-6986791C2943}" dt="2024-02-02T09:08:22.395" v="25615" actId="20577"/>
          <ac:spMkLst>
            <pc:docMk/>
            <pc:sldMk cId="3670225089" sldId="2147480333"/>
            <ac:spMk id="5" creationId="{AC7880CC-651F-F6C0-089E-8DE72D33A13C}"/>
          </ac:spMkLst>
        </pc:spChg>
        <pc:spChg chg="add del">
          <ac:chgData name="Laurence ANGILBERT" userId="28ea2967-f540-4e7d-a641-d418703ece22" providerId="ADAL" clId="{859296AE-058C-4C65-BA04-6986791C2943}" dt="2024-01-31T03:43:52.935" v="8115" actId="478"/>
          <ac:spMkLst>
            <pc:docMk/>
            <pc:sldMk cId="3670225089" sldId="2147480333"/>
            <ac:spMk id="5" creationId="{BB2F53DE-CA86-D804-EE23-B3CF4B0C5E76}"/>
          </ac:spMkLst>
        </pc:spChg>
        <pc:spChg chg="del">
          <ac:chgData name="Laurence ANGILBERT" userId="28ea2967-f540-4e7d-a641-d418703ece22" providerId="ADAL" clId="{859296AE-058C-4C65-BA04-6986791C2943}" dt="2024-02-02T09:08:32.741" v="25616" actId="478"/>
          <ac:spMkLst>
            <pc:docMk/>
            <pc:sldMk cId="3670225089" sldId="2147480333"/>
            <ac:spMk id="6" creationId="{7B4D0DCC-626E-4847-84C4-C8287A56AC08}"/>
          </ac:spMkLst>
        </pc:spChg>
        <pc:spChg chg="add del">
          <ac:chgData name="Laurence ANGILBERT" userId="28ea2967-f540-4e7d-a641-d418703ece22" providerId="ADAL" clId="{859296AE-058C-4C65-BA04-6986791C2943}" dt="2024-01-31T03:43:52.935" v="8115" actId="478"/>
          <ac:spMkLst>
            <pc:docMk/>
            <pc:sldMk cId="3670225089" sldId="2147480333"/>
            <ac:spMk id="7" creationId="{81245684-CB42-C707-9FDE-D172B55AFB51}"/>
          </ac:spMkLst>
        </pc:spChg>
        <pc:spChg chg="add del">
          <ac:chgData name="Laurence ANGILBERT" userId="28ea2967-f540-4e7d-a641-d418703ece22" providerId="ADAL" clId="{859296AE-058C-4C65-BA04-6986791C2943}" dt="2024-01-31T03:43:52.935" v="8115" actId="478"/>
          <ac:spMkLst>
            <pc:docMk/>
            <pc:sldMk cId="3670225089" sldId="2147480333"/>
            <ac:spMk id="8" creationId="{726EBE60-6DE4-5564-5AE0-ACBBA72D891C}"/>
          </ac:spMkLst>
        </pc:spChg>
        <pc:spChg chg="add mod">
          <ac:chgData name="Laurence ANGILBERT" userId="28ea2967-f540-4e7d-a641-d418703ece22" providerId="ADAL" clId="{859296AE-058C-4C65-BA04-6986791C2943}" dt="2024-02-02T09:08:19.783" v="25614"/>
          <ac:spMkLst>
            <pc:docMk/>
            <pc:sldMk cId="3670225089" sldId="2147480333"/>
            <ac:spMk id="9" creationId="{1321CE61-B65D-D9E6-FB92-61161E4BBC53}"/>
          </ac:spMkLst>
        </pc:spChg>
        <pc:spChg chg="add del">
          <ac:chgData name="Laurence ANGILBERT" userId="28ea2967-f540-4e7d-a641-d418703ece22" providerId="ADAL" clId="{859296AE-058C-4C65-BA04-6986791C2943}" dt="2024-01-31T03:43:52.935" v="8115" actId="478"/>
          <ac:spMkLst>
            <pc:docMk/>
            <pc:sldMk cId="3670225089" sldId="2147480333"/>
            <ac:spMk id="11" creationId="{0D3969C1-1754-9C82-D6F6-EA2081A7C97C}"/>
          </ac:spMkLst>
        </pc:spChg>
        <pc:spChg chg="del mod">
          <ac:chgData name="Laurence ANGILBERT" userId="28ea2967-f540-4e7d-a641-d418703ece22" providerId="ADAL" clId="{859296AE-058C-4C65-BA04-6986791C2943}" dt="2024-02-02T09:08:17.101" v="25612" actId="478"/>
          <ac:spMkLst>
            <pc:docMk/>
            <pc:sldMk cId="3670225089" sldId="2147480333"/>
            <ac:spMk id="12" creationId="{A69472D7-2493-2CA6-688C-D454739D34D4}"/>
          </ac:spMkLst>
        </pc:spChg>
        <pc:spChg chg="add del">
          <ac:chgData name="Laurence ANGILBERT" userId="28ea2967-f540-4e7d-a641-d418703ece22" providerId="ADAL" clId="{859296AE-058C-4C65-BA04-6986791C2943}" dt="2024-01-31T03:43:52.935" v="8115" actId="478"/>
          <ac:spMkLst>
            <pc:docMk/>
            <pc:sldMk cId="3670225089" sldId="2147480333"/>
            <ac:spMk id="13" creationId="{60144A62-D7A0-7B1B-0A70-C0D515E9FA51}"/>
          </ac:spMkLst>
        </pc:spChg>
        <pc:spChg chg="add del">
          <ac:chgData name="Laurence ANGILBERT" userId="28ea2967-f540-4e7d-a641-d418703ece22" providerId="ADAL" clId="{859296AE-058C-4C65-BA04-6986791C2943}" dt="2024-01-31T03:43:52.935" v="8115" actId="478"/>
          <ac:spMkLst>
            <pc:docMk/>
            <pc:sldMk cId="3670225089" sldId="2147480333"/>
            <ac:spMk id="15" creationId="{0FBC5C26-9AFF-3C81-E825-1A9E300C8CE3}"/>
          </ac:spMkLst>
        </pc:spChg>
        <pc:spChg chg="add del">
          <ac:chgData name="Laurence ANGILBERT" userId="28ea2967-f540-4e7d-a641-d418703ece22" providerId="ADAL" clId="{859296AE-058C-4C65-BA04-6986791C2943}" dt="2024-01-31T03:43:52.935" v="8115" actId="478"/>
          <ac:spMkLst>
            <pc:docMk/>
            <pc:sldMk cId="3670225089" sldId="2147480333"/>
            <ac:spMk id="16" creationId="{987CCA58-6F77-73EE-D619-990A9747F4C6}"/>
          </ac:spMkLst>
        </pc:spChg>
        <pc:spChg chg="add del">
          <ac:chgData name="Laurence ANGILBERT" userId="28ea2967-f540-4e7d-a641-d418703ece22" providerId="ADAL" clId="{859296AE-058C-4C65-BA04-6986791C2943}" dt="2024-01-31T03:43:52.935" v="8115" actId="478"/>
          <ac:spMkLst>
            <pc:docMk/>
            <pc:sldMk cId="3670225089" sldId="2147480333"/>
            <ac:spMk id="18" creationId="{04A2156D-3519-BD73-95A4-651804F74F58}"/>
          </ac:spMkLst>
        </pc:spChg>
        <pc:spChg chg="add del">
          <ac:chgData name="Laurence ANGILBERT" userId="28ea2967-f540-4e7d-a641-d418703ece22" providerId="ADAL" clId="{859296AE-058C-4C65-BA04-6986791C2943}" dt="2024-01-31T03:43:52.935" v="8115" actId="478"/>
          <ac:spMkLst>
            <pc:docMk/>
            <pc:sldMk cId="3670225089" sldId="2147480333"/>
            <ac:spMk id="19" creationId="{7E21368D-4C55-A6A6-9BFD-F0DE40746AA3}"/>
          </ac:spMkLst>
        </pc:spChg>
        <pc:spChg chg="mod">
          <ac:chgData name="Laurence ANGILBERT" userId="28ea2967-f540-4e7d-a641-d418703ece22" providerId="ADAL" clId="{859296AE-058C-4C65-BA04-6986791C2943}" dt="2024-02-02T09:07:54.122" v="25611" actId="1035"/>
          <ac:spMkLst>
            <pc:docMk/>
            <pc:sldMk cId="3670225089" sldId="2147480333"/>
            <ac:spMk id="30" creationId="{A8A15718-341E-1618-BBFE-8DE79C4D1726}"/>
          </ac:spMkLst>
        </pc:spChg>
        <pc:spChg chg="mod">
          <ac:chgData name="Laurence ANGILBERT" userId="28ea2967-f540-4e7d-a641-d418703ece22" providerId="ADAL" clId="{859296AE-058C-4C65-BA04-6986791C2943}" dt="2024-02-02T09:07:39.589" v="25603" actId="207"/>
          <ac:spMkLst>
            <pc:docMk/>
            <pc:sldMk cId="3670225089" sldId="2147480333"/>
            <ac:spMk id="31" creationId="{DCE0C919-2FF0-B960-B4CB-977F62465439}"/>
          </ac:spMkLst>
        </pc:spChg>
        <pc:spChg chg="add del mod">
          <ac:chgData name="Laurence ANGILBERT" userId="28ea2967-f540-4e7d-a641-d418703ece22" providerId="ADAL" clId="{859296AE-058C-4C65-BA04-6986791C2943}" dt="2024-02-02T09:08:19.003" v="25613" actId="478"/>
          <ac:spMkLst>
            <pc:docMk/>
            <pc:sldMk cId="3670225089" sldId="2147480333"/>
            <ac:spMk id="39" creationId="{39B9476E-CE55-189C-6043-17DFA697A5A0}"/>
          </ac:spMkLst>
        </pc:spChg>
        <pc:grpChg chg="add del">
          <ac:chgData name="Laurence ANGILBERT" userId="28ea2967-f540-4e7d-a641-d418703ece22" providerId="ADAL" clId="{859296AE-058C-4C65-BA04-6986791C2943}" dt="2024-01-31T03:43:52.935" v="8115" actId="478"/>
          <ac:grpSpMkLst>
            <pc:docMk/>
            <pc:sldMk cId="3670225089" sldId="2147480333"/>
            <ac:grpSpMk id="21" creationId="{B178DBDD-9F7A-E298-03C5-4851235AACBC}"/>
          </ac:grpSpMkLst>
        </pc:grpChg>
        <pc:graphicFrameChg chg="add del">
          <ac:chgData name="Laurence ANGILBERT" userId="28ea2967-f540-4e7d-a641-d418703ece22" providerId="ADAL" clId="{859296AE-058C-4C65-BA04-6986791C2943}" dt="2024-01-31T03:43:52.935" v="8115" actId="478"/>
          <ac:graphicFrameMkLst>
            <pc:docMk/>
            <pc:sldMk cId="3670225089" sldId="2147480333"/>
            <ac:graphicFrameMk id="20" creationId="{22B2804A-82C6-1CDD-196B-E04860297200}"/>
          </ac:graphicFrameMkLst>
        </pc:graphicFrameChg>
        <pc:picChg chg="add del">
          <ac:chgData name="Laurence ANGILBERT" userId="28ea2967-f540-4e7d-a641-d418703ece22" providerId="ADAL" clId="{859296AE-058C-4C65-BA04-6986791C2943}" dt="2024-01-31T03:43:52.935" v="8115" actId="478"/>
          <ac:picMkLst>
            <pc:docMk/>
            <pc:sldMk cId="3670225089" sldId="2147480333"/>
            <ac:picMk id="6" creationId="{042CE5C4-7EE3-9845-EF71-0AED3AA53166}"/>
          </ac:picMkLst>
        </pc:picChg>
        <pc:picChg chg="add del">
          <ac:chgData name="Laurence ANGILBERT" userId="28ea2967-f540-4e7d-a641-d418703ece22" providerId="ADAL" clId="{859296AE-058C-4C65-BA04-6986791C2943}" dt="2024-01-31T03:43:52.935" v="8115" actId="478"/>
          <ac:picMkLst>
            <pc:docMk/>
            <pc:sldMk cId="3670225089" sldId="2147480333"/>
            <ac:picMk id="9" creationId="{A9DBFD4D-AEF1-DFBE-46AF-976036DF3530}"/>
          </ac:picMkLst>
        </pc:picChg>
        <pc:picChg chg="add del">
          <ac:chgData name="Laurence ANGILBERT" userId="28ea2967-f540-4e7d-a641-d418703ece22" providerId="ADAL" clId="{859296AE-058C-4C65-BA04-6986791C2943}" dt="2024-01-31T03:43:52.935" v="8115" actId="478"/>
          <ac:picMkLst>
            <pc:docMk/>
            <pc:sldMk cId="3670225089" sldId="2147480333"/>
            <ac:picMk id="10" creationId="{3DC76746-1427-8BE2-ED64-CECAFF8416D5}"/>
          </ac:picMkLst>
        </pc:picChg>
        <pc:picChg chg="add del">
          <ac:chgData name="Laurence ANGILBERT" userId="28ea2967-f540-4e7d-a641-d418703ece22" providerId="ADAL" clId="{859296AE-058C-4C65-BA04-6986791C2943}" dt="2024-01-31T03:43:52.935" v="8115" actId="478"/>
          <ac:picMkLst>
            <pc:docMk/>
            <pc:sldMk cId="3670225089" sldId="2147480333"/>
            <ac:picMk id="14" creationId="{1D02A0F8-B64F-2B2E-2B75-C80BD17D4583}"/>
          </ac:picMkLst>
        </pc:picChg>
        <pc:picChg chg="add del">
          <ac:chgData name="Laurence ANGILBERT" userId="28ea2967-f540-4e7d-a641-d418703ece22" providerId="ADAL" clId="{859296AE-058C-4C65-BA04-6986791C2943}" dt="2024-01-31T03:43:52.935" v="8115" actId="478"/>
          <ac:picMkLst>
            <pc:docMk/>
            <pc:sldMk cId="3670225089" sldId="2147480333"/>
            <ac:picMk id="17" creationId="{CCC1284C-1A3E-2789-E43E-E33D730481CF}"/>
          </ac:picMkLst>
        </pc:picChg>
        <pc:picChg chg="add del">
          <ac:chgData name="Laurence ANGILBERT" userId="28ea2967-f540-4e7d-a641-d418703ece22" providerId="ADAL" clId="{859296AE-058C-4C65-BA04-6986791C2943}" dt="2024-01-31T03:43:52.935" v="8115" actId="478"/>
          <ac:picMkLst>
            <pc:docMk/>
            <pc:sldMk cId="3670225089" sldId="2147480333"/>
            <ac:picMk id="37" creationId="{4AC3B667-83AB-AC08-C283-23E2B20A7A96}"/>
          </ac:picMkLst>
        </pc:picChg>
        <pc:picChg chg="add del">
          <ac:chgData name="Laurence ANGILBERT" userId="28ea2967-f540-4e7d-a641-d418703ece22" providerId="ADAL" clId="{859296AE-058C-4C65-BA04-6986791C2943}" dt="2024-01-31T03:43:52.935" v="8115" actId="478"/>
          <ac:picMkLst>
            <pc:docMk/>
            <pc:sldMk cId="3670225089" sldId="2147480333"/>
            <ac:picMk id="38" creationId="{F38A29F6-CA33-B4B8-C3C1-F70985486861}"/>
          </ac:picMkLst>
        </pc:picChg>
        <pc:picChg chg="add del">
          <ac:chgData name="Laurence ANGILBERT" userId="28ea2967-f540-4e7d-a641-d418703ece22" providerId="ADAL" clId="{859296AE-058C-4C65-BA04-6986791C2943}" dt="2024-01-31T03:43:52.935" v="8115" actId="478"/>
          <ac:picMkLst>
            <pc:docMk/>
            <pc:sldMk cId="3670225089" sldId="2147480333"/>
            <ac:picMk id="40" creationId="{F6C015B9-AB3D-564E-55C3-9E8F64C008E6}"/>
          </ac:picMkLst>
        </pc:picChg>
      </pc:sldChg>
      <pc:sldChg chg="modSp del mod">
        <pc:chgData name="Laurence ANGILBERT" userId="28ea2967-f540-4e7d-a641-d418703ece22" providerId="ADAL" clId="{859296AE-058C-4C65-BA04-6986791C2943}" dt="2024-02-02T13:29:35.171" v="28428" actId="2696"/>
        <pc:sldMkLst>
          <pc:docMk/>
          <pc:sldMk cId="560279385" sldId="2147480334"/>
        </pc:sldMkLst>
        <pc:spChg chg="mod">
          <ac:chgData name="Laurence ANGILBERT" userId="28ea2967-f540-4e7d-a641-d418703ece22" providerId="ADAL" clId="{859296AE-058C-4C65-BA04-6986791C2943}" dt="2024-02-02T09:15:41.205" v="25678"/>
          <ac:spMkLst>
            <pc:docMk/>
            <pc:sldMk cId="560279385" sldId="2147480334"/>
            <ac:spMk id="2" creationId="{A7A85104-0EAC-0BD9-6FB3-03CA67433DA5}"/>
          </ac:spMkLst>
        </pc:spChg>
      </pc:sldChg>
      <pc:sldChg chg="add">
        <pc:chgData name="Laurence ANGILBERT" userId="28ea2967-f540-4e7d-a641-d418703ece22" providerId="ADAL" clId="{859296AE-058C-4C65-BA04-6986791C2943}" dt="2024-02-02T13:29:43.549" v="28429"/>
        <pc:sldMkLst>
          <pc:docMk/>
          <pc:sldMk cId="2708384163" sldId="2147480334"/>
        </pc:sldMkLst>
      </pc:sldChg>
      <pc:sldChg chg="addSp delSp modSp del mod">
        <pc:chgData name="Laurence ANGILBERT" userId="28ea2967-f540-4e7d-a641-d418703ece22" providerId="ADAL" clId="{859296AE-058C-4C65-BA04-6986791C2943}" dt="2024-02-02T14:22:25.934" v="29015" actId="47"/>
        <pc:sldMkLst>
          <pc:docMk/>
          <pc:sldMk cId="2861464629" sldId="2147480335"/>
        </pc:sldMkLst>
        <pc:graphicFrameChg chg="modGraphic">
          <ac:chgData name="Laurence ANGILBERT" userId="28ea2967-f540-4e7d-a641-d418703ece22" providerId="ADAL" clId="{859296AE-058C-4C65-BA04-6986791C2943}" dt="2024-02-02T14:17:51.959" v="28845" actId="20577"/>
          <ac:graphicFrameMkLst>
            <pc:docMk/>
            <pc:sldMk cId="2861464629" sldId="2147480335"/>
            <ac:graphicFrameMk id="2" creationId="{BFB6AE9A-6788-6653-FA00-77106530C2E8}"/>
          </ac:graphicFrameMkLst>
        </pc:graphicFrameChg>
        <pc:picChg chg="del mod">
          <ac:chgData name="Laurence ANGILBERT" userId="28ea2967-f540-4e7d-a641-d418703ece22" providerId="ADAL" clId="{859296AE-058C-4C65-BA04-6986791C2943}" dt="2024-01-31T15:22:34.159" v="13749" actId="478"/>
          <ac:picMkLst>
            <pc:docMk/>
            <pc:sldMk cId="2861464629" sldId="2147480335"/>
            <ac:picMk id="35" creationId="{15622FE0-AC89-C444-EB20-F19267423A0B}"/>
          </ac:picMkLst>
        </pc:picChg>
        <pc:picChg chg="add mod">
          <ac:chgData name="Laurence ANGILBERT" userId="28ea2967-f540-4e7d-a641-d418703ece22" providerId="ADAL" clId="{859296AE-058C-4C65-BA04-6986791C2943}" dt="2024-01-31T15:22:37.593" v="13751" actId="1076"/>
          <ac:picMkLst>
            <pc:docMk/>
            <pc:sldMk cId="2861464629" sldId="2147480335"/>
            <ac:picMk id="47" creationId="{3623D7C5-6518-B5E6-13EB-E774AD792A9F}"/>
          </ac:picMkLst>
        </pc:picChg>
      </pc:sldChg>
      <pc:sldChg chg="addSp delSp modSp mod ord">
        <pc:chgData name="Laurence ANGILBERT" userId="28ea2967-f540-4e7d-a641-d418703ece22" providerId="ADAL" clId="{859296AE-058C-4C65-BA04-6986791C2943}" dt="2024-02-02T14:47:20.829" v="30075"/>
        <pc:sldMkLst>
          <pc:docMk/>
          <pc:sldMk cId="1475900930" sldId="2147480336"/>
        </pc:sldMkLst>
        <pc:spChg chg="mod">
          <ac:chgData name="Laurence ANGILBERT" userId="28ea2967-f540-4e7d-a641-d418703ece22" providerId="ADAL" clId="{859296AE-058C-4C65-BA04-6986791C2943}" dt="2024-02-02T14:24:36.573" v="29072" actId="20577"/>
          <ac:spMkLst>
            <pc:docMk/>
            <pc:sldMk cId="1475900930" sldId="2147480336"/>
            <ac:spMk id="6" creationId="{B6E8369B-647E-2C0C-8E85-E1BD82307DA6}"/>
          </ac:spMkLst>
        </pc:spChg>
        <pc:spChg chg="del">
          <ac:chgData name="Laurence ANGILBERT" userId="28ea2967-f540-4e7d-a641-d418703ece22" providerId="ADAL" clId="{859296AE-058C-4C65-BA04-6986791C2943}" dt="2024-02-02T14:24:47.269" v="29073" actId="478"/>
          <ac:spMkLst>
            <pc:docMk/>
            <pc:sldMk cId="1475900930" sldId="2147480336"/>
            <ac:spMk id="9" creationId="{86CBB8EE-A58A-6E06-236D-B8B10259D9E4}"/>
          </ac:spMkLst>
        </pc:spChg>
        <pc:spChg chg="del">
          <ac:chgData name="Laurence ANGILBERT" userId="28ea2967-f540-4e7d-a641-d418703ece22" providerId="ADAL" clId="{859296AE-058C-4C65-BA04-6986791C2943}" dt="2024-02-02T14:24:47.269" v="29073" actId="478"/>
          <ac:spMkLst>
            <pc:docMk/>
            <pc:sldMk cId="1475900930" sldId="2147480336"/>
            <ac:spMk id="10" creationId="{B9D7F59B-86C2-3611-B8B7-0262B14B33FC}"/>
          </ac:spMkLst>
        </pc:spChg>
        <pc:spChg chg="del">
          <ac:chgData name="Laurence ANGILBERT" userId="28ea2967-f540-4e7d-a641-d418703ece22" providerId="ADAL" clId="{859296AE-058C-4C65-BA04-6986791C2943}" dt="2024-02-02T14:24:47.269" v="29073" actId="478"/>
          <ac:spMkLst>
            <pc:docMk/>
            <pc:sldMk cId="1475900930" sldId="2147480336"/>
            <ac:spMk id="11" creationId="{F45D948A-5B18-1EFD-DC12-A5BD7A71E9A6}"/>
          </ac:spMkLst>
        </pc:spChg>
        <pc:spChg chg="del">
          <ac:chgData name="Laurence ANGILBERT" userId="28ea2967-f540-4e7d-a641-d418703ece22" providerId="ADAL" clId="{859296AE-058C-4C65-BA04-6986791C2943}" dt="2024-02-02T14:24:47.269" v="29073" actId="478"/>
          <ac:spMkLst>
            <pc:docMk/>
            <pc:sldMk cId="1475900930" sldId="2147480336"/>
            <ac:spMk id="16" creationId="{26A7A17D-400B-A8E6-09CD-27989DBA92FF}"/>
          </ac:spMkLst>
        </pc:spChg>
        <pc:spChg chg="del">
          <ac:chgData name="Laurence ANGILBERT" userId="28ea2967-f540-4e7d-a641-d418703ece22" providerId="ADAL" clId="{859296AE-058C-4C65-BA04-6986791C2943}" dt="2024-02-02T14:27:41.279" v="29220" actId="478"/>
          <ac:spMkLst>
            <pc:docMk/>
            <pc:sldMk cId="1475900930" sldId="2147480336"/>
            <ac:spMk id="17" creationId="{9AACC414-D660-4782-F463-D3741B50A405}"/>
          </ac:spMkLst>
        </pc:spChg>
        <pc:spChg chg="del">
          <ac:chgData name="Laurence ANGILBERT" userId="28ea2967-f540-4e7d-a641-d418703ece22" providerId="ADAL" clId="{859296AE-058C-4C65-BA04-6986791C2943}" dt="2024-02-02T14:24:47.269" v="29073" actId="478"/>
          <ac:spMkLst>
            <pc:docMk/>
            <pc:sldMk cId="1475900930" sldId="2147480336"/>
            <ac:spMk id="18" creationId="{654422A6-6679-E841-3BB4-21C3368E0778}"/>
          </ac:spMkLst>
        </pc:spChg>
        <pc:spChg chg="add mod">
          <ac:chgData name="Laurence ANGILBERT" userId="28ea2967-f540-4e7d-a641-d418703ece22" providerId="ADAL" clId="{859296AE-058C-4C65-BA04-6986791C2943}" dt="2024-02-02T14:47:20.829" v="30075"/>
          <ac:spMkLst>
            <pc:docMk/>
            <pc:sldMk cId="1475900930" sldId="2147480336"/>
            <ac:spMk id="21" creationId="{FA11B2FF-4799-97FA-CA23-C36A5610C0F0}"/>
          </ac:spMkLst>
        </pc:spChg>
        <pc:graphicFrameChg chg="del">
          <ac:chgData name="Laurence ANGILBERT" userId="28ea2967-f540-4e7d-a641-d418703ece22" providerId="ADAL" clId="{859296AE-058C-4C65-BA04-6986791C2943}" dt="2024-02-02T14:24:47.269" v="29073" actId="478"/>
          <ac:graphicFrameMkLst>
            <pc:docMk/>
            <pc:sldMk cId="1475900930" sldId="2147480336"/>
            <ac:graphicFrameMk id="7" creationId="{EE227770-8007-9A90-2216-31041EE66659}"/>
          </ac:graphicFrameMkLst>
        </pc:graphicFrameChg>
        <pc:graphicFrameChg chg="mod modGraphic">
          <ac:chgData name="Laurence ANGILBERT" userId="28ea2967-f540-4e7d-a641-d418703ece22" providerId="ADAL" clId="{859296AE-058C-4C65-BA04-6986791C2943}" dt="2024-02-02T14:46:45.092" v="30024" actId="5793"/>
          <ac:graphicFrameMkLst>
            <pc:docMk/>
            <pc:sldMk cId="1475900930" sldId="2147480336"/>
            <ac:graphicFrameMk id="25" creationId="{A95ED58A-BBDE-43E3-F55F-0E8591C92D3A}"/>
          </ac:graphicFrameMkLst>
        </pc:graphicFrameChg>
        <pc:picChg chg="add mod">
          <ac:chgData name="Laurence ANGILBERT" userId="28ea2967-f540-4e7d-a641-d418703ece22" providerId="ADAL" clId="{859296AE-058C-4C65-BA04-6986791C2943}" dt="2024-01-31T15:22:47.400" v="13754" actId="1076"/>
          <ac:picMkLst>
            <pc:docMk/>
            <pc:sldMk cId="1475900930" sldId="2147480336"/>
            <ac:picMk id="2" creationId="{9CB8A27F-00FE-E196-C479-0BEDA08DCA4D}"/>
          </ac:picMkLst>
        </pc:picChg>
        <pc:picChg chg="add mod">
          <ac:chgData name="Laurence ANGILBERT" userId="28ea2967-f540-4e7d-a641-d418703ece22" providerId="ADAL" clId="{859296AE-058C-4C65-BA04-6986791C2943}" dt="2024-02-02T14:42:02.681" v="29877" actId="1037"/>
          <ac:picMkLst>
            <pc:docMk/>
            <pc:sldMk cId="1475900930" sldId="2147480336"/>
            <ac:picMk id="4" creationId="{B4A84F29-1760-B019-5D15-33DE40FFCCBA}"/>
          </ac:picMkLst>
        </pc:picChg>
        <pc:picChg chg="add mod">
          <ac:chgData name="Laurence ANGILBERT" userId="28ea2967-f540-4e7d-a641-d418703ece22" providerId="ADAL" clId="{859296AE-058C-4C65-BA04-6986791C2943}" dt="2024-02-02T14:47:05.005" v="30074" actId="1036"/>
          <ac:picMkLst>
            <pc:docMk/>
            <pc:sldMk cId="1475900930" sldId="2147480336"/>
            <ac:picMk id="5" creationId="{5BAE5436-CB96-5537-A538-D87511561C9D}"/>
          </ac:picMkLst>
        </pc:picChg>
        <pc:picChg chg="add mod">
          <ac:chgData name="Laurence ANGILBERT" userId="28ea2967-f540-4e7d-a641-d418703ece22" providerId="ADAL" clId="{859296AE-058C-4C65-BA04-6986791C2943}" dt="2024-02-02T14:46:56.404" v="30043" actId="1036"/>
          <ac:picMkLst>
            <pc:docMk/>
            <pc:sldMk cId="1475900930" sldId="2147480336"/>
            <ac:picMk id="8" creationId="{463FDEF0-DF0F-2D05-1A89-E52525F19D25}"/>
          </ac:picMkLst>
        </pc:picChg>
        <pc:picChg chg="mod">
          <ac:chgData name="Laurence ANGILBERT" userId="28ea2967-f540-4e7d-a641-d418703ece22" providerId="ADAL" clId="{859296AE-058C-4C65-BA04-6986791C2943}" dt="2024-02-02T14:41:47.047" v="29843" actId="1035"/>
          <ac:picMkLst>
            <pc:docMk/>
            <pc:sldMk cId="1475900930" sldId="2147480336"/>
            <ac:picMk id="12" creationId="{9F11A87A-ED17-3B84-1AB3-678B61C51C05}"/>
          </ac:picMkLst>
        </pc:picChg>
        <pc:picChg chg="add mod">
          <ac:chgData name="Laurence ANGILBERT" userId="28ea2967-f540-4e7d-a641-d418703ece22" providerId="ADAL" clId="{859296AE-058C-4C65-BA04-6986791C2943}" dt="2024-02-02T14:47:05.005" v="30074" actId="1036"/>
          <ac:picMkLst>
            <pc:docMk/>
            <pc:sldMk cId="1475900930" sldId="2147480336"/>
            <ac:picMk id="13" creationId="{02A621A4-62B9-3423-ECAD-D2EE3403CC13}"/>
          </ac:picMkLst>
        </pc:picChg>
        <pc:picChg chg="mod">
          <ac:chgData name="Laurence ANGILBERT" userId="28ea2967-f540-4e7d-a641-d418703ece22" providerId="ADAL" clId="{859296AE-058C-4C65-BA04-6986791C2943}" dt="2024-02-02T14:46:56.404" v="30043" actId="1036"/>
          <ac:picMkLst>
            <pc:docMk/>
            <pc:sldMk cId="1475900930" sldId="2147480336"/>
            <ac:picMk id="14" creationId="{B104EED2-4D5A-6D29-8F0B-E310F900A4B9}"/>
          </ac:picMkLst>
        </pc:picChg>
        <pc:picChg chg="del mod">
          <ac:chgData name="Laurence ANGILBERT" userId="28ea2967-f540-4e7d-a641-d418703ece22" providerId="ADAL" clId="{859296AE-058C-4C65-BA04-6986791C2943}" dt="2024-02-02T14:26:42.241" v="29125" actId="478"/>
          <ac:picMkLst>
            <pc:docMk/>
            <pc:sldMk cId="1475900930" sldId="2147480336"/>
            <ac:picMk id="15" creationId="{024C1C3B-C026-72C3-A0A9-87257A3F5E80}"/>
          </ac:picMkLst>
        </pc:picChg>
        <pc:picChg chg="del mod">
          <ac:chgData name="Laurence ANGILBERT" userId="28ea2967-f540-4e7d-a641-d418703ece22" providerId="ADAL" clId="{859296AE-058C-4C65-BA04-6986791C2943}" dt="2024-02-02T14:32:32.799" v="29308" actId="478"/>
          <ac:picMkLst>
            <pc:docMk/>
            <pc:sldMk cId="1475900930" sldId="2147480336"/>
            <ac:picMk id="19" creationId="{FAEB17B4-8D78-4361-FCA9-2EBE7DDC2973}"/>
          </ac:picMkLst>
        </pc:picChg>
        <pc:picChg chg="del mod">
          <ac:chgData name="Laurence ANGILBERT" userId="28ea2967-f540-4e7d-a641-d418703ece22" providerId="ADAL" clId="{859296AE-058C-4C65-BA04-6986791C2943}" dt="2024-02-02T14:25:43.069" v="29081" actId="478"/>
          <ac:picMkLst>
            <pc:docMk/>
            <pc:sldMk cId="1475900930" sldId="2147480336"/>
            <ac:picMk id="20" creationId="{DBB7364C-551A-F078-5E3F-345C79C23F0E}"/>
          </ac:picMkLst>
        </pc:picChg>
        <pc:picChg chg="mod">
          <ac:chgData name="Laurence ANGILBERT" userId="28ea2967-f540-4e7d-a641-d418703ece22" providerId="ADAL" clId="{859296AE-058C-4C65-BA04-6986791C2943}" dt="2024-02-02T14:45:56.525" v="30012" actId="1038"/>
          <ac:picMkLst>
            <pc:docMk/>
            <pc:sldMk cId="1475900930" sldId="2147480336"/>
            <ac:picMk id="22" creationId="{759F4E6E-6EC2-9545-975B-0C1F6E32A02A}"/>
          </ac:picMkLst>
        </pc:picChg>
        <pc:picChg chg="del">
          <ac:chgData name="Laurence ANGILBERT" userId="28ea2967-f540-4e7d-a641-d418703ece22" providerId="ADAL" clId="{859296AE-058C-4C65-BA04-6986791C2943}" dt="2024-01-31T15:22:43.551" v="13752" actId="478"/>
          <ac:picMkLst>
            <pc:docMk/>
            <pc:sldMk cId="1475900930" sldId="2147480336"/>
            <ac:picMk id="24" creationId="{E80151D6-544B-5F73-8B19-58139D9AFAC0}"/>
          </ac:picMkLst>
        </pc:picChg>
        <pc:picChg chg="add mod">
          <ac:chgData name="Laurence ANGILBERT" userId="28ea2967-f540-4e7d-a641-d418703ece22" providerId="ADAL" clId="{859296AE-058C-4C65-BA04-6986791C2943}" dt="2024-02-02T14:45:59.879" v="30013" actId="1076"/>
          <ac:picMkLst>
            <pc:docMk/>
            <pc:sldMk cId="1475900930" sldId="2147480336"/>
            <ac:picMk id="28" creationId="{24600E04-334E-B96C-BDBB-1EF8B584E5D0}"/>
          </ac:picMkLst>
        </pc:picChg>
        <pc:picChg chg="add mod">
          <ac:chgData name="Laurence ANGILBERT" userId="28ea2967-f540-4e7d-a641-d418703ece22" providerId="ADAL" clId="{859296AE-058C-4C65-BA04-6986791C2943}" dt="2024-02-02T14:33:26.290" v="29318" actId="1076"/>
          <ac:picMkLst>
            <pc:docMk/>
            <pc:sldMk cId="1475900930" sldId="2147480336"/>
            <ac:picMk id="32" creationId="{B30F1D7A-A1BF-666D-391D-C1E85BC6CFC3}"/>
          </ac:picMkLst>
        </pc:picChg>
      </pc:sldChg>
      <pc:sldChg chg="addSp delSp modSp mod ord">
        <pc:chgData name="Laurence ANGILBERT" userId="28ea2967-f540-4e7d-a641-d418703ece22" providerId="ADAL" clId="{859296AE-058C-4C65-BA04-6986791C2943}" dt="2024-02-02T17:11:54.180" v="30094" actId="20577"/>
        <pc:sldMkLst>
          <pc:docMk/>
          <pc:sldMk cId="3124005727" sldId="2147480337"/>
        </pc:sldMkLst>
        <pc:spChg chg="mod">
          <ac:chgData name="Laurence ANGILBERT" userId="28ea2967-f540-4e7d-a641-d418703ece22" providerId="ADAL" clId="{859296AE-058C-4C65-BA04-6986791C2943}" dt="2024-02-02T14:24:28.970" v="29065" actId="20577"/>
          <ac:spMkLst>
            <pc:docMk/>
            <pc:sldMk cId="3124005727" sldId="2147480337"/>
            <ac:spMk id="3" creationId="{D37069D9-5950-C26E-070A-850EF4F48DB9}"/>
          </ac:spMkLst>
        </pc:spChg>
        <pc:spChg chg="mod">
          <ac:chgData name="Laurence ANGILBERT" userId="28ea2967-f540-4e7d-a641-d418703ece22" providerId="ADAL" clId="{859296AE-058C-4C65-BA04-6986791C2943}" dt="2024-02-02T17:11:54.180" v="30094" actId="20577"/>
          <ac:spMkLst>
            <pc:docMk/>
            <pc:sldMk cId="3124005727" sldId="2147480337"/>
            <ac:spMk id="9" creationId="{461442E2-CF9D-3785-C6FD-F8ACB11B3DDA}"/>
          </ac:spMkLst>
        </pc:spChg>
        <pc:spChg chg="mod">
          <ac:chgData name="Laurence ANGILBERT" userId="28ea2967-f540-4e7d-a641-d418703ece22" providerId="ADAL" clId="{859296AE-058C-4C65-BA04-6986791C2943}" dt="2024-02-02T14:35:43.986" v="29413" actId="1036"/>
          <ac:spMkLst>
            <pc:docMk/>
            <pc:sldMk cId="3124005727" sldId="2147480337"/>
            <ac:spMk id="15" creationId="{8A2F68A8-0F49-4C24-6063-9EAE773E0512}"/>
          </ac:spMkLst>
        </pc:spChg>
        <pc:spChg chg="mod">
          <ac:chgData name="Laurence ANGILBERT" userId="28ea2967-f540-4e7d-a641-d418703ece22" providerId="ADAL" clId="{859296AE-058C-4C65-BA04-6986791C2943}" dt="2024-02-02T14:35:43.986" v="29413" actId="1036"/>
          <ac:spMkLst>
            <pc:docMk/>
            <pc:sldMk cId="3124005727" sldId="2147480337"/>
            <ac:spMk id="16" creationId="{9EA3D89C-4344-EE3B-1786-3BF582707082}"/>
          </ac:spMkLst>
        </pc:spChg>
        <pc:spChg chg="mod">
          <ac:chgData name="Laurence ANGILBERT" userId="28ea2967-f540-4e7d-a641-d418703ece22" providerId="ADAL" clId="{859296AE-058C-4C65-BA04-6986791C2943}" dt="2024-02-02T14:35:43.986" v="29413" actId="1036"/>
          <ac:spMkLst>
            <pc:docMk/>
            <pc:sldMk cId="3124005727" sldId="2147480337"/>
            <ac:spMk id="17" creationId="{DE873E4F-902C-6ABA-2909-2CE4BBC88281}"/>
          </ac:spMkLst>
        </pc:spChg>
        <pc:spChg chg="mod">
          <ac:chgData name="Laurence ANGILBERT" userId="28ea2967-f540-4e7d-a641-d418703ece22" providerId="ADAL" clId="{859296AE-058C-4C65-BA04-6986791C2943}" dt="2024-02-02T14:35:43.986" v="29413" actId="1036"/>
          <ac:spMkLst>
            <pc:docMk/>
            <pc:sldMk cId="3124005727" sldId="2147480337"/>
            <ac:spMk id="18" creationId="{64825884-95D7-7028-60EE-E1F486387493}"/>
          </ac:spMkLst>
        </pc:spChg>
        <pc:spChg chg="mod">
          <ac:chgData name="Laurence ANGILBERT" userId="28ea2967-f540-4e7d-a641-d418703ece22" providerId="ADAL" clId="{859296AE-058C-4C65-BA04-6986791C2943}" dt="2024-02-02T14:35:43.986" v="29413" actId="1036"/>
          <ac:spMkLst>
            <pc:docMk/>
            <pc:sldMk cId="3124005727" sldId="2147480337"/>
            <ac:spMk id="19" creationId="{46C33C7C-5967-BBCC-ADFB-4F9C57A21D24}"/>
          </ac:spMkLst>
        </pc:spChg>
        <pc:spChg chg="add mod">
          <ac:chgData name="Laurence ANGILBERT" userId="28ea2967-f540-4e7d-a641-d418703ece22" providerId="ADAL" clId="{859296AE-058C-4C65-BA04-6986791C2943}" dt="2024-02-02T14:22:17.713" v="29014" actId="404"/>
          <ac:spMkLst>
            <pc:docMk/>
            <pc:sldMk cId="3124005727" sldId="2147480337"/>
            <ac:spMk id="31" creationId="{A425D287-0FBE-7ACA-C145-A6DB4F9A7A4E}"/>
          </ac:spMkLst>
        </pc:spChg>
        <pc:graphicFrameChg chg="mod modGraphic">
          <ac:chgData name="Laurence ANGILBERT" userId="28ea2967-f540-4e7d-a641-d418703ece22" providerId="ADAL" clId="{859296AE-058C-4C65-BA04-6986791C2943}" dt="2024-02-02T14:44:48.971" v="29950"/>
          <ac:graphicFrameMkLst>
            <pc:docMk/>
            <pc:sldMk cId="3124005727" sldId="2147480337"/>
            <ac:graphicFrameMk id="2" creationId="{E55B44E2-27DF-DA6A-53FD-6FD0202BC1ED}"/>
          </ac:graphicFrameMkLst>
        </pc:graphicFrameChg>
        <pc:graphicFrameChg chg="mod modGraphic">
          <ac:chgData name="Laurence ANGILBERT" userId="28ea2967-f540-4e7d-a641-d418703ece22" providerId="ADAL" clId="{859296AE-058C-4C65-BA04-6986791C2943}" dt="2024-02-02T14:35:52.405" v="29414" actId="14734"/>
          <ac:graphicFrameMkLst>
            <pc:docMk/>
            <pc:sldMk cId="3124005727" sldId="2147480337"/>
            <ac:graphicFrameMk id="10" creationId="{7D4FD022-50BA-8700-32BF-3AD689096E20}"/>
          </ac:graphicFrameMkLst>
        </pc:graphicFrameChg>
        <pc:graphicFrameChg chg="add mod">
          <ac:chgData name="Laurence ANGILBERT" userId="28ea2967-f540-4e7d-a641-d418703ece22" providerId="ADAL" clId="{859296AE-058C-4C65-BA04-6986791C2943}" dt="2024-02-02T14:37:34.775" v="29427"/>
          <ac:graphicFrameMkLst>
            <pc:docMk/>
            <pc:sldMk cId="3124005727" sldId="2147480337"/>
            <ac:graphicFrameMk id="33" creationId="{91875E06-53B1-9CF5-D89D-679A94E3C10C}"/>
          </ac:graphicFrameMkLst>
        </pc:graphicFrameChg>
        <pc:picChg chg="mod">
          <ac:chgData name="Laurence ANGILBERT" userId="28ea2967-f540-4e7d-a641-d418703ece22" providerId="ADAL" clId="{859296AE-058C-4C65-BA04-6986791C2943}" dt="2024-02-02T14:35:43.986" v="29413" actId="1036"/>
          <ac:picMkLst>
            <pc:docMk/>
            <pc:sldMk cId="3124005727" sldId="2147480337"/>
            <ac:picMk id="5" creationId="{AC73B3E6-ECE1-E120-FE8D-2F5A54520263}"/>
          </ac:picMkLst>
        </pc:picChg>
        <pc:picChg chg="mod">
          <ac:chgData name="Laurence ANGILBERT" userId="28ea2967-f540-4e7d-a641-d418703ece22" providerId="ADAL" clId="{859296AE-058C-4C65-BA04-6986791C2943}" dt="2024-02-02T14:35:43.986" v="29413" actId="1036"/>
          <ac:picMkLst>
            <pc:docMk/>
            <pc:sldMk cId="3124005727" sldId="2147480337"/>
            <ac:picMk id="6" creationId="{E44944FC-6181-EFB9-00D1-57A2B8AB466E}"/>
          </ac:picMkLst>
        </pc:picChg>
        <pc:picChg chg="mod">
          <ac:chgData name="Laurence ANGILBERT" userId="28ea2967-f540-4e7d-a641-d418703ece22" providerId="ADAL" clId="{859296AE-058C-4C65-BA04-6986791C2943}" dt="2024-02-02T14:35:43.986" v="29413" actId="1036"/>
          <ac:picMkLst>
            <pc:docMk/>
            <pc:sldMk cId="3124005727" sldId="2147480337"/>
            <ac:picMk id="7" creationId="{5E071DF0-8943-4FB9-A73C-806C97AD51C1}"/>
          </ac:picMkLst>
        </pc:picChg>
        <pc:picChg chg="mod">
          <ac:chgData name="Laurence ANGILBERT" userId="28ea2967-f540-4e7d-a641-d418703ece22" providerId="ADAL" clId="{859296AE-058C-4C65-BA04-6986791C2943}" dt="2024-02-02T14:35:43.986" v="29413" actId="1036"/>
          <ac:picMkLst>
            <pc:docMk/>
            <pc:sldMk cId="3124005727" sldId="2147480337"/>
            <ac:picMk id="8" creationId="{4F2A914F-8A56-5698-4816-FDD471C30BFA}"/>
          </ac:picMkLst>
        </pc:picChg>
        <pc:picChg chg="mod">
          <ac:chgData name="Laurence ANGILBERT" userId="28ea2967-f540-4e7d-a641-d418703ece22" providerId="ADAL" clId="{859296AE-058C-4C65-BA04-6986791C2943}" dt="2024-02-02T14:40:48.682" v="29793" actId="1036"/>
          <ac:picMkLst>
            <pc:docMk/>
            <pc:sldMk cId="3124005727" sldId="2147480337"/>
            <ac:picMk id="11" creationId="{893AAA99-A0B9-0777-CC34-AA59D292C4B3}"/>
          </ac:picMkLst>
        </pc:picChg>
        <pc:picChg chg="mod">
          <ac:chgData name="Laurence ANGILBERT" userId="28ea2967-f540-4e7d-a641-d418703ece22" providerId="ADAL" clId="{859296AE-058C-4C65-BA04-6986791C2943}" dt="2024-02-02T14:40:48.682" v="29793" actId="1036"/>
          <ac:picMkLst>
            <pc:docMk/>
            <pc:sldMk cId="3124005727" sldId="2147480337"/>
            <ac:picMk id="12" creationId="{30F0BBE0-57BA-E200-8655-7BC7BC9D43DF}"/>
          </ac:picMkLst>
        </pc:picChg>
        <pc:picChg chg="del mod">
          <ac:chgData name="Laurence ANGILBERT" userId="28ea2967-f540-4e7d-a641-d418703ece22" providerId="ADAL" clId="{859296AE-058C-4C65-BA04-6986791C2943}" dt="2024-02-02T14:36:30.020" v="29418" actId="478"/>
          <ac:picMkLst>
            <pc:docMk/>
            <pc:sldMk cId="3124005727" sldId="2147480337"/>
            <ac:picMk id="13" creationId="{6E158409-2501-81C1-6ADD-C16D5C67269F}"/>
          </ac:picMkLst>
        </pc:picChg>
        <pc:picChg chg="del mod">
          <ac:chgData name="Laurence ANGILBERT" userId="28ea2967-f540-4e7d-a641-d418703ece22" providerId="ADAL" clId="{859296AE-058C-4C65-BA04-6986791C2943}" dt="2024-02-02T14:36:30.020" v="29418" actId="478"/>
          <ac:picMkLst>
            <pc:docMk/>
            <pc:sldMk cId="3124005727" sldId="2147480337"/>
            <ac:picMk id="14" creationId="{3EC8A5BD-9EB6-D859-09BC-77D1F06712F1}"/>
          </ac:picMkLst>
        </pc:picChg>
        <pc:picChg chg="mod">
          <ac:chgData name="Laurence ANGILBERT" userId="28ea2967-f540-4e7d-a641-d418703ece22" providerId="ADAL" clId="{859296AE-058C-4C65-BA04-6986791C2943}" dt="2024-02-02T14:35:43.986" v="29413" actId="1036"/>
          <ac:picMkLst>
            <pc:docMk/>
            <pc:sldMk cId="3124005727" sldId="2147480337"/>
            <ac:picMk id="20" creationId="{FF8197E0-4757-CB21-0563-A7A36168CE84}"/>
          </ac:picMkLst>
        </pc:picChg>
        <pc:picChg chg="mod">
          <ac:chgData name="Laurence ANGILBERT" userId="28ea2967-f540-4e7d-a641-d418703ece22" providerId="ADAL" clId="{859296AE-058C-4C65-BA04-6986791C2943}" dt="2024-02-02T14:35:43.986" v="29413" actId="1036"/>
          <ac:picMkLst>
            <pc:docMk/>
            <pc:sldMk cId="3124005727" sldId="2147480337"/>
            <ac:picMk id="21" creationId="{36EAEA94-2D6A-EED8-12C2-1BF30968B8E3}"/>
          </ac:picMkLst>
        </pc:picChg>
        <pc:picChg chg="mod">
          <ac:chgData name="Laurence ANGILBERT" userId="28ea2967-f540-4e7d-a641-d418703ece22" providerId="ADAL" clId="{859296AE-058C-4C65-BA04-6986791C2943}" dt="2024-02-02T14:35:43.986" v="29413" actId="1036"/>
          <ac:picMkLst>
            <pc:docMk/>
            <pc:sldMk cId="3124005727" sldId="2147480337"/>
            <ac:picMk id="22" creationId="{06C301F7-37C4-EDB0-FDA3-47A2F7155E69}"/>
          </ac:picMkLst>
        </pc:picChg>
        <pc:picChg chg="mod">
          <ac:chgData name="Laurence ANGILBERT" userId="28ea2967-f540-4e7d-a641-d418703ece22" providerId="ADAL" clId="{859296AE-058C-4C65-BA04-6986791C2943}" dt="2024-02-02T14:35:43.986" v="29413" actId="1036"/>
          <ac:picMkLst>
            <pc:docMk/>
            <pc:sldMk cId="3124005727" sldId="2147480337"/>
            <ac:picMk id="23" creationId="{8D8C6200-4B97-D3D1-43E7-65DBAA1B6FAE}"/>
          </ac:picMkLst>
        </pc:picChg>
        <pc:picChg chg="mod">
          <ac:chgData name="Laurence ANGILBERT" userId="28ea2967-f540-4e7d-a641-d418703ece22" providerId="ADAL" clId="{859296AE-058C-4C65-BA04-6986791C2943}" dt="2024-02-02T14:35:43.986" v="29413" actId="1036"/>
          <ac:picMkLst>
            <pc:docMk/>
            <pc:sldMk cId="3124005727" sldId="2147480337"/>
            <ac:picMk id="24" creationId="{AA73909D-0335-C0B0-3B67-B48CDC065A89}"/>
          </ac:picMkLst>
        </pc:picChg>
        <pc:picChg chg="mod">
          <ac:chgData name="Laurence ANGILBERT" userId="28ea2967-f540-4e7d-a641-d418703ece22" providerId="ADAL" clId="{859296AE-058C-4C65-BA04-6986791C2943}" dt="2024-02-02T14:35:43.986" v="29413" actId="1036"/>
          <ac:picMkLst>
            <pc:docMk/>
            <pc:sldMk cId="3124005727" sldId="2147480337"/>
            <ac:picMk id="25" creationId="{202AD041-61A2-EF32-DBD1-01A64F82F841}"/>
          </ac:picMkLst>
        </pc:picChg>
        <pc:picChg chg="mod">
          <ac:chgData name="Laurence ANGILBERT" userId="28ea2967-f540-4e7d-a641-d418703ece22" providerId="ADAL" clId="{859296AE-058C-4C65-BA04-6986791C2943}" dt="2024-02-02T14:35:43.986" v="29413" actId="1036"/>
          <ac:picMkLst>
            <pc:docMk/>
            <pc:sldMk cId="3124005727" sldId="2147480337"/>
            <ac:picMk id="26" creationId="{2DE8DEE6-9B17-0E2C-46E3-8EB93B3797A9}"/>
          </ac:picMkLst>
        </pc:picChg>
        <pc:picChg chg="mod">
          <ac:chgData name="Laurence ANGILBERT" userId="28ea2967-f540-4e7d-a641-d418703ece22" providerId="ADAL" clId="{859296AE-058C-4C65-BA04-6986791C2943}" dt="2024-02-02T14:35:43.986" v="29413" actId="1036"/>
          <ac:picMkLst>
            <pc:docMk/>
            <pc:sldMk cId="3124005727" sldId="2147480337"/>
            <ac:picMk id="27" creationId="{054FE863-46A6-C65C-47D3-B70CC72CEBC4}"/>
          </ac:picMkLst>
        </pc:picChg>
        <pc:picChg chg="del mod">
          <ac:chgData name="Laurence ANGILBERT" userId="28ea2967-f540-4e7d-a641-d418703ece22" providerId="ADAL" clId="{859296AE-058C-4C65-BA04-6986791C2943}" dt="2024-02-02T14:29:17.319" v="29252" actId="478"/>
          <ac:picMkLst>
            <pc:docMk/>
            <pc:sldMk cId="3124005727" sldId="2147480337"/>
            <ac:picMk id="28" creationId="{6D24893F-6284-59E7-3C93-FECB318EC873}"/>
          </ac:picMkLst>
        </pc:picChg>
        <pc:picChg chg="mod">
          <ac:chgData name="Laurence ANGILBERT" userId="28ea2967-f540-4e7d-a641-d418703ece22" providerId="ADAL" clId="{859296AE-058C-4C65-BA04-6986791C2943}" dt="2024-02-02T14:35:43.986" v="29413" actId="1036"/>
          <ac:picMkLst>
            <pc:docMk/>
            <pc:sldMk cId="3124005727" sldId="2147480337"/>
            <ac:picMk id="29" creationId="{3773D5F7-EA88-485E-E6D4-0660B5210782}"/>
          </ac:picMkLst>
        </pc:picChg>
        <pc:picChg chg="mod">
          <ac:chgData name="Laurence ANGILBERT" userId="28ea2967-f540-4e7d-a641-d418703ece22" providerId="ADAL" clId="{859296AE-058C-4C65-BA04-6986791C2943}" dt="2024-02-02T14:41:07.470" v="29794" actId="1076"/>
          <ac:picMkLst>
            <pc:docMk/>
            <pc:sldMk cId="3124005727" sldId="2147480337"/>
            <ac:picMk id="30" creationId="{931D95E7-22AD-A04A-55A3-B9C8AC023FCF}"/>
          </ac:picMkLst>
        </pc:picChg>
        <pc:picChg chg="add del mod">
          <ac:chgData name="Laurence ANGILBERT" userId="28ea2967-f540-4e7d-a641-d418703ece22" providerId="ADAL" clId="{859296AE-058C-4C65-BA04-6986791C2943}" dt="2024-02-02T14:33:17.992" v="29316" actId="21"/>
          <ac:picMkLst>
            <pc:docMk/>
            <pc:sldMk cId="3124005727" sldId="2147480337"/>
            <ac:picMk id="32" creationId="{B30F1D7A-A1BF-666D-391D-C1E85BC6CFC3}"/>
          </ac:picMkLst>
        </pc:picChg>
      </pc:sldChg>
      <pc:sldChg chg="addSp delSp modSp mod">
        <pc:chgData name="Laurence ANGILBERT" userId="28ea2967-f540-4e7d-a641-d418703ece22" providerId="ADAL" clId="{859296AE-058C-4C65-BA04-6986791C2943}" dt="2024-02-02T14:50:26.536" v="30077" actId="14100"/>
        <pc:sldMkLst>
          <pc:docMk/>
          <pc:sldMk cId="3879038634" sldId="2147480338"/>
        </pc:sldMkLst>
        <pc:spChg chg="add del mod">
          <ac:chgData name="Laurence ANGILBERT" userId="28ea2967-f540-4e7d-a641-d418703ece22" providerId="ADAL" clId="{859296AE-058C-4C65-BA04-6986791C2943}" dt="2024-02-02T10:34:05.719" v="26823" actId="478"/>
          <ac:spMkLst>
            <pc:docMk/>
            <pc:sldMk cId="3879038634" sldId="2147480338"/>
            <ac:spMk id="2" creationId="{1B8C5899-E9C9-AAF4-8311-F555CF96497C}"/>
          </ac:spMkLst>
        </pc:spChg>
        <pc:spChg chg="add del mod">
          <ac:chgData name="Laurence ANGILBERT" userId="28ea2967-f540-4e7d-a641-d418703ece22" providerId="ADAL" clId="{859296AE-058C-4C65-BA04-6986791C2943}" dt="2024-02-02T13:33:35.366" v="28438" actId="478"/>
          <ac:spMkLst>
            <pc:docMk/>
            <pc:sldMk cId="3879038634" sldId="2147480338"/>
            <ac:spMk id="3" creationId="{45B9D4CA-498A-E4A5-D15D-6810686D35E7}"/>
          </ac:spMkLst>
        </pc:spChg>
        <pc:spChg chg="del">
          <ac:chgData name="Laurence ANGILBERT" userId="28ea2967-f540-4e7d-a641-d418703ece22" providerId="ADAL" clId="{859296AE-058C-4C65-BA04-6986791C2943}" dt="2024-02-02T10:33:53.448" v="26821" actId="478"/>
          <ac:spMkLst>
            <pc:docMk/>
            <pc:sldMk cId="3879038634" sldId="2147480338"/>
            <ac:spMk id="22" creationId="{4A931B3A-B9E6-3531-94E0-6AE4EEE8303F}"/>
          </ac:spMkLst>
        </pc:spChg>
        <pc:spChg chg="mod">
          <ac:chgData name="Laurence ANGILBERT" userId="28ea2967-f540-4e7d-a641-d418703ece22" providerId="ADAL" clId="{859296AE-058C-4C65-BA04-6986791C2943}" dt="2024-01-31T15:24:16.351" v="13757" actId="14100"/>
          <ac:spMkLst>
            <pc:docMk/>
            <pc:sldMk cId="3879038634" sldId="2147480338"/>
            <ac:spMk id="24" creationId="{A1F83AB4-AD5A-E07F-82DD-09AFE0E540F7}"/>
          </ac:spMkLst>
        </pc:spChg>
        <pc:spChg chg="mod">
          <ac:chgData name="Laurence ANGILBERT" userId="28ea2967-f540-4e7d-a641-d418703ece22" providerId="ADAL" clId="{859296AE-058C-4C65-BA04-6986791C2943}" dt="2024-01-31T15:24:16.351" v="13757" actId="14100"/>
          <ac:spMkLst>
            <pc:docMk/>
            <pc:sldMk cId="3879038634" sldId="2147480338"/>
            <ac:spMk id="25" creationId="{01B3D649-FAE1-A520-0180-FF7007ED0B86}"/>
          </ac:spMkLst>
        </pc:spChg>
        <pc:spChg chg="mod">
          <ac:chgData name="Laurence ANGILBERT" userId="28ea2967-f540-4e7d-a641-d418703ece22" providerId="ADAL" clId="{859296AE-058C-4C65-BA04-6986791C2943}" dt="2024-02-02T11:00:39.480" v="28022" actId="14100"/>
          <ac:spMkLst>
            <pc:docMk/>
            <pc:sldMk cId="3879038634" sldId="2147480338"/>
            <ac:spMk id="26" creationId="{041119EE-4A76-6464-1FBD-30384FB39FDC}"/>
          </ac:spMkLst>
        </pc:spChg>
        <pc:spChg chg="mod">
          <ac:chgData name="Laurence ANGILBERT" userId="28ea2967-f540-4e7d-a641-d418703ece22" providerId="ADAL" clId="{859296AE-058C-4C65-BA04-6986791C2943}" dt="2024-02-02T11:00:36.604" v="28021" actId="14100"/>
          <ac:spMkLst>
            <pc:docMk/>
            <pc:sldMk cId="3879038634" sldId="2147480338"/>
            <ac:spMk id="30" creationId="{5353AF98-7E97-8A2B-3318-0D946E480469}"/>
          </ac:spMkLst>
        </pc:spChg>
        <pc:spChg chg="mod">
          <ac:chgData name="Laurence ANGILBERT" userId="28ea2967-f540-4e7d-a641-d418703ece22" providerId="ADAL" clId="{859296AE-058C-4C65-BA04-6986791C2943}" dt="2024-01-31T15:24:10.406" v="13755" actId="14100"/>
          <ac:spMkLst>
            <pc:docMk/>
            <pc:sldMk cId="3879038634" sldId="2147480338"/>
            <ac:spMk id="31" creationId="{2A6EC734-12F4-9EA6-7A04-4E18E4E9EF87}"/>
          </ac:spMkLst>
        </pc:spChg>
        <pc:spChg chg="mod">
          <ac:chgData name="Laurence ANGILBERT" userId="28ea2967-f540-4e7d-a641-d418703ece22" providerId="ADAL" clId="{859296AE-058C-4C65-BA04-6986791C2943}" dt="2024-02-02T11:00:51.510" v="28023" actId="14100"/>
          <ac:spMkLst>
            <pc:docMk/>
            <pc:sldMk cId="3879038634" sldId="2147480338"/>
            <ac:spMk id="32" creationId="{021F6CE7-1741-3C5C-8D38-6884631F28FB}"/>
          </ac:spMkLst>
        </pc:spChg>
        <pc:spChg chg="mod">
          <ac:chgData name="Laurence ANGILBERT" userId="28ea2967-f540-4e7d-a641-d418703ece22" providerId="ADAL" clId="{859296AE-058C-4C65-BA04-6986791C2943}" dt="2024-02-02T13:35:12.235" v="28460" actId="113"/>
          <ac:spMkLst>
            <pc:docMk/>
            <pc:sldMk cId="3879038634" sldId="2147480338"/>
            <ac:spMk id="33" creationId="{D1492F5E-DBFB-C955-99AE-637B1C055A22}"/>
          </ac:spMkLst>
        </pc:spChg>
        <pc:spChg chg="mod">
          <ac:chgData name="Laurence ANGILBERT" userId="28ea2967-f540-4e7d-a641-d418703ece22" providerId="ADAL" clId="{859296AE-058C-4C65-BA04-6986791C2943}" dt="2024-02-02T14:50:26.536" v="30077" actId="14100"/>
          <ac:spMkLst>
            <pc:docMk/>
            <pc:sldMk cId="3879038634" sldId="2147480338"/>
            <ac:spMk id="34" creationId="{6B2D5DAA-6339-8521-C1ED-554473D0B0DA}"/>
          </ac:spMkLst>
        </pc:spChg>
        <pc:spChg chg="add del mod">
          <ac:chgData name="Laurence ANGILBERT" userId="28ea2967-f540-4e7d-a641-d418703ece22" providerId="ADAL" clId="{859296AE-058C-4C65-BA04-6986791C2943}" dt="2024-02-02T10:15:20.066" v="26385" actId="478"/>
          <ac:spMkLst>
            <pc:docMk/>
            <pc:sldMk cId="3879038634" sldId="2147480338"/>
            <ac:spMk id="41" creationId="{3B768F15-BA45-6ED5-349A-C8725E0F4D07}"/>
          </ac:spMkLst>
        </pc:spChg>
        <pc:graphicFrameChg chg="mod modGraphic">
          <ac:chgData name="Laurence ANGILBERT" userId="28ea2967-f540-4e7d-a641-d418703ece22" providerId="ADAL" clId="{859296AE-058C-4C65-BA04-6986791C2943}" dt="2024-02-02T14:07:23.209" v="28703" actId="20577"/>
          <ac:graphicFrameMkLst>
            <pc:docMk/>
            <pc:sldMk cId="3879038634" sldId="2147480338"/>
            <ac:graphicFrameMk id="27" creationId="{35AD4505-BAE6-2ABF-B886-5425BE4E18FE}"/>
          </ac:graphicFrameMkLst>
        </pc:graphicFrameChg>
        <pc:picChg chg="add mod">
          <ac:chgData name="Laurence ANGILBERT" userId="28ea2967-f540-4e7d-a641-d418703ece22" providerId="ADAL" clId="{859296AE-058C-4C65-BA04-6986791C2943}" dt="2024-02-02T14:06:36.610" v="28683" actId="1076"/>
          <ac:picMkLst>
            <pc:docMk/>
            <pc:sldMk cId="3879038634" sldId="2147480338"/>
            <ac:picMk id="17" creationId="{55F9A7C4-39BB-A71A-75A1-F86243C9B4FE}"/>
          </ac:picMkLst>
        </pc:picChg>
        <pc:picChg chg="mod">
          <ac:chgData name="Laurence ANGILBERT" userId="28ea2967-f540-4e7d-a641-d418703ece22" providerId="ADAL" clId="{859296AE-058C-4C65-BA04-6986791C2943}" dt="2024-02-02T14:07:02.329" v="28697" actId="1076"/>
          <ac:picMkLst>
            <pc:docMk/>
            <pc:sldMk cId="3879038634" sldId="2147480338"/>
            <ac:picMk id="35" creationId="{8DF0ADA9-8223-034A-51C5-4821555CA6D3}"/>
          </ac:picMkLst>
        </pc:picChg>
        <pc:picChg chg="mod">
          <ac:chgData name="Laurence ANGILBERT" userId="28ea2967-f540-4e7d-a641-d418703ece22" providerId="ADAL" clId="{859296AE-058C-4C65-BA04-6986791C2943}" dt="2024-02-02T14:07:02.329" v="28697" actId="1076"/>
          <ac:picMkLst>
            <pc:docMk/>
            <pc:sldMk cId="3879038634" sldId="2147480338"/>
            <ac:picMk id="36" creationId="{F94CBB77-951F-0126-4AE9-502E291953F2}"/>
          </ac:picMkLst>
        </pc:picChg>
        <pc:picChg chg="del">
          <ac:chgData name="Laurence ANGILBERT" userId="28ea2967-f540-4e7d-a641-d418703ece22" providerId="ADAL" clId="{859296AE-058C-4C65-BA04-6986791C2943}" dt="2024-02-02T14:04:44.309" v="28663" actId="478"/>
          <ac:picMkLst>
            <pc:docMk/>
            <pc:sldMk cId="3879038634" sldId="2147480338"/>
            <ac:picMk id="37" creationId="{505A42B2-7882-75B7-97BA-C95788161945}"/>
          </ac:picMkLst>
        </pc:picChg>
        <pc:picChg chg="del">
          <ac:chgData name="Laurence ANGILBERT" userId="28ea2967-f540-4e7d-a641-d418703ece22" providerId="ADAL" clId="{859296AE-058C-4C65-BA04-6986791C2943}" dt="2024-02-02T14:04:46.755" v="28664" actId="478"/>
          <ac:picMkLst>
            <pc:docMk/>
            <pc:sldMk cId="3879038634" sldId="2147480338"/>
            <ac:picMk id="38" creationId="{D403A6F0-225A-631C-D051-67B0B6D77EC3}"/>
          </ac:picMkLst>
        </pc:picChg>
        <pc:picChg chg="mod">
          <ac:chgData name="Laurence ANGILBERT" userId="28ea2967-f540-4e7d-a641-d418703ece22" providerId="ADAL" clId="{859296AE-058C-4C65-BA04-6986791C2943}" dt="2024-02-02T14:05:43.438" v="28674" actId="1076"/>
          <ac:picMkLst>
            <pc:docMk/>
            <pc:sldMk cId="3879038634" sldId="2147480338"/>
            <ac:picMk id="39" creationId="{80BC82A3-89C4-4669-E2E2-BD3D9CA8C7DD}"/>
          </ac:picMkLst>
        </pc:picChg>
      </pc:sldChg>
      <pc:sldChg chg="addSp delSp modSp mod">
        <pc:chgData name="Laurence ANGILBERT" userId="28ea2967-f540-4e7d-a641-d418703ece22" providerId="ADAL" clId="{859296AE-058C-4C65-BA04-6986791C2943}" dt="2024-02-02T14:11:37.943" v="28835" actId="948"/>
        <pc:sldMkLst>
          <pc:docMk/>
          <pc:sldMk cId="3848348873" sldId="2147480339"/>
        </pc:sldMkLst>
        <pc:spChg chg="mod">
          <ac:chgData name="Laurence ANGILBERT" userId="28ea2967-f540-4e7d-a641-d418703ece22" providerId="ADAL" clId="{859296AE-058C-4C65-BA04-6986791C2943}" dt="2024-02-02T11:05:08.592" v="28131" actId="20577"/>
          <ac:spMkLst>
            <pc:docMk/>
            <pc:sldMk cId="3848348873" sldId="2147480339"/>
            <ac:spMk id="2" creationId="{9719F43A-6AB1-1165-4BE0-1A4809079541}"/>
          </ac:spMkLst>
        </pc:spChg>
        <pc:spChg chg="add del mod">
          <ac:chgData name="Laurence ANGILBERT" userId="28ea2967-f540-4e7d-a641-d418703ece22" providerId="ADAL" clId="{859296AE-058C-4C65-BA04-6986791C2943}" dt="2024-02-02T10:58:22.353" v="27980" actId="478"/>
          <ac:spMkLst>
            <pc:docMk/>
            <pc:sldMk cId="3848348873" sldId="2147480339"/>
            <ac:spMk id="15" creationId="{DFDA61F3-E39C-80BB-B1FF-14EB4A75518F}"/>
          </ac:spMkLst>
        </pc:spChg>
        <pc:spChg chg="add del mod">
          <ac:chgData name="Laurence ANGILBERT" userId="28ea2967-f540-4e7d-a641-d418703ece22" providerId="ADAL" clId="{859296AE-058C-4C65-BA04-6986791C2943}" dt="2024-02-02T10:39:58.221" v="26924" actId="478"/>
          <ac:spMkLst>
            <pc:docMk/>
            <pc:sldMk cId="3848348873" sldId="2147480339"/>
            <ac:spMk id="24" creationId="{5FBF804B-0DF7-B831-0737-44B00E30580B}"/>
          </ac:spMkLst>
        </pc:spChg>
        <pc:spChg chg="add del mod">
          <ac:chgData name="Laurence ANGILBERT" userId="28ea2967-f540-4e7d-a641-d418703ece22" providerId="ADAL" clId="{859296AE-058C-4C65-BA04-6986791C2943}" dt="2024-02-02T13:33:40.336" v="28439" actId="478"/>
          <ac:spMkLst>
            <pc:docMk/>
            <pc:sldMk cId="3848348873" sldId="2147480339"/>
            <ac:spMk id="25" creationId="{DB57704B-A6B4-D137-2F02-06E8062834F4}"/>
          </ac:spMkLst>
        </pc:spChg>
        <pc:graphicFrameChg chg="mod modGraphic">
          <ac:chgData name="Laurence ANGILBERT" userId="28ea2967-f540-4e7d-a641-d418703ece22" providerId="ADAL" clId="{859296AE-058C-4C65-BA04-6986791C2943}" dt="2024-02-02T14:11:37.943" v="28835" actId="948"/>
          <ac:graphicFrameMkLst>
            <pc:docMk/>
            <pc:sldMk cId="3848348873" sldId="2147480339"/>
            <ac:graphicFrameMk id="3" creationId="{C0BAA7E2-FD62-8243-FE5D-75CBDF241D99}"/>
          </ac:graphicFrameMkLst>
        </pc:graphicFrameChg>
        <pc:picChg chg="add del mod">
          <ac:chgData name="Laurence ANGILBERT" userId="28ea2967-f540-4e7d-a641-d418703ece22" providerId="ADAL" clId="{859296AE-058C-4C65-BA04-6986791C2943}" dt="2024-02-02T09:55:58.116" v="26086" actId="21"/>
          <ac:picMkLst>
            <pc:docMk/>
            <pc:sldMk cId="3848348873" sldId="2147480339"/>
            <ac:picMk id="4" creationId="{F6954DC8-F37D-61E8-5DA6-E80A8F6BE7A5}"/>
          </ac:picMkLst>
        </pc:picChg>
        <pc:picChg chg="del">
          <ac:chgData name="Laurence ANGILBERT" userId="28ea2967-f540-4e7d-a641-d418703ece22" providerId="ADAL" clId="{859296AE-058C-4C65-BA04-6986791C2943}" dt="2024-02-02T09:28:57.996" v="25775" actId="478"/>
          <ac:picMkLst>
            <pc:docMk/>
            <pc:sldMk cId="3848348873" sldId="2147480339"/>
            <ac:picMk id="5" creationId="{08D9BA7E-C639-4326-80FF-8D0C60B93A2B}"/>
          </ac:picMkLst>
        </pc:picChg>
        <pc:picChg chg="mod">
          <ac:chgData name="Laurence ANGILBERT" userId="28ea2967-f540-4e7d-a641-d418703ece22" providerId="ADAL" clId="{859296AE-058C-4C65-BA04-6986791C2943}" dt="2024-02-02T14:10:23.850" v="28831" actId="1035"/>
          <ac:picMkLst>
            <pc:docMk/>
            <pc:sldMk cId="3848348873" sldId="2147480339"/>
            <ac:picMk id="6" creationId="{B83DF077-72C9-4002-C040-DB9B0D76A1D3}"/>
          </ac:picMkLst>
        </pc:picChg>
        <pc:picChg chg="mod">
          <ac:chgData name="Laurence ANGILBERT" userId="28ea2967-f540-4e7d-a641-d418703ece22" providerId="ADAL" clId="{859296AE-058C-4C65-BA04-6986791C2943}" dt="2024-02-02T14:10:23.850" v="28831" actId="1035"/>
          <ac:picMkLst>
            <pc:docMk/>
            <pc:sldMk cId="3848348873" sldId="2147480339"/>
            <ac:picMk id="7" creationId="{B06BBEA4-030E-9574-96B3-FDEAB8BA4015}"/>
          </ac:picMkLst>
        </pc:picChg>
        <pc:picChg chg="del mod">
          <ac:chgData name="Laurence ANGILBERT" userId="28ea2967-f540-4e7d-a641-d418703ece22" providerId="ADAL" clId="{859296AE-058C-4C65-BA04-6986791C2943}" dt="2024-02-02T10:09:02.242" v="26143" actId="21"/>
          <ac:picMkLst>
            <pc:docMk/>
            <pc:sldMk cId="3848348873" sldId="2147480339"/>
            <ac:picMk id="8" creationId="{0295FF68-277F-C48B-D269-CD66275B2200}"/>
          </ac:picMkLst>
        </pc:picChg>
        <pc:picChg chg="del">
          <ac:chgData name="Laurence ANGILBERT" userId="28ea2967-f540-4e7d-a641-d418703ece22" providerId="ADAL" clId="{859296AE-058C-4C65-BA04-6986791C2943}" dt="2024-02-02T09:36:46.633" v="25879" actId="21"/>
          <ac:picMkLst>
            <pc:docMk/>
            <pc:sldMk cId="3848348873" sldId="2147480339"/>
            <ac:picMk id="9" creationId="{E854BC60-6380-8EFB-C2EE-350976DC32CE}"/>
          </ac:picMkLst>
        </pc:picChg>
        <pc:picChg chg="del">
          <ac:chgData name="Laurence ANGILBERT" userId="28ea2967-f540-4e7d-a641-d418703ece22" providerId="ADAL" clId="{859296AE-058C-4C65-BA04-6986791C2943}" dt="2024-02-02T09:36:46.633" v="25879" actId="21"/>
          <ac:picMkLst>
            <pc:docMk/>
            <pc:sldMk cId="3848348873" sldId="2147480339"/>
            <ac:picMk id="10" creationId="{F326AE16-7771-1E62-73F7-CF08441B8FDA}"/>
          </ac:picMkLst>
        </pc:picChg>
        <pc:picChg chg="del mod">
          <ac:chgData name="Laurence ANGILBERT" userId="28ea2967-f540-4e7d-a641-d418703ece22" providerId="ADAL" clId="{859296AE-058C-4C65-BA04-6986791C2943}" dt="2024-02-02T14:07:49.757" v="28706" actId="478"/>
          <ac:picMkLst>
            <pc:docMk/>
            <pc:sldMk cId="3848348873" sldId="2147480339"/>
            <ac:picMk id="11" creationId="{27B6AF83-46AD-3598-8420-9D9DA14033E7}"/>
          </ac:picMkLst>
        </pc:picChg>
        <pc:picChg chg="del mod">
          <ac:chgData name="Laurence ANGILBERT" userId="28ea2967-f540-4e7d-a641-d418703ece22" providerId="ADAL" clId="{859296AE-058C-4C65-BA04-6986791C2943}" dt="2024-02-02T14:07:49.757" v="28706" actId="478"/>
          <ac:picMkLst>
            <pc:docMk/>
            <pc:sldMk cId="3848348873" sldId="2147480339"/>
            <ac:picMk id="12" creationId="{F54287DF-6958-229F-6039-6AEE56118CA2}"/>
          </ac:picMkLst>
        </pc:picChg>
        <pc:picChg chg="mod">
          <ac:chgData name="Laurence ANGILBERT" userId="28ea2967-f540-4e7d-a641-d418703ece22" providerId="ADAL" clId="{859296AE-058C-4C65-BA04-6986791C2943}" dt="2024-02-02T14:10:23.850" v="28831" actId="1035"/>
          <ac:picMkLst>
            <pc:docMk/>
            <pc:sldMk cId="3848348873" sldId="2147480339"/>
            <ac:picMk id="13" creationId="{C3F6EC54-1160-06D5-DE54-DF3E5F7367CB}"/>
          </ac:picMkLst>
        </pc:picChg>
        <pc:picChg chg="mod">
          <ac:chgData name="Laurence ANGILBERT" userId="28ea2967-f540-4e7d-a641-d418703ece22" providerId="ADAL" clId="{859296AE-058C-4C65-BA04-6986791C2943}" dt="2024-02-02T14:10:23.850" v="28831" actId="1035"/>
          <ac:picMkLst>
            <pc:docMk/>
            <pc:sldMk cId="3848348873" sldId="2147480339"/>
            <ac:picMk id="14" creationId="{D7BA0560-2E27-AF83-F70F-C4107DD1FD73}"/>
          </ac:picMkLst>
        </pc:picChg>
        <pc:picChg chg="add mod">
          <ac:chgData name="Laurence ANGILBERT" userId="28ea2967-f540-4e7d-a641-d418703ece22" providerId="ADAL" clId="{859296AE-058C-4C65-BA04-6986791C2943}" dt="2024-02-02T14:10:23.850" v="28831" actId="1035"/>
          <ac:picMkLst>
            <pc:docMk/>
            <pc:sldMk cId="3848348873" sldId="2147480339"/>
            <ac:picMk id="16" creationId="{19C318AF-B9B3-5462-9B3D-9A1D3D7807B0}"/>
          </ac:picMkLst>
        </pc:picChg>
        <pc:picChg chg="add del mod">
          <ac:chgData name="Laurence ANGILBERT" userId="28ea2967-f540-4e7d-a641-d418703ece22" providerId="ADAL" clId="{859296AE-058C-4C65-BA04-6986791C2943}" dt="2024-02-02T14:06:31.507" v="28681" actId="21"/>
          <ac:picMkLst>
            <pc:docMk/>
            <pc:sldMk cId="3848348873" sldId="2147480339"/>
            <ac:picMk id="17" creationId="{55F9A7C4-39BB-A71A-75A1-F86243C9B4FE}"/>
          </ac:picMkLst>
        </pc:picChg>
        <pc:picChg chg="add del mod">
          <ac:chgData name="Laurence ANGILBERT" userId="28ea2967-f540-4e7d-a641-d418703ece22" providerId="ADAL" clId="{859296AE-058C-4C65-BA04-6986791C2943}" dt="2024-02-02T10:38:29.352" v="26906" actId="478"/>
          <ac:picMkLst>
            <pc:docMk/>
            <pc:sldMk cId="3848348873" sldId="2147480339"/>
            <ac:picMk id="18" creationId="{A72A7664-2F9F-4F41-9D9B-81392F381A85}"/>
          </ac:picMkLst>
        </pc:picChg>
        <pc:picChg chg="add mod">
          <ac:chgData name="Laurence ANGILBERT" userId="28ea2967-f540-4e7d-a641-d418703ece22" providerId="ADAL" clId="{859296AE-058C-4C65-BA04-6986791C2943}" dt="2024-02-02T14:10:23.850" v="28831" actId="1035"/>
          <ac:picMkLst>
            <pc:docMk/>
            <pc:sldMk cId="3848348873" sldId="2147480339"/>
            <ac:picMk id="19" creationId="{D66D1F92-A248-7285-2C8D-A8189F68A131}"/>
          </ac:picMkLst>
        </pc:picChg>
        <pc:picChg chg="add mod">
          <ac:chgData name="Laurence ANGILBERT" userId="28ea2967-f540-4e7d-a641-d418703ece22" providerId="ADAL" clId="{859296AE-058C-4C65-BA04-6986791C2943}" dt="2024-02-02T14:10:23.850" v="28831" actId="1035"/>
          <ac:picMkLst>
            <pc:docMk/>
            <pc:sldMk cId="3848348873" sldId="2147480339"/>
            <ac:picMk id="20" creationId="{D105E6B3-3919-CB56-C409-02831C86C03E}"/>
          </ac:picMkLst>
        </pc:picChg>
        <pc:picChg chg="add mod">
          <ac:chgData name="Laurence ANGILBERT" userId="28ea2967-f540-4e7d-a641-d418703ece22" providerId="ADAL" clId="{859296AE-058C-4C65-BA04-6986791C2943}" dt="2024-02-02T14:10:23.850" v="28831" actId="1035"/>
          <ac:picMkLst>
            <pc:docMk/>
            <pc:sldMk cId="3848348873" sldId="2147480339"/>
            <ac:picMk id="21" creationId="{B844678F-B9A6-09DE-6A5B-0B0B1D7FA97E}"/>
          </ac:picMkLst>
        </pc:picChg>
        <pc:picChg chg="add mod">
          <ac:chgData name="Laurence ANGILBERT" userId="28ea2967-f540-4e7d-a641-d418703ece22" providerId="ADAL" clId="{859296AE-058C-4C65-BA04-6986791C2943}" dt="2024-02-02T14:10:23.850" v="28831" actId="1035"/>
          <ac:picMkLst>
            <pc:docMk/>
            <pc:sldMk cId="3848348873" sldId="2147480339"/>
            <ac:picMk id="22" creationId="{800AA4EF-1027-1A70-426E-2220E15FE7C8}"/>
          </ac:picMkLst>
        </pc:picChg>
        <pc:picChg chg="add mod">
          <ac:chgData name="Laurence ANGILBERT" userId="28ea2967-f540-4e7d-a641-d418703ece22" providerId="ADAL" clId="{859296AE-058C-4C65-BA04-6986791C2943}" dt="2024-02-02T14:10:23.850" v="28831" actId="1035"/>
          <ac:picMkLst>
            <pc:docMk/>
            <pc:sldMk cId="3848348873" sldId="2147480339"/>
            <ac:picMk id="26" creationId="{F7CA37B7-9543-FA07-C95F-A6752FD6AB65}"/>
          </ac:picMkLst>
        </pc:picChg>
        <pc:picChg chg="add mod">
          <ac:chgData name="Laurence ANGILBERT" userId="28ea2967-f540-4e7d-a641-d418703ece22" providerId="ADAL" clId="{859296AE-058C-4C65-BA04-6986791C2943}" dt="2024-02-02T14:10:23.850" v="28831" actId="1035"/>
          <ac:picMkLst>
            <pc:docMk/>
            <pc:sldMk cId="3848348873" sldId="2147480339"/>
            <ac:picMk id="27" creationId="{A2B05AD5-6EA2-AAEF-9460-361A4DCE2AB6}"/>
          </ac:picMkLst>
        </pc:picChg>
        <pc:picChg chg="add mod">
          <ac:chgData name="Laurence ANGILBERT" userId="28ea2967-f540-4e7d-a641-d418703ece22" providerId="ADAL" clId="{859296AE-058C-4C65-BA04-6986791C2943}" dt="2024-02-02T14:10:23.850" v="28831" actId="1035"/>
          <ac:picMkLst>
            <pc:docMk/>
            <pc:sldMk cId="3848348873" sldId="2147480339"/>
            <ac:picMk id="37" creationId="{E924F1E4-2802-3523-E272-2D783B1C0FFE}"/>
          </ac:picMkLst>
        </pc:picChg>
        <pc:picChg chg="add mod">
          <ac:chgData name="Laurence ANGILBERT" userId="28ea2967-f540-4e7d-a641-d418703ece22" providerId="ADAL" clId="{859296AE-058C-4C65-BA04-6986791C2943}" dt="2024-02-02T14:10:23.850" v="28831" actId="1035"/>
          <ac:picMkLst>
            <pc:docMk/>
            <pc:sldMk cId="3848348873" sldId="2147480339"/>
            <ac:picMk id="38" creationId="{BCD990CB-5E00-E13F-EB86-526B13F2A5BA}"/>
          </ac:picMkLst>
        </pc:picChg>
      </pc:sldChg>
      <pc:sldChg chg="addSp delSp modSp del mod">
        <pc:chgData name="Laurence ANGILBERT" userId="28ea2967-f540-4e7d-a641-d418703ece22" providerId="ADAL" clId="{859296AE-058C-4C65-BA04-6986791C2943}" dt="2024-02-02T10:29:25.697" v="26757" actId="47"/>
        <pc:sldMkLst>
          <pc:docMk/>
          <pc:sldMk cId="116640772" sldId="2147480340"/>
        </pc:sldMkLst>
        <pc:spChg chg="add mod">
          <ac:chgData name="Laurence ANGILBERT" userId="28ea2967-f540-4e7d-a641-d418703ece22" providerId="ADAL" clId="{859296AE-058C-4C65-BA04-6986791C2943}" dt="2024-01-31T16:58:05.591" v="15316"/>
          <ac:spMkLst>
            <pc:docMk/>
            <pc:sldMk cId="116640772" sldId="2147480340"/>
            <ac:spMk id="16" creationId="{CBDCD387-6595-8463-97BC-1B8ED2DF5120}"/>
          </ac:spMkLst>
        </pc:spChg>
        <pc:graphicFrameChg chg="mod modGraphic">
          <ac:chgData name="Laurence ANGILBERT" userId="28ea2967-f540-4e7d-a641-d418703ece22" providerId="ADAL" clId="{859296AE-058C-4C65-BA04-6986791C2943}" dt="2024-02-02T10:04:35.723" v="26090" actId="21"/>
          <ac:graphicFrameMkLst>
            <pc:docMk/>
            <pc:sldMk cId="116640772" sldId="2147480340"/>
            <ac:graphicFrameMk id="2" creationId="{189C287D-3755-B745-9DB9-81AA37B8B901}"/>
          </ac:graphicFrameMkLst>
        </pc:graphicFrameChg>
        <pc:picChg chg="add del mod">
          <ac:chgData name="Laurence ANGILBERT" userId="28ea2967-f540-4e7d-a641-d418703ece22" providerId="ADAL" clId="{859296AE-058C-4C65-BA04-6986791C2943}" dt="2024-02-02T10:06:06.102" v="26092" actId="21"/>
          <ac:picMkLst>
            <pc:docMk/>
            <pc:sldMk cId="116640772" sldId="2147480340"/>
            <ac:picMk id="4" creationId="{A72A7664-2F9F-4F41-9D9B-81392F381A85}"/>
          </ac:picMkLst>
        </pc:picChg>
        <pc:picChg chg="del">
          <ac:chgData name="Laurence ANGILBERT" userId="28ea2967-f540-4e7d-a641-d418703ece22" providerId="ADAL" clId="{859296AE-058C-4C65-BA04-6986791C2943}" dt="2024-02-02T09:33:24.876" v="25786" actId="478"/>
          <ac:picMkLst>
            <pc:docMk/>
            <pc:sldMk cId="116640772" sldId="2147480340"/>
            <ac:picMk id="11" creationId="{2ADADFFE-126E-90A0-F2B3-838B24C2AF43}"/>
          </ac:picMkLst>
        </pc:picChg>
        <pc:picChg chg="mod">
          <ac:chgData name="Laurence ANGILBERT" userId="28ea2967-f540-4e7d-a641-d418703ece22" providerId="ADAL" clId="{859296AE-058C-4C65-BA04-6986791C2943}" dt="2024-02-02T09:35:11.323" v="25867" actId="1035"/>
          <ac:picMkLst>
            <pc:docMk/>
            <pc:sldMk cId="116640772" sldId="2147480340"/>
            <ac:picMk id="12" creationId="{19D03F8C-0AE9-0F9B-BA11-F85C06B0E951}"/>
          </ac:picMkLst>
        </pc:picChg>
        <pc:picChg chg="mod">
          <ac:chgData name="Laurence ANGILBERT" userId="28ea2967-f540-4e7d-a641-d418703ece22" providerId="ADAL" clId="{859296AE-058C-4C65-BA04-6986791C2943}" dt="2024-02-02T09:35:11.323" v="25867" actId="1035"/>
          <ac:picMkLst>
            <pc:docMk/>
            <pc:sldMk cId="116640772" sldId="2147480340"/>
            <ac:picMk id="13" creationId="{6D8BD236-677B-66B2-A6DD-9B524F4B851F}"/>
          </ac:picMkLst>
        </pc:picChg>
        <pc:picChg chg="mod">
          <ac:chgData name="Laurence ANGILBERT" userId="28ea2967-f540-4e7d-a641-d418703ece22" providerId="ADAL" clId="{859296AE-058C-4C65-BA04-6986791C2943}" dt="2024-02-02T09:35:11.323" v="25867" actId="1035"/>
          <ac:picMkLst>
            <pc:docMk/>
            <pc:sldMk cId="116640772" sldId="2147480340"/>
            <ac:picMk id="14" creationId="{FA94222D-053E-A7C9-2E99-71422938ACE4}"/>
          </ac:picMkLst>
        </pc:picChg>
        <pc:picChg chg="del">
          <ac:chgData name="Laurence ANGILBERT" userId="28ea2967-f540-4e7d-a641-d418703ece22" providerId="ADAL" clId="{859296AE-058C-4C65-BA04-6986791C2943}" dt="2024-02-02T09:35:05.936" v="25830" actId="478"/>
          <ac:picMkLst>
            <pc:docMk/>
            <pc:sldMk cId="116640772" sldId="2147480340"/>
            <ac:picMk id="15" creationId="{48E003C2-8E98-C8D7-504B-3CB208B130F6}"/>
          </ac:picMkLst>
        </pc:picChg>
        <pc:picChg chg="add del mod">
          <ac:chgData name="Laurence ANGILBERT" userId="28ea2967-f540-4e7d-a641-d418703ece22" providerId="ADAL" clId="{859296AE-058C-4C65-BA04-6986791C2943}" dt="2024-02-02T10:06:06.102" v="26092" actId="21"/>
          <ac:picMkLst>
            <pc:docMk/>
            <pc:sldMk cId="116640772" sldId="2147480340"/>
            <ac:picMk id="17" creationId="{D66D1F92-A248-7285-2C8D-A8189F68A131}"/>
          </ac:picMkLst>
        </pc:picChg>
      </pc:sldChg>
      <pc:sldChg chg="addSp delSp modSp del mod">
        <pc:chgData name="Laurence ANGILBERT" userId="28ea2967-f540-4e7d-a641-d418703ece22" providerId="ADAL" clId="{859296AE-058C-4C65-BA04-6986791C2943}" dt="2024-02-02T09:53:45.084" v="26038" actId="47"/>
        <pc:sldMkLst>
          <pc:docMk/>
          <pc:sldMk cId="2491276628" sldId="2147480341"/>
        </pc:sldMkLst>
        <pc:spChg chg="add mod">
          <ac:chgData name="Laurence ANGILBERT" userId="28ea2967-f540-4e7d-a641-d418703ece22" providerId="ADAL" clId="{859296AE-058C-4C65-BA04-6986791C2943}" dt="2024-01-31T16:58:09.811" v="15317"/>
          <ac:spMkLst>
            <pc:docMk/>
            <pc:sldMk cId="2491276628" sldId="2147480341"/>
            <ac:spMk id="24" creationId="{F97676DA-D6C7-C87F-F6CE-D81FB4920748}"/>
          </ac:spMkLst>
        </pc:spChg>
        <pc:graphicFrameChg chg="modGraphic">
          <ac:chgData name="Laurence ANGILBERT" userId="28ea2967-f540-4e7d-a641-d418703ece22" providerId="ADAL" clId="{859296AE-058C-4C65-BA04-6986791C2943}" dt="2024-02-02T09:52:34.604" v="26017" actId="21"/>
          <ac:graphicFrameMkLst>
            <pc:docMk/>
            <pc:sldMk cId="2491276628" sldId="2147480341"/>
            <ac:graphicFrameMk id="2" creationId="{111A586A-DA3D-0BBA-A5DB-4CE3B7BD14C3}"/>
          </ac:graphicFrameMkLst>
        </pc:graphicFrameChg>
        <pc:picChg chg="del">
          <ac:chgData name="Laurence ANGILBERT" userId="28ea2967-f540-4e7d-a641-d418703ece22" providerId="ADAL" clId="{859296AE-058C-4C65-BA04-6986791C2943}" dt="2024-02-02T09:52:50.554" v="26019" actId="21"/>
          <ac:picMkLst>
            <pc:docMk/>
            <pc:sldMk cId="2491276628" sldId="2147480341"/>
            <ac:picMk id="9" creationId="{D105E6B3-3919-CB56-C409-02831C86C03E}"/>
          </ac:picMkLst>
        </pc:picChg>
        <pc:picChg chg="del">
          <ac:chgData name="Laurence ANGILBERT" userId="28ea2967-f540-4e7d-a641-d418703ece22" providerId="ADAL" clId="{859296AE-058C-4C65-BA04-6986791C2943}" dt="2024-02-02T09:52:27.771" v="26015" actId="478"/>
          <ac:picMkLst>
            <pc:docMk/>
            <pc:sldMk cId="2491276628" sldId="2147480341"/>
            <ac:picMk id="11" creationId="{7A13AC22-C746-2913-1989-7A663253243A}"/>
          </ac:picMkLst>
        </pc:picChg>
        <pc:picChg chg="del">
          <ac:chgData name="Laurence ANGILBERT" userId="28ea2967-f540-4e7d-a641-d418703ece22" providerId="ADAL" clId="{859296AE-058C-4C65-BA04-6986791C2943}" dt="2024-02-02T09:52:29.019" v="26016" actId="478"/>
          <ac:picMkLst>
            <pc:docMk/>
            <pc:sldMk cId="2491276628" sldId="2147480341"/>
            <ac:picMk id="12" creationId="{7ECDFEF5-32ED-A271-128C-960AD09FA9CD}"/>
          </ac:picMkLst>
        </pc:picChg>
        <pc:picChg chg="del">
          <ac:chgData name="Laurence ANGILBERT" userId="28ea2967-f540-4e7d-a641-d418703ece22" providerId="ADAL" clId="{859296AE-058C-4C65-BA04-6986791C2943}" dt="2024-02-02T09:28:35.225" v="25773" actId="478"/>
          <ac:picMkLst>
            <pc:docMk/>
            <pc:sldMk cId="2491276628" sldId="2147480341"/>
            <ac:picMk id="13" creationId="{DA3E40A5-F22E-EEF2-FDA9-62CFD9587EE4}"/>
          </ac:picMkLst>
        </pc:picChg>
        <pc:picChg chg="del">
          <ac:chgData name="Laurence ANGILBERT" userId="28ea2967-f540-4e7d-a641-d418703ece22" providerId="ADAL" clId="{859296AE-058C-4C65-BA04-6986791C2943}" dt="2024-02-02T09:30:08.059" v="25777" actId="21"/>
          <ac:picMkLst>
            <pc:docMk/>
            <pc:sldMk cId="2491276628" sldId="2147480341"/>
            <ac:picMk id="14" creationId="{F6954DC8-F37D-61E8-5DA6-E80A8F6BE7A5}"/>
          </ac:picMkLst>
        </pc:picChg>
      </pc:sldChg>
      <pc:sldChg chg="modSp mod">
        <pc:chgData name="Laurence ANGILBERT" userId="28ea2967-f540-4e7d-a641-d418703ece22" providerId="ADAL" clId="{859296AE-058C-4C65-BA04-6986791C2943}" dt="2024-02-02T18:32:48.022" v="31066" actId="6549"/>
        <pc:sldMkLst>
          <pc:docMk/>
          <pc:sldMk cId="3444909878" sldId="2147480344"/>
        </pc:sldMkLst>
        <pc:spChg chg="mod">
          <ac:chgData name="Laurence ANGILBERT" userId="28ea2967-f540-4e7d-a641-d418703ece22" providerId="ADAL" clId="{859296AE-058C-4C65-BA04-6986791C2943}" dt="2024-02-02T18:30:54.963" v="30837" actId="20577"/>
          <ac:spMkLst>
            <pc:docMk/>
            <pc:sldMk cId="3444909878" sldId="2147480344"/>
            <ac:spMk id="2" creationId="{06AF64C0-132E-B313-A81E-E87E7D447EBD}"/>
          </ac:spMkLst>
        </pc:spChg>
        <pc:spChg chg="mod">
          <ac:chgData name="Laurence ANGILBERT" userId="28ea2967-f540-4e7d-a641-d418703ece22" providerId="ADAL" clId="{859296AE-058C-4C65-BA04-6986791C2943}" dt="2024-02-02T18:32:48.022" v="31066" actId="6549"/>
          <ac:spMkLst>
            <pc:docMk/>
            <pc:sldMk cId="3444909878" sldId="2147480344"/>
            <ac:spMk id="3" creationId="{AF7B4F25-6666-55C3-1103-AFD1986FBD0D}"/>
          </ac:spMkLst>
        </pc:spChg>
      </pc:sldChg>
      <pc:sldChg chg="modSp mod">
        <pc:chgData name="Laurence ANGILBERT" userId="28ea2967-f540-4e7d-a641-d418703ece22" providerId="ADAL" clId="{859296AE-058C-4C65-BA04-6986791C2943}" dt="2024-02-02T18:26:30.401" v="30566" actId="20577"/>
        <pc:sldMkLst>
          <pc:docMk/>
          <pc:sldMk cId="2933063749" sldId="2147480349"/>
        </pc:sldMkLst>
        <pc:spChg chg="mod">
          <ac:chgData name="Laurence ANGILBERT" userId="28ea2967-f540-4e7d-a641-d418703ece22" providerId="ADAL" clId="{859296AE-058C-4C65-BA04-6986791C2943}" dt="2024-02-02T18:26:30.401" v="30566" actId="20577"/>
          <ac:spMkLst>
            <pc:docMk/>
            <pc:sldMk cId="2933063749" sldId="2147480349"/>
            <ac:spMk id="2" creationId="{57B1CA06-63B4-1946-F9B7-7FEA0E10B894}"/>
          </ac:spMkLst>
        </pc:spChg>
      </pc:sldChg>
      <pc:sldChg chg="modSp mod">
        <pc:chgData name="Laurence ANGILBERT" userId="28ea2967-f540-4e7d-a641-d418703ece22" providerId="ADAL" clId="{859296AE-058C-4C65-BA04-6986791C2943}" dt="2024-02-02T09:06:35.862" v="25551" actId="1035"/>
        <pc:sldMkLst>
          <pc:docMk/>
          <pc:sldMk cId="3321415146" sldId="2147482331"/>
        </pc:sldMkLst>
        <pc:spChg chg="mod">
          <ac:chgData name="Laurence ANGILBERT" userId="28ea2967-f540-4e7d-a641-d418703ece22" providerId="ADAL" clId="{859296AE-058C-4C65-BA04-6986791C2943}" dt="2024-02-02T09:06:35.862" v="25551" actId="1035"/>
          <ac:spMkLst>
            <pc:docMk/>
            <pc:sldMk cId="3321415146" sldId="2147482331"/>
            <ac:spMk id="30" creationId="{A8A15718-341E-1618-BBFE-8DE79C4D1726}"/>
          </ac:spMkLst>
        </pc:spChg>
        <pc:spChg chg="mod">
          <ac:chgData name="Laurence ANGILBERT" userId="28ea2967-f540-4e7d-a641-d418703ece22" providerId="ADAL" clId="{859296AE-058C-4C65-BA04-6986791C2943}" dt="2024-01-31T19:26:03.787" v="17325" actId="20577"/>
          <ac:spMkLst>
            <pc:docMk/>
            <pc:sldMk cId="3321415146" sldId="2147482331"/>
            <ac:spMk id="41" creationId="{91B6A13E-3269-4257-3B1F-192758E6E957}"/>
          </ac:spMkLst>
        </pc:spChg>
      </pc:sldChg>
      <pc:sldChg chg="addSp delSp modSp mod">
        <pc:chgData name="Laurence ANGILBERT" userId="28ea2967-f540-4e7d-a641-d418703ece22" providerId="ADAL" clId="{859296AE-058C-4C65-BA04-6986791C2943}" dt="2024-02-01T08:12:40.228" v="18321" actId="404"/>
        <pc:sldMkLst>
          <pc:docMk/>
          <pc:sldMk cId="1749439792" sldId="2147482332"/>
        </pc:sldMkLst>
        <pc:spChg chg="del">
          <ac:chgData name="Laurence ANGILBERT" userId="28ea2967-f540-4e7d-a641-d418703ece22" providerId="ADAL" clId="{859296AE-058C-4C65-BA04-6986791C2943}" dt="2024-01-31T15:44:36.586" v="13969" actId="478"/>
          <ac:spMkLst>
            <pc:docMk/>
            <pc:sldMk cId="1749439792" sldId="2147482332"/>
            <ac:spMk id="2" creationId="{143E8D65-D7B1-927D-6402-250715B8D051}"/>
          </ac:spMkLst>
        </pc:spChg>
        <pc:spChg chg="add mod">
          <ac:chgData name="Laurence ANGILBERT" userId="28ea2967-f540-4e7d-a641-d418703ece22" providerId="ADAL" clId="{859296AE-058C-4C65-BA04-6986791C2943}" dt="2024-02-01T08:12:40.228" v="18321" actId="404"/>
          <ac:spMkLst>
            <pc:docMk/>
            <pc:sldMk cId="1749439792" sldId="2147482332"/>
            <ac:spMk id="2" creationId="{B05852EE-3DA8-0BD2-90C0-B36E9A24CEC1}"/>
          </ac:spMkLst>
        </pc:spChg>
        <pc:spChg chg="mod">
          <ac:chgData name="Laurence ANGILBERT" userId="28ea2967-f540-4e7d-a641-d418703ece22" providerId="ADAL" clId="{859296AE-058C-4C65-BA04-6986791C2943}" dt="2024-01-31T15:46:30.492" v="13995" actId="20577"/>
          <ac:spMkLst>
            <pc:docMk/>
            <pc:sldMk cId="1749439792" sldId="2147482332"/>
            <ac:spMk id="12" creationId="{A83C8ABF-DDD7-697A-2199-AFA13CEA9AE8}"/>
          </ac:spMkLst>
        </pc:spChg>
        <pc:spChg chg="add mod">
          <ac:chgData name="Laurence ANGILBERT" userId="28ea2967-f540-4e7d-a641-d418703ece22" providerId="ADAL" clId="{859296AE-058C-4C65-BA04-6986791C2943}" dt="2024-02-01T08:12:40.228" v="18321" actId="404"/>
          <ac:spMkLst>
            <pc:docMk/>
            <pc:sldMk cId="1749439792" sldId="2147482332"/>
            <ac:spMk id="16" creationId="{732B1FB7-307F-F9A2-4E9C-D1FD9F6D65BE}"/>
          </ac:spMkLst>
        </pc:spChg>
        <pc:spChg chg="mod">
          <ac:chgData name="Laurence ANGILBERT" userId="28ea2967-f540-4e7d-a641-d418703ece22" providerId="ADAL" clId="{859296AE-058C-4C65-BA04-6986791C2943}" dt="2024-01-31T15:46:20.606" v="13986" actId="1076"/>
          <ac:spMkLst>
            <pc:docMk/>
            <pc:sldMk cId="1749439792" sldId="2147482332"/>
            <ac:spMk id="19" creationId="{6E42C3DE-37A7-78B6-7F94-B4426D3BA1CF}"/>
          </ac:spMkLst>
        </pc:spChg>
        <pc:spChg chg="mod">
          <ac:chgData name="Laurence ANGILBERT" userId="28ea2967-f540-4e7d-a641-d418703ece22" providerId="ADAL" clId="{859296AE-058C-4C65-BA04-6986791C2943}" dt="2024-01-31T15:43:56.352" v="13955" actId="20577"/>
          <ac:spMkLst>
            <pc:docMk/>
            <pc:sldMk cId="1749439792" sldId="2147482332"/>
            <ac:spMk id="147562" creationId="{C82C3D6D-A135-A75D-8FFC-B52764058278}"/>
          </ac:spMkLst>
        </pc:spChg>
        <pc:spChg chg="mod">
          <ac:chgData name="Laurence ANGILBERT" userId="28ea2967-f540-4e7d-a641-d418703ece22" providerId="ADAL" clId="{859296AE-058C-4C65-BA04-6986791C2943}" dt="2024-01-31T15:44:20.091" v="13968" actId="20577"/>
          <ac:spMkLst>
            <pc:docMk/>
            <pc:sldMk cId="1749439792" sldId="2147482332"/>
            <ac:spMk id="147568" creationId="{661FE3E9-347E-6FB0-5339-E457C54BB9B7}"/>
          </ac:spMkLst>
        </pc:spChg>
        <pc:grpChg chg="mod">
          <ac:chgData name="Laurence ANGILBERT" userId="28ea2967-f540-4e7d-a641-d418703ece22" providerId="ADAL" clId="{859296AE-058C-4C65-BA04-6986791C2943}" dt="2024-01-31T15:43:30.495" v="13945" actId="1076"/>
          <ac:grpSpMkLst>
            <pc:docMk/>
            <pc:sldMk cId="1749439792" sldId="2147482332"/>
            <ac:grpSpMk id="28" creationId="{FD8BD64F-C7E0-1D01-C86A-0F3AF236D78A}"/>
          </ac:grpSpMkLst>
        </pc:grpChg>
      </pc:sldChg>
      <pc:sldChg chg="delSp modSp add mod">
        <pc:chgData name="Laurence ANGILBERT" userId="28ea2967-f540-4e7d-a641-d418703ece22" providerId="ADAL" clId="{859296AE-058C-4C65-BA04-6986791C2943}" dt="2024-02-01T08:38:31.604" v="18791" actId="14100"/>
        <pc:sldMkLst>
          <pc:docMk/>
          <pc:sldMk cId="2655133361" sldId="2147482333"/>
        </pc:sldMkLst>
        <pc:spChg chg="mod">
          <ac:chgData name="Laurence ANGILBERT" userId="28ea2967-f540-4e7d-a641-d418703ece22" providerId="ADAL" clId="{859296AE-058C-4C65-BA04-6986791C2943}" dt="2024-01-31T15:35:06.741" v="13861" actId="108"/>
          <ac:spMkLst>
            <pc:docMk/>
            <pc:sldMk cId="2655133361" sldId="2147482333"/>
            <ac:spMk id="2" creationId="{5C91E337-74B9-4A35-882F-27BDB4F76934}"/>
          </ac:spMkLst>
        </pc:spChg>
        <pc:spChg chg="mod">
          <ac:chgData name="Laurence ANGILBERT" userId="28ea2967-f540-4e7d-a641-d418703ece22" providerId="ADAL" clId="{859296AE-058C-4C65-BA04-6986791C2943}" dt="2024-02-01T08:38:31.604" v="18791" actId="14100"/>
          <ac:spMkLst>
            <pc:docMk/>
            <pc:sldMk cId="2655133361" sldId="2147482333"/>
            <ac:spMk id="3" creationId="{1B0CF0A1-8A11-8462-D143-C7C523CD7DE4}"/>
          </ac:spMkLst>
        </pc:spChg>
        <pc:spChg chg="del">
          <ac:chgData name="Laurence ANGILBERT" userId="28ea2967-f540-4e7d-a641-d418703ece22" providerId="ADAL" clId="{859296AE-058C-4C65-BA04-6986791C2943}" dt="2024-01-31T15:33:29.940" v="13800" actId="478"/>
          <ac:spMkLst>
            <pc:docMk/>
            <pc:sldMk cId="2655133361" sldId="2147482333"/>
            <ac:spMk id="6" creationId="{3C23719C-7EA8-A54B-ECA1-6F16B97CE428}"/>
          </ac:spMkLst>
        </pc:spChg>
      </pc:sldChg>
      <pc:sldChg chg="addSp delSp modSp add mod ord">
        <pc:chgData name="Laurence ANGILBERT" userId="28ea2967-f540-4e7d-a641-d418703ece22" providerId="ADAL" clId="{859296AE-058C-4C65-BA04-6986791C2943}" dt="2024-02-02T08:52:38.252" v="25351" actId="1076"/>
        <pc:sldMkLst>
          <pc:docMk/>
          <pc:sldMk cId="2591449438" sldId="2147482334"/>
        </pc:sldMkLst>
        <pc:spChg chg="mod">
          <ac:chgData name="Laurence ANGILBERT" userId="28ea2967-f540-4e7d-a641-d418703ece22" providerId="ADAL" clId="{859296AE-058C-4C65-BA04-6986791C2943}" dt="2024-01-31T16:07:57.277" v="14685" actId="14100"/>
          <ac:spMkLst>
            <pc:docMk/>
            <pc:sldMk cId="2591449438" sldId="2147482334"/>
            <ac:spMk id="2" creationId="{5C91E337-74B9-4A35-882F-27BDB4F76934}"/>
          </ac:spMkLst>
        </pc:spChg>
        <pc:spChg chg="del">
          <ac:chgData name="Laurence ANGILBERT" userId="28ea2967-f540-4e7d-a641-d418703ece22" providerId="ADAL" clId="{859296AE-058C-4C65-BA04-6986791C2943}" dt="2024-01-31T15:37:09.890" v="13878" actId="478"/>
          <ac:spMkLst>
            <pc:docMk/>
            <pc:sldMk cId="2591449438" sldId="2147482334"/>
            <ac:spMk id="3" creationId="{1B0CF0A1-8A11-8462-D143-C7C523CD7DE4}"/>
          </ac:spMkLst>
        </pc:spChg>
        <pc:spChg chg="add del mod">
          <ac:chgData name="Laurence ANGILBERT" userId="28ea2967-f540-4e7d-a641-d418703ece22" providerId="ADAL" clId="{859296AE-058C-4C65-BA04-6986791C2943}" dt="2024-02-02T08:43:44.643" v="25184" actId="478"/>
          <ac:spMkLst>
            <pc:docMk/>
            <pc:sldMk cId="2591449438" sldId="2147482334"/>
            <ac:spMk id="3" creationId="{DB9E97C1-9487-9F3D-3183-44A6A507BC5F}"/>
          </ac:spMkLst>
        </pc:spChg>
        <pc:spChg chg="add mod">
          <ac:chgData name="Laurence ANGILBERT" userId="28ea2967-f540-4e7d-a641-d418703ece22" providerId="ADAL" clId="{859296AE-058C-4C65-BA04-6986791C2943}" dt="2024-02-02T08:47:56.347" v="25264" actId="14100"/>
          <ac:spMkLst>
            <pc:docMk/>
            <pc:sldMk cId="2591449438" sldId="2147482334"/>
            <ac:spMk id="4" creationId="{087614AE-76F2-9F6F-1007-476639A2ED05}"/>
          </ac:spMkLst>
        </pc:spChg>
        <pc:spChg chg="add mod">
          <ac:chgData name="Laurence ANGILBERT" userId="28ea2967-f540-4e7d-a641-d418703ece22" providerId="ADAL" clId="{859296AE-058C-4C65-BA04-6986791C2943}" dt="2024-02-02T08:48:16.989" v="25290" actId="14100"/>
          <ac:spMkLst>
            <pc:docMk/>
            <pc:sldMk cId="2591449438" sldId="2147482334"/>
            <ac:spMk id="5" creationId="{F1293B56-39DE-0E07-38A0-93FAA514F16E}"/>
          </ac:spMkLst>
        </pc:spChg>
        <pc:spChg chg="del">
          <ac:chgData name="Laurence ANGILBERT" userId="28ea2967-f540-4e7d-a641-d418703ece22" providerId="ADAL" clId="{859296AE-058C-4C65-BA04-6986791C2943}" dt="2024-01-31T15:36:49.991" v="13873" actId="478"/>
          <ac:spMkLst>
            <pc:docMk/>
            <pc:sldMk cId="2591449438" sldId="2147482334"/>
            <ac:spMk id="6" creationId="{3C23719C-7EA8-A54B-ECA1-6F16B97CE428}"/>
          </ac:spMkLst>
        </pc:spChg>
        <pc:spChg chg="add mod">
          <ac:chgData name="Laurence ANGILBERT" userId="28ea2967-f540-4e7d-a641-d418703ece22" providerId="ADAL" clId="{859296AE-058C-4C65-BA04-6986791C2943}" dt="2024-02-02T08:48:09.233" v="25289" actId="1038"/>
          <ac:spMkLst>
            <pc:docMk/>
            <pc:sldMk cId="2591449438" sldId="2147482334"/>
            <ac:spMk id="8" creationId="{3211CFF5-6715-340E-700D-76599E2A8597}"/>
          </ac:spMkLst>
        </pc:spChg>
        <pc:spChg chg="add mod">
          <ac:chgData name="Laurence ANGILBERT" userId="28ea2967-f540-4e7d-a641-d418703ece22" providerId="ADAL" clId="{859296AE-058C-4C65-BA04-6986791C2943}" dt="2024-02-02T08:46:23.695" v="25253" actId="1076"/>
          <ac:spMkLst>
            <pc:docMk/>
            <pc:sldMk cId="2591449438" sldId="2147482334"/>
            <ac:spMk id="9" creationId="{B4450CE3-EF18-3E64-5E96-FA009AA4E1BB}"/>
          </ac:spMkLst>
        </pc:spChg>
        <pc:spChg chg="del">
          <ac:chgData name="Laurence ANGILBERT" userId="28ea2967-f540-4e7d-a641-d418703ece22" providerId="ADAL" clId="{859296AE-058C-4C65-BA04-6986791C2943}" dt="2024-02-02T08:45:42.242" v="25248" actId="478"/>
          <ac:spMkLst>
            <pc:docMk/>
            <pc:sldMk cId="2591449438" sldId="2147482334"/>
            <ac:spMk id="10" creationId="{5640F30A-E0C6-24BB-1FDB-50FD89324CC1}"/>
          </ac:spMkLst>
        </pc:spChg>
        <pc:spChg chg="add del mod">
          <ac:chgData name="Laurence ANGILBERT" userId="28ea2967-f540-4e7d-a641-d418703ece22" providerId="ADAL" clId="{859296AE-058C-4C65-BA04-6986791C2943}" dt="2024-02-02T08:45:49.490" v="25250" actId="478"/>
          <ac:spMkLst>
            <pc:docMk/>
            <pc:sldMk cId="2591449438" sldId="2147482334"/>
            <ac:spMk id="12" creationId="{2AD64200-C44E-3EFC-A95B-EB0FA9D7BAFB}"/>
          </ac:spMkLst>
        </pc:spChg>
        <pc:spChg chg="add mod">
          <ac:chgData name="Laurence ANGILBERT" userId="28ea2967-f540-4e7d-a641-d418703ece22" providerId="ADAL" clId="{859296AE-058C-4C65-BA04-6986791C2943}" dt="2024-02-02T08:50:06.067" v="25334" actId="14100"/>
          <ac:spMkLst>
            <pc:docMk/>
            <pc:sldMk cId="2591449438" sldId="2147482334"/>
            <ac:spMk id="14" creationId="{16BD271D-F696-D439-6328-82C5C972B20C}"/>
          </ac:spMkLst>
        </pc:spChg>
        <pc:picChg chg="del">
          <ac:chgData name="Laurence ANGILBERT" userId="28ea2967-f540-4e7d-a641-d418703ece22" providerId="ADAL" clId="{859296AE-058C-4C65-BA04-6986791C2943}" dt="2024-02-02T08:43:46.912" v="25185" actId="478"/>
          <ac:picMkLst>
            <pc:docMk/>
            <pc:sldMk cId="2591449438" sldId="2147482334"/>
            <ac:picMk id="6" creationId="{98EFDD64-DF3F-6777-3D2F-1B28F146B2F4}"/>
          </ac:picMkLst>
        </pc:picChg>
        <pc:picChg chg="add mod">
          <ac:chgData name="Laurence ANGILBERT" userId="28ea2967-f540-4e7d-a641-d418703ece22" providerId="ADAL" clId="{859296AE-058C-4C65-BA04-6986791C2943}" dt="2024-02-02T08:48:03.530" v="25265" actId="1076"/>
          <ac:picMkLst>
            <pc:docMk/>
            <pc:sldMk cId="2591449438" sldId="2147482334"/>
            <ac:picMk id="7" creationId="{3C30C663-FEDD-24A4-8A7B-5F9BD84DD2BA}"/>
          </ac:picMkLst>
        </pc:picChg>
        <pc:picChg chg="add del mod">
          <ac:chgData name="Laurence ANGILBERT" userId="28ea2967-f540-4e7d-a641-d418703ece22" providerId="ADAL" clId="{859296AE-058C-4C65-BA04-6986791C2943}" dt="2024-01-31T16:08:36.974" v="14692" actId="478"/>
          <ac:picMkLst>
            <pc:docMk/>
            <pc:sldMk cId="2591449438" sldId="2147482334"/>
            <ac:picMk id="10" creationId="{A8286A7F-0C0D-4F3A-7C6B-BC7B8DB39816}"/>
          </ac:picMkLst>
        </pc:picChg>
        <pc:picChg chg="add mod">
          <ac:chgData name="Laurence ANGILBERT" userId="28ea2967-f540-4e7d-a641-d418703ece22" providerId="ADAL" clId="{859296AE-058C-4C65-BA04-6986791C2943}" dt="2024-01-31T16:14:33.493" v="14859" actId="14100"/>
          <ac:picMkLst>
            <pc:docMk/>
            <pc:sldMk cId="2591449438" sldId="2147482334"/>
            <ac:picMk id="11" creationId="{3E84A74A-F461-6A42-B897-6BD04306CD86}"/>
          </ac:picMkLst>
        </pc:picChg>
        <pc:picChg chg="add del mod">
          <ac:chgData name="Laurence ANGILBERT" userId="28ea2967-f540-4e7d-a641-d418703ece22" providerId="ADAL" clId="{859296AE-058C-4C65-BA04-6986791C2943}" dt="2024-02-02T08:52:27.043" v="25348" actId="478"/>
          <ac:picMkLst>
            <pc:docMk/>
            <pc:sldMk cId="2591449438" sldId="2147482334"/>
            <ac:picMk id="11" creationId="{516CD028-70B9-9097-0975-7151FBC997C1}"/>
          </ac:picMkLst>
        </pc:picChg>
        <pc:picChg chg="add mod">
          <ac:chgData name="Laurence ANGILBERT" userId="28ea2967-f540-4e7d-a641-d418703ece22" providerId="ADAL" clId="{859296AE-058C-4C65-BA04-6986791C2943}" dt="2024-02-02T08:52:38.252" v="25351" actId="1076"/>
          <ac:picMkLst>
            <pc:docMk/>
            <pc:sldMk cId="2591449438" sldId="2147482334"/>
            <ac:picMk id="15" creationId="{F080951C-4EAE-836E-8493-03C098BBF0B4}"/>
          </ac:picMkLst>
        </pc:picChg>
      </pc:sldChg>
      <pc:sldChg chg="addSp delSp modSp add mod">
        <pc:chgData name="Laurence ANGILBERT" userId="28ea2967-f540-4e7d-a641-d418703ece22" providerId="ADAL" clId="{859296AE-058C-4C65-BA04-6986791C2943}" dt="2024-02-01T09:31:04.008" v="20666" actId="27309"/>
        <pc:sldMkLst>
          <pc:docMk/>
          <pc:sldMk cId="3375436117" sldId="2147482335"/>
        </pc:sldMkLst>
        <pc:spChg chg="add mod">
          <ac:chgData name="Laurence ANGILBERT" userId="28ea2967-f540-4e7d-a641-d418703ece22" providerId="ADAL" clId="{859296AE-058C-4C65-BA04-6986791C2943}" dt="2024-02-01T09:19:17.540" v="20270" actId="20577"/>
          <ac:spMkLst>
            <pc:docMk/>
            <pc:sldMk cId="3375436117" sldId="2147482335"/>
            <ac:spMk id="6" creationId="{0942EEF4-9BF1-4B40-0856-882B0F2FE1ED}"/>
          </ac:spMkLst>
        </pc:spChg>
        <pc:spChg chg="add mod">
          <ac:chgData name="Laurence ANGILBERT" userId="28ea2967-f540-4e7d-a641-d418703ece22" providerId="ADAL" clId="{859296AE-058C-4C65-BA04-6986791C2943}" dt="2024-02-01T09:19:57.679" v="20288" actId="207"/>
          <ac:spMkLst>
            <pc:docMk/>
            <pc:sldMk cId="3375436117" sldId="2147482335"/>
            <ac:spMk id="7" creationId="{110151DE-483B-783E-191D-C5D9C4BB7717}"/>
          </ac:spMkLst>
        </pc:spChg>
        <pc:spChg chg="del">
          <ac:chgData name="Laurence ANGILBERT" userId="28ea2967-f540-4e7d-a641-d418703ece22" providerId="ADAL" clId="{859296AE-058C-4C65-BA04-6986791C2943}" dt="2024-01-31T15:34:36.982" v="13844" actId="478"/>
          <ac:spMkLst>
            <pc:docMk/>
            <pc:sldMk cId="3375436117" sldId="2147482335"/>
            <ac:spMk id="7" creationId="{D3DD6AD9-8B4C-0BDB-31DE-53679EF38E73}"/>
          </ac:spMkLst>
        </pc:spChg>
        <pc:graphicFrameChg chg="add modGraphic">
          <ac:chgData name="Laurence ANGILBERT" userId="28ea2967-f540-4e7d-a641-d418703ece22" providerId="ADAL" clId="{859296AE-058C-4C65-BA04-6986791C2943}" dt="2024-02-01T09:31:04.008" v="20666" actId="27309"/>
          <ac:graphicFrameMkLst>
            <pc:docMk/>
            <pc:sldMk cId="3375436117" sldId="2147482335"/>
            <ac:graphicFrameMk id="10" creationId="{8FF606D9-6F37-B9CC-8046-CE169B3E410E}"/>
          </ac:graphicFrameMkLst>
        </pc:graphicFrameChg>
      </pc:sldChg>
      <pc:sldChg chg="addSp modSp add ord">
        <pc:chgData name="Laurence ANGILBERT" userId="28ea2967-f540-4e7d-a641-d418703ece22" providerId="ADAL" clId="{859296AE-058C-4C65-BA04-6986791C2943}" dt="2024-01-31T15:36:01.044" v="13867"/>
        <pc:sldMkLst>
          <pc:docMk/>
          <pc:sldMk cId="3766662707" sldId="2147482336"/>
        </pc:sldMkLst>
        <pc:spChg chg="add mod">
          <ac:chgData name="Laurence ANGILBERT" userId="28ea2967-f540-4e7d-a641-d418703ece22" providerId="ADAL" clId="{859296AE-058C-4C65-BA04-6986791C2943}" dt="2024-01-31T15:35:43.506" v="13864"/>
          <ac:spMkLst>
            <pc:docMk/>
            <pc:sldMk cId="3766662707" sldId="2147482336"/>
            <ac:spMk id="3" creationId="{FBB80072-9087-7A63-F4C4-EF10CF716B59}"/>
          </ac:spMkLst>
        </pc:spChg>
      </pc:sldChg>
      <pc:sldChg chg="addSp modSp add">
        <pc:chgData name="Laurence ANGILBERT" userId="28ea2967-f540-4e7d-a641-d418703ece22" providerId="ADAL" clId="{859296AE-058C-4C65-BA04-6986791C2943}" dt="2024-01-31T15:36:33.061" v="13870"/>
        <pc:sldMkLst>
          <pc:docMk/>
          <pc:sldMk cId="3741534490" sldId="2147482337"/>
        </pc:sldMkLst>
        <pc:spChg chg="add mod">
          <ac:chgData name="Laurence ANGILBERT" userId="28ea2967-f540-4e7d-a641-d418703ece22" providerId="ADAL" clId="{859296AE-058C-4C65-BA04-6986791C2943}" dt="2024-01-31T15:36:33.061" v="13870"/>
          <ac:spMkLst>
            <pc:docMk/>
            <pc:sldMk cId="3741534490" sldId="2147482337"/>
            <ac:spMk id="4" creationId="{B5034AE0-B53E-EEFB-C3F8-191069A9FA7F}"/>
          </ac:spMkLst>
        </pc:spChg>
      </pc:sldChg>
      <pc:sldChg chg="add del">
        <pc:chgData name="Laurence ANGILBERT" userId="28ea2967-f540-4e7d-a641-d418703ece22" providerId="ADAL" clId="{859296AE-058C-4C65-BA04-6986791C2943}" dt="2024-02-02T09:11:25.601" v="25641" actId="47"/>
        <pc:sldMkLst>
          <pc:docMk/>
          <pc:sldMk cId="353576320" sldId="2147482338"/>
        </pc:sldMkLst>
      </pc:sldChg>
      <pc:sldChg chg="addSp delSp modSp add del mod">
        <pc:chgData name="Laurence ANGILBERT" userId="28ea2967-f540-4e7d-a641-d418703ece22" providerId="ADAL" clId="{859296AE-058C-4C65-BA04-6986791C2943}" dt="2024-02-02T08:34:25.666" v="24726" actId="2696"/>
        <pc:sldMkLst>
          <pc:docMk/>
          <pc:sldMk cId="672324684" sldId="2147482338"/>
        </pc:sldMkLst>
        <pc:spChg chg="add mod">
          <ac:chgData name="Laurence ANGILBERT" userId="28ea2967-f540-4e7d-a641-d418703ece22" providerId="ADAL" clId="{859296AE-058C-4C65-BA04-6986791C2943}" dt="2024-02-02T08:32:23.259" v="24723" actId="20577"/>
          <ac:spMkLst>
            <pc:docMk/>
            <pc:sldMk cId="672324684" sldId="2147482338"/>
            <ac:spMk id="2" creationId="{58D95711-6B8F-DF3C-3C0F-F3427A59197B}"/>
          </ac:spMkLst>
        </pc:spChg>
        <pc:spChg chg="del">
          <ac:chgData name="Laurence ANGILBERT" userId="28ea2967-f540-4e7d-a641-d418703ece22" providerId="ADAL" clId="{859296AE-058C-4C65-BA04-6986791C2943}" dt="2024-01-31T15:57:10.726" v="14083" actId="478"/>
          <ac:spMkLst>
            <pc:docMk/>
            <pc:sldMk cId="672324684" sldId="2147482338"/>
            <ac:spMk id="4" creationId="{B45A4892-FF4B-57AE-B1BE-8B25B579B799}"/>
          </ac:spMkLst>
        </pc:spChg>
        <pc:spChg chg="mod">
          <ac:chgData name="Laurence ANGILBERT" userId="28ea2967-f540-4e7d-a641-d418703ece22" providerId="ADAL" clId="{859296AE-058C-4C65-BA04-6986791C2943}" dt="2024-01-31T16:09:11.417" v="14716" actId="1035"/>
          <ac:spMkLst>
            <pc:docMk/>
            <pc:sldMk cId="672324684" sldId="2147482338"/>
            <ac:spMk id="25" creationId="{A72886EB-98E2-25E5-97F9-734E7BCB5161}"/>
          </ac:spMkLst>
        </pc:spChg>
        <pc:spChg chg="mod">
          <ac:chgData name="Laurence ANGILBERT" userId="28ea2967-f540-4e7d-a641-d418703ece22" providerId="ADAL" clId="{859296AE-058C-4C65-BA04-6986791C2943}" dt="2024-01-31T16:09:11.417" v="14716" actId="1035"/>
          <ac:spMkLst>
            <pc:docMk/>
            <pc:sldMk cId="672324684" sldId="2147482338"/>
            <ac:spMk id="29" creationId="{656008AB-84F9-A756-5E24-694B62D6FF1B}"/>
          </ac:spMkLst>
        </pc:spChg>
        <pc:spChg chg="mod">
          <ac:chgData name="Laurence ANGILBERT" userId="28ea2967-f540-4e7d-a641-d418703ece22" providerId="ADAL" clId="{859296AE-058C-4C65-BA04-6986791C2943}" dt="2024-01-31T16:12:51.054" v="14827" actId="1076"/>
          <ac:spMkLst>
            <pc:docMk/>
            <pc:sldMk cId="672324684" sldId="2147482338"/>
            <ac:spMk id="30" creationId="{3C8E7D1F-CC31-EDC4-E553-970EA6836723}"/>
          </ac:spMkLst>
        </pc:spChg>
        <pc:spChg chg="del mod">
          <ac:chgData name="Laurence ANGILBERT" userId="28ea2967-f540-4e7d-a641-d418703ece22" providerId="ADAL" clId="{859296AE-058C-4C65-BA04-6986791C2943}" dt="2024-01-31T16:12:01.142" v="14794" actId="478"/>
          <ac:spMkLst>
            <pc:docMk/>
            <pc:sldMk cId="672324684" sldId="2147482338"/>
            <ac:spMk id="31" creationId="{B2A39A04-3263-82EB-3D56-C9F6B44490C5}"/>
          </ac:spMkLst>
        </pc:spChg>
        <pc:spChg chg="mod">
          <ac:chgData name="Laurence ANGILBERT" userId="28ea2967-f540-4e7d-a641-d418703ece22" providerId="ADAL" clId="{859296AE-058C-4C65-BA04-6986791C2943}" dt="2024-01-31T16:12:55.200" v="14828" actId="1076"/>
          <ac:spMkLst>
            <pc:docMk/>
            <pc:sldMk cId="672324684" sldId="2147482338"/>
            <ac:spMk id="32" creationId="{8CFE4001-B6BE-E6C3-191B-1B362D32EF8F}"/>
          </ac:spMkLst>
        </pc:spChg>
        <pc:spChg chg="mod">
          <ac:chgData name="Laurence ANGILBERT" userId="28ea2967-f540-4e7d-a641-d418703ece22" providerId="ADAL" clId="{859296AE-058C-4C65-BA04-6986791C2943}" dt="2024-01-31T16:12:42.533" v="14826" actId="1038"/>
          <ac:spMkLst>
            <pc:docMk/>
            <pc:sldMk cId="672324684" sldId="2147482338"/>
            <ac:spMk id="33" creationId="{A1654466-0E14-27E8-5018-2461CDD59461}"/>
          </ac:spMkLst>
        </pc:spChg>
        <pc:spChg chg="mod">
          <ac:chgData name="Laurence ANGILBERT" userId="28ea2967-f540-4e7d-a641-d418703ece22" providerId="ADAL" clId="{859296AE-058C-4C65-BA04-6986791C2943}" dt="2024-01-31T16:06:03.024" v="14624" actId="207"/>
          <ac:spMkLst>
            <pc:docMk/>
            <pc:sldMk cId="672324684" sldId="2147482338"/>
            <ac:spMk id="35" creationId="{0951FF4B-188B-7DEB-8131-71D2405ADD01}"/>
          </ac:spMkLst>
        </pc:spChg>
        <pc:spChg chg="mod">
          <ac:chgData name="Laurence ANGILBERT" userId="28ea2967-f540-4e7d-a641-d418703ece22" providerId="ADAL" clId="{859296AE-058C-4C65-BA04-6986791C2943}" dt="2024-01-31T16:09:11.417" v="14716" actId="1035"/>
          <ac:spMkLst>
            <pc:docMk/>
            <pc:sldMk cId="672324684" sldId="2147482338"/>
            <ac:spMk id="36" creationId="{E9E175A2-C73C-AABD-A739-04B1DE268FF2}"/>
          </ac:spMkLst>
        </pc:spChg>
        <pc:spChg chg="mod">
          <ac:chgData name="Laurence ANGILBERT" userId="28ea2967-f540-4e7d-a641-d418703ece22" providerId="ADAL" clId="{859296AE-058C-4C65-BA04-6986791C2943}" dt="2024-01-31T16:14:01.201" v="14854" actId="1036"/>
          <ac:spMkLst>
            <pc:docMk/>
            <pc:sldMk cId="672324684" sldId="2147482338"/>
            <ac:spMk id="37" creationId="{349CCB2E-84F0-3A8A-0FCB-9CA4F208CC61}"/>
          </ac:spMkLst>
        </pc:spChg>
        <pc:spChg chg="mod">
          <ac:chgData name="Laurence ANGILBERT" userId="28ea2967-f540-4e7d-a641-d418703ece22" providerId="ADAL" clId="{859296AE-058C-4C65-BA04-6986791C2943}" dt="2024-01-31T16:09:11.417" v="14716" actId="1035"/>
          <ac:spMkLst>
            <pc:docMk/>
            <pc:sldMk cId="672324684" sldId="2147482338"/>
            <ac:spMk id="38" creationId="{3436AD79-08F5-111F-CCE1-F83A13D07389}"/>
          </ac:spMkLst>
        </pc:spChg>
        <pc:spChg chg="mod">
          <ac:chgData name="Laurence ANGILBERT" userId="28ea2967-f540-4e7d-a641-d418703ece22" providerId="ADAL" clId="{859296AE-058C-4C65-BA04-6986791C2943}" dt="2024-01-31T16:13:13.739" v="14836" actId="1038"/>
          <ac:spMkLst>
            <pc:docMk/>
            <pc:sldMk cId="672324684" sldId="2147482338"/>
            <ac:spMk id="39" creationId="{218867C9-B999-EF64-1414-3DF24F961137}"/>
          </ac:spMkLst>
        </pc:spChg>
        <pc:spChg chg="mod">
          <ac:chgData name="Laurence ANGILBERT" userId="28ea2967-f540-4e7d-a641-d418703ece22" providerId="ADAL" clId="{859296AE-058C-4C65-BA04-6986791C2943}" dt="2024-01-31T16:13:13.739" v="14836" actId="1038"/>
          <ac:spMkLst>
            <pc:docMk/>
            <pc:sldMk cId="672324684" sldId="2147482338"/>
            <ac:spMk id="40" creationId="{B8806870-0E59-80FC-B87E-840D4B353AA5}"/>
          </ac:spMkLst>
        </pc:spChg>
        <pc:spChg chg="mod">
          <ac:chgData name="Laurence ANGILBERT" userId="28ea2967-f540-4e7d-a641-d418703ece22" providerId="ADAL" clId="{859296AE-058C-4C65-BA04-6986791C2943}" dt="2024-01-31T16:13:13.739" v="14836" actId="1038"/>
          <ac:spMkLst>
            <pc:docMk/>
            <pc:sldMk cId="672324684" sldId="2147482338"/>
            <ac:spMk id="44" creationId="{37FAB019-EC7D-43F1-2256-7BB22DD16542}"/>
          </ac:spMkLst>
        </pc:spChg>
        <pc:spChg chg="mod">
          <ac:chgData name="Laurence ANGILBERT" userId="28ea2967-f540-4e7d-a641-d418703ece22" providerId="ADAL" clId="{859296AE-058C-4C65-BA04-6986791C2943}" dt="2024-01-31T16:10:39.969" v="14767" actId="1076"/>
          <ac:spMkLst>
            <pc:docMk/>
            <pc:sldMk cId="672324684" sldId="2147482338"/>
            <ac:spMk id="46" creationId="{4FE048C3-F106-C914-0163-03D57904C9A6}"/>
          </ac:spMkLst>
        </pc:spChg>
        <pc:spChg chg="mod">
          <ac:chgData name="Laurence ANGILBERT" userId="28ea2967-f540-4e7d-a641-d418703ece22" providerId="ADAL" clId="{859296AE-058C-4C65-BA04-6986791C2943}" dt="2024-01-31T16:09:11.417" v="14716" actId="1035"/>
          <ac:spMkLst>
            <pc:docMk/>
            <pc:sldMk cId="672324684" sldId="2147482338"/>
            <ac:spMk id="47" creationId="{0B8E7557-7CB1-B5C6-18DC-20166E1E7291}"/>
          </ac:spMkLst>
        </pc:spChg>
        <pc:spChg chg="mod">
          <ac:chgData name="Laurence ANGILBERT" userId="28ea2967-f540-4e7d-a641-d418703ece22" providerId="ADAL" clId="{859296AE-058C-4C65-BA04-6986791C2943}" dt="2024-01-31T16:13:13.739" v="14836" actId="1038"/>
          <ac:spMkLst>
            <pc:docMk/>
            <pc:sldMk cId="672324684" sldId="2147482338"/>
            <ac:spMk id="48" creationId="{CA330848-ED40-D5AD-4144-CB569E4FC14D}"/>
          </ac:spMkLst>
        </pc:spChg>
        <pc:spChg chg="mod">
          <ac:chgData name="Laurence ANGILBERT" userId="28ea2967-f540-4e7d-a641-d418703ece22" providerId="ADAL" clId="{859296AE-058C-4C65-BA04-6986791C2943}" dt="2024-01-31T16:13:13.739" v="14836" actId="1038"/>
          <ac:spMkLst>
            <pc:docMk/>
            <pc:sldMk cId="672324684" sldId="2147482338"/>
            <ac:spMk id="49" creationId="{2C1D346B-D042-826C-E008-BEB6A4340451}"/>
          </ac:spMkLst>
        </pc:spChg>
        <pc:spChg chg="mod">
          <ac:chgData name="Laurence ANGILBERT" userId="28ea2967-f540-4e7d-a641-d418703ece22" providerId="ADAL" clId="{859296AE-058C-4C65-BA04-6986791C2943}" dt="2024-01-31T16:13:13.739" v="14836" actId="1038"/>
          <ac:spMkLst>
            <pc:docMk/>
            <pc:sldMk cId="672324684" sldId="2147482338"/>
            <ac:spMk id="50" creationId="{B1E85E31-A2B1-030D-19F8-950922AC070F}"/>
          </ac:spMkLst>
        </pc:spChg>
        <pc:spChg chg="mod">
          <ac:chgData name="Laurence ANGILBERT" userId="28ea2967-f540-4e7d-a641-d418703ece22" providerId="ADAL" clId="{859296AE-058C-4C65-BA04-6986791C2943}" dt="2024-01-31T16:09:11.417" v="14716" actId="1035"/>
          <ac:spMkLst>
            <pc:docMk/>
            <pc:sldMk cId="672324684" sldId="2147482338"/>
            <ac:spMk id="53" creationId="{2A75B5B9-A4C3-96DE-1F7E-CDEBCCF8994B}"/>
          </ac:spMkLst>
        </pc:spChg>
        <pc:spChg chg="mod">
          <ac:chgData name="Laurence ANGILBERT" userId="28ea2967-f540-4e7d-a641-d418703ece22" providerId="ADAL" clId="{859296AE-058C-4C65-BA04-6986791C2943}" dt="2024-01-31T16:09:11.417" v="14716" actId="1035"/>
          <ac:spMkLst>
            <pc:docMk/>
            <pc:sldMk cId="672324684" sldId="2147482338"/>
            <ac:spMk id="55" creationId="{49909B7D-7EF1-D360-587A-9769C8875961}"/>
          </ac:spMkLst>
        </pc:spChg>
        <pc:spChg chg="mod">
          <ac:chgData name="Laurence ANGILBERT" userId="28ea2967-f540-4e7d-a641-d418703ece22" providerId="ADAL" clId="{859296AE-058C-4C65-BA04-6986791C2943}" dt="2024-01-31T16:13:13.739" v="14836" actId="1038"/>
          <ac:spMkLst>
            <pc:docMk/>
            <pc:sldMk cId="672324684" sldId="2147482338"/>
            <ac:spMk id="57" creationId="{784650A3-D0C6-7E41-447C-10EAEAFB6060}"/>
          </ac:spMkLst>
        </pc:spChg>
        <pc:spChg chg="mod">
          <ac:chgData name="Laurence ANGILBERT" userId="28ea2967-f540-4e7d-a641-d418703ece22" providerId="ADAL" clId="{859296AE-058C-4C65-BA04-6986791C2943}" dt="2024-01-31T16:13:13.739" v="14836" actId="1038"/>
          <ac:spMkLst>
            <pc:docMk/>
            <pc:sldMk cId="672324684" sldId="2147482338"/>
            <ac:spMk id="58" creationId="{70086247-BD41-27F2-CD08-8F9BB939D4A6}"/>
          </ac:spMkLst>
        </pc:spChg>
        <pc:spChg chg="mod">
          <ac:chgData name="Laurence ANGILBERT" userId="28ea2967-f540-4e7d-a641-d418703ece22" providerId="ADAL" clId="{859296AE-058C-4C65-BA04-6986791C2943}" dt="2024-01-31T16:13:35.010" v="14847" actId="1037"/>
          <ac:spMkLst>
            <pc:docMk/>
            <pc:sldMk cId="672324684" sldId="2147482338"/>
            <ac:spMk id="59" creationId="{10CC8475-70D0-C097-F0E9-E14A75056703}"/>
          </ac:spMkLst>
        </pc:spChg>
        <pc:spChg chg="mod">
          <ac:chgData name="Laurence ANGILBERT" userId="28ea2967-f540-4e7d-a641-d418703ece22" providerId="ADAL" clId="{859296AE-058C-4C65-BA04-6986791C2943}" dt="2024-01-31T16:09:11.417" v="14716" actId="1035"/>
          <ac:spMkLst>
            <pc:docMk/>
            <pc:sldMk cId="672324684" sldId="2147482338"/>
            <ac:spMk id="61" creationId="{68443930-C9FB-E83F-C942-5138B68A1F7B}"/>
          </ac:spMkLst>
        </pc:spChg>
        <pc:spChg chg="mod">
          <ac:chgData name="Laurence ANGILBERT" userId="28ea2967-f540-4e7d-a641-d418703ece22" providerId="ADAL" clId="{859296AE-058C-4C65-BA04-6986791C2943}" dt="2024-01-31T16:09:11.417" v="14716" actId="1035"/>
          <ac:spMkLst>
            <pc:docMk/>
            <pc:sldMk cId="672324684" sldId="2147482338"/>
            <ac:spMk id="63" creationId="{5BA96670-E09F-6065-F4D2-24E6C0C137FA}"/>
          </ac:spMkLst>
        </pc:spChg>
        <pc:spChg chg="mod">
          <ac:chgData name="Laurence ANGILBERT" userId="28ea2967-f540-4e7d-a641-d418703ece22" providerId="ADAL" clId="{859296AE-058C-4C65-BA04-6986791C2943}" dt="2024-01-31T16:13:13.739" v="14836" actId="1038"/>
          <ac:spMkLst>
            <pc:docMk/>
            <pc:sldMk cId="672324684" sldId="2147482338"/>
            <ac:spMk id="3073" creationId="{33C703C2-3AD3-32E4-5D04-E1416B32781B}"/>
          </ac:spMkLst>
        </pc:spChg>
        <pc:spChg chg="mod">
          <ac:chgData name="Laurence ANGILBERT" userId="28ea2967-f540-4e7d-a641-d418703ece22" providerId="ADAL" clId="{859296AE-058C-4C65-BA04-6986791C2943}" dt="2024-01-31T16:13:13.739" v="14836" actId="1038"/>
          <ac:spMkLst>
            <pc:docMk/>
            <pc:sldMk cId="672324684" sldId="2147482338"/>
            <ac:spMk id="3077" creationId="{F66A105F-817F-A99F-578A-7018E04C97E6}"/>
          </ac:spMkLst>
        </pc:spChg>
        <pc:spChg chg="mod">
          <ac:chgData name="Laurence ANGILBERT" userId="28ea2967-f540-4e7d-a641-d418703ece22" providerId="ADAL" clId="{859296AE-058C-4C65-BA04-6986791C2943}" dt="2024-01-31T16:13:13.739" v="14836" actId="1038"/>
          <ac:spMkLst>
            <pc:docMk/>
            <pc:sldMk cId="672324684" sldId="2147482338"/>
            <ac:spMk id="3080" creationId="{183C693B-60C3-33C9-8093-66F3FA8D943E}"/>
          </ac:spMkLst>
        </pc:spChg>
        <pc:spChg chg="mod">
          <ac:chgData name="Laurence ANGILBERT" userId="28ea2967-f540-4e7d-a641-d418703ece22" providerId="ADAL" clId="{859296AE-058C-4C65-BA04-6986791C2943}" dt="2024-01-31T16:10:36.067" v="14766" actId="1076"/>
          <ac:spMkLst>
            <pc:docMk/>
            <pc:sldMk cId="672324684" sldId="2147482338"/>
            <ac:spMk id="3105" creationId="{4C00C1B2-BFF5-007E-6628-81ECBF184AD8}"/>
          </ac:spMkLst>
        </pc:spChg>
        <pc:spChg chg="mod">
          <ac:chgData name="Laurence ANGILBERT" userId="28ea2967-f540-4e7d-a641-d418703ece22" providerId="ADAL" clId="{859296AE-058C-4C65-BA04-6986791C2943}" dt="2024-01-31T16:09:18.848" v="14719" actId="14100"/>
          <ac:spMkLst>
            <pc:docMk/>
            <pc:sldMk cId="672324684" sldId="2147482338"/>
            <ac:spMk id="3106" creationId="{8D4ADADB-587E-DDF2-60C8-474982841F62}"/>
          </ac:spMkLst>
        </pc:spChg>
        <pc:picChg chg="add mod">
          <ac:chgData name="Laurence ANGILBERT" userId="28ea2967-f540-4e7d-a641-d418703ece22" providerId="ADAL" clId="{859296AE-058C-4C65-BA04-6986791C2943}" dt="2024-01-31T16:09:41.453" v="14746" actId="571"/>
          <ac:picMkLst>
            <pc:docMk/>
            <pc:sldMk cId="672324684" sldId="2147482338"/>
            <ac:picMk id="23" creationId="{026D4736-8D98-783A-AF8E-A683C67A28D5}"/>
          </ac:picMkLst>
        </pc:picChg>
        <pc:picChg chg="mod">
          <ac:chgData name="Laurence ANGILBERT" userId="28ea2967-f540-4e7d-a641-d418703ece22" providerId="ADAL" clId="{859296AE-058C-4C65-BA04-6986791C2943}" dt="2024-01-31T16:09:11.417" v="14716" actId="1035"/>
          <ac:picMkLst>
            <pc:docMk/>
            <pc:sldMk cId="672324684" sldId="2147482338"/>
            <ac:picMk id="28" creationId="{A9B22746-374E-B15F-07EE-BCFD9D104AC6}"/>
          </ac:picMkLst>
        </pc:picChg>
        <pc:picChg chg="mod">
          <ac:chgData name="Laurence ANGILBERT" userId="28ea2967-f540-4e7d-a641-d418703ece22" providerId="ADAL" clId="{859296AE-058C-4C65-BA04-6986791C2943}" dt="2024-01-31T16:12:38.451" v="14821" actId="1038"/>
          <ac:picMkLst>
            <pc:docMk/>
            <pc:sldMk cId="672324684" sldId="2147482338"/>
            <ac:picMk id="34" creationId="{DF586CCA-7B0B-6774-12CA-12BF99924BE6}"/>
          </ac:picMkLst>
        </pc:picChg>
        <pc:picChg chg="mod">
          <ac:chgData name="Laurence ANGILBERT" userId="28ea2967-f540-4e7d-a641-d418703ece22" providerId="ADAL" clId="{859296AE-058C-4C65-BA04-6986791C2943}" dt="2024-01-31T16:09:36.556" v="14745" actId="1076"/>
          <ac:picMkLst>
            <pc:docMk/>
            <pc:sldMk cId="672324684" sldId="2147482338"/>
            <ac:picMk id="41" creationId="{C87C92EF-FFF7-650A-E3CA-0B9C69BC2807}"/>
          </ac:picMkLst>
        </pc:picChg>
        <pc:picChg chg="mod">
          <ac:chgData name="Laurence ANGILBERT" userId="28ea2967-f540-4e7d-a641-d418703ece22" providerId="ADAL" clId="{859296AE-058C-4C65-BA04-6986791C2943}" dt="2024-01-31T16:13:13.739" v="14836" actId="1038"/>
          <ac:picMkLst>
            <pc:docMk/>
            <pc:sldMk cId="672324684" sldId="2147482338"/>
            <ac:picMk id="42" creationId="{D6754AFA-46D6-DECF-5583-3A01EEAFA441}"/>
          </ac:picMkLst>
        </pc:picChg>
        <pc:picChg chg="mod">
          <ac:chgData name="Laurence ANGILBERT" userId="28ea2967-f540-4e7d-a641-d418703ece22" providerId="ADAL" clId="{859296AE-058C-4C65-BA04-6986791C2943}" dt="2024-01-31T16:13:13.739" v="14836" actId="1038"/>
          <ac:picMkLst>
            <pc:docMk/>
            <pc:sldMk cId="672324684" sldId="2147482338"/>
            <ac:picMk id="43" creationId="{46811E38-21E5-76B0-579B-F3D9A049D455}"/>
          </ac:picMkLst>
        </pc:picChg>
        <pc:picChg chg="mod">
          <ac:chgData name="Laurence ANGILBERT" userId="28ea2967-f540-4e7d-a641-d418703ece22" providerId="ADAL" clId="{859296AE-058C-4C65-BA04-6986791C2943}" dt="2024-01-31T16:13:13.739" v="14836" actId="1038"/>
          <ac:picMkLst>
            <pc:docMk/>
            <pc:sldMk cId="672324684" sldId="2147482338"/>
            <ac:picMk id="45" creationId="{8189CF34-4F44-DD8C-93F8-A8C8B519A925}"/>
          </ac:picMkLst>
        </pc:picChg>
        <pc:picChg chg="add mod">
          <ac:chgData name="Laurence ANGILBERT" userId="28ea2967-f540-4e7d-a641-d418703ece22" providerId="ADAL" clId="{859296AE-058C-4C65-BA04-6986791C2943}" dt="2024-01-31T16:12:15.361" v="14799" actId="14100"/>
          <ac:picMkLst>
            <pc:docMk/>
            <pc:sldMk cId="672324684" sldId="2147482338"/>
            <ac:picMk id="52" creationId="{37186B8D-7BE0-1D5B-0441-10426C6B70F3}"/>
          </ac:picMkLst>
        </pc:picChg>
        <pc:picChg chg="mod">
          <ac:chgData name="Laurence ANGILBERT" userId="28ea2967-f540-4e7d-a641-d418703ece22" providerId="ADAL" clId="{859296AE-058C-4C65-BA04-6986791C2943}" dt="2024-01-31T16:09:11.417" v="14716" actId="1035"/>
          <ac:picMkLst>
            <pc:docMk/>
            <pc:sldMk cId="672324684" sldId="2147482338"/>
            <ac:picMk id="60" creationId="{9000CA11-A90B-C0E7-2D6B-7DCD54E21E5B}"/>
          </ac:picMkLst>
        </pc:picChg>
        <pc:picChg chg="mod">
          <ac:chgData name="Laurence ANGILBERT" userId="28ea2967-f540-4e7d-a641-d418703ece22" providerId="ADAL" clId="{859296AE-058C-4C65-BA04-6986791C2943}" dt="2024-01-31T16:09:11.417" v="14716" actId="1035"/>
          <ac:picMkLst>
            <pc:docMk/>
            <pc:sldMk cId="672324684" sldId="2147482338"/>
            <ac:picMk id="62" creationId="{10504DA1-08F8-FA98-01BA-E53504EFF9E3}"/>
          </ac:picMkLst>
        </pc:picChg>
        <pc:picChg chg="mod">
          <ac:chgData name="Laurence ANGILBERT" userId="28ea2967-f540-4e7d-a641-d418703ece22" providerId="ADAL" clId="{859296AE-058C-4C65-BA04-6986791C2943}" dt="2024-01-31T16:13:39.720" v="14850" actId="1037"/>
          <ac:picMkLst>
            <pc:docMk/>
            <pc:sldMk cId="672324684" sldId="2147482338"/>
            <ac:picMk id="3072" creationId="{7628632D-02F4-A089-ECAE-1BE84F93A33F}"/>
          </ac:picMkLst>
        </pc:picChg>
        <pc:picChg chg="mod">
          <ac:chgData name="Laurence ANGILBERT" userId="28ea2967-f540-4e7d-a641-d418703ece22" providerId="ADAL" clId="{859296AE-058C-4C65-BA04-6986791C2943}" dt="2024-01-31T16:13:13.739" v="14836" actId="1038"/>
          <ac:picMkLst>
            <pc:docMk/>
            <pc:sldMk cId="672324684" sldId="2147482338"/>
            <ac:picMk id="3074" creationId="{8A1EEE6C-7232-F814-BAB4-8E0D827AFE16}"/>
          </ac:picMkLst>
        </pc:picChg>
        <pc:picChg chg="mod">
          <ac:chgData name="Laurence ANGILBERT" userId="28ea2967-f540-4e7d-a641-d418703ece22" providerId="ADAL" clId="{859296AE-058C-4C65-BA04-6986791C2943}" dt="2024-01-31T16:13:13.739" v="14836" actId="1038"/>
          <ac:picMkLst>
            <pc:docMk/>
            <pc:sldMk cId="672324684" sldId="2147482338"/>
            <ac:picMk id="3075" creationId="{3F3914D7-620F-76B8-2C8F-E0D0BFBB91BB}"/>
          </ac:picMkLst>
        </pc:picChg>
        <pc:picChg chg="mod">
          <ac:chgData name="Laurence ANGILBERT" userId="28ea2967-f540-4e7d-a641-d418703ece22" providerId="ADAL" clId="{859296AE-058C-4C65-BA04-6986791C2943}" dt="2024-01-31T16:13:13.739" v="14836" actId="1038"/>
          <ac:picMkLst>
            <pc:docMk/>
            <pc:sldMk cId="672324684" sldId="2147482338"/>
            <ac:picMk id="3076" creationId="{06EF85DA-6355-293E-16F0-586A16D17671}"/>
          </ac:picMkLst>
        </pc:picChg>
        <pc:picChg chg="mod">
          <ac:chgData name="Laurence ANGILBERT" userId="28ea2967-f540-4e7d-a641-d418703ece22" providerId="ADAL" clId="{859296AE-058C-4C65-BA04-6986791C2943}" dt="2024-01-31T16:13:35.010" v="14847" actId="1037"/>
          <ac:picMkLst>
            <pc:docMk/>
            <pc:sldMk cId="672324684" sldId="2147482338"/>
            <ac:picMk id="3078" creationId="{20026058-1223-6E97-D660-3FCC235CCE64}"/>
          </ac:picMkLst>
        </pc:picChg>
        <pc:picChg chg="mod">
          <ac:chgData name="Laurence ANGILBERT" userId="28ea2967-f540-4e7d-a641-d418703ece22" providerId="ADAL" clId="{859296AE-058C-4C65-BA04-6986791C2943}" dt="2024-01-31T16:13:43.776" v="14851" actId="1038"/>
          <ac:picMkLst>
            <pc:docMk/>
            <pc:sldMk cId="672324684" sldId="2147482338"/>
            <ac:picMk id="3079" creationId="{53DA01D3-15B0-C6C0-AF8D-81EF69C349DF}"/>
          </ac:picMkLst>
        </pc:picChg>
        <pc:picChg chg="mod">
          <ac:chgData name="Laurence ANGILBERT" userId="28ea2967-f540-4e7d-a641-d418703ece22" providerId="ADAL" clId="{859296AE-058C-4C65-BA04-6986791C2943}" dt="2024-01-31T16:09:11.417" v="14716" actId="1035"/>
          <ac:picMkLst>
            <pc:docMk/>
            <pc:sldMk cId="672324684" sldId="2147482338"/>
            <ac:picMk id="3136" creationId="{1649B587-0B7D-B125-3897-D498C4F2D7BF}"/>
          </ac:picMkLst>
        </pc:picChg>
        <pc:cxnChg chg="mod">
          <ac:chgData name="Laurence ANGILBERT" userId="28ea2967-f540-4e7d-a641-d418703ece22" providerId="ADAL" clId="{859296AE-058C-4C65-BA04-6986791C2943}" dt="2024-01-31T16:12:15.361" v="14799" actId="14100"/>
          <ac:cxnSpMkLst>
            <pc:docMk/>
            <pc:sldMk cId="672324684" sldId="2147482338"/>
            <ac:cxnSpMk id="3086" creationId="{38C5C80F-3EFB-D38A-EAF7-902C5FCF8D6E}"/>
          </ac:cxnSpMkLst>
        </pc:cxnChg>
        <pc:cxnChg chg="mod">
          <ac:chgData name="Laurence ANGILBERT" userId="28ea2967-f540-4e7d-a641-d418703ece22" providerId="ADAL" clId="{859296AE-058C-4C65-BA04-6986791C2943}" dt="2024-01-31T16:12:38.451" v="14821" actId="1038"/>
          <ac:cxnSpMkLst>
            <pc:docMk/>
            <pc:sldMk cId="672324684" sldId="2147482338"/>
            <ac:cxnSpMk id="3091" creationId="{46D70A3B-1419-4900-234F-E70DE603F231}"/>
          </ac:cxnSpMkLst>
        </pc:cxnChg>
        <pc:cxnChg chg="mod">
          <ac:chgData name="Laurence ANGILBERT" userId="28ea2967-f540-4e7d-a641-d418703ece22" providerId="ADAL" clId="{859296AE-058C-4C65-BA04-6986791C2943}" dt="2024-01-31T16:13:21.121" v="14838" actId="14100"/>
          <ac:cxnSpMkLst>
            <pc:docMk/>
            <pc:sldMk cId="672324684" sldId="2147482338"/>
            <ac:cxnSpMk id="3094" creationId="{D0C4D244-A74E-C167-F4AF-B94EC49ABA06}"/>
          </ac:cxnSpMkLst>
        </pc:cxnChg>
        <pc:cxnChg chg="mod">
          <ac:chgData name="Laurence ANGILBERT" userId="28ea2967-f540-4e7d-a641-d418703ece22" providerId="ADAL" clId="{859296AE-058C-4C65-BA04-6986791C2943}" dt="2024-01-31T16:13:24.135" v="14839" actId="14100"/>
          <ac:cxnSpMkLst>
            <pc:docMk/>
            <pc:sldMk cId="672324684" sldId="2147482338"/>
            <ac:cxnSpMk id="3097" creationId="{71B78758-B5AD-48DC-1B64-990833AD920F}"/>
          </ac:cxnSpMkLst>
        </pc:cxnChg>
        <pc:cxnChg chg="mod">
          <ac:chgData name="Laurence ANGILBERT" userId="28ea2967-f540-4e7d-a641-d418703ece22" providerId="ADAL" clId="{859296AE-058C-4C65-BA04-6986791C2943}" dt="2024-01-31T16:13:18.044" v="14837" actId="14100"/>
          <ac:cxnSpMkLst>
            <pc:docMk/>
            <pc:sldMk cId="672324684" sldId="2147482338"/>
            <ac:cxnSpMk id="3100" creationId="{21D040B4-2642-6E64-8E15-8E6D8BAC7C19}"/>
          </ac:cxnSpMkLst>
        </pc:cxnChg>
        <pc:cxnChg chg="mod">
          <ac:chgData name="Laurence ANGILBERT" userId="28ea2967-f540-4e7d-a641-d418703ece22" providerId="ADAL" clId="{859296AE-058C-4C65-BA04-6986791C2943}" dt="2024-01-31T16:09:36.556" v="14745" actId="1076"/>
          <ac:cxnSpMkLst>
            <pc:docMk/>
            <pc:sldMk cId="672324684" sldId="2147482338"/>
            <ac:cxnSpMk id="3129" creationId="{2F347F9B-2676-F74F-C620-96FD15DEA0DB}"/>
          </ac:cxnSpMkLst>
        </pc:cxnChg>
      </pc:sldChg>
      <pc:sldChg chg="add del">
        <pc:chgData name="Laurence ANGILBERT" userId="28ea2967-f540-4e7d-a641-d418703ece22" providerId="ADAL" clId="{859296AE-058C-4C65-BA04-6986791C2943}" dt="2024-01-31T15:47:58.863" v="13999" actId="47"/>
        <pc:sldMkLst>
          <pc:docMk/>
          <pc:sldMk cId="2023667058" sldId="2147482338"/>
        </pc:sldMkLst>
      </pc:sldChg>
      <pc:sldChg chg="add del">
        <pc:chgData name="Laurence ANGILBERT" userId="28ea2967-f540-4e7d-a641-d418703ece22" providerId="ADAL" clId="{859296AE-058C-4C65-BA04-6986791C2943}" dt="2024-02-02T13:30:06.982" v="28432" actId="47"/>
        <pc:sldMkLst>
          <pc:docMk/>
          <pc:sldMk cId="1903531559" sldId="2147482340"/>
        </pc:sldMkLst>
      </pc:sldChg>
      <pc:sldChg chg="add">
        <pc:chgData name="Laurence ANGILBERT" userId="28ea2967-f540-4e7d-a641-d418703ece22" providerId="ADAL" clId="{859296AE-058C-4C65-BA04-6986791C2943}" dt="2024-01-31T16:39:09.959" v="15183"/>
        <pc:sldMkLst>
          <pc:docMk/>
          <pc:sldMk cId="521514485" sldId="2147482341"/>
        </pc:sldMkLst>
      </pc:sldChg>
      <pc:sldChg chg="delSp modSp del mod">
        <pc:chgData name="Laurence ANGILBERT" userId="28ea2967-f540-4e7d-a641-d418703ece22" providerId="ADAL" clId="{859296AE-058C-4C65-BA04-6986791C2943}" dt="2024-01-31T16:39:05.916" v="15182" actId="2696"/>
        <pc:sldMkLst>
          <pc:docMk/>
          <pc:sldMk cId="3751655113" sldId="2147482341"/>
        </pc:sldMkLst>
        <pc:spChg chg="mod">
          <ac:chgData name="Laurence ANGILBERT" userId="28ea2967-f540-4e7d-a641-d418703ece22" providerId="ADAL" clId="{859296AE-058C-4C65-BA04-6986791C2943}" dt="2024-01-31T16:26:57.282" v="15107" actId="1076"/>
          <ac:spMkLst>
            <pc:docMk/>
            <pc:sldMk cId="3751655113" sldId="2147482341"/>
            <ac:spMk id="3" creationId="{F605A502-3749-EC54-DF20-0DB13E030912}"/>
          </ac:spMkLst>
        </pc:spChg>
        <pc:spChg chg="del">
          <ac:chgData name="Laurence ANGILBERT" userId="28ea2967-f540-4e7d-a641-d418703ece22" providerId="ADAL" clId="{859296AE-058C-4C65-BA04-6986791C2943}" dt="2024-01-31T16:26:54.846" v="15106" actId="478"/>
          <ac:spMkLst>
            <pc:docMk/>
            <pc:sldMk cId="3751655113" sldId="2147482341"/>
            <ac:spMk id="7" creationId="{D3DD6AD9-8B4C-0BDB-31DE-53679EF38E73}"/>
          </ac:spMkLst>
        </pc:spChg>
      </pc:sldChg>
      <pc:sldChg chg="add">
        <pc:chgData name="Laurence ANGILBERT" userId="28ea2967-f540-4e7d-a641-d418703ece22" providerId="ADAL" clId="{859296AE-058C-4C65-BA04-6986791C2943}" dt="2024-02-02T09:02:41.224" v="25405"/>
        <pc:sldMkLst>
          <pc:docMk/>
          <pc:sldMk cId="445707324" sldId="2147482342"/>
        </pc:sldMkLst>
      </pc:sldChg>
      <pc:sldChg chg="del">
        <pc:chgData name="Laurence ANGILBERT" userId="28ea2967-f540-4e7d-a641-d418703ece22" providerId="ADAL" clId="{859296AE-058C-4C65-BA04-6986791C2943}" dt="2024-02-02T09:02:29.373" v="25404" actId="2696"/>
        <pc:sldMkLst>
          <pc:docMk/>
          <pc:sldMk cId="3929247689" sldId="2147482342"/>
        </pc:sldMkLst>
      </pc:sldChg>
      <pc:sldChg chg="del">
        <pc:chgData name="Laurence ANGILBERT" userId="28ea2967-f540-4e7d-a641-d418703ece22" providerId="ADAL" clId="{859296AE-058C-4C65-BA04-6986791C2943}" dt="2024-02-02T09:02:29.373" v="25404" actId="2696"/>
        <pc:sldMkLst>
          <pc:docMk/>
          <pc:sldMk cId="186836146" sldId="2147482344"/>
        </pc:sldMkLst>
      </pc:sldChg>
      <pc:sldChg chg="add">
        <pc:chgData name="Laurence ANGILBERT" userId="28ea2967-f540-4e7d-a641-d418703ece22" providerId="ADAL" clId="{859296AE-058C-4C65-BA04-6986791C2943}" dt="2024-02-02T09:02:41.224" v="25405"/>
        <pc:sldMkLst>
          <pc:docMk/>
          <pc:sldMk cId="4105598560" sldId="2147482344"/>
        </pc:sldMkLst>
      </pc:sldChg>
      <pc:sldChg chg="modSp del mod">
        <pc:chgData name="Laurence ANGILBERT" userId="28ea2967-f540-4e7d-a641-d418703ece22" providerId="ADAL" clId="{859296AE-058C-4C65-BA04-6986791C2943}" dt="2024-02-02T13:30:21.859" v="28433" actId="2696"/>
        <pc:sldMkLst>
          <pc:docMk/>
          <pc:sldMk cId="1912479424" sldId="2147482345"/>
        </pc:sldMkLst>
        <pc:spChg chg="mod">
          <ac:chgData name="Laurence ANGILBERT" userId="28ea2967-f540-4e7d-a641-d418703ece22" providerId="ADAL" clId="{859296AE-058C-4C65-BA04-6986791C2943}" dt="2024-02-02T09:06:49.702" v="25563" actId="1035"/>
          <ac:spMkLst>
            <pc:docMk/>
            <pc:sldMk cId="1912479424" sldId="2147482345"/>
            <ac:spMk id="30" creationId="{A8A15718-341E-1618-BBFE-8DE79C4D1726}"/>
          </ac:spMkLst>
        </pc:spChg>
      </pc:sldChg>
      <pc:sldChg chg="add">
        <pc:chgData name="Laurence ANGILBERT" userId="28ea2967-f540-4e7d-a641-d418703ece22" providerId="ADAL" clId="{859296AE-058C-4C65-BA04-6986791C2943}" dt="2024-02-02T13:30:32.480" v="28434"/>
        <pc:sldMkLst>
          <pc:docMk/>
          <pc:sldMk cId="2846877185" sldId="2147482345"/>
        </pc:sldMkLst>
      </pc:sldChg>
      <pc:sldChg chg="modSp mod">
        <pc:chgData name="Laurence ANGILBERT" userId="28ea2967-f540-4e7d-a641-d418703ece22" providerId="ADAL" clId="{859296AE-058C-4C65-BA04-6986791C2943}" dt="2024-02-02T18:30:30.325" v="30833" actId="20577"/>
        <pc:sldMkLst>
          <pc:docMk/>
          <pc:sldMk cId="2124704795" sldId="2147482347"/>
        </pc:sldMkLst>
        <pc:spChg chg="mod">
          <ac:chgData name="Laurence ANGILBERT" userId="28ea2967-f540-4e7d-a641-d418703ece22" providerId="ADAL" clId="{859296AE-058C-4C65-BA04-6986791C2943}" dt="2024-02-02T18:30:30.325" v="30833" actId="20577"/>
          <ac:spMkLst>
            <pc:docMk/>
            <pc:sldMk cId="2124704795" sldId="2147482347"/>
            <ac:spMk id="3" creationId="{E748E0B5-C195-AC33-310F-0A8386CC23A9}"/>
          </ac:spMkLst>
        </pc:spChg>
        <pc:spChg chg="mod">
          <ac:chgData name="Laurence ANGILBERT" userId="28ea2967-f540-4e7d-a641-d418703ece22" providerId="ADAL" clId="{859296AE-058C-4C65-BA04-6986791C2943}" dt="2024-02-02T18:30:15.264" v="30826" actId="20577"/>
          <ac:spMkLst>
            <pc:docMk/>
            <pc:sldMk cId="2124704795" sldId="2147482347"/>
            <ac:spMk id="19" creationId="{BBC93055-643A-4775-93A0-1BD0C9CA9394}"/>
          </ac:spMkLst>
        </pc:spChg>
      </pc:sldChg>
      <pc:sldChg chg="add">
        <pc:chgData name="Laurence ANGILBERT" userId="28ea2967-f540-4e7d-a641-d418703ece22" providerId="ADAL" clId="{859296AE-058C-4C65-BA04-6986791C2943}" dt="2024-02-02T09:11:10.832" v="25640"/>
        <pc:sldMkLst>
          <pc:docMk/>
          <pc:sldMk cId="2691653681" sldId="2147482354"/>
        </pc:sldMkLst>
      </pc:sldChg>
      <pc:sldChg chg="addSp delSp modSp add del mod ord">
        <pc:chgData name="Laurence ANGILBERT" userId="28ea2967-f540-4e7d-a641-d418703ece22" providerId="ADAL" clId="{859296AE-058C-4C65-BA04-6986791C2943}" dt="2024-02-02T09:11:03.368" v="25639" actId="2696"/>
        <pc:sldMkLst>
          <pc:docMk/>
          <pc:sldMk cId="2764221416" sldId="2147482354"/>
        </pc:sldMkLst>
        <pc:spChg chg="mod">
          <ac:chgData name="Laurence ANGILBERT" userId="28ea2967-f540-4e7d-a641-d418703ece22" providerId="ADAL" clId="{859296AE-058C-4C65-BA04-6986791C2943}" dt="2024-02-01T12:38:52.122" v="22194" actId="208"/>
          <ac:spMkLst>
            <pc:docMk/>
            <pc:sldMk cId="2764221416" sldId="2147482354"/>
            <ac:spMk id="2" creationId="{A454CD39-512C-5DF0-9641-587567570270}"/>
          </ac:spMkLst>
        </pc:spChg>
        <pc:spChg chg="del">
          <ac:chgData name="Laurence ANGILBERT" userId="28ea2967-f540-4e7d-a641-d418703ece22" providerId="ADAL" clId="{859296AE-058C-4C65-BA04-6986791C2943}" dt="2024-02-01T13:14:32.779" v="22621" actId="478"/>
          <ac:spMkLst>
            <pc:docMk/>
            <pc:sldMk cId="2764221416" sldId="2147482354"/>
            <ac:spMk id="5" creationId="{A9805C1D-147B-B4B0-986F-E6803E8936D2}"/>
          </ac:spMkLst>
        </pc:spChg>
        <pc:spChg chg="del">
          <ac:chgData name="Laurence ANGILBERT" userId="28ea2967-f540-4e7d-a641-d418703ece22" providerId="ADAL" clId="{859296AE-058C-4C65-BA04-6986791C2943}" dt="2024-02-01T13:14:32.779" v="22621" actId="478"/>
          <ac:spMkLst>
            <pc:docMk/>
            <pc:sldMk cId="2764221416" sldId="2147482354"/>
            <ac:spMk id="6" creationId="{22C78D11-37A1-CDCF-93E9-E62129580193}"/>
          </ac:spMkLst>
        </pc:spChg>
        <pc:spChg chg="del">
          <ac:chgData name="Laurence ANGILBERT" userId="28ea2967-f540-4e7d-a641-d418703ece22" providerId="ADAL" clId="{859296AE-058C-4C65-BA04-6986791C2943}" dt="2024-02-01T13:14:32.779" v="22621" actId="478"/>
          <ac:spMkLst>
            <pc:docMk/>
            <pc:sldMk cId="2764221416" sldId="2147482354"/>
            <ac:spMk id="7" creationId="{A1F8B092-9CD0-5DD6-A0A1-297DEFEA9E4F}"/>
          </ac:spMkLst>
        </pc:spChg>
        <pc:spChg chg="del">
          <ac:chgData name="Laurence ANGILBERT" userId="28ea2967-f540-4e7d-a641-d418703ece22" providerId="ADAL" clId="{859296AE-058C-4C65-BA04-6986791C2943}" dt="2024-02-01T13:14:32.779" v="22621" actId="478"/>
          <ac:spMkLst>
            <pc:docMk/>
            <pc:sldMk cId="2764221416" sldId="2147482354"/>
            <ac:spMk id="8" creationId="{4F4FFC49-FB2E-DCA5-2E6C-FDE496AEE99A}"/>
          </ac:spMkLst>
        </pc:spChg>
        <pc:spChg chg="mod">
          <ac:chgData name="Laurence ANGILBERT" userId="28ea2967-f540-4e7d-a641-d418703ece22" providerId="ADAL" clId="{859296AE-058C-4C65-BA04-6986791C2943}" dt="2024-02-01T12:38:30.625" v="22192" actId="207"/>
          <ac:spMkLst>
            <pc:docMk/>
            <pc:sldMk cId="2764221416" sldId="2147482354"/>
            <ac:spMk id="11" creationId="{14D592EA-73C0-0F93-2863-252001D9BF24}"/>
          </ac:spMkLst>
        </pc:spChg>
        <pc:spChg chg="mod">
          <ac:chgData name="Laurence ANGILBERT" userId="28ea2967-f540-4e7d-a641-d418703ece22" providerId="ADAL" clId="{859296AE-058C-4C65-BA04-6986791C2943}" dt="2024-02-01T12:14:21.245" v="21483" actId="20577"/>
          <ac:spMkLst>
            <pc:docMk/>
            <pc:sldMk cId="2764221416" sldId="2147482354"/>
            <ac:spMk id="12" creationId="{748E64C8-4429-B3A9-1B63-62F518C01507}"/>
          </ac:spMkLst>
        </pc:spChg>
        <pc:spChg chg="del">
          <ac:chgData name="Laurence ANGILBERT" userId="28ea2967-f540-4e7d-a641-d418703ece22" providerId="ADAL" clId="{859296AE-058C-4C65-BA04-6986791C2943}" dt="2024-02-01T13:14:32.779" v="22621" actId="478"/>
          <ac:spMkLst>
            <pc:docMk/>
            <pc:sldMk cId="2764221416" sldId="2147482354"/>
            <ac:spMk id="13" creationId="{AD606E6B-2671-C8FD-D5F5-313B98829C5E}"/>
          </ac:spMkLst>
        </pc:spChg>
        <pc:spChg chg="mod">
          <ac:chgData name="Laurence ANGILBERT" userId="28ea2967-f540-4e7d-a641-d418703ece22" providerId="ADAL" clId="{859296AE-058C-4C65-BA04-6986791C2943}" dt="2024-02-01T12:37:45.512" v="22188" actId="207"/>
          <ac:spMkLst>
            <pc:docMk/>
            <pc:sldMk cId="2764221416" sldId="2147482354"/>
            <ac:spMk id="19" creationId="{ECCA6F3B-9E7D-EB6C-286A-FAC228A1064D}"/>
          </ac:spMkLst>
        </pc:spChg>
        <pc:spChg chg="add del mod">
          <ac:chgData name="Laurence ANGILBERT" userId="28ea2967-f540-4e7d-a641-d418703ece22" providerId="ADAL" clId="{859296AE-058C-4C65-BA04-6986791C2943}" dt="2024-02-01T12:38:32.031" v="22193" actId="478"/>
          <ac:spMkLst>
            <pc:docMk/>
            <pc:sldMk cId="2764221416" sldId="2147482354"/>
            <ac:spMk id="24" creationId="{800E1417-3EBA-0B2E-E8E7-99DC63A5730E}"/>
          </ac:spMkLst>
        </pc:spChg>
        <pc:spChg chg="add del mod">
          <ac:chgData name="Laurence ANGILBERT" userId="28ea2967-f540-4e7d-a641-d418703ece22" providerId="ADAL" clId="{859296AE-058C-4C65-BA04-6986791C2943}" dt="2024-02-01T12:59:15.652" v="22478" actId="21"/>
          <ac:spMkLst>
            <pc:docMk/>
            <pc:sldMk cId="2764221416" sldId="2147482354"/>
            <ac:spMk id="25" creationId="{B4420729-5430-2A41-6079-9913AF16F39F}"/>
          </ac:spMkLst>
        </pc:spChg>
        <pc:spChg chg="del">
          <ac:chgData name="Laurence ANGILBERT" userId="28ea2967-f540-4e7d-a641-d418703ece22" providerId="ADAL" clId="{859296AE-058C-4C65-BA04-6986791C2943}" dt="2024-02-01T13:14:32.779" v="22621" actId="478"/>
          <ac:spMkLst>
            <pc:docMk/>
            <pc:sldMk cId="2764221416" sldId="2147482354"/>
            <ac:spMk id="27" creationId="{03D27A8D-552E-82B1-9D1A-FF28A12887C0}"/>
          </ac:spMkLst>
        </pc:spChg>
        <pc:spChg chg="add del mod">
          <ac:chgData name="Laurence ANGILBERT" userId="28ea2967-f540-4e7d-a641-d418703ece22" providerId="ADAL" clId="{859296AE-058C-4C65-BA04-6986791C2943}" dt="2024-02-01T12:59:15.652" v="22478" actId="21"/>
          <ac:spMkLst>
            <pc:docMk/>
            <pc:sldMk cId="2764221416" sldId="2147482354"/>
            <ac:spMk id="33" creationId="{D51DB9D5-6970-D3EC-18DB-94538894519F}"/>
          </ac:spMkLst>
        </pc:spChg>
        <pc:spChg chg="add mod">
          <ac:chgData name="Laurence ANGILBERT" userId="28ea2967-f540-4e7d-a641-d418703ece22" providerId="ADAL" clId="{859296AE-058C-4C65-BA04-6986791C2943}" dt="2024-02-01T13:14:43.420" v="22622" actId="207"/>
          <ac:spMkLst>
            <pc:docMk/>
            <pc:sldMk cId="2764221416" sldId="2147482354"/>
            <ac:spMk id="34" creationId="{4A70465A-2B35-35D9-7EBD-A83029985F0B}"/>
          </ac:spMkLst>
        </pc:spChg>
        <pc:picChg chg="del">
          <ac:chgData name="Laurence ANGILBERT" userId="28ea2967-f540-4e7d-a641-d418703ece22" providerId="ADAL" clId="{859296AE-058C-4C65-BA04-6986791C2943}" dt="2024-02-01T13:14:32.779" v="22621" actId="478"/>
          <ac:picMkLst>
            <pc:docMk/>
            <pc:sldMk cId="2764221416" sldId="2147482354"/>
            <ac:picMk id="26" creationId="{29550F6F-6598-12FB-4814-309AF8FADE0A}"/>
          </ac:picMkLst>
        </pc:picChg>
      </pc:sldChg>
      <pc:sldChg chg="modSp mod">
        <pc:chgData name="Laurence ANGILBERT" userId="28ea2967-f540-4e7d-a641-d418703ece22" providerId="ADAL" clId="{859296AE-058C-4C65-BA04-6986791C2943}" dt="2024-02-02T18:26:38.714" v="30576" actId="20577"/>
        <pc:sldMkLst>
          <pc:docMk/>
          <pc:sldMk cId="640653412" sldId="2147482356"/>
        </pc:sldMkLst>
        <pc:spChg chg="mod">
          <ac:chgData name="Laurence ANGILBERT" userId="28ea2967-f540-4e7d-a641-d418703ece22" providerId="ADAL" clId="{859296AE-058C-4C65-BA04-6986791C2943}" dt="2024-02-02T18:26:38.714" v="30576" actId="20577"/>
          <ac:spMkLst>
            <pc:docMk/>
            <pc:sldMk cId="640653412" sldId="2147482356"/>
            <ac:spMk id="26" creationId="{7AF2E15B-615E-509D-5C30-70F3DD3A272E}"/>
          </ac:spMkLst>
        </pc:spChg>
      </pc:sldChg>
      <pc:sldChg chg="addSp delSp modSp add mod">
        <pc:chgData name="Laurence ANGILBERT" userId="28ea2967-f540-4e7d-a641-d418703ece22" providerId="ADAL" clId="{859296AE-058C-4C65-BA04-6986791C2943}" dt="2024-02-01T13:11:38.452" v="22568" actId="478"/>
        <pc:sldMkLst>
          <pc:docMk/>
          <pc:sldMk cId="3762552109" sldId="2147482363"/>
        </pc:sldMkLst>
        <pc:spChg chg="del">
          <ac:chgData name="Laurence ANGILBERT" userId="28ea2967-f540-4e7d-a641-d418703ece22" providerId="ADAL" clId="{859296AE-058C-4C65-BA04-6986791C2943}" dt="2024-02-01T11:49:48.755" v="21213" actId="478"/>
          <ac:spMkLst>
            <pc:docMk/>
            <pc:sldMk cId="3762552109" sldId="2147482363"/>
            <ac:spMk id="2" creationId="{48505B4B-2CFF-8861-7EF0-B29BEB30F87D}"/>
          </ac:spMkLst>
        </pc:spChg>
        <pc:spChg chg="mod">
          <ac:chgData name="Laurence ANGILBERT" userId="28ea2967-f540-4e7d-a641-d418703ece22" providerId="ADAL" clId="{859296AE-058C-4C65-BA04-6986791C2943}" dt="2024-02-01T13:09:44.775" v="22566" actId="20577"/>
          <ac:spMkLst>
            <pc:docMk/>
            <pc:sldMk cId="3762552109" sldId="2147482363"/>
            <ac:spMk id="4" creationId="{B45A4892-FF4B-57AE-B1BE-8B25B579B799}"/>
          </ac:spMkLst>
        </pc:spChg>
        <pc:spChg chg="add mod">
          <ac:chgData name="Laurence ANGILBERT" userId="28ea2967-f540-4e7d-a641-d418703ece22" providerId="ADAL" clId="{859296AE-058C-4C65-BA04-6986791C2943}" dt="2024-02-01T12:11:52.691" v="21370" actId="20577"/>
          <ac:spMkLst>
            <pc:docMk/>
            <pc:sldMk cId="3762552109" sldId="2147482363"/>
            <ac:spMk id="5" creationId="{FCA95897-6CE9-A167-8E89-B5A0CE4CF57B}"/>
          </ac:spMkLst>
        </pc:spChg>
        <pc:spChg chg="del">
          <ac:chgData name="Laurence ANGILBERT" userId="28ea2967-f540-4e7d-a641-d418703ece22" providerId="ADAL" clId="{859296AE-058C-4C65-BA04-6986791C2943}" dt="2024-02-01T11:49:48.755" v="21213" actId="478"/>
          <ac:spMkLst>
            <pc:docMk/>
            <pc:sldMk cId="3762552109" sldId="2147482363"/>
            <ac:spMk id="12" creationId="{030457D7-116C-A092-F4E3-4C5F1D9BF5F5}"/>
          </ac:spMkLst>
        </pc:spChg>
        <pc:spChg chg="add mod">
          <ac:chgData name="Laurence ANGILBERT" userId="28ea2967-f540-4e7d-a641-d418703ece22" providerId="ADAL" clId="{859296AE-058C-4C65-BA04-6986791C2943}" dt="2024-02-01T12:31:06.062" v="22008" actId="14100"/>
          <ac:spMkLst>
            <pc:docMk/>
            <pc:sldMk cId="3762552109" sldId="2147482363"/>
            <ac:spMk id="13" creationId="{1F7EB1BB-5FBF-8724-7084-47FDF55BB8DD}"/>
          </ac:spMkLst>
        </pc:spChg>
        <pc:spChg chg="add mod">
          <ac:chgData name="Laurence ANGILBERT" userId="28ea2967-f540-4e7d-a641-d418703ece22" providerId="ADAL" clId="{859296AE-058C-4C65-BA04-6986791C2943}" dt="2024-02-01T12:31:06.062" v="22008" actId="14100"/>
          <ac:spMkLst>
            <pc:docMk/>
            <pc:sldMk cId="3762552109" sldId="2147482363"/>
            <ac:spMk id="14" creationId="{6BAFD97C-7AFC-2921-A957-8393BBBD0DC4}"/>
          </ac:spMkLst>
        </pc:spChg>
        <pc:spChg chg="del">
          <ac:chgData name="Laurence ANGILBERT" userId="28ea2967-f540-4e7d-a641-d418703ece22" providerId="ADAL" clId="{859296AE-058C-4C65-BA04-6986791C2943}" dt="2024-02-01T11:49:48.755" v="21213" actId="478"/>
          <ac:spMkLst>
            <pc:docMk/>
            <pc:sldMk cId="3762552109" sldId="2147482363"/>
            <ac:spMk id="15" creationId="{A4515371-EE9F-B2DD-45A0-1583CBA0A717}"/>
          </ac:spMkLst>
        </pc:spChg>
        <pc:spChg chg="del">
          <ac:chgData name="Laurence ANGILBERT" userId="28ea2967-f540-4e7d-a641-d418703ece22" providerId="ADAL" clId="{859296AE-058C-4C65-BA04-6986791C2943}" dt="2024-02-01T11:49:48.755" v="21213" actId="478"/>
          <ac:spMkLst>
            <pc:docMk/>
            <pc:sldMk cId="3762552109" sldId="2147482363"/>
            <ac:spMk id="17" creationId="{F8475D44-EC46-1984-A245-4CF0949C9818}"/>
          </ac:spMkLst>
        </pc:spChg>
        <pc:spChg chg="add mod">
          <ac:chgData name="Laurence ANGILBERT" userId="28ea2967-f540-4e7d-a641-d418703ece22" providerId="ADAL" clId="{859296AE-058C-4C65-BA04-6986791C2943}" dt="2024-02-01T13:10:10.933" v="22567" actId="13926"/>
          <ac:spMkLst>
            <pc:docMk/>
            <pc:sldMk cId="3762552109" sldId="2147482363"/>
            <ac:spMk id="18" creationId="{FC4E0B0A-F307-E8C8-8FB4-0EBD2D9ACBD9}"/>
          </ac:spMkLst>
        </pc:spChg>
        <pc:spChg chg="del">
          <ac:chgData name="Laurence ANGILBERT" userId="28ea2967-f540-4e7d-a641-d418703ece22" providerId="ADAL" clId="{859296AE-058C-4C65-BA04-6986791C2943}" dt="2024-02-01T11:49:48.755" v="21213" actId="478"/>
          <ac:spMkLst>
            <pc:docMk/>
            <pc:sldMk cId="3762552109" sldId="2147482363"/>
            <ac:spMk id="19" creationId="{A3812804-AAC0-69FF-ED59-94CCBA9A89E4}"/>
          </ac:spMkLst>
        </pc:spChg>
        <pc:spChg chg="del">
          <ac:chgData name="Laurence ANGILBERT" userId="28ea2967-f540-4e7d-a641-d418703ece22" providerId="ADAL" clId="{859296AE-058C-4C65-BA04-6986791C2943}" dt="2024-02-01T11:49:57.054" v="21216" actId="478"/>
          <ac:spMkLst>
            <pc:docMk/>
            <pc:sldMk cId="3762552109" sldId="2147482363"/>
            <ac:spMk id="20" creationId="{A673B27B-671E-7E3B-9314-B56DF6C44F99}"/>
          </ac:spMkLst>
        </pc:spChg>
        <pc:spChg chg="add mod">
          <ac:chgData name="Laurence ANGILBERT" userId="28ea2967-f540-4e7d-a641-d418703ece22" providerId="ADAL" clId="{859296AE-058C-4C65-BA04-6986791C2943}" dt="2024-02-01T12:31:17.742" v="22031" actId="1037"/>
          <ac:spMkLst>
            <pc:docMk/>
            <pc:sldMk cId="3762552109" sldId="2147482363"/>
            <ac:spMk id="21" creationId="{ADB9489A-92BA-57BE-DE75-645BD3DA04C5}"/>
          </ac:spMkLst>
        </pc:spChg>
        <pc:spChg chg="add mod">
          <ac:chgData name="Laurence ANGILBERT" userId="28ea2967-f540-4e7d-a641-d418703ece22" providerId="ADAL" clId="{859296AE-058C-4C65-BA04-6986791C2943}" dt="2024-02-01T12:31:17.742" v="22031" actId="1037"/>
          <ac:spMkLst>
            <pc:docMk/>
            <pc:sldMk cId="3762552109" sldId="2147482363"/>
            <ac:spMk id="22" creationId="{87631BB5-32CA-F4DA-FA44-B931DC0647A2}"/>
          </ac:spMkLst>
        </pc:spChg>
        <pc:spChg chg="add mod">
          <ac:chgData name="Laurence ANGILBERT" userId="28ea2967-f540-4e7d-a641-d418703ece22" providerId="ADAL" clId="{859296AE-058C-4C65-BA04-6986791C2943}" dt="2024-02-01T12:31:17.742" v="22031" actId="1037"/>
          <ac:spMkLst>
            <pc:docMk/>
            <pc:sldMk cId="3762552109" sldId="2147482363"/>
            <ac:spMk id="23" creationId="{B2B31008-6898-CEAF-D4D6-FCFFC276B9F2}"/>
          </ac:spMkLst>
        </pc:spChg>
        <pc:spChg chg="add mod">
          <ac:chgData name="Laurence ANGILBERT" userId="28ea2967-f540-4e7d-a641-d418703ece22" providerId="ADAL" clId="{859296AE-058C-4C65-BA04-6986791C2943}" dt="2024-02-01T12:31:17.742" v="22031" actId="1037"/>
          <ac:spMkLst>
            <pc:docMk/>
            <pc:sldMk cId="3762552109" sldId="2147482363"/>
            <ac:spMk id="24" creationId="{2DF0DCAF-8C62-8D04-2345-245A9B7AE8A9}"/>
          </ac:spMkLst>
        </pc:spChg>
        <pc:spChg chg="del">
          <ac:chgData name="Laurence ANGILBERT" userId="28ea2967-f540-4e7d-a641-d418703ece22" providerId="ADAL" clId="{859296AE-058C-4C65-BA04-6986791C2943}" dt="2024-02-01T11:49:52.926" v="21214" actId="478"/>
          <ac:spMkLst>
            <pc:docMk/>
            <pc:sldMk cId="3762552109" sldId="2147482363"/>
            <ac:spMk id="25" creationId="{A72886EB-98E2-25E5-97F9-734E7BCB5161}"/>
          </ac:spMkLst>
        </pc:spChg>
        <pc:spChg chg="add mod">
          <ac:chgData name="Laurence ANGILBERT" userId="28ea2967-f540-4e7d-a641-d418703ece22" providerId="ADAL" clId="{859296AE-058C-4C65-BA04-6986791C2943}" dt="2024-02-01T12:42:38.335" v="22225" actId="207"/>
          <ac:spMkLst>
            <pc:docMk/>
            <pc:sldMk cId="3762552109" sldId="2147482363"/>
            <ac:spMk id="26" creationId="{3648DFD0-300A-9898-319C-A610A1D59944}"/>
          </ac:spMkLst>
        </pc:spChg>
        <pc:spChg chg="del">
          <ac:chgData name="Laurence ANGILBERT" userId="28ea2967-f540-4e7d-a641-d418703ece22" providerId="ADAL" clId="{859296AE-058C-4C65-BA04-6986791C2943}" dt="2024-02-01T11:49:52.926" v="21214" actId="478"/>
          <ac:spMkLst>
            <pc:docMk/>
            <pc:sldMk cId="3762552109" sldId="2147482363"/>
            <ac:spMk id="29" creationId="{656008AB-84F9-A756-5E24-694B62D6FF1B}"/>
          </ac:spMkLst>
        </pc:spChg>
        <pc:spChg chg="del">
          <ac:chgData name="Laurence ANGILBERT" userId="28ea2967-f540-4e7d-a641-d418703ece22" providerId="ADAL" clId="{859296AE-058C-4C65-BA04-6986791C2943}" dt="2024-02-01T11:49:48.755" v="21213" actId="478"/>
          <ac:spMkLst>
            <pc:docMk/>
            <pc:sldMk cId="3762552109" sldId="2147482363"/>
            <ac:spMk id="30" creationId="{3C8E7D1F-CC31-EDC4-E553-970EA6836723}"/>
          </ac:spMkLst>
        </pc:spChg>
        <pc:spChg chg="add mod">
          <ac:chgData name="Laurence ANGILBERT" userId="28ea2967-f540-4e7d-a641-d418703ece22" providerId="ADAL" clId="{859296AE-058C-4C65-BA04-6986791C2943}" dt="2024-02-01T13:06:19.362" v="22500" actId="122"/>
          <ac:spMkLst>
            <pc:docMk/>
            <pc:sldMk cId="3762552109" sldId="2147482363"/>
            <ac:spMk id="31" creationId="{058185C8-302D-1415-216C-2309BA83AC48}"/>
          </ac:spMkLst>
        </pc:spChg>
        <pc:spChg chg="del">
          <ac:chgData name="Laurence ANGILBERT" userId="28ea2967-f540-4e7d-a641-d418703ece22" providerId="ADAL" clId="{859296AE-058C-4C65-BA04-6986791C2943}" dt="2024-02-01T11:49:48.755" v="21213" actId="478"/>
          <ac:spMkLst>
            <pc:docMk/>
            <pc:sldMk cId="3762552109" sldId="2147482363"/>
            <ac:spMk id="32" creationId="{8CFE4001-B6BE-E6C3-191B-1B362D32EF8F}"/>
          </ac:spMkLst>
        </pc:spChg>
        <pc:spChg chg="del">
          <ac:chgData name="Laurence ANGILBERT" userId="28ea2967-f540-4e7d-a641-d418703ece22" providerId="ADAL" clId="{859296AE-058C-4C65-BA04-6986791C2943}" dt="2024-02-01T11:49:48.755" v="21213" actId="478"/>
          <ac:spMkLst>
            <pc:docMk/>
            <pc:sldMk cId="3762552109" sldId="2147482363"/>
            <ac:spMk id="33" creationId="{A1654466-0E14-27E8-5018-2461CDD59461}"/>
          </ac:spMkLst>
        </pc:spChg>
        <pc:spChg chg="del">
          <ac:chgData name="Laurence ANGILBERT" userId="28ea2967-f540-4e7d-a641-d418703ece22" providerId="ADAL" clId="{859296AE-058C-4C65-BA04-6986791C2943}" dt="2024-02-01T13:11:38.452" v="22568" actId="478"/>
          <ac:spMkLst>
            <pc:docMk/>
            <pc:sldMk cId="3762552109" sldId="2147482363"/>
            <ac:spMk id="35" creationId="{0951FF4B-188B-7DEB-8131-71D2405ADD01}"/>
          </ac:spMkLst>
        </pc:spChg>
        <pc:spChg chg="del">
          <ac:chgData name="Laurence ANGILBERT" userId="28ea2967-f540-4e7d-a641-d418703ece22" providerId="ADAL" clId="{859296AE-058C-4C65-BA04-6986791C2943}" dt="2024-02-01T11:49:48.755" v="21213" actId="478"/>
          <ac:spMkLst>
            <pc:docMk/>
            <pc:sldMk cId="3762552109" sldId="2147482363"/>
            <ac:spMk id="36" creationId="{E9E175A2-C73C-AABD-A739-04B1DE268FF2}"/>
          </ac:spMkLst>
        </pc:spChg>
        <pc:spChg chg="del">
          <ac:chgData name="Laurence ANGILBERT" userId="28ea2967-f540-4e7d-a641-d418703ece22" providerId="ADAL" clId="{859296AE-058C-4C65-BA04-6986791C2943}" dt="2024-02-01T11:49:55.364" v="21215" actId="478"/>
          <ac:spMkLst>
            <pc:docMk/>
            <pc:sldMk cId="3762552109" sldId="2147482363"/>
            <ac:spMk id="37" creationId="{349CCB2E-84F0-3A8A-0FCB-9CA4F208CC61}"/>
          </ac:spMkLst>
        </pc:spChg>
        <pc:spChg chg="del">
          <ac:chgData name="Laurence ANGILBERT" userId="28ea2967-f540-4e7d-a641-d418703ece22" providerId="ADAL" clId="{859296AE-058C-4C65-BA04-6986791C2943}" dt="2024-02-01T11:49:48.755" v="21213" actId="478"/>
          <ac:spMkLst>
            <pc:docMk/>
            <pc:sldMk cId="3762552109" sldId="2147482363"/>
            <ac:spMk id="38" creationId="{3436AD79-08F5-111F-CCE1-F83A13D07389}"/>
          </ac:spMkLst>
        </pc:spChg>
        <pc:spChg chg="del">
          <ac:chgData name="Laurence ANGILBERT" userId="28ea2967-f540-4e7d-a641-d418703ece22" providerId="ADAL" clId="{859296AE-058C-4C65-BA04-6986791C2943}" dt="2024-02-01T11:49:48.755" v="21213" actId="478"/>
          <ac:spMkLst>
            <pc:docMk/>
            <pc:sldMk cId="3762552109" sldId="2147482363"/>
            <ac:spMk id="39" creationId="{218867C9-B999-EF64-1414-3DF24F961137}"/>
          </ac:spMkLst>
        </pc:spChg>
        <pc:spChg chg="del">
          <ac:chgData name="Laurence ANGILBERT" userId="28ea2967-f540-4e7d-a641-d418703ece22" providerId="ADAL" clId="{859296AE-058C-4C65-BA04-6986791C2943}" dt="2024-02-01T11:49:48.755" v="21213" actId="478"/>
          <ac:spMkLst>
            <pc:docMk/>
            <pc:sldMk cId="3762552109" sldId="2147482363"/>
            <ac:spMk id="40" creationId="{B8806870-0E59-80FC-B87E-840D4B353AA5}"/>
          </ac:spMkLst>
        </pc:spChg>
        <pc:spChg chg="del">
          <ac:chgData name="Laurence ANGILBERT" userId="28ea2967-f540-4e7d-a641-d418703ece22" providerId="ADAL" clId="{859296AE-058C-4C65-BA04-6986791C2943}" dt="2024-02-01T11:49:48.755" v="21213" actId="478"/>
          <ac:spMkLst>
            <pc:docMk/>
            <pc:sldMk cId="3762552109" sldId="2147482363"/>
            <ac:spMk id="44" creationId="{37FAB019-EC7D-43F1-2256-7BB22DD16542}"/>
          </ac:spMkLst>
        </pc:spChg>
        <pc:spChg chg="del">
          <ac:chgData name="Laurence ANGILBERT" userId="28ea2967-f540-4e7d-a641-d418703ece22" providerId="ADAL" clId="{859296AE-058C-4C65-BA04-6986791C2943}" dt="2024-02-01T11:49:48.755" v="21213" actId="478"/>
          <ac:spMkLst>
            <pc:docMk/>
            <pc:sldMk cId="3762552109" sldId="2147482363"/>
            <ac:spMk id="46" creationId="{4FE048C3-F106-C914-0163-03D57904C9A6}"/>
          </ac:spMkLst>
        </pc:spChg>
        <pc:spChg chg="del">
          <ac:chgData name="Laurence ANGILBERT" userId="28ea2967-f540-4e7d-a641-d418703ece22" providerId="ADAL" clId="{859296AE-058C-4C65-BA04-6986791C2943}" dt="2024-02-01T11:49:48.755" v="21213" actId="478"/>
          <ac:spMkLst>
            <pc:docMk/>
            <pc:sldMk cId="3762552109" sldId="2147482363"/>
            <ac:spMk id="47" creationId="{0B8E7557-7CB1-B5C6-18DC-20166E1E7291}"/>
          </ac:spMkLst>
        </pc:spChg>
        <pc:spChg chg="del">
          <ac:chgData name="Laurence ANGILBERT" userId="28ea2967-f540-4e7d-a641-d418703ece22" providerId="ADAL" clId="{859296AE-058C-4C65-BA04-6986791C2943}" dt="2024-02-01T11:49:48.755" v="21213" actId="478"/>
          <ac:spMkLst>
            <pc:docMk/>
            <pc:sldMk cId="3762552109" sldId="2147482363"/>
            <ac:spMk id="48" creationId="{CA330848-ED40-D5AD-4144-CB569E4FC14D}"/>
          </ac:spMkLst>
        </pc:spChg>
        <pc:spChg chg="del">
          <ac:chgData name="Laurence ANGILBERT" userId="28ea2967-f540-4e7d-a641-d418703ece22" providerId="ADAL" clId="{859296AE-058C-4C65-BA04-6986791C2943}" dt="2024-02-01T11:49:48.755" v="21213" actId="478"/>
          <ac:spMkLst>
            <pc:docMk/>
            <pc:sldMk cId="3762552109" sldId="2147482363"/>
            <ac:spMk id="49" creationId="{2C1D346B-D042-826C-E008-BEB6A4340451}"/>
          </ac:spMkLst>
        </pc:spChg>
        <pc:spChg chg="del">
          <ac:chgData name="Laurence ANGILBERT" userId="28ea2967-f540-4e7d-a641-d418703ece22" providerId="ADAL" clId="{859296AE-058C-4C65-BA04-6986791C2943}" dt="2024-02-01T11:49:48.755" v="21213" actId="478"/>
          <ac:spMkLst>
            <pc:docMk/>
            <pc:sldMk cId="3762552109" sldId="2147482363"/>
            <ac:spMk id="50" creationId="{B1E85E31-A2B1-030D-19F8-950922AC070F}"/>
          </ac:spMkLst>
        </pc:spChg>
        <pc:spChg chg="del">
          <ac:chgData name="Laurence ANGILBERT" userId="28ea2967-f540-4e7d-a641-d418703ece22" providerId="ADAL" clId="{859296AE-058C-4C65-BA04-6986791C2943}" dt="2024-02-01T11:49:52.926" v="21214" actId="478"/>
          <ac:spMkLst>
            <pc:docMk/>
            <pc:sldMk cId="3762552109" sldId="2147482363"/>
            <ac:spMk id="53" creationId="{2A75B5B9-A4C3-96DE-1F7E-CDEBCCF8994B}"/>
          </ac:spMkLst>
        </pc:spChg>
        <pc:spChg chg="add mod">
          <ac:chgData name="Laurence ANGILBERT" userId="28ea2967-f540-4e7d-a641-d418703ece22" providerId="ADAL" clId="{859296AE-058C-4C65-BA04-6986791C2943}" dt="2024-02-01T12:31:06.062" v="22008" actId="14100"/>
          <ac:spMkLst>
            <pc:docMk/>
            <pc:sldMk cId="3762552109" sldId="2147482363"/>
            <ac:spMk id="54" creationId="{10233639-A07F-E177-A3FC-84EB92FF0023}"/>
          </ac:spMkLst>
        </pc:spChg>
        <pc:spChg chg="del">
          <ac:chgData name="Laurence ANGILBERT" userId="28ea2967-f540-4e7d-a641-d418703ece22" providerId="ADAL" clId="{859296AE-058C-4C65-BA04-6986791C2943}" dt="2024-02-01T11:49:52.926" v="21214" actId="478"/>
          <ac:spMkLst>
            <pc:docMk/>
            <pc:sldMk cId="3762552109" sldId="2147482363"/>
            <ac:spMk id="55" creationId="{49909B7D-7EF1-D360-587A-9769C8875961}"/>
          </ac:spMkLst>
        </pc:spChg>
        <pc:spChg chg="add mod">
          <ac:chgData name="Laurence ANGILBERT" userId="28ea2967-f540-4e7d-a641-d418703ece22" providerId="ADAL" clId="{859296AE-058C-4C65-BA04-6986791C2943}" dt="2024-02-01T12:31:17.742" v="22031" actId="1037"/>
          <ac:spMkLst>
            <pc:docMk/>
            <pc:sldMk cId="3762552109" sldId="2147482363"/>
            <ac:spMk id="56" creationId="{916FDAE2-2B27-60EB-6062-73DF5B644833}"/>
          </ac:spMkLst>
        </pc:spChg>
        <pc:spChg chg="del">
          <ac:chgData name="Laurence ANGILBERT" userId="28ea2967-f540-4e7d-a641-d418703ece22" providerId="ADAL" clId="{859296AE-058C-4C65-BA04-6986791C2943}" dt="2024-02-01T11:49:48.755" v="21213" actId="478"/>
          <ac:spMkLst>
            <pc:docMk/>
            <pc:sldMk cId="3762552109" sldId="2147482363"/>
            <ac:spMk id="57" creationId="{784650A3-D0C6-7E41-447C-10EAEAFB6060}"/>
          </ac:spMkLst>
        </pc:spChg>
        <pc:spChg chg="del">
          <ac:chgData name="Laurence ANGILBERT" userId="28ea2967-f540-4e7d-a641-d418703ece22" providerId="ADAL" clId="{859296AE-058C-4C65-BA04-6986791C2943}" dt="2024-02-01T11:49:48.755" v="21213" actId="478"/>
          <ac:spMkLst>
            <pc:docMk/>
            <pc:sldMk cId="3762552109" sldId="2147482363"/>
            <ac:spMk id="58" creationId="{70086247-BD41-27F2-CD08-8F9BB939D4A6}"/>
          </ac:spMkLst>
        </pc:spChg>
        <pc:spChg chg="del">
          <ac:chgData name="Laurence ANGILBERT" userId="28ea2967-f540-4e7d-a641-d418703ece22" providerId="ADAL" clId="{859296AE-058C-4C65-BA04-6986791C2943}" dt="2024-02-01T11:49:48.755" v="21213" actId="478"/>
          <ac:spMkLst>
            <pc:docMk/>
            <pc:sldMk cId="3762552109" sldId="2147482363"/>
            <ac:spMk id="59" creationId="{10CC8475-70D0-C097-F0E9-E14A75056703}"/>
          </ac:spMkLst>
        </pc:spChg>
        <pc:spChg chg="del">
          <ac:chgData name="Laurence ANGILBERT" userId="28ea2967-f540-4e7d-a641-d418703ece22" providerId="ADAL" clId="{859296AE-058C-4C65-BA04-6986791C2943}" dt="2024-02-01T11:49:52.926" v="21214" actId="478"/>
          <ac:spMkLst>
            <pc:docMk/>
            <pc:sldMk cId="3762552109" sldId="2147482363"/>
            <ac:spMk id="61" creationId="{68443930-C9FB-E83F-C942-5138B68A1F7B}"/>
          </ac:spMkLst>
        </pc:spChg>
        <pc:spChg chg="del">
          <ac:chgData name="Laurence ANGILBERT" userId="28ea2967-f540-4e7d-a641-d418703ece22" providerId="ADAL" clId="{859296AE-058C-4C65-BA04-6986791C2943}" dt="2024-02-01T11:49:52.926" v="21214" actId="478"/>
          <ac:spMkLst>
            <pc:docMk/>
            <pc:sldMk cId="3762552109" sldId="2147482363"/>
            <ac:spMk id="63" creationId="{5BA96670-E09F-6065-F4D2-24E6C0C137FA}"/>
          </ac:spMkLst>
        </pc:spChg>
        <pc:spChg chg="del">
          <ac:chgData name="Laurence ANGILBERT" userId="28ea2967-f540-4e7d-a641-d418703ece22" providerId="ADAL" clId="{859296AE-058C-4C65-BA04-6986791C2943}" dt="2024-02-01T11:49:48.755" v="21213" actId="478"/>
          <ac:spMkLst>
            <pc:docMk/>
            <pc:sldMk cId="3762552109" sldId="2147482363"/>
            <ac:spMk id="3073" creationId="{33C703C2-3AD3-32E4-5D04-E1416B32781B}"/>
          </ac:spMkLst>
        </pc:spChg>
        <pc:spChg chg="del">
          <ac:chgData name="Laurence ANGILBERT" userId="28ea2967-f540-4e7d-a641-d418703ece22" providerId="ADAL" clId="{859296AE-058C-4C65-BA04-6986791C2943}" dt="2024-02-01T11:49:48.755" v="21213" actId="478"/>
          <ac:spMkLst>
            <pc:docMk/>
            <pc:sldMk cId="3762552109" sldId="2147482363"/>
            <ac:spMk id="3077" creationId="{F66A105F-817F-A99F-578A-7018E04C97E6}"/>
          </ac:spMkLst>
        </pc:spChg>
        <pc:spChg chg="del">
          <ac:chgData name="Laurence ANGILBERT" userId="28ea2967-f540-4e7d-a641-d418703ece22" providerId="ADAL" clId="{859296AE-058C-4C65-BA04-6986791C2943}" dt="2024-02-01T11:49:48.755" v="21213" actId="478"/>
          <ac:spMkLst>
            <pc:docMk/>
            <pc:sldMk cId="3762552109" sldId="2147482363"/>
            <ac:spMk id="3080" creationId="{183C693B-60C3-33C9-8093-66F3FA8D943E}"/>
          </ac:spMkLst>
        </pc:spChg>
        <pc:spChg chg="del">
          <ac:chgData name="Laurence ANGILBERT" userId="28ea2967-f540-4e7d-a641-d418703ece22" providerId="ADAL" clId="{859296AE-058C-4C65-BA04-6986791C2943}" dt="2024-02-01T11:49:48.755" v="21213" actId="478"/>
          <ac:spMkLst>
            <pc:docMk/>
            <pc:sldMk cId="3762552109" sldId="2147482363"/>
            <ac:spMk id="3105" creationId="{4C00C1B2-BFF5-007E-6628-81ECBF184AD8}"/>
          </ac:spMkLst>
        </pc:spChg>
        <pc:spChg chg="del">
          <ac:chgData name="Laurence ANGILBERT" userId="28ea2967-f540-4e7d-a641-d418703ece22" providerId="ADAL" clId="{859296AE-058C-4C65-BA04-6986791C2943}" dt="2024-02-01T11:49:48.755" v="21213" actId="478"/>
          <ac:spMkLst>
            <pc:docMk/>
            <pc:sldMk cId="3762552109" sldId="2147482363"/>
            <ac:spMk id="3106" creationId="{8D4ADADB-587E-DDF2-60C8-474982841F62}"/>
          </ac:spMkLst>
        </pc:spChg>
        <pc:spChg chg="add mod">
          <ac:chgData name="Laurence ANGILBERT" userId="28ea2967-f540-4e7d-a641-d418703ece22" providerId="ADAL" clId="{859296AE-058C-4C65-BA04-6986791C2943}" dt="2024-02-01T12:40:34.448" v="22210" actId="14100"/>
          <ac:spMkLst>
            <pc:docMk/>
            <pc:sldMk cId="3762552109" sldId="2147482363"/>
            <ac:spMk id="3141" creationId="{E7D7CA92-B679-6DE8-1633-8A8D81D0FAAD}"/>
          </ac:spMkLst>
        </pc:spChg>
        <pc:spChg chg="add mod">
          <ac:chgData name="Laurence ANGILBERT" userId="28ea2967-f540-4e7d-a641-d418703ece22" providerId="ADAL" clId="{859296AE-058C-4C65-BA04-6986791C2943}" dt="2024-02-01T12:39:54.453" v="22204" actId="207"/>
          <ac:spMkLst>
            <pc:docMk/>
            <pc:sldMk cId="3762552109" sldId="2147482363"/>
            <ac:spMk id="3143" creationId="{97E3C98F-A398-5236-1B46-470E9CCB6A6D}"/>
          </ac:spMkLst>
        </pc:spChg>
        <pc:spChg chg="add mod">
          <ac:chgData name="Laurence ANGILBERT" userId="28ea2967-f540-4e7d-a641-d418703ece22" providerId="ADAL" clId="{859296AE-058C-4C65-BA04-6986791C2943}" dt="2024-02-01T12:34:45.712" v="22172" actId="14100"/>
          <ac:spMkLst>
            <pc:docMk/>
            <pc:sldMk cId="3762552109" sldId="2147482363"/>
            <ac:spMk id="3145" creationId="{6E7A6D8C-68C7-43FA-BB38-E435AF26835B}"/>
          </ac:spMkLst>
        </pc:spChg>
        <pc:spChg chg="add mod">
          <ac:chgData name="Laurence ANGILBERT" userId="28ea2967-f540-4e7d-a641-d418703ece22" providerId="ADAL" clId="{859296AE-058C-4C65-BA04-6986791C2943}" dt="2024-02-01T13:07:32.773" v="22522" actId="14100"/>
          <ac:spMkLst>
            <pc:docMk/>
            <pc:sldMk cId="3762552109" sldId="2147482363"/>
            <ac:spMk id="3146" creationId="{1F7F9DC3-8F8F-0DB1-A4BB-2E9F6E8022D3}"/>
          </ac:spMkLst>
        </pc:spChg>
        <pc:spChg chg="add mod">
          <ac:chgData name="Laurence ANGILBERT" userId="28ea2967-f540-4e7d-a641-d418703ece22" providerId="ADAL" clId="{859296AE-058C-4C65-BA04-6986791C2943}" dt="2024-02-01T13:08:52.668" v="22549" actId="207"/>
          <ac:spMkLst>
            <pc:docMk/>
            <pc:sldMk cId="3762552109" sldId="2147482363"/>
            <ac:spMk id="3149" creationId="{97E6E154-FEF1-EDE6-A287-92D48250DECA}"/>
          </ac:spMkLst>
        </pc:spChg>
        <pc:spChg chg="add mod">
          <ac:chgData name="Laurence ANGILBERT" userId="28ea2967-f540-4e7d-a641-d418703ece22" providerId="ADAL" clId="{859296AE-058C-4C65-BA04-6986791C2943}" dt="2024-02-01T12:40:38.934" v="22212" actId="14100"/>
          <ac:spMkLst>
            <pc:docMk/>
            <pc:sldMk cId="3762552109" sldId="2147482363"/>
            <ac:spMk id="3151" creationId="{DF7B998E-2DC0-B4C7-D4EF-B6F200ECD73B}"/>
          </ac:spMkLst>
        </pc:spChg>
        <pc:spChg chg="add del mod">
          <ac:chgData name="Laurence ANGILBERT" userId="28ea2967-f540-4e7d-a641-d418703ece22" providerId="ADAL" clId="{859296AE-058C-4C65-BA04-6986791C2943}" dt="2024-02-01T12:34:09.722" v="22156" actId="478"/>
          <ac:spMkLst>
            <pc:docMk/>
            <pc:sldMk cId="3762552109" sldId="2147482363"/>
            <ac:spMk id="3152" creationId="{E13810E5-ABA6-F011-94F7-75055F69BD4F}"/>
          </ac:spMkLst>
        </pc:spChg>
        <pc:spChg chg="add mod">
          <ac:chgData name="Laurence ANGILBERT" userId="28ea2967-f540-4e7d-a641-d418703ece22" providerId="ADAL" clId="{859296AE-058C-4C65-BA04-6986791C2943}" dt="2024-02-01T12:39:09.946" v="22196" actId="207"/>
          <ac:spMkLst>
            <pc:docMk/>
            <pc:sldMk cId="3762552109" sldId="2147482363"/>
            <ac:spMk id="3153" creationId="{4A60AC75-5486-5B6E-3772-AEBF38279C01}"/>
          </ac:spMkLst>
        </pc:spChg>
        <pc:spChg chg="add del mod">
          <ac:chgData name="Laurence ANGILBERT" userId="28ea2967-f540-4e7d-a641-d418703ece22" providerId="ADAL" clId="{859296AE-058C-4C65-BA04-6986791C2943}" dt="2024-02-01T12:37:24.731" v="22185" actId="478"/>
          <ac:spMkLst>
            <pc:docMk/>
            <pc:sldMk cId="3762552109" sldId="2147482363"/>
            <ac:spMk id="3156" creationId="{94EF91B8-7F25-A4B5-B2F7-3B45DAD71AC0}"/>
          </ac:spMkLst>
        </pc:spChg>
        <pc:spChg chg="add del mod">
          <ac:chgData name="Laurence ANGILBERT" userId="28ea2967-f540-4e7d-a641-d418703ece22" providerId="ADAL" clId="{859296AE-058C-4C65-BA04-6986791C2943}" dt="2024-02-01T12:37:32.704" v="22187" actId="478"/>
          <ac:spMkLst>
            <pc:docMk/>
            <pc:sldMk cId="3762552109" sldId="2147482363"/>
            <ac:spMk id="3157" creationId="{4A25E89B-693E-C274-2F5A-82D38909FADA}"/>
          </ac:spMkLst>
        </pc:spChg>
        <pc:spChg chg="add del mod">
          <ac:chgData name="Laurence ANGILBERT" userId="28ea2967-f540-4e7d-a641-d418703ece22" providerId="ADAL" clId="{859296AE-058C-4C65-BA04-6986791C2943}" dt="2024-02-01T12:39:11.943" v="22197" actId="478"/>
          <ac:spMkLst>
            <pc:docMk/>
            <pc:sldMk cId="3762552109" sldId="2147482363"/>
            <ac:spMk id="3158" creationId="{C154032A-7C2A-9A27-E5D2-871FB78D71E4}"/>
          </ac:spMkLst>
        </pc:spChg>
        <pc:spChg chg="add del mod">
          <ac:chgData name="Laurence ANGILBERT" userId="28ea2967-f540-4e7d-a641-d418703ece22" providerId="ADAL" clId="{859296AE-058C-4C65-BA04-6986791C2943}" dt="2024-02-01T12:39:43.982" v="22202" actId="478"/>
          <ac:spMkLst>
            <pc:docMk/>
            <pc:sldMk cId="3762552109" sldId="2147482363"/>
            <ac:spMk id="3159" creationId="{D47CD68C-3A12-BC38-0C18-1F60B635CC5D}"/>
          </ac:spMkLst>
        </pc:spChg>
        <pc:spChg chg="add del mod">
          <ac:chgData name="Laurence ANGILBERT" userId="28ea2967-f540-4e7d-a641-d418703ece22" providerId="ADAL" clId="{859296AE-058C-4C65-BA04-6986791C2943}" dt="2024-02-01T12:40:14.558" v="22208" actId="478"/>
          <ac:spMkLst>
            <pc:docMk/>
            <pc:sldMk cId="3762552109" sldId="2147482363"/>
            <ac:spMk id="3160" creationId="{7A714BFC-C65C-9276-B7CB-1DD3A5435565}"/>
          </ac:spMkLst>
        </pc:spChg>
        <pc:spChg chg="add del mod">
          <ac:chgData name="Laurence ANGILBERT" userId="28ea2967-f540-4e7d-a641-d418703ece22" providerId="ADAL" clId="{859296AE-058C-4C65-BA04-6986791C2943}" dt="2024-02-01T12:42:42.390" v="22226" actId="478"/>
          <ac:spMkLst>
            <pc:docMk/>
            <pc:sldMk cId="3762552109" sldId="2147482363"/>
            <ac:spMk id="3161" creationId="{E3FAC073-D914-4223-5EFF-437CC9DDE40B}"/>
          </ac:spMkLst>
        </pc:spChg>
        <pc:spChg chg="add mod">
          <ac:chgData name="Laurence ANGILBERT" userId="28ea2967-f540-4e7d-a641-d418703ece22" providerId="ADAL" clId="{859296AE-058C-4C65-BA04-6986791C2943}" dt="2024-02-01T13:08:21.190" v="22525" actId="1076"/>
          <ac:spMkLst>
            <pc:docMk/>
            <pc:sldMk cId="3762552109" sldId="2147482363"/>
            <ac:spMk id="3164" creationId="{D4E3059D-A1CB-6484-1EDF-BE327881E9F5}"/>
          </ac:spMkLst>
        </pc:spChg>
        <pc:picChg chg="add mod">
          <ac:chgData name="Laurence ANGILBERT" userId="28ea2967-f540-4e7d-a641-d418703ece22" providerId="ADAL" clId="{859296AE-058C-4C65-BA04-6986791C2943}" dt="2024-02-01T12:33:33.457" v="22154" actId="1038"/>
          <ac:picMkLst>
            <pc:docMk/>
            <pc:sldMk cId="3762552109" sldId="2147482363"/>
            <ac:picMk id="6" creationId="{1D4BA4D9-315D-802C-6B1B-BFF2B41ED66D}"/>
          </ac:picMkLst>
        </pc:picChg>
        <pc:picChg chg="add mod">
          <ac:chgData name="Laurence ANGILBERT" userId="28ea2967-f540-4e7d-a641-d418703ece22" providerId="ADAL" clId="{859296AE-058C-4C65-BA04-6986791C2943}" dt="2024-02-01T12:31:25.648" v="22063" actId="1038"/>
          <ac:picMkLst>
            <pc:docMk/>
            <pc:sldMk cId="3762552109" sldId="2147482363"/>
            <ac:picMk id="7" creationId="{A177C8AB-AB3D-836A-8074-FC01C842CDD2}"/>
          </ac:picMkLst>
        </pc:picChg>
        <pc:picChg chg="add del mod">
          <ac:chgData name="Laurence ANGILBERT" userId="28ea2967-f540-4e7d-a641-d418703ece22" providerId="ADAL" clId="{859296AE-058C-4C65-BA04-6986791C2943}" dt="2024-02-01T11:50:52.863" v="21221" actId="478"/>
          <ac:picMkLst>
            <pc:docMk/>
            <pc:sldMk cId="3762552109" sldId="2147482363"/>
            <ac:picMk id="8" creationId="{CC4F3ED9-B8B9-97B0-3173-9A834DAE67FE}"/>
          </ac:picMkLst>
        </pc:picChg>
        <pc:picChg chg="add mod">
          <ac:chgData name="Laurence ANGILBERT" userId="28ea2967-f540-4e7d-a641-d418703ece22" providerId="ADAL" clId="{859296AE-058C-4C65-BA04-6986791C2943}" dt="2024-02-01T13:06:37.557" v="22519" actId="1038"/>
          <ac:picMkLst>
            <pc:docMk/>
            <pc:sldMk cId="3762552109" sldId="2147482363"/>
            <ac:picMk id="11" creationId="{B4BC4861-BD4D-A1E0-2C30-2466B784A717}"/>
          </ac:picMkLst>
        </pc:picChg>
        <pc:picChg chg="del">
          <ac:chgData name="Laurence ANGILBERT" userId="28ea2967-f540-4e7d-a641-d418703ece22" providerId="ADAL" clId="{859296AE-058C-4C65-BA04-6986791C2943}" dt="2024-02-01T11:49:48.755" v="21213" actId="478"/>
          <ac:picMkLst>
            <pc:docMk/>
            <pc:sldMk cId="3762552109" sldId="2147482363"/>
            <ac:picMk id="16" creationId="{1241DC60-2A4C-6D36-22E4-315259CC6606}"/>
          </ac:picMkLst>
        </pc:picChg>
        <pc:picChg chg="add mod">
          <ac:chgData name="Laurence ANGILBERT" userId="28ea2967-f540-4e7d-a641-d418703ece22" providerId="ADAL" clId="{859296AE-058C-4C65-BA04-6986791C2943}" dt="2024-02-01T12:29:03.504" v="21951" actId="1076"/>
          <ac:picMkLst>
            <pc:docMk/>
            <pc:sldMk cId="3762552109" sldId="2147482363"/>
            <ac:picMk id="27" creationId="{96272CF4-3E1E-F437-A43E-C15EDC83251E}"/>
          </ac:picMkLst>
        </pc:picChg>
        <pc:picChg chg="del">
          <ac:chgData name="Laurence ANGILBERT" userId="28ea2967-f540-4e7d-a641-d418703ece22" providerId="ADAL" clId="{859296AE-058C-4C65-BA04-6986791C2943}" dt="2024-02-01T11:49:52.926" v="21214" actId="478"/>
          <ac:picMkLst>
            <pc:docMk/>
            <pc:sldMk cId="3762552109" sldId="2147482363"/>
            <ac:picMk id="28" creationId="{A9B22746-374E-B15F-07EE-BCFD9D104AC6}"/>
          </ac:picMkLst>
        </pc:picChg>
        <pc:picChg chg="del">
          <ac:chgData name="Laurence ANGILBERT" userId="28ea2967-f540-4e7d-a641-d418703ece22" providerId="ADAL" clId="{859296AE-058C-4C65-BA04-6986791C2943}" dt="2024-02-01T11:49:48.755" v="21213" actId="478"/>
          <ac:picMkLst>
            <pc:docMk/>
            <pc:sldMk cId="3762552109" sldId="2147482363"/>
            <ac:picMk id="34" creationId="{DF586CCA-7B0B-6774-12CA-12BF99924BE6}"/>
          </ac:picMkLst>
        </pc:picChg>
        <pc:picChg chg="del">
          <ac:chgData name="Laurence ANGILBERT" userId="28ea2967-f540-4e7d-a641-d418703ece22" providerId="ADAL" clId="{859296AE-058C-4C65-BA04-6986791C2943}" dt="2024-02-01T11:49:48.755" v="21213" actId="478"/>
          <ac:picMkLst>
            <pc:docMk/>
            <pc:sldMk cId="3762552109" sldId="2147482363"/>
            <ac:picMk id="41" creationId="{C87C92EF-FFF7-650A-E3CA-0B9C69BC2807}"/>
          </ac:picMkLst>
        </pc:picChg>
        <pc:picChg chg="del">
          <ac:chgData name="Laurence ANGILBERT" userId="28ea2967-f540-4e7d-a641-d418703ece22" providerId="ADAL" clId="{859296AE-058C-4C65-BA04-6986791C2943}" dt="2024-02-01T11:49:48.755" v="21213" actId="478"/>
          <ac:picMkLst>
            <pc:docMk/>
            <pc:sldMk cId="3762552109" sldId="2147482363"/>
            <ac:picMk id="42" creationId="{D6754AFA-46D6-DECF-5583-3A01EEAFA441}"/>
          </ac:picMkLst>
        </pc:picChg>
        <pc:picChg chg="del">
          <ac:chgData name="Laurence ANGILBERT" userId="28ea2967-f540-4e7d-a641-d418703ece22" providerId="ADAL" clId="{859296AE-058C-4C65-BA04-6986791C2943}" dt="2024-02-01T11:49:48.755" v="21213" actId="478"/>
          <ac:picMkLst>
            <pc:docMk/>
            <pc:sldMk cId="3762552109" sldId="2147482363"/>
            <ac:picMk id="43" creationId="{46811E38-21E5-76B0-579B-F3D9A049D455}"/>
          </ac:picMkLst>
        </pc:picChg>
        <pc:picChg chg="del">
          <ac:chgData name="Laurence ANGILBERT" userId="28ea2967-f540-4e7d-a641-d418703ece22" providerId="ADAL" clId="{859296AE-058C-4C65-BA04-6986791C2943}" dt="2024-02-01T11:49:48.755" v="21213" actId="478"/>
          <ac:picMkLst>
            <pc:docMk/>
            <pc:sldMk cId="3762552109" sldId="2147482363"/>
            <ac:picMk id="45" creationId="{8189CF34-4F44-DD8C-93F8-A8C8B519A925}"/>
          </ac:picMkLst>
        </pc:picChg>
        <pc:picChg chg="del">
          <ac:chgData name="Laurence ANGILBERT" userId="28ea2967-f540-4e7d-a641-d418703ece22" providerId="ADAL" clId="{859296AE-058C-4C65-BA04-6986791C2943}" dt="2024-02-01T11:49:52.926" v="21214" actId="478"/>
          <ac:picMkLst>
            <pc:docMk/>
            <pc:sldMk cId="3762552109" sldId="2147482363"/>
            <ac:picMk id="60" creationId="{9000CA11-A90B-C0E7-2D6B-7DCD54E21E5B}"/>
          </ac:picMkLst>
        </pc:picChg>
        <pc:picChg chg="del">
          <ac:chgData name="Laurence ANGILBERT" userId="28ea2967-f540-4e7d-a641-d418703ece22" providerId="ADAL" clId="{859296AE-058C-4C65-BA04-6986791C2943}" dt="2024-02-01T11:49:52.926" v="21214" actId="478"/>
          <ac:picMkLst>
            <pc:docMk/>
            <pc:sldMk cId="3762552109" sldId="2147482363"/>
            <ac:picMk id="62" creationId="{10504DA1-08F8-FA98-01BA-E53504EFF9E3}"/>
          </ac:picMkLst>
        </pc:picChg>
        <pc:picChg chg="del">
          <ac:chgData name="Laurence ANGILBERT" userId="28ea2967-f540-4e7d-a641-d418703ece22" providerId="ADAL" clId="{859296AE-058C-4C65-BA04-6986791C2943}" dt="2024-02-01T11:49:48.755" v="21213" actId="478"/>
          <ac:picMkLst>
            <pc:docMk/>
            <pc:sldMk cId="3762552109" sldId="2147482363"/>
            <ac:picMk id="3072" creationId="{7628632D-02F4-A089-ECAE-1BE84F93A33F}"/>
          </ac:picMkLst>
        </pc:picChg>
        <pc:picChg chg="del">
          <ac:chgData name="Laurence ANGILBERT" userId="28ea2967-f540-4e7d-a641-d418703ece22" providerId="ADAL" clId="{859296AE-058C-4C65-BA04-6986791C2943}" dt="2024-02-01T11:49:48.755" v="21213" actId="478"/>
          <ac:picMkLst>
            <pc:docMk/>
            <pc:sldMk cId="3762552109" sldId="2147482363"/>
            <ac:picMk id="3074" creationId="{8A1EEE6C-7232-F814-BAB4-8E0D827AFE16}"/>
          </ac:picMkLst>
        </pc:picChg>
        <pc:picChg chg="del">
          <ac:chgData name="Laurence ANGILBERT" userId="28ea2967-f540-4e7d-a641-d418703ece22" providerId="ADAL" clId="{859296AE-058C-4C65-BA04-6986791C2943}" dt="2024-02-01T11:49:48.755" v="21213" actId="478"/>
          <ac:picMkLst>
            <pc:docMk/>
            <pc:sldMk cId="3762552109" sldId="2147482363"/>
            <ac:picMk id="3075" creationId="{3F3914D7-620F-76B8-2C8F-E0D0BFBB91BB}"/>
          </ac:picMkLst>
        </pc:picChg>
        <pc:picChg chg="del">
          <ac:chgData name="Laurence ANGILBERT" userId="28ea2967-f540-4e7d-a641-d418703ece22" providerId="ADAL" clId="{859296AE-058C-4C65-BA04-6986791C2943}" dt="2024-02-01T11:49:48.755" v="21213" actId="478"/>
          <ac:picMkLst>
            <pc:docMk/>
            <pc:sldMk cId="3762552109" sldId="2147482363"/>
            <ac:picMk id="3076" creationId="{06EF85DA-6355-293E-16F0-586A16D17671}"/>
          </ac:picMkLst>
        </pc:picChg>
        <pc:picChg chg="del">
          <ac:chgData name="Laurence ANGILBERT" userId="28ea2967-f540-4e7d-a641-d418703ece22" providerId="ADAL" clId="{859296AE-058C-4C65-BA04-6986791C2943}" dt="2024-02-01T11:49:48.755" v="21213" actId="478"/>
          <ac:picMkLst>
            <pc:docMk/>
            <pc:sldMk cId="3762552109" sldId="2147482363"/>
            <ac:picMk id="3078" creationId="{20026058-1223-6E97-D660-3FCC235CCE64}"/>
          </ac:picMkLst>
        </pc:picChg>
        <pc:picChg chg="del">
          <ac:chgData name="Laurence ANGILBERT" userId="28ea2967-f540-4e7d-a641-d418703ece22" providerId="ADAL" clId="{859296AE-058C-4C65-BA04-6986791C2943}" dt="2024-02-01T11:49:48.755" v="21213" actId="478"/>
          <ac:picMkLst>
            <pc:docMk/>
            <pc:sldMk cId="3762552109" sldId="2147482363"/>
            <ac:picMk id="3079" creationId="{53DA01D3-15B0-C6C0-AF8D-81EF69C349DF}"/>
          </ac:picMkLst>
        </pc:picChg>
        <pc:picChg chg="del">
          <ac:chgData name="Laurence ANGILBERT" userId="28ea2967-f540-4e7d-a641-d418703ece22" providerId="ADAL" clId="{859296AE-058C-4C65-BA04-6986791C2943}" dt="2024-02-01T11:49:52.926" v="21214" actId="478"/>
          <ac:picMkLst>
            <pc:docMk/>
            <pc:sldMk cId="3762552109" sldId="2147482363"/>
            <ac:picMk id="3136" creationId="{1649B587-0B7D-B125-3897-D498C4F2D7BF}"/>
          </ac:picMkLst>
        </pc:picChg>
        <pc:picChg chg="del">
          <ac:chgData name="Laurence ANGILBERT" userId="28ea2967-f540-4e7d-a641-d418703ece22" providerId="ADAL" clId="{859296AE-058C-4C65-BA04-6986791C2943}" dt="2024-02-01T11:49:48.755" v="21213" actId="478"/>
          <ac:picMkLst>
            <pc:docMk/>
            <pc:sldMk cId="3762552109" sldId="2147482363"/>
            <ac:picMk id="3137" creationId="{80FDCE6F-F5CA-FA0E-45A3-9D8934862EA8}"/>
          </ac:picMkLst>
        </pc:picChg>
        <pc:picChg chg="add mod">
          <ac:chgData name="Laurence ANGILBERT" userId="28ea2967-f540-4e7d-a641-d418703ece22" providerId="ADAL" clId="{859296AE-058C-4C65-BA04-6986791C2943}" dt="2024-02-01T12:41:43.292" v="22223" actId="1076"/>
          <ac:picMkLst>
            <pc:docMk/>
            <pc:sldMk cId="3762552109" sldId="2147482363"/>
            <ac:picMk id="3142" creationId="{EE4CF9D4-A09F-3AFD-7B46-DF98FA372926}"/>
          </ac:picMkLst>
        </pc:picChg>
        <pc:picChg chg="add mod">
          <ac:chgData name="Laurence ANGILBERT" userId="28ea2967-f540-4e7d-a641-d418703ece22" providerId="ADAL" clId="{859296AE-058C-4C65-BA04-6986791C2943}" dt="2024-02-01T12:32:16.473" v="22106" actId="1076"/>
          <ac:picMkLst>
            <pc:docMk/>
            <pc:sldMk cId="3762552109" sldId="2147482363"/>
            <ac:picMk id="3144" creationId="{0B49371C-55E1-8DF1-E05F-0B54EF598C7B}"/>
          </ac:picMkLst>
        </pc:picChg>
        <pc:picChg chg="add mod">
          <ac:chgData name="Laurence ANGILBERT" userId="28ea2967-f540-4e7d-a641-d418703ece22" providerId="ADAL" clId="{859296AE-058C-4C65-BA04-6986791C2943}" dt="2024-02-01T12:33:39.952" v="22155" actId="1076"/>
          <ac:picMkLst>
            <pc:docMk/>
            <pc:sldMk cId="3762552109" sldId="2147482363"/>
            <ac:picMk id="3147" creationId="{DB095026-7E93-3909-F431-5E8EC4FD9CB1}"/>
          </ac:picMkLst>
        </pc:picChg>
        <pc:picChg chg="add mod">
          <ac:chgData name="Laurence ANGILBERT" userId="28ea2967-f540-4e7d-a641-d418703ece22" providerId="ADAL" clId="{859296AE-058C-4C65-BA04-6986791C2943}" dt="2024-02-01T13:07:35.533" v="22523" actId="1076"/>
          <ac:picMkLst>
            <pc:docMk/>
            <pc:sldMk cId="3762552109" sldId="2147482363"/>
            <ac:picMk id="3148" creationId="{E622BD54-F3A7-CB4F-DC16-C153C9F21A3D}"/>
          </ac:picMkLst>
        </pc:picChg>
        <pc:picChg chg="add mod">
          <ac:chgData name="Laurence ANGILBERT" userId="28ea2967-f540-4e7d-a641-d418703ece22" providerId="ADAL" clId="{859296AE-058C-4C65-BA04-6986791C2943}" dt="2024-02-01T12:33:02.653" v="22117" actId="1076"/>
          <ac:picMkLst>
            <pc:docMk/>
            <pc:sldMk cId="3762552109" sldId="2147482363"/>
            <ac:picMk id="3150" creationId="{65492111-96E1-A2C1-C581-47570BD11D52}"/>
          </ac:picMkLst>
        </pc:picChg>
        <pc:picChg chg="add mod">
          <ac:chgData name="Laurence ANGILBERT" userId="28ea2967-f540-4e7d-a641-d418703ece22" providerId="ADAL" clId="{859296AE-058C-4C65-BA04-6986791C2943}" dt="2024-02-01T12:34:18.087" v="22159" actId="1076"/>
          <ac:picMkLst>
            <pc:docMk/>
            <pc:sldMk cId="3762552109" sldId="2147482363"/>
            <ac:picMk id="3154" creationId="{71E5A4BF-D71A-6297-B387-50C2DE4C9EFF}"/>
          </ac:picMkLst>
        </pc:picChg>
        <pc:picChg chg="add mod">
          <ac:chgData name="Laurence ANGILBERT" userId="28ea2967-f540-4e7d-a641-d418703ece22" providerId="ADAL" clId="{859296AE-058C-4C65-BA04-6986791C2943}" dt="2024-02-01T12:40:53.599" v="22215" actId="1076"/>
          <ac:picMkLst>
            <pc:docMk/>
            <pc:sldMk cId="3762552109" sldId="2147482363"/>
            <ac:picMk id="3155" creationId="{890E496A-ECA0-043B-5F79-8C9B64FD34B8}"/>
          </ac:picMkLst>
        </pc:picChg>
        <pc:picChg chg="add mod">
          <ac:chgData name="Laurence ANGILBERT" userId="28ea2967-f540-4e7d-a641-d418703ece22" providerId="ADAL" clId="{859296AE-058C-4C65-BA04-6986791C2943}" dt="2024-02-01T13:08:21.190" v="22525" actId="1076"/>
          <ac:picMkLst>
            <pc:docMk/>
            <pc:sldMk cId="3762552109" sldId="2147482363"/>
            <ac:picMk id="3165" creationId="{6FAE1C96-6FF9-84A7-FB6A-F7CF2BA1F96F}"/>
          </ac:picMkLst>
        </pc:picChg>
        <pc:cxnChg chg="del">
          <ac:chgData name="Laurence ANGILBERT" userId="28ea2967-f540-4e7d-a641-d418703ece22" providerId="ADAL" clId="{859296AE-058C-4C65-BA04-6986791C2943}" dt="2024-02-01T11:49:48.755" v="21213" actId="478"/>
          <ac:cxnSpMkLst>
            <pc:docMk/>
            <pc:sldMk cId="3762552109" sldId="2147482363"/>
            <ac:cxnSpMk id="9" creationId="{BED71002-4696-8542-85FB-42657B618D85}"/>
          </ac:cxnSpMkLst>
        </pc:cxnChg>
        <pc:cxnChg chg="del">
          <ac:chgData name="Laurence ANGILBERT" userId="28ea2967-f540-4e7d-a641-d418703ece22" providerId="ADAL" clId="{859296AE-058C-4C65-BA04-6986791C2943}" dt="2024-02-01T11:49:48.755" v="21213" actId="478"/>
          <ac:cxnSpMkLst>
            <pc:docMk/>
            <pc:sldMk cId="3762552109" sldId="2147482363"/>
            <ac:cxnSpMk id="10" creationId="{9FBBBE8C-C113-F8BB-9EB5-0787B18515C4}"/>
          </ac:cxnSpMkLst>
        </pc:cxnChg>
        <pc:cxnChg chg="add mod">
          <ac:chgData name="Laurence ANGILBERT" userId="28ea2967-f540-4e7d-a641-d418703ece22" providerId="ADAL" clId="{859296AE-058C-4C65-BA04-6986791C2943}" dt="2024-02-01T13:06:53.951" v="22521" actId="14100"/>
          <ac:cxnSpMkLst>
            <pc:docMk/>
            <pc:sldMk cId="3762552109" sldId="2147482363"/>
            <ac:cxnSpMk id="52" creationId="{08197D32-0A21-123F-9797-61DE636CC660}"/>
          </ac:cxnSpMkLst>
        </pc:cxnChg>
        <pc:cxnChg chg="del">
          <ac:chgData name="Laurence ANGILBERT" userId="28ea2967-f540-4e7d-a641-d418703ece22" providerId="ADAL" clId="{859296AE-058C-4C65-BA04-6986791C2943}" dt="2024-02-01T11:49:52.926" v="21214" actId="478"/>
          <ac:cxnSpMkLst>
            <pc:docMk/>
            <pc:sldMk cId="3762552109" sldId="2147482363"/>
            <ac:cxnSpMk id="3086" creationId="{38C5C80F-3EFB-D38A-EAF7-902C5FCF8D6E}"/>
          </ac:cxnSpMkLst>
        </pc:cxnChg>
        <pc:cxnChg chg="del">
          <ac:chgData name="Laurence ANGILBERT" userId="28ea2967-f540-4e7d-a641-d418703ece22" providerId="ADAL" clId="{859296AE-058C-4C65-BA04-6986791C2943}" dt="2024-02-01T11:49:48.755" v="21213" actId="478"/>
          <ac:cxnSpMkLst>
            <pc:docMk/>
            <pc:sldMk cId="3762552109" sldId="2147482363"/>
            <ac:cxnSpMk id="3094" creationId="{D0C4D244-A74E-C167-F4AF-B94EC49ABA06}"/>
          </ac:cxnSpMkLst>
        </pc:cxnChg>
        <pc:cxnChg chg="del">
          <ac:chgData name="Laurence ANGILBERT" userId="28ea2967-f540-4e7d-a641-d418703ece22" providerId="ADAL" clId="{859296AE-058C-4C65-BA04-6986791C2943}" dt="2024-02-01T11:49:48.755" v="21213" actId="478"/>
          <ac:cxnSpMkLst>
            <pc:docMk/>
            <pc:sldMk cId="3762552109" sldId="2147482363"/>
            <ac:cxnSpMk id="3097" creationId="{71B78758-B5AD-48DC-1B64-990833AD920F}"/>
          </ac:cxnSpMkLst>
        </pc:cxnChg>
        <pc:cxnChg chg="del">
          <ac:chgData name="Laurence ANGILBERT" userId="28ea2967-f540-4e7d-a641-d418703ece22" providerId="ADAL" clId="{859296AE-058C-4C65-BA04-6986791C2943}" dt="2024-02-01T11:49:48.755" v="21213" actId="478"/>
          <ac:cxnSpMkLst>
            <pc:docMk/>
            <pc:sldMk cId="3762552109" sldId="2147482363"/>
            <ac:cxnSpMk id="3100" creationId="{21D040B4-2642-6E64-8E15-8E6D8BAC7C19}"/>
          </ac:cxnSpMkLst>
        </pc:cxnChg>
        <pc:cxnChg chg="del">
          <ac:chgData name="Laurence ANGILBERT" userId="28ea2967-f540-4e7d-a641-d418703ece22" providerId="ADAL" clId="{859296AE-058C-4C65-BA04-6986791C2943}" dt="2024-02-01T11:49:52.926" v="21214" actId="478"/>
          <ac:cxnSpMkLst>
            <pc:docMk/>
            <pc:sldMk cId="3762552109" sldId="2147482363"/>
            <ac:cxnSpMk id="3129" creationId="{2F347F9B-2676-F74F-C620-96FD15DEA0DB}"/>
          </ac:cxnSpMkLst>
        </pc:cxnChg>
        <pc:cxnChg chg="add mod">
          <ac:chgData name="Laurence ANGILBERT" userId="28ea2967-f540-4e7d-a641-d418703ece22" providerId="ADAL" clId="{859296AE-058C-4C65-BA04-6986791C2943}" dt="2024-02-01T12:41:12.143" v="22222" actId="14100"/>
          <ac:cxnSpMkLst>
            <pc:docMk/>
            <pc:sldMk cId="3762552109" sldId="2147482363"/>
            <ac:cxnSpMk id="3138" creationId="{29C282E9-E9AB-EE22-0E6F-5F89AE03F2DD}"/>
          </ac:cxnSpMkLst>
        </pc:cxnChg>
        <pc:cxnChg chg="add mod">
          <ac:chgData name="Laurence ANGILBERT" userId="28ea2967-f540-4e7d-a641-d418703ece22" providerId="ADAL" clId="{859296AE-058C-4C65-BA04-6986791C2943}" dt="2024-02-01T12:41:12.143" v="22222" actId="14100"/>
          <ac:cxnSpMkLst>
            <pc:docMk/>
            <pc:sldMk cId="3762552109" sldId="2147482363"/>
            <ac:cxnSpMk id="3139" creationId="{1127FBA1-A6AB-3CE3-93BE-F865F8E8C373}"/>
          </ac:cxnSpMkLst>
        </pc:cxnChg>
        <pc:cxnChg chg="add mod">
          <ac:chgData name="Laurence ANGILBERT" userId="28ea2967-f540-4e7d-a641-d418703ece22" providerId="ADAL" clId="{859296AE-058C-4C65-BA04-6986791C2943}" dt="2024-02-01T12:41:12.143" v="22222" actId="14100"/>
          <ac:cxnSpMkLst>
            <pc:docMk/>
            <pc:sldMk cId="3762552109" sldId="2147482363"/>
            <ac:cxnSpMk id="3140" creationId="{347A4031-348F-8878-9B9A-2392ED682CF4}"/>
          </ac:cxnSpMkLst>
        </pc:cxnChg>
      </pc:sldChg>
      <pc:sldChg chg="addSp delSp modSp mod">
        <pc:chgData name="Laurence ANGILBERT" userId="28ea2967-f540-4e7d-a641-d418703ece22" providerId="ADAL" clId="{859296AE-058C-4C65-BA04-6986791C2943}" dt="2024-02-02T18:10:04.452" v="30150" actId="1036"/>
        <pc:sldMkLst>
          <pc:docMk/>
          <pc:sldMk cId="646768392" sldId="2147482365"/>
        </pc:sldMkLst>
        <pc:spChg chg="mod">
          <ac:chgData name="Laurence ANGILBERT" userId="28ea2967-f540-4e7d-a641-d418703ece22" providerId="ADAL" clId="{859296AE-058C-4C65-BA04-6986791C2943}" dt="2024-02-02T09:20:10.409" v="25720" actId="1076"/>
          <ac:spMkLst>
            <pc:docMk/>
            <pc:sldMk cId="646768392" sldId="2147482365"/>
            <ac:spMk id="3" creationId="{42DA54D8-BD8E-C42B-629D-8F6685218EA8}"/>
          </ac:spMkLst>
        </pc:spChg>
        <pc:spChg chg="mod">
          <ac:chgData name="Laurence ANGILBERT" userId="28ea2967-f540-4e7d-a641-d418703ece22" providerId="ADAL" clId="{859296AE-058C-4C65-BA04-6986791C2943}" dt="2024-02-02T09:19:59.944" v="25718" actId="1036"/>
          <ac:spMkLst>
            <pc:docMk/>
            <pc:sldMk cId="646768392" sldId="2147482365"/>
            <ac:spMk id="4" creationId="{7EDDEA04-5CD8-8D87-6495-BC228AF1283F}"/>
          </ac:spMkLst>
        </pc:spChg>
        <pc:spChg chg="mod">
          <ac:chgData name="Laurence ANGILBERT" userId="28ea2967-f540-4e7d-a641-d418703ece22" providerId="ADAL" clId="{859296AE-058C-4C65-BA04-6986791C2943}" dt="2024-02-02T09:19:59.944" v="25718" actId="1036"/>
          <ac:spMkLst>
            <pc:docMk/>
            <pc:sldMk cId="646768392" sldId="2147482365"/>
            <ac:spMk id="5" creationId="{786CA1F9-BB66-2D62-7C36-B74EF7AEA655}"/>
          </ac:spMkLst>
        </pc:spChg>
        <pc:spChg chg="mod">
          <ac:chgData name="Laurence ANGILBERT" userId="28ea2967-f540-4e7d-a641-d418703ece22" providerId="ADAL" clId="{859296AE-058C-4C65-BA04-6986791C2943}" dt="2024-02-02T09:19:59.944" v="25718" actId="1036"/>
          <ac:spMkLst>
            <pc:docMk/>
            <pc:sldMk cId="646768392" sldId="2147482365"/>
            <ac:spMk id="6" creationId="{9802467F-4D6B-05B0-9A67-720D5975C8D0}"/>
          </ac:spMkLst>
        </pc:spChg>
        <pc:spChg chg="mod">
          <ac:chgData name="Laurence ANGILBERT" userId="28ea2967-f540-4e7d-a641-d418703ece22" providerId="ADAL" clId="{859296AE-058C-4C65-BA04-6986791C2943}" dt="2024-02-02T09:20:26.965" v="25723" actId="1076"/>
          <ac:spMkLst>
            <pc:docMk/>
            <pc:sldMk cId="646768392" sldId="2147482365"/>
            <ac:spMk id="8" creationId="{FFC6A093-4D8A-A997-6930-DCA8D518066E}"/>
          </ac:spMkLst>
        </pc:spChg>
        <pc:spChg chg="add mod">
          <ac:chgData name="Laurence ANGILBERT" userId="28ea2967-f540-4e7d-a641-d418703ece22" providerId="ADAL" clId="{859296AE-058C-4C65-BA04-6986791C2943}" dt="2024-02-01T16:21:01.004" v="22728" actId="114"/>
          <ac:spMkLst>
            <pc:docMk/>
            <pc:sldMk cId="646768392" sldId="2147482365"/>
            <ac:spMk id="12" creationId="{DF66A5C3-9100-E4F4-4CF1-D9EA8EC88F14}"/>
          </ac:spMkLst>
        </pc:spChg>
        <pc:spChg chg="del">
          <ac:chgData name="Laurence ANGILBERT" userId="28ea2967-f540-4e7d-a641-d418703ece22" providerId="ADAL" clId="{859296AE-058C-4C65-BA04-6986791C2943}" dt="2024-02-02T09:03:57.560" v="25469" actId="478"/>
          <ac:spMkLst>
            <pc:docMk/>
            <pc:sldMk cId="646768392" sldId="2147482365"/>
            <ac:spMk id="22" creationId="{8CC9181B-6A33-D48E-6DC9-0609B671E8CC}"/>
          </ac:spMkLst>
        </pc:spChg>
        <pc:spChg chg="mod">
          <ac:chgData name="Laurence ANGILBERT" userId="28ea2967-f540-4e7d-a641-d418703ece22" providerId="ADAL" clId="{859296AE-058C-4C65-BA04-6986791C2943}" dt="2024-02-02T18:10:04.452" v="30150" actId="1036"/>
          <ac:spMkLst>
            <pc:docMk/>
            <pc:sldMk cId="646768392" sldId="2147482365"/>
            <ac:spMk id="49" creationId="{8C97D30A-09F4-3174-8519-4216346D4832}"/>
          </ac:spMkLst>
        </pc:spChg>
        <pc:spChg chg="mod">
          <ac:chgData name="Laurence ANGILBERT" userId="28ea2967-f540-4e7d-a641-d418703ece22" providerId="ADAL" clId="{859296AE-058C-4C65-BA04-6986791C2943}" dt="2024-02-02T09:19:59.944" v="25718" actId="1036"/>
          <ac:spMkLst>
            <pc:docMk/>
            <pc:sldMk cId="646768392" sldId="2147482365"/>
            <ac:spMk id="57" creationId="{470D92BE-557A-7126-0372-00A40945672D}"/>
          </ac:spMkLst>
        </pc:spChg>
        <pc:grpChg chg="mod">
          <ac:chgData name="Laurence ANGILBERT" userId="28ea2967-f540-4e7d-a641-d418703ece22" providerId="ADAL" clId="{859296AE-058C-4C65-BA04-6986791C2943}" dt="2024-02-02T09:19:59.944" v="25718" actId="1036"/>
          <ac:grpSpMkLst>
            <pc:docMk/>
            <pc:sldMk cId="646768392" sldId="2147482365"/>
            <ac:grpSpMk id="27" creationId="{19BD4701-EC0A-8877-0BB1-F5EDF72E4987}"/>
          </ac:grpSpMkLst>
        </pc:grpChg>
        <pc:grpChg chg="mod">
          <ac:chgData name="Laurence ANGILBERT" userId="28ea2967-f540-4e7d-a641-d418703ece22" providerId="ADAL" clId="{859296AE-058C-4C65-BA04-6986791C2943}" dt="2024-02-02T09:19:59.944" v="25718" actId="1036"/>
          <ac:grpSpMkLst>
            <pc:docMk/>
            <pc:sldMk cId="646768392" sldId="2147482365"/>
            <ac:grpSpMk id="29" creationId="{2998EFD1-6090-7211-9307-FD154C16E857}"/>
          </ac:grpSpMkLst>
        </pc:grpChg>
        <pc:picChg chg="mod">
          <ac:chgData name="Laurence ANGILBERT" userId="28ea2967-f540-4e7d-a641-d418703ece22" providerId="ADAL" clId="{859296AE-058C-4C65-BA04-6986791C2943}" dt="2024-02-02T18:09:21.020" v="30141" actId="1076"/>
          <ac:picMkLst>
            <pc:docMk/>
            <pc:sldMk cId="646768392" sldId="2147482365"/>
            <ac:picMk id="31" creationId="{B2CD63DB-459D-3E7C-63AB-398DC5A3F212}"/>
          </ac:picMkLst>
        </pc:picChg>
        <pc:picChg chg="mod">
          <ac:chgData name="Laurence ANGILBERT" userId="28ea2967-f540-4e7d-a641-d418703ece22" providerId="ADAL" clId="{859296AE-058C-4C65-BA04-6986791C2943}" dt="2024-02-02T09:19:59.944" v="25718" actId="1036"/>
          <ac:picMkLst>
            <pc:docMk/>
            <pc:sldMk cId="646768392" sldId="2147482365"/>
            <ac:picMk id="45" creationId="{C2ECF008-A42E-6942-6FA3-E08C640DDC95}"/>
          </ac:picMkLst>
        </pc:picChg>
        <pc:picChg chg="mod">
          <ac:chgData name="Laurence ANGILBERT" userId="28ea2967-f540-4e7d-a641-d418703ece22" providerId="ADAL" clId="{859296AE-058C-4C65-BA04-6986791C2943}" dt="2024-02-02T09:19:59.944" v="25718" actId="1036"/>
          <ac:picMkLst>
            <pc:docMk/>
            <pc:sldMk cId="646768392" sldId="2147482365"/>
            <ac:picMk id="54" creationId="{706F8F07-6826-ACBF-0A37-032696517D29}"/>
          </ac:picMkLst>
        </pc:picChg>
        <pc:picChg chg="mod">
          <ac:chgData name="Laurence ANGILBERT" userId="28ea2967-f540-4e7d-a641-d418703ece22" providerId="ADAL" clId="{859296AE-058C-4C65-BA04-6986791C2943}" dt="2024-02-02T09:19:59.944" v="25718" actId="1036"/>
          <ac:picMkLst>
            <pc:docMk/>
            <pc:sldMk cId="646768392" sldId="2147482365"/>
            <ac:picMk id="56" creationId="{DE52A0C7-FB32-670A-A0A8-5BBD545BFBA2}"/>
          </ac:picMkLst>
        </pc:picChg>
        <pc:picChg chg="mod">
          <ac:chgData name="Laurence ANGILBERT" userId="28ea2967-f540-4e7d-a641-d418703ece22" providerId="ADAL" clId="{859296AE-058C-4C65-BA04-6986791C2943}" dt="2024-02-02T09:19:59.944" v="25718" actId="1036"/>
          <ac:picMkLst>
            <pc:docMk/>
            <pc:sldMk cId="646768392" sldId="2147482365"/>
            <ac:picMk id="60" creationId="{BC3F4007-C2DB-43E9-76FC-8574D9C690AF}"/>
          </ac:picMkLst>
        </pc:picChg>
      </pc:sldChg>
      <pc:sldChg chg="delSp modSp mod">
        <pc:chgData name="Laurence ANGILBERT" userId="28ea2967-f540-4e7d-a641-d418703ece22" providerId="ADAL" clId="{859296AE-058C-4C65-BA04-6986791C2943}" dt="2024-02-02T09:25:48.494" v="25766" actId="14100"/>
        <pc:sldMkLst>
          <pc:docMk/>
          <pc:sldMk cId="3308541053" sldId="2147482367"/>
        </pc:sldMkLst>
        <pc:spChg chg="mod">
          <ac:chgData name="Laurence ANGILBERT" userId="28ea2967-f540-4e7d-a641-d418703ece22" providerId="ADAL" clId="{859296AE-058C-4C65-BA04-6986791C2943}" dt="2024-02-02T09:23:29.923" v="25728" actId="1076"/>
          <ac:spMkLst>
            <pc:docMk/>
            <pc:sldMk cId="3308541053" sldId="2147482367"/>
            <ac:spMk id="2" creationId="{3B68E42E-736E-7A1E-FBC6-2932F0A30E44}"/>
          </ac:spMkLst>
        </pc:spChg>
        <pc:spChg chg="del">
          <ac:chgData name="Laurence ANGILBERT" userId="28ea2967-f540-4e7d-a641-d418703ece22" providerId="ADAL" clId="{859296AE-058C-4C65-BA04-6986791C2943}" dt="2024-02-02T09:04:51.502" v="25477" actId="478"/>
          <ac:spMkLst>
            <pc:docMk/>
            <pc:sldMk cId="3308541053" sldId="2147482367"/>
            <ac:spMk id="4" creationId="{A1B5B1BC-1C13-CA8D-D103-BF525F3DEB88}"/>
          </ac:spMkLst>
        </pc:spChg>
        <pc:spChg chg="mod">
          <ac:chgData name="Laurence ANGILBERT" userId="28ea2967-f540-4e7d-a641-d418703ece22" providerId="ADAL" clId="{859296AE-058C-4C65-BA04-6986791C2943}" dt="2024-02-02T09:24:51.626" v="25765" actId="1035"/>
          <ac:spMkLst>
            <pc:docMk/>
            <pc:sldMk cId="3308541053" sldId="2147482367"/>
            <ac:spMk id="7" creationId="{D39E3C7C-036D-41E9-9B0B-F89FD133BE07}"/>
          </ac:spMkLst>
        </pc:spChg>
        <pc:spChg chg="mod">
          <ac:chgData name="Laurence ANGILBERT" userId="28ea2967-f540-4e7d-a641-d418703ece22" providerId="ADAL" clId="{859296AE-058C-4C65-BA04-6986791C2943}" dt="2024-02-01T16:46:56.847" v="23196" actId="207"/>
          <ac:spMkLst>
            <pc:docMk/>
            <pc:sldMk cId="3308541053" sldId="2147482367"/>
            <ac:spMk id="25" creationId="{77957A4E-EC9D-65F8-F4E8-4FB0A831E163}"/>
          </ac:spMkLst>
        </pc:spChg>
        <pc:spChg chg="mod">
          <ac:chgData name="Laurence ANGILBERT" userId="28ea2967-f540-4e7d-a641-d418703ece22" providerId="ADAL" clId="{859296AE-058C-4C65-BA04-6986791C2943}" dt="2024-02-01T16:46:54.010" v="23195" actId="207"/>
          <ac:spMkLst>
            <pc:docMk/>
            <pc:sldMk cId="3308541053" sldId="2147482367"/>
            <ac:spMk id="27" creationId="{8BC00808-10C1-F8A8-4014-D112D5558344}"/>
          </ac:spMkLst>
        </pc:spChg>
        <pc:spChg chg="mod">
          <ac:chgData name="Laurence ANGILBERT" userId="28ea2967-f540-4e7d-a641-d418703ece22" providerId="ADAL" clId="{859296AE-058C-4C65-BA04-6986791C2943}" dt="2024-02-01T16:46:54.010" v="23195" actId="207"/>
          <ac:spMkLst>
            <pc:docMk/>
            <pc:sldMk cId="3308541053" sldId="2147482367"/>
            <ac:spMk id="28" creationId="{DD2F1B7E-BA39-B270-B0C8-417365B53B8A}"/>
          </ac:spMkLst>
        </pc:spChg>
        <pc:spChg chg="mod">
          <ac:chgData name="Laurence ANGILBERT" userId="28ea2967-f540-4e7d-a641-d418703ece22" providerId="ADAL" clId="{859296AE-058C-4C65-BA04-6986791C2943}" dt="2024-02-01T16:46:54.010" v="23195" actId="207"/>
          <ac:spMkLst>
            <pc:docMk/>
            <pc:sldMk cId="3308541053" sldId="2147482367"/>
            <ac:spMk id="29" creationId="{F27DAF12-BF2A-4378-27B6-44AA07020126}"/>
          </ac:spMkLst>
        </pc:spChg>
        <pc:spChg chg="mod">
          <ac:chgData name="Laurence ANGILBERT" userId="28ea2967-f540-4e7d-a641-d418703ece22" providerId="ADAL" clId="{859296AE-058C-4C65-BA04-6986791C2943}" dt="2024-02-02T09:24:51.626" v="25765" actId="1035"/>
          <ac:spMkLst>
            <pc:docMk/>
            <pc:sldMk cId="3308541053" sldId="2147482367"/>
            <ac:spMk id="30" creationId="{0962B402-C341-6FAE-CCAB-68B00BAB4363}"/>
          </ac:spMkLst>
        </pc:spChg>
        <pc:spChg chg="mod">
          <ac:chgData name="Laurence ANGILBERT" userId="28ea2967-f540-4e7d-a641-d418703ece22" providerId="ADAL" clId="{859296AE-058C-4C65-BA04-6986791C2943}" dt="2024-02-02T09:24:51.626" v="25765" actId="1035"/>
          <ac:spMkLst>
            <pc:docMk/>
            <pc:sldMk cId="3308541053" sldId="2147482367"/>
            <ac:spMk id="31" creationId="{907877DA-B8AC-6315-0CFB-B379DEBF2EDF}"/>
          </ac:spMkLst>
        </pc:spChg>
        <pc:spChg chg="mod">
          <ac:chgData name="Laurence ANGILBERT" userId="28ea2967-f540-4e7d-a641-d418703ece22" providerId="ADAL" clId="{859296AE-058C-4C65-BA04-6986791C2943}" dt="2024-02-02T09:24:51.626" v="25765" actId="1035"/>
          <ac:spMkLst>
            <pc:docMk/>
            <pc:sldMk cId="3308541053" sldId="2147482367"/>
            <ac:spMk id="32" creationId="{2A0ECAAA-D70E-775F-B242-2912A3BCFBC1}"/>
          </ac:spMkLst>
        </pc:spChg>
        <pc:spChg chg="mod">
          <ac:chgData name="Laurence ANGILBERT" userId="28ea2967-f540-4e7d-a641-d418703ece22" providerId="ADAL" clId="{859296AE-058C-4C65-BA04-6986791C2943}" dt="2024-02-02T09:24:51.626" v="25765" actId="1035"/>
          <ac:spMkLst>
            <pc:docMk/>
            <pc:sldMk cId="3308541053" sldId="2147482367"/>
            <ac:spMk id="33" creationId="{0739FABB-25BF-B66E-45D2-BC26FDD7028F}"/>
          </ac:spMkLst>
        </pc:spChg>
        <pc:spChg chg="mod">
          <ac:chgData name="Laurence ANGILBERT" userId="28ea2967-f540-4e7d-a641-d418703ece22" providerId="ADAL" clId="{859296AE-058C-4C65-BA04-6986791C2943}" dt="2024-02-02T09:24:51.626" v="25765" actId="1035"/>
          <ac:spMkLst>
            <pc:docMk/>
            <pc:sldMk cId="3308541053" sldId="2147482367"/>
            <ac:spMk id="34" creationId="{809AC073-4534-E8C4-359B-5A8D3F7962DB}"/>
          </ac:spMkLst>
        </pc:spChg>
        <pc:spChg chg="mod">
          <ac:chgData name="Laurence ANGILBERT" userId="28ea2967-f540-4e7d-a641-d418703ece22" providerId="ADAL" clId="{859296AE-058C-4C65-BA04-6986791C2943}" dt="2024-02-02T09:24:51.626" v="25765" actId="1035"/>
          <ac:spMkLst>
            <pc:docMk/>
            <pc:sldMk cId="3308541053" sldId="2147482367"/>
            <ac:spMk id="36" creationId="{DD3CE0EB-4326-C51E-2B37-5536700EC24D}"/>
          </ac:spMkLst>
        </pc:spChg>
        <pc:spChg chg="mod">
          <ac:chgData name="Laurence ANGILBERT" userId="28ea2967-f540-4e7d-a641-d418703ece22" providerId="ADAL" clId="{859296AE-058C-4C65-BA04-6986791C2943}" dt="2024-02-02T09:24:51.626" v="25765" actId="1035"/>
          <ac:spMkLst>
            <pc:docMk/>
            <pc:sldMk cId="3308541053" sldId="2147482367"/>
            <ac:spMk id="38" creationId="{EFDC0631-94A8-13B0-F79E-B68238108860}"/>
          </ac:spMkLst>
        </pc:spChg>
        <pc:spChg chg="mod">
          <ac:chgData name="Laurence ANGILBERT" userId="28ea2967-f540-4e7d-a641-d418703ece22" providerId="ADAL" clId="{859296AE-058C-4C65-BA04-6986791C2943}" dt="2024-02-02T09:24:51.626" v="25765" actId="1035"/>
          <ac:spMkLst>
            <pc:docMk/>
            <pc:sldMk cId="3308541053" sldId="2147482367"/>
            <ac:spMk id="40" creationId="{4CB9F329-7F57-CE25-0D7C-0F6F4B6820A0}"/>
          </ac:spMkLst>
        </pc:spChg>
        <pc:spChg chg="mod">
          <ac:chgData name="Laurence ANGILBERT" userId="28ea2967-f540-4e7d-a641-d418703ece22" providerId="ADAL" clId="{859296AE-058C-4C65-BA04-6986791C2943}" dt="2024-02-02T09:24:51.626" v="25765" actId="1035"/>
          <ac:spMkLst>
            <pc:docMk/>
            <pc:sldMk cId="3308541053" sldId="2147482367"/>
            <ac:spMk id="41" creationId="{1A19A625-D4D6-E388-08EE-3C3EEA3CFDEC}"/>
          </ac:spMkLst>
        </pc:spChg>
        <pc:spChg chg="mod">
          <ac:chgData name="Laurence ANGILBERT" userId="28ea2967-f540-4e7d-a641-d418703ece22" providerId="ADAL" clId="{859296AE-058C-4C65-BA04-6986791C2943}" dt="2024-02-02T09:24:51.626" v="25765" actId="1035"/>
          <ac:spMkLst>
            <pc:docMk/>
            <pc:sldMk cId="3308541053" sldId="2147482367"/>
            <ac:spMk id="42" creationId="{F87B811E-8B1E-9B29-55A7-FCE2A7610A54}"/>
          </ac:spMkLst>
        </pc:spChg>
        <pc:spChg chg="mod">
          <ac:chgData name="Laurence ANGILBERT" userId="28ea2967-f540-4e7d-a641-d418703ece22" providerId="ADAL" clId="{859296AE-058C-4C65-BA04-6986791C2943}" dt="2024-02-02T09:24:51.626" v="25765" actId="1035"/>
          <ac:spMkLst>
            <pc:docMk/>
            <pc:sldMk cId="3308541053" sldId="2147482367"/>
            <ac:spMk id="44" creationId="{086EC9FA-CD82-C349-9867-C2CFBA9CDAC1}"/>
          </ac:spMkLst>
        </pc:spChg>
        <pc:spChg chg="mod">
          <ac:chgData name="Laurence ANGILBERT" userId="28ea2967-f540-4e7d-a641-d418703ece22" providerId="ADAL" clId="{859296AE-058C-4C65-BA04-6986791C2943}" dt="2024-02-02T09:24:51.626" v="25765" actId="1035"/>
          <ac:spMkLst>
            <pc:docMk/>
            <pc:sldMk cId="3308541053" sldId="2147482367"/>
            <ac:spMk id="45" creationId="{E392A34E-1220-79C0-979B-B06F080A8FD5}"/>
          </ac:spMkLst>
        </pc:spChg>
        <pc:spChg chg="mod">
          <ac:chgData name="Laurence ANGILBERT" userId="28ea2967-f540-4e7d-a641-d418703ece22" providerId="ADAL" clId="{859296AE-058C-4C65-BA04-6986791C2943}" dt="2024-02-02T09:24:51.626" v="25765" actId="1035"/>
          <ac:spMkLst>
            <pc:docMk/>
            <pc:sldMk cId="3308541053" sldId="2147482367"/>
            <ac:spMk id="47" creationId="{7C2C944A-ACD3-2C3F-D050-B49F98F81DC8}"/>
          </ac:spMkLst>
        </pc:spChg>
        <pc:spChg chg="mod">
          <ac:chgData name="Laurence ANGILBERT" userId="28ea2967-f540-4e7d-a641-d418703ece22" providerId="ADAL" clId="{859296AE-058C-4C65-BA04-6986791C2943}" dt="2024-02-02T09:24:51.626" v="25765" actId="1035"/>
          <ac:spMkLst>
            <pc:docMk/>
            <pc:sldMk cId="3308541053" sldId="2147482367"/>
            <ac:spMk id="49" creationId="{B80487FF-BAA5-3979-B3C8-7438995399D7}"/>
          </ac:spMkLst>
        </pc:spChg>
        <pc:spChg chg="mod">
          <ac:chgData name="Laurence ANGILBERT" userId="28ea2967-f540-4e7d-a641-d418703ece22" providerId="ADAL" clId="{859296AE-058C-4C65-BA04-6986791C2943}" dt="2024-02-02T09:24:51.626" v="25765" actId="1035"/>
          <ac:spMkLst>
            <pc:docMk/>
            <pc:sldMk cId="3308541053" sldId="2147482367"/>
            <ac:spMk id="51" creationId="{A7E03E88-E3F3-616B-BFC0-C5E82F19EFE8}"/>
          </ac:spMkLst>
        </pc:spChg>
        <pc:spChg chg="mod">
          <ac:chgData name="Laurence ANGILBERT" userId="28ea2967-f540-4e7d-a641-d418703ece22" providerId="ADAL" clId="{859296AE-058C-4C65-BA04-6986791C2943}" dt="2024-02-02T09:24:51.626" v="25765" actId="1035"/>
          <ac:spMkLst>
            <pc:docMk/>
            <pc:sldMk cId="3308541053" sldId="2147482367"/>
            <ac:spMk id="56" creationId="{6244A080-F6C0-D5A7-FF59-398E5E9AE31D}"/>
          </ac:spMkLst>
        </pc:spChg>
        <pc:spChg chg="mod">
          <ac:chgData name="Laurence ANGILBERT" userId="28ea2967-f540-4e7d-a641-d418703ece22" providerId="ADAL" clId="{859296AE-058C-4C65-BA04-6986791C2943}" dt="2024-02-02T09:25:48.494" v="25766" actId="14100"/>
          <ac:spMkLst>
            <pc:docMk/>
            <pc:sldMk cId="3308541053" sldId="2147482367"/>
            <ac:spMk id="93" creationId="{E68B604F-328C-D3E1-7AF3-AB31AE1ABB16}"/>
          </ac:spMkLst>
        </pc:spChg>
        <pc:spChg chg="mod">
          <ac:chgData name="Laurence ANGILBERT" userId="28ea2967-f540-4e7d-a641-d418703ece22" providerId="ADAL" clId="{859296AE-058C-4C65-BA04-6986791C2943}" dt="2024-02-01T16:47:23.047" v="23202" actId="208"/>
          <ac:spMkLst>
            <pc:docMk/>
            <pc:sldMk cId="3308541053" sldId="2147482367"/>
            <ac:spMk id="137" creationId="{87C5F78C-251D-7328-7D27-40DFBBC8689A}"/>
          </ac:spMkLst>
        </pc:spChg>
        <pc:spChg chg="mod">
          <ac:chgData name="Laurence ANGILBERT" userId="28ea2967-f540-4e7d-a641-d418703ece22" providerId="ADAL" clId="{859296AE-058C-4C65-BA04-6986791C2943}" dt="2024-02-01T16:47:19.574" v="23201" actId="208"/>
          <ac:spMkLst>
            <pc:docMk/>
            <pc:sldMk cId="3308541053" sldId="2147482367"/>
            <ac:spMk id="150" creationId="{87DBCA60-87AD-684B-7142-D70DE3490C07}"/>
          </ac:spMkLst>
        </pc:spChg>
        <pc:spChg chg="mod">
          <ac:chgData name="Laurence ANGILBERT" userId="28ea2967-f540-4e7d-a641-d418703ece22" providerId="ADAL" clId="{859296AE-058C-4C65-BA04-6986791C2943}" dt="2024-02-01T16:47:03.547" v="23198" actId="207"/>
          <ac:spMkLst>
            <pc:docMk/>
            <pc:sldMk cId="3308541053" sldId="2147482367"/>
            <ac:spMk id="161" creationId="{FA6F73E7-F83D-8CB4-7D4B-43DFA30C8B6F}"/>
          </ac:spMkLst>
        </pc:spChg>
        <pc:spChg chg="mod">
          <ac:chgData name="Laurence ANGILBERT" userId="28ea2967-f540-4e7d-a641-d418703ece22" providerId="ADAL" clId="{859296AE-058C-4C65-BA04-6986791C2943}" dt="2024-02-01T16:47:00.697" v="23197" actId="207"/>
          <ac:spMkLst>
            <pc:docMk/>
            <pc:sldMk cId="3308541053" sldId="2147482367"/>
            <ac:spMk id="162" creationId="{F4EDECF4-B60E-8D6B-279E-010D6314EB80}"/>
          </ac:spMkLst>
        </pc:spChg>
        <pc:grpChg chg="mod">
          <ac:chgData name="Laurence ANGILBERT" userId="28ea2967-f540-4e7d-a641-d418703ece22" providerId="ADAL" clId="{859296AE-058C-4C65-BA04-6986791C2943}" dt="2024-02-01T16:46:54.010" v="23195" actId="207"/>
          <ac:grpSpMkLst>
            <pc:docMk/>
            <pc:sldMk cId="3308541053" sldId="2147482367"/>
            <ac:grpSpMk id="26" creationId="{27DE2AE8-220F-BB17-3D86-0ACFAEBA0B26}"/>
          </ac:grpSpMkLst>
        </pc:grpChg>
        <pc:grpChg chg="mod">
          <ac:chgData name="Laurence ANGILBERT" userId="28ea2967-f540-4e7d-a641-d418703ece22" providerId="ADAL" clId="{859296AE-058C-4C65-BA04-6986791C2943}" dt="2024-02-02T09:24:51.626" v="25765" actId="1035"/>
          <ac:grpSpMkLst>
            <pc:docMk/>
            <pc:sldMk cId="3308541053" sldId="2147482367"/>
            <ac:grpSpMk id="52" creationId="{DE6BC5BB-77F3-40C8-CEE1-597DA3D5366E}"/>
          </ac:grpSpMkLst>
        </pc:grpChg>
        <pc:grpChg chg="mod">
          <ac:chgData name="Laurence ANGILBERT" userId="28ea2967-f540-4e7d-a641-d418703ece22" providerId="ADAL" clId="{859296AE-058C-4C65-BA04-6986791C2943}" dt="2024-02-02T09:24:51.626" v="25765" actId="1035"/>
          <ac:grpSpMkLst>
            <pc:docMk/>
            <pc:sldMk cId="3308541053" sldId="2147482367"/>
            <ac:grpSpMk id="53" creationId="{23B866E3-117D-9E02-14BD-2B8ACDDCF896}"/>
          </ac:grpSpMkLst>
        </pc:grpChg>
        <pc:grpChg chg="mod">
          <ac:chgData name="Laurence ANGILBERT" userId="28ea2967-f540-4e7d-a641-d418703ece22" providerId="ADAL" clId="{859296AE-058C-4C65-BA04-6986791C2943}" dt="2024-02-02T09:24:51.626" v="25765" actId="1035"/>
          <ac:grpSpMkLst>
            <pc:docMk/>
            <pc:sldMk cId="3308541053" sldId="2147482367"/>
            <ac:grpSpMk id="54" creationId="{F64DB572-24DE-B008-D333-1D8B72A86851}"/>
          </ac:grpSpMkLst>
        </pc:grpChg>
        <pc:grpChg chg="mod">
          <ac:chgData name="Laurence ANGILBERT" userId="28ea2967-f540-4e7d-a641-d418703ece22" providerId="ADAL" clId="{859296AE-058C-4C65-BA04-6986791C2943}" dt="2024-02-02T09:24:51.626" v="25765" actId="1035"/>
          <ac:grpSpMkLst>
            <pc:docMk/>
            <pc:sldMk cId="3308541053" sldId="2147482367"/>
            <ac:grpSpMk id="55" creationId="{B2F66C61-4360-BA22-CD88-F0352352071E}"/>
          </ac:grpSpMkLst>
        </pc:grpChg>
        <pc:grpChg chg="mod">
          <ac:chgData name="Laurence ANGILBERT" userId="28ea2967-f540-4e7d-a641-d418703ece22" providerId="ADAL" clId="{859296AE-058C-4C65-BA04-6986791C2943}" dt="2024-02-02T09:24:51.626" v="25765" actId="1035"/>
          <ac:grpSpMkLst>
            <pc:docMk/>
            <pc:sldMk cId="3308541053" sldId="2147482367"/>
            <ac:grpSpMk id="157" creationId="{4FEE12E7-B373-B557-9E81-EAA9EEB9614C}"/>
          </ac:grpSpMkLst>
        </pc:grpChg>
        <pc:picChg chg="mod">
          <ac:chgData name="Laurence ANGILBERT" userId="28ea2967-f540-4e7d-a641-d418703ece22" providerId="ADAL" clId="{859296AE-058C-4C65-BA04-6986791C2943}" dt="2024-02-02T09:24:51.626" v="25765" actId="1035"/>
          <ac:picMkLst>
            <pc:docMk/>
            <pc:sldMk cId="3308541053" sldId="2147482367"/>
            <ac:picMk id="35" creationId="{631646A3-A603-9616-FAF3-9B9C7D1B871A}"/>
          </ac:picMkLst>
        </pc:picChg>
        <pc:picChg chg="mod">
          <ac:chgData name="Laurence ANGILBERT" userId="28ea2967-f540-4e7d-a641-d418703ece22" providerId="ADAL" clId="{859296AE-058C-4C65-BA04-6986791C2943}" dt="2024-02-02T09:24:51.626" v="25765" actId="1035"/>
          <ac:picMkLst>
            <pc:docMk/>
            <pc:sldMk cId="3308541053" sldId="2147482367"/>
            <ac:picMk id="37" creationId="{8FAD8B4C-030F-F6CD-6E7B-43D211E3BFC3}"/>
          </ac:picMkLst>
        </pc:picChg>
        <pc:picChg chg="mod">
          <ac:chgData name="Laurence ANGILBERT" userId="28ea2967-f540-4e7d-a641-d418703ece22" providerId="ADAL" clId="{859296AE-058C-4C65-BA04-6986791C2943}" dt="2024-02-02T09:24:51.626" v="25765" actId="1035"/>
          <ac:picMkLst>
            <pc:docMk/>
            <pc:sldMk cId="3308541053" sldId="2147482367"/>
            <ac:picMk id="39" creationId="{DB615E3C-5BE9-7205-A9D0-C24D59030613}"/>
          </ac:picMkLst>
        </pc:picChg>
        <pc:picChg chg="mod">
          <ac:chgData name="Laurence ANGILBERT" userId="28ea2967-f540-4e7d-a641-d418703ece22" providerId="ADAL" clId="{859296AE-058C-4C65-BA04-6986791C2943}" dt="2024-02-02T09:24:51.626" v="25765" actId="1035"/>
          <ac:picMkLst>
            <pc:docMk/>
            <pc:sldMk cId="3308541053" sldId="2147482367"/>
            <ac:picMk id="43" creationId="{D59127CE-C7B4-BA2C-4767-DF2A3B8BD225}"/>
          </ac:picMkLst>
        </pc:picChg>
        <pc:picChg chg="mod">
          <ac:chgData name="Laurence ANGILBERT" userId="28ea2967-f540-4e7d-a641-d418703ece22" providerId="ADAL" clId="{859296AE-058C-4C65-BA04-6986791C2943}" dt="2024-02-02T09:24:51.626" v="25765" actId="1035"/>
          <ac:picMkLst>
            <pc:docMk/>
            <pc:sldMk cId="3308541053" sldId="2147482367"/>
            <ac:picMk id="46" creationId="{6EBD83C9-F1E1-1097-793A-7AEEBABFF207}"/>
          </ac:picMkLst>
        </pc:picChg>
        <pc:picChg chg="mod">
          <ac:chgData name="Laurence ANGILBERT" userId="28ea2967-f540-4e7d-a641-d418703ece22" providerId="ADAL" clId="{859296AE-058C-4C65-BA04-6986791C2943}" dt="2024-02-02T09:24:51.626" v="25765" actId="1035"/>
          <ac:picMkLst>
            <pc:docMk/>
            <pc:sldMk cId="3308541053" sldId="2147482367"/>
            <ac:picMk id="48" creationId="{D87BB791-4817-FB5B-2613-2434C3DDF49E}"/>
          </ac:picMkLst>
        </pc:picChg>
        <pc:picChg chg="mod">
          <ac:chgData name="Laurence ANGILBERT" userId="28ea2967-f540-4e7d-a641-d418703ece22" providerId="ADAL" clId="{859296AE-058C-4C65-BA04-6986791C2943}" dt="2024-02-01T16:48:33.567" v="23212" actId="207"/>
          <ac:picMkLst>
            <pc:docMk/>
            <pc:sldMk cId="3308541053" sldId="2147482367"/>
            <ac:picMk id="89" creationId="{73B0248E-92F2-551E-92EE-59930ED62551}"/>
          </ac:picMkLst>
        </pc:picChg>
        <pc:picChg chg="mod">
          <ac:chgData name="Laurence ANGILBERT" userId="28ea2967-f540-4e7d-a641-d418703ece22" providerId="ADAL" clId="{859296AE-058C-4C65-BA04-6986791C2943}" dt="2024-02-01T16:48:03.976" v="23210" actId="207"/>
          <ac:picMkLst>
            <pc:docMk/>
            <pc:sldMk cId="3308541053" sldId="2147482367"/>
            <ac:picMk id="138" creationId="{6D224963-46AB-31DD-3E0C-46D7B056318C}"/>
          </ac:picMkLst>
        </pc:picChg>
        <pc:picChg chg="mod">
          <ac:chgData name="Laurence ANGILBERT" userId="28ea2967-f540-4e7d-a641-d418703ece22" providerId="ADAL" clId="{859296AE-058C-4C65-BA04-6986791C2943}" dt="2024-02-01T16:47:52.912" v="23208" actId="207"/>
          <ac:picMkLst>
            <pc:docMk/>
            <pc:sldMk cId="3308541053" sldId="2147482367"/>
            <ac:picMk id="152" creationId="{29E2EA40-ED37-29F9-644D-0D914DB71E5D}"/>
          </ac:picMkLst>
        </pc:picChg>
        <pc:picChg chg="mod">
          <ac:chgData name="Laurence ANGILBERT" userId="28ea2967-f540-4e7d-a641-d418703ece22" providerId="ADAL" clId="{859296AE-058C-4C65-BA04-6986791C2943}" dt="2024-02-01T16:47:56.484" v="23209" actId="207"/>
          <ac:picMkLst>
            <pc:docMk/>
            <pc:sldMk cId="3308541053" sldId="2147482367"/>
            <ac:picMk id="153" creationId="{B6206492-80B1-F144-3A13-755531850927}"/>
          </ac:picMkLst>
        </pc:picChg>
        <pc:picChg chg="mod">
          <ac:chgData name="Laurence ANGILBERT" userId="28ea2967-f540-4e7d-a641-d418703ece22" providerId="ADAL" clId="{859296AE-058C-4C65-BA04-6986791C2943}" dt="2024-02-01T16:48:38.973" v="23213" actId="207"/>
          <ac:picMkLst>
            <pc:docMk/>
            <pc:sldMk cId="3308541053" sldId="2147482367"/>
            <ac:picMk id="154" creationId="{E5340FEB-61C4-14EA-A19A-4C1795412A11}"/>
          </ac:picMkLst>
        </pc:picChg>
        <pc:picChg chg="mod">
          <ac:chgData name="Laurence ANGILBERT" userId="28ea2967-f540-4e7d-a641-d418703ece22" providerId="ADAL" clId="{859296AE-058C-4C65-BA04-6986791C2943}" dt="2024-02-01T16:48:44.563" v="23214" actId="207"/>
          <ac:picMkLst>
            <pc:docMk/>
            <pc:sldMk cId="3308541053" sldId="2147482367"/>
            <ac:picMk id="155" creationId="{781E88EB-08A2-D15F-E112-5A2865AF3DE4}"/>
          </ac:picMkLst>
        </pc:picChg>
      </pc:sldChg>
      <pc:sldChg chg="addSp delSp modSp mod">
        <pc:chgData name="Laurence ANGILBERT" userId="28ea2967-f540-4e7d-a641-d418703ece22" providerId="ADAL" clId="{859296AE-058C-4C65-BA04-6986791C2943}" dt="2024-02-02T18:19:42.869" v="30383" actId="1036"/>
        <pc:sldMkLst>
          <pc:docMk/>
          <pc:sldMk cId="3263934951" sldId="2147482369"/>
        </pc:sldMkLst>
        <pc:spChg chg="add del mod">
          <ac:chgData name="Laurence ANGILBERT" userId="28ea2967-f540-4e7d-a641-d418703ece22" providerId="ADAL" clId="{859296AE-058C-4C65-BA04-6986791C2943}" dt="2024-02-02T08:21:58.610" v="24152" actId="478"/>
          <ac:spMkLst>
            <pc:docMk/>
            <pc:sldMk cId="3263934951" sldId="2147482369"/>
            <ac:spMk id="2" creationId="{B8A20654-3144-C52F-5294-AB6D4D3F862C}"/>
          </ac:spMkLst>
        </pc:spChg>
        <pc:spChg chg="mod">
          <ac:chgData name="Laurence ANGILBERT" userId="28ea2967-f540-4e7d-a641-d418703ece22" providerId="ADAL" clId="{859296AE-058C-4C65-BA04-6986791C2943}" dt="2024-02-02T09:09:56.173" v="25635" actId="207"/>
          <ac:spMkLst>
            <pc:docMk/>
            <pc:sldMk cId="3263934951" sldId="2147482369"/>
            <ac:spMk id="3" creationId="{1DD85468-970B-4013-D370-EA2A4D5D1BA1}"/>
          </ac:spMkLst>
        </pc:spChg>
        <pc:spChg chg="mod">
          <ac:chgData name="Laurence ANGILBERT" userId="28ea2967-f540-4e7d-a641-d418703ece22" providerId="ADAL" clId="{859296AE-058C-4C65-BA04-6986791C2943}" dt="2024-02-02T08:26:53.860" v="24539" actId="1035"/>
          <ac:spMkLst>
            <pc:docMk/>
            <pc:sldMk cId="3263934951" sldId="2147482369"/>
            <ac:spMk id="4" creationId="{B45A4892-FF4B-57AE-B1BE-8B25B579B799}"/>
          </ac:spMkLst>
        </pc:spChg>
        <pc:spChg chg="mod">
          <ac:chgData name="Laurence ANGILBERT" userId="28ea2967-f540-4e7d-a641-d418703ece22" providerId="ADAL" clId="{859296AE-058C-4C65-BA04-6986791C2943}" dt="2024-02-02T08:28:00.330" v="24574" actId="555"/>
          <ac:spMkLst>
            <pc:docMk/>
            <pc:sldMk cId="3263934951" sldId="2147482369"/>
            <ac:spMk id="5" creationId="{FCA95897-6CE9-A167-8E89-B5A0CE4CF57B}"/>
          </ac:spMkLst>
        </pc:spChg>
        <pc:spChg chg="mod">
          <ac:chgData name="Laurence ANGILBERT" userId="28ea2967-f540-4e7d-a641-d418703ece22" providerId="ADAL" clId="{859296AE-058C-4C65-BA04-6986791C2943}" dt="2024-02-02T08:40:26.233" v="24993" actId="14100"/>
          <ac:spMkLst>
            <pc:docMk/>
            <pc:sldMk cId="3263934951" sldId="2147482369"/>
            <ac:spMk id="6" creationId="{67C6F395-AF0F-40C7-9BF4-34BE01AAA099}"/>
          </ac:spMkLst>
        </pc:spChg>
        <pc:spChg chg="del mod">
          <ac:chgData name="Laurence ANGILBERT" userId="28ea2967-f540-4e7d-a641-d418703ece22" providerId="ADAL" clId="{859296AE-058C-4C65-BA04-6986791C2943}" dt="2024-02-02T13:33:17.486" v="28437" actId="478"/>
          <ac:spMkLst>
            <pc:docMk/>
            <pc:sldMk cId="3263934951" sldId="2147482369"/>
            <ac:spMk id="8" creationId="{3D7D97AC-9016-CD00-7979-46E44512FCC7}"/>
          </ac:spMkLst>
        </pc:spChg>
        <pc:spChg chg="mod">
          <ac:chgData name="Laurence ANGILBERT" userId="28ea2967-f540-4e7d-a641-d418703ece22" providerId="ADAL" clId="{859296AE-058C-4C65-BA04-6986791C2943}" dt="2024-02-02T18:19:42.869" v="30383" actId="1036"/>
          <ac:spMkLst>
            <pc:docMk/>
            <pc:sldMk cId="3263934951" sldId="2147482369"/>
            <ac:spMk id="13" creationId="{1F7EB1BB-5FBF-8724-7084-47FDF55BB8DD}"/>
          </ac:spMkLst>
        </pc:spChg>
        <pc:spChg chg="mod">
          <ac:chgData name="Laurence ANGILBERT" userId="28ea2967-f540-4e7d-a641-d418703ece22" providerId="ADAL" clId="{859296AE-058C-4C65-BA04-6986791C2943}" dt="2024-02-01T17:47:04.464" v="23799" actId="207"/>
          <ac:spMkLst>
            <pc:docMk/>
            <pc:sldMk cId="3263934951" sldId="2147482369"/>
            <ac:spMk id="18" creationId="{FC4E0B0A-F307-E8C8-8FB4-0EBD2D9ACBD9}"/>
          </ac:spMkLst>
        </pc:spChg>
        <pc:spChg chg="mod">
          <ac:chgData name="Laurence ANGILBERT" userId="28ea2967-f540-4e7d-a641-d418703ece22" providerId="ADAL" clId="{859296AE-058C-4C65-BA04-6986791C2943}" dt="2024-02-02T08:28:00.330" v="24574" actId="555"/>
          <ac:spMkLst>
            <pc:docMk/>
            <pc:sldMk cId="3263934951" sldId="2147482369"/>
            <ac:spMk id="21" creationId="{ADB9489A-92BA-57BE-DE75-645BD3DA04C5}"/>
          </ac:spMkLst>
        </pc:spChg>
        <pc:spChg chg="mod">
          <ac:chgData name="Laurence ANGILBERT" userId="28ea2967-f540-4e7d-a641-d418703ece22" providerId="ADAL" clId="{859296AE-058C-4C65-BA04-6986791C2943}" dt="2024-02-02T18:19:38.947" v="30365" actId="1036"/>
          <ac:spMkLst>
            <pc:docMk/>
            <pc:sldMk cId="3263934951" sldId="2147482369"/>
            <ac:spMk id="22" creationId="{87631BB5-32CA-F4DA-FA44-B931DC0647A2}"/>
          </ac:spMkLst>
        </pc:spChg>
        <pc:spChg chg="mod">
          <ac:chgData name="Laurence ANGILBERT" userId="28ea2967-f540-4e7d-a641-d418703ece22" providerId="ADAL" clId="{859296AE-058C-4C65-BA04-6986791C2943}" dt="2024-02-02T18:19:34.371" v="30346" actId="1036"/>
          <ac:spMkLst>
            <pc:docMk/>
            <pc:sldMk cId="3263934951" sldId="2147482369"/>
            <ac:spMk id="23" creationId="{B2B31008-6898-CEAF-D4D6-FCFFC276B9F2}"/>
          </ac:spMkLst>
        </pc:spChg>
        <pc:spChg chg="mod">
          <ac:chgData name="Laurence ANGILBERT" userId="28ea2967-f540-4e7d-a641-d418703ece22" providerId="ADAL" clId="{859296AE-058C-4C65-BA04-6986791C2943}" dt="2024-02-02T18:19:07.828" v="30329" actId="20577"/>
          <ac:spMkLst>
            <pc:docMk/>
            <pc:sldMk cId="3263934951" sldId="2147482369"/>
            <ac:spMk id="24" creationId="{2DF0DCAF-8C62-8D04-2345-245A9B7AE8A9}"/>
          </ac:spMkLst>
        </pc:spChg>
        <pc:spChg chg="mod">
          <ac:chgData name="Laurence ANGILBERT" userId="28ea2967-f540-4e7d-a641-d418703ece22" providerId="ADAL" clId="{859296AE-058C-4C65-BA04-6986791C2943}" dt="2024-02-01T17:08:39.755" v="23628" actId="207"/>
          <ac:spMkLst>
            <pc:docMk/>
            <pc:sldMk cId="3263934951" sldId="2147482369"/>
            <ac:spMk id="34" creationId="{C26CB84A-71A5-62BF-AB7D-17DE4EA1E775}"/>
          </ac:spMkLst>
        </pc:spChg>
        <pc:spChg chg="add mod">
          <ac:chgData name="Laurence ANGILBERT" userId="28ea2967-f540-4e7d-a641-d418703ece22" providerId="ADAL" clId="{859296AE-058C-4C65-BA04-6986791C2943}" dt="2024-02-02T13:49:59.051" v="28636" actId="1076"/>
          <ac:spMkLst>
            <pc:docMk/>
            <pc:sldMk cId="3263934951" sldId="2147482369"/>
            <ac:spMk id="40" creationId="{61917F85-7081-109C-10C0-0AA555A07327}"/>
          </ac:spMkLst>
        </pc:spChg>
        <pc:spChg chg="add mod">
          <ac:chgData name="Laurence ANGILBERT" userId="28ea2967-f540-4e7d-a641-d418703ece22" providerId="ADAL" clId="{859296AE-058C-4C65-BA04-6986791C2943}" dt="2024-02-02T08:27:41.468" v="24573" actId="1035"/>
          <ac:spMkLst>
            <pc:docMk/>
            <pc:sldMk cId="3263934951" sldId="2147482369"/>
            <ac:spMk id="41" creationId="{4E450545-C395-9ED5-1E5F-BA57EDB4F63E}"/>
          </ac:spMkLst>
        </pc:spChg>
        <pc:spChg chg="add mod">
          <ac:chgData name="Laurence ANGILBERT" userId="28ea2967-f540-4e7d-a641-d418703ece22" providerId="ADAL" clId="{859296AE-058C-4C65-BA04-6986791C2943}" dt="2024-02-02T13:50:20.575" v="28638" actId="1076"/>
          <ac:spMkLst>
            <pc:docMk/>
            <pc:sldMk cId="3263934951" sldId="2147482369"/>
            <ac:spMk id="42" creationId="{8C97FA8F-9BFB-295C-23C2-75B588072413}"/>
          </ac:spMkLst>
        </pc:spChg>
        <pc:spChg chg="add mod">
          <ac:chgData name="Laurence ANGILBERT" userId="28ea2967-f540-4e7d-a641-d418703ece22" providerId="ADAL" clId="{859296AE-058C-4C65-BA04-6986791C2943}" dt="2024-02-02T13:50:24.298" v="28639" actId="1076"/>
          <ac:spMkLst>
            <pc:docMk/>
            <pc:sldMk cId="3263934951" sldId="2147482369"/>
            <ac:spMk id="43" creationId="{F1B5E320-C397-AFB0-80DC-B93B9D711F3F}"/>
          </ac:spMkLst>
        </pc:spChg>
        <pc:spChg chg="mod">
          <ac:chgData name="Laurence ANGILBERT" userId="28ea2967-f540-4e7d-a641-d418703ece22" providerId="ADAL" clId="{859296AE-058C-4C65-BA04-6986791C2943}" dt="2024-02-02T08:29:40.171" v="24633" actId="1037"/>
          <ac:spMkLst>
            <pc:docMk/>
            <pc:sldMk cId="3263934951" sldId="2147482369"/>
            <ac:spMk id="44" creationId="{24B2E04C-02B6-E0BB-28CD-46E238C100DF}"/>
          </ac:spMkLst>
        </pc:spChg>
        <pc:spChg chg="mod">
          <ac:chgData name="Laurence ANGILBERT" userId="28ea2967-f540-4e7d-a641-d418703ece22" providerId="ADAL" clId="{859296AE-058C-4C65-BA04-6986791C2943}" dt="2024-02-01T17:47:12.654" v="23801" actId="207"/>
          <ac:spMkLst>
            <pc:docMk/>
            <pc:sldMk cId="3263934951" sldId="2147482369"/>
            <ac:spMk id="54" creationId="{10233639-A07F-E177-A3FC-84EB92FF0023}"/>
          </ac:spMkLst>
        </pc:spChg>
        <pc:spChg chg="mod">
          <ac:chgData name="Laurence ANGILBERT" userId="28ea2967-f540-4e7d-a641-d418703ece22" providerId="ADAL" clId="{859296AE-058C-4C65-BA04-6986791C2943}" dt="2024-02-02T18:19:29.998" v="30333" actId="1076"/>
          <ac:spMkLst>
            <pc:docMk/>
            <pc:sldMk cId="3263934951" sldId="2147482369"/>
            <ac:spMk id="56" creationId="{916FDAE2-2B27-60EB-6062-73DF5B644833}"/>
          </ac:spMkLst>
        </pc:spChg>
        <pc:spChg chg="mod">
          <ac:chgData name="Laurence ANGILBERT" userId="28ea2967-f540-4e7d-a641-d418703ece22" providerId="ADAL" clId="{859296AE-058C-4C65-BA04-6986791C2943}" dt="2024-02-02T08:27:11.777" v="24546" actId="14100"/>
          <ac:spMkLst>
            <pc:docMk/>
            <pc:sldMk cId="3263934951" sldId="2147482369"/>
            <ac:spMk id="3171" creationId="{A4BA1264-0F81-A114-474C-9A3FF08531A1}"/>
          </ac:spMkLst>
        </pc:spChg>
        <pc:spChg chg="mod">
          <ac:chgData name="Laurence ANGILBERT" userId="28ea2967-f540-4e7d-a641-d418703ece22" providerId="ADAL" clId="{859296AE-058C-4C65-BA04-6986791C2943}" dt="2024-02-02T08:27:11.777" v="24546" actId="14100"/>
          <ac:spMkLst>
            <pc:docMk/>
            <pc:sldMk cId="3263934951" sldId="2147482369"/>
            <ac:spMk id="3172" creationId="{E97278C1-7D88-3DF1-FE62-17867B50A8B1}"/>
          </ac:spMkLst>
        </pc:spChg>
        <pc:picChg chg="mod">
          <ac:chgData name="Laurence ANGILBERT" userId="28ea2967-f540-4e7d-a641-d418703ece22" providerId="ADAL" clId="{859296AE-058C-4C65-BA04-6986791C2943}" dt="2024-02-02T08:27:41.468" v="24573" actId="1035"/>
          <ac:picMkLst>
            <pc:docMk/>
            <pc:sldMk cId="3263934951" sldId="2147482369"/>
            <ac:picMk id="7" creationId="{6E64AAC8-2A8E-9C54-D4FE-49A5E2BF6DC3}"/>
          </ac:picMkLst>
        </pc:picChg>
        <pc:picChg chg="add mod">
          <ac:chgData name="Laurence ANGILBERT" userId="28ea2967-f540-4e7d-a641-d418703ece22" providerId="ADAL" clId="{859296AE-058C-4C65-BA04-6986791C2943}" dt="2024-02-02T08:51:39.503" v="25339" actId="1076"/>
          <ac:picMkLst>
            <pc:docMk/>
            <pc:sldMk cId="3263934951" sldId="2147482369"/>
            <ac:picMk id="9" creationId="{A1C8F869-56C7-1403-1D1C-BA4B98A6C756}"/>
          </ac:picMkLst>
        </pc:picChg>
        <pc:picChg chg="add mod">
          <ac:chgData name="Laurence ANGILBERT" userId="28ea2967-f540-4e7d-a641-d418703ece22" providerId="ADAL" clId="{859296AE-058C-4C65-BA04-6986791C2943}" dt="2024-02-02T08:27:41.468" v="24573" actId="1035"/>
          <ac:picMkLst>
            <pc:docMk/>
            <pc:sldMk cId="3263934951" sldId="2147482369"/>
            <ac:picMk id="10" creationId="{7C8EA320-C122-C3B0-D133-E66B9CF52E64}"/>
          </ac:picMkLst>
        </pc:picChg>
        <pc:picChg chg="add mod">
          <ac:chgData name="Laurence ANGILBERT" userId="28ea2967-f540-4e7d-a641-d418703ece22" providerId="ADAL" clId="{859296AE-058C-4C65-BA04-6986791C2943}" dt="2024-02-01T17:52:11.664" v="23874" actId="1036"/>
          <ac:picMkLst>
            <pc:docMk/>
            <pc:sldMk cId="3263934951" sldId="2147482369"/>
            <ac:picMk id="15" creationId="{93A0D59B-4E15-A867-594D-DD31A0C0E311}"/>
          </ac:picMkLst>
        </pc:picChg>
        <pc:picChg chg="add mod">
          <ac:chgData name="Laurence ANGILBERT" userId="28ea2967-f540-4e7d-a641-d418703ece22" providerId="ADAL" clId="{859296AE-058C-4C65-BA04-6986791C2943}" dt="2024-02-01T17:50:24.617" v="23844" actId="1076"/>
          <ac:picMkLst>
            <pc:docMk/>
            <pc:sldMk cId="3263934951" sldId="2147482369"/>
            <ac:picMk id="16" creationId="{605523DD-C5B0-4764-16D8-9901211C23E6}"/>
          </ac:picMkLst>
        </pc:picChg>
        <pc:picChg chg="add mod">
          <ac:chgData name="Laurence ANGILBERT" userId="28ea2967-f540-4e7d-a641-d418703ece22" providerId="ADAL" clId="{859296AE-058C-4C65-BA04-6986791C2943}" dt="2024-02-01T17:50:30.180" v="23846" actId="1076"/>
          <ac:picMkLst>
            <pc:docMk/>
            <pc:sldMk cId="3263934951" sldId="2147482369"/>
            <ac:picMk id="17" creationId="{DC5F8752-AABC-BBA9-0DC7-337F4CF88BA4}"/>
          </ac:picMkLst>
        </pc:picChg>
        <pc:picChg chg="add mod">
          <ac:chgData name="Laurence ANGILBERT" userId="28ea2967-f540-4e7d-a641-d418703ece22" providerId="ADAL" clId="{859296AE-058C-4C65-BA04-6986791C2943}" dt="2024-02-01T17:50:40.278" v="23848" actId="1076"/>
          <ac:picMkLst>
            <pc:docMk/>
            <pc:sldMk cId="3263934951" sldId="2147482369"/>
            <ac:picMk id="19" creationId="{9DBB7292-A6CC-F24C-9DA3-9945C9174FCA}"/>
          </ac:picMkLst>
        </pc:picChg>
        <pc:picChg chg="add mod">
          <ac:chgData name="Laurence ANGILBERT" userId="28ea2967-f540-4e7d-a641-d418703ece22" providerId="ADAL" clId="{859296AE-058C-4C65-BA04-6986791C2943}" dt="2024-02-01T17:51:07.913" v="23854" actId="1037"/>
          <ac:picMkLst>
            <pc:docMk/>
            <pc:sldMk cId="3263934951" sldId="2147482369"/>
            <ac:picMk id="26" creationId="{D29E4AC6-AE2A-EFBB-FA08-C1A879D2AA6B}"/>
          </ac:picMkLst>
        </pc:picChg>
        <pc:picChg chg="add mod">
          <ac:chgData name="Laurence ANGILBERT" userId="28ea2967-f540-4e7d-a641-d418703ece22" providerId="ADAL" clId="{859296AE-058C-4C65-BA04-6986791C2943}" dt="2024-02-02T08:27:41.468" v="24573" actId="1035"/>
          <ac:picMkLst>
            <pc:docMk/>
            <pc:sldMk cId="3263934951" sldId="2147482369"/>
            <ac:picMk id="27" creationId="{BC25BBB3-4AB8-45C9-7E27-6B1E17633C2D}"/>
          </ac:picMkLst>
        </pc:picChg>
        <pc:picChg chg="add mod">
          <ac:chgData name="Laurence ANGILBERT" userId="28ea2967-f540-4e7d-a641-d418703ece22" providerId="ADAL" clId="{859296AE-058C-4C65-BA04-6986791C2943}" dt="2024-02-02T08:27:41.468" v="24573" actId="1035"/>
          <ac:picMkLst>
            <pc:docMk/>
            <pc:sldMk cId="3263934951" sldId="2147482369"/>
            <ac:picMk id="31" creationId="{F32D145D-D990-A551-06AD-48657605A425}"/>
          </ac:picMkLst>
        </pc:picChg>
        <pc:picChg chg="mod">
          <ac:chgData name="Laurence ANGILBERT" userId="28ea2967-f540-4e7d-a641-d418703ece22" providerId="ADAL" clId="{859296AE-058C-4C65-BA04-6986791C2943}" dt="2024-02-02T08:27:06.376" v="24545" actId="1036"/>
          <ac:picMkLst>
            <pc:docMk/>
            <pc:sldMk cId="3263934951" sldId="2147482369"/>
            <ac:picMk id="49" creationId="{65822E50-F78B-50A4-79B4-D95E34C304BB}"/>
          </ac:picMkLst>
        </pc:picChg>
        <pc:picChg chg="mod">
          <ac:chgData name="Laurence ANGILBERT" userId="28ea2967-f540-4e7d-a641-d418703ece22" providerId="ADAL" clId="{859296AE-058C-4C65-BA04-6986791C2943}" dt="2024-02-02T08:27:06.376" v="24545" actId="1036"/>
          <ac:picMkLst>
            <pc:docMk/>
            <pc:sldMk cId="3263934951" sldId="2147482369"/>
            <ac:picMk id="50" creationId="{96AEEA87-3DA4-911F-0E00-00AA661DD8AD}"/>
          </ac:picMkLst>
        </pc:picChg>
        <pc:picChg chg="mod">
          <ac:chgData name="Laurence ANGILBERT" userId="28ea2967-f540-4e7d-a641-d418703ece22" providerId="ADAL" clId="{859296AE-058C-4C65-BA04-6986791C2943}" dt="2024-02-02T08:27:06.376" v="24545" actId="1036"/>
          <ac:picMkLst>
            <pc:docMk/>
            <pc:sldMk cId="3263934951" sldId="2147482369"/>
            <ac:picMk id="51" creationId="{F478A456-8669-0CD2-84A9-702B56C5E104}"/>
          </ac:picMkLst>
        </pc:picChg>
        <pc:picChg chg="add mod">
          <ac:chgData name="Laurence ANGILBERT" userId="28ea2967-f540-4e7d-a641-d418703ece22" providerId="ADAL" clId="{859296AE-058C-4C65-BA04-6986791C2943}" dt="2024-02-01T17:52:11.664" v="23874" actId="1036"/>
          <ac:picMkLst>
            <pc:docMk/>
            <pc:sldMk cId="3263934951" sldId="2147482369"/>
            <ac:picMk id="1026" creationId="{6773D3C6-1156-CADE-A3A6-0DEC5DC66463}"/>
          </ac:picMkLst>
        </pc:picChg>
        <pc:picChg chg="add mod">
          <ac:chgData name="Laurence ANGILBERT" userId="28ea2967-f540-4e7d-a641-d418703ece22" providerId="ADAL" clId="{859296AE-058C-4C65-BA04-6986791C2943}" dt="2024-02-01T17:50:14.251" v="23840" actId="1076"/>
          <ac:picMkLst>
            <pc:docMk/>
            <pc:sldMk cId="3263934951" sldId="2147482369"/>
            <ac:picMk id="1028" creationId="{36E2A3E5-8701-5B3F-A001-4045FAFCE510}"/>
          </ac:picMkLst>
        </pc:picChg>
        <pc:picChg chg="add mod">
          <ac:chgData name="Laurence ANGILBERT" userId="28ea2967-f540-4e7d-a641-d418703ece22" providerId="ADAL" clId="{859296AE-058C-4C65-BA04-6986791C2943}" dt="2024-02-01T17:50:06.407" v="23839" actId="1076"/>
          <ac:picMkLst>
            <pc:docMk/>
            <pc:sldMk cId="3263934951" sldId="2147482369"/>
            <ac:picMk id="1030" creationId="{A6CECA1F-640C-4C9E-6E7B-DB4ACABF9979}"/>
          </ac:picMkLst>
        </pc:picChg>
        <pc:cxnChg chg="mod">
          <ac:chgData name="Laurence ANGILBERT" userId="28ea2967-f540-4e7d-a641-d418703ece22" providerId="ADAL" clId="{859296AE-058C-4C65-BA04-6986791C2943}" dt="2024-02-02T08:27:41.468" v="24573" actId="1035"/>
          <ac:cxnSpMkLst>
            <pc:docMk/>
            <pc:sldMk cId="3263934951" sldId="2147482369"/>
            <ac:cxnSpMk id="11" creationId="{6F8DEDF9-BA50-6DCA-460A-2C7082FB7949}"/>
          </ac:cxnSpMkLst>
        </pc:cxnChg>
        <pc:cxnChg chg="mod">
          <ac:chgData name="Laurence ANGILBERT" userId="28ea2967-f540-4e7d-a641-d418703ece22" providerId="ADAL" clId="{859296AE-058C-4C65-BA04-6986791C2943}" dt="2024-02-02T08:27:41.468" v="24573" actId="1035"/>
          <ac:cxnSpMkLst>
            <pc:docMk/>
            <pc:sldMk cId="3263934951" sldId="2147482369"/>
            <ac:cxnSpMk id="47" creationId="{2F252450-8C69-8916-A173-7181E3832C56}"/>
          </ac:cxnSpMkLst>
        </pc:cxnChg>
        <pc:cxnChg chg="mod">
          <ac:chgData name="Laurence ANGILBERT" userId="28ea2967-f540-4e7d-a641-d418703ece22" providerId="ADAL" clId="{859296AE-058C-4C65-BA04-6986791C2943}" dt="2024-02-02T08:27:41.468" v="24573" actId="1035"/>
          <ac:cxnSpMkLst>
            <pc:docMk/>
            <pc:sldMk cId="3263934951" sldId="2147482369"/>
            <ac:cxnSpMk id="48" creationId="{2EF13003-8513-B02D-07C1-43F62BDDB7CF}"/>
          </ac:cxnSpMkLst>
        </pc:cxnChg>
      </pc:sldChg>
      <pc:sldChg chg="delSp modSp del mod">
        <pc:chgData name="Laurence ANGILBERT" userId="28ea2967-f540-4e7d-a641-d418703ece22" providerId="ADAL" clId="{859296AE-058C-4C65-BA04-6986791C2943}" dt="2024-02-02T08:30:45.716" v="24638" actId="2696"/>
        <pc:sldMkLst>
          <pc:docMk/>
          <pc:sldMk cId="4008919750" sldId="2147482372"/>
        </pc:sldMkLst>
        <pc:spChg chg="del mod">
          <ac:chgData name="Laurence ANGILBERT" userId="28ea2967-f540-4e7d-a641-d418703ece22" providerId="ADAL" clId="{859296AE-058C-4C65-BA04-6986791C2943}" dt="2024-02-02T08:30:40.089" v="24636" actId="478"/>
          <ac:spMkLst>
            <pc:docMk/>
            <pc:sldMk cId="4008919750" sldId="2147482372"/>
            <ac:spMk id="2" creationId="{CCF984CA-623C-56CD-1F6E-F5784298A33B}"/>
          </ac:spMkLst>
        </pc:spChg>
        <pc:spChg chg="del mod">
          <ac:chgData name="Laurence ANGILBERT" userId="28ea2967-f540-4e7d-a641-d418703ece22" providerId="ADAL" clId="{859296AE-058C-4C65-BA04-6986791C2943}" dt="2024-02-02T08:30:42.017" v="24637" actId="478"/>
          <ac:spMkLst>
            <pc:docMk/>
            <pc:sldMk cId="4008919750" sldId="2147482372"/>
            <ac:spMk id="8" creationId="{3D7D97AC-9016-CD00-7979-46E44512FCC7}"/>
          </ac:spMkLst>
        </pc:spChg>
        <pc:spChg chg="mod">
          <ac:chgData name="Laurence ANGILBERT" userId="28ea2967-f540-4e7d-a641-d418703ece22" providerId="ADAL" clId="{859296AE-058C-4C65-BA04-6986791C2943}" dt="2024-02-01T17:08:45.900" v="23629" actId="207"/>
          <ac:spMkLst>
            <pc:docMk/>
            <pc:sldMk cId="4008919750" sldId="2147482372"/>
            <ac:spMk id="34" creationId="{C26CB84A-71A5-62BF-AB7D-17DE4EA1E775}"/>
          </ac:spMkLst>
        </pc:spChg>
      </pc:sldChg>
      <pc:sldChg chg="add">
        <pc:chgData name="Laurence ANGILBERT" userId="28ea2967-f540-4e7d-a641-d418703ece22" providerId="ADAL" clId="{859296AE-058C-4C65-BA04-6986791C2943}" dt="2024-02-02T08:30:49.622" v="24639"/>
        <pc:sldMkLst>
          <pc:docMk/>
          <pc:sldMk cId="4267293785" sldId="2147482372"/>
        </pc:sldMkLst>
      </pc:sldChg>
      <pc:sldChg chg="delSp modSp mod">
        <pc:chgData name="Laurence ANGILBERT" userId="28ea2967-f540-4e7d-a641-d418703ece22" providerId="ADAL" clId="{859296AE-058C-4C65-BA04-6986791C2943}" dt="2024-02-02T13:05:27.440" v="28300" actId="478"/>
        <pc:sldMkLst>
          <pc:docMk/>
          <pc:sldMk cId="536151402" sldId="2147482373"/>
        </pc:sldMkLst>
        <pc:spChg chg="mod">
          <ac:chgData name="Laurence ANGILBERT" userId="28ea2967-f540-4e7d-a641-d418703ece22" providerId="ADAL" clId="{859296AE-058C-4C65-BA04-6986791C2943}" dt="2024-02-02T09:13:00.821" v="25668"/>
          <ac:spMkLst>
            <pc:docMk/>
            <pc:sldMk cId="536151402" sldId="2147482373"/>
            <ac:spMk id="2" creationId="{CF14E425-7729-D95F-C00E-C406C82348E6}"/>
          </ac:spMkLst>
        </pc:spChg>
        <pc:spChg chg="del mod">
          <ac:chgData name="Laurence ANGILBERT" userId="28ea2967-f540-4e7d-a641-d418703ece22" providerId="ADAL" clId="{859296AE-058C-4C65-BA04-6986791C2943}" dt="2024-02-02T13:05:27.440" v="28300" actId="478"/>
          <ac:spMkLst>
            <pc:docMk/>
            <pc:sldMk cId="536151402" sldId="2147482373"/>
            <ac:spMk id="12" creationId="{3BC848F9-B044-4878-9360-64CD05B4F22B}"/>
          </ac:spMkLst>
        </pc:spChg>
        <pc:spChg chg="mod">
          <ac:chgData name="Laurence ANGILBERT" userId="28ea2967-f540-4e7d-a641-d418703ece22" providerId="ADAL" clId="{859296AE-058C-4C65-BA04-6986791C2943}" dt="2024-02-02T12:58:41.538" v="28227" actId="20577"/>
          <ac:spMkLst>
            <pc:docMk/>
            <pc:sldMk cId="536151402" sldId="2147482373"/>
            <ac:spMk id="14" creationId="{4121C995-0AB9-16DD-4069-591EEE3E89A0}"/>
          </ac:spMkLst>
        </pc:spChg>
      </pc:sldChg>
      <pc:sldChg chg="modSp del mod">
        <pc:chgData name="Laurence ANGILBERT" userId="28ea2967-f540-4e7d-a641-d418703ece22" providerId="ADAL" clId="{859296AE-058C-4C65-BA04-6986791C2943}" dt="2024-02-02T13:28:47.234" v="28424" actId="2696"/>
        <pc:sldMkLst>
          <pc:docMk/>
          <pc:sldMk cId="1319537041" sldId="2147482374"/>
        </pc:sldMkLst>
        <pc:spChg chg="mod">
          <ac:chgData name="Laurence ANGILBERT" userId="28ea2967-f540-4e7d-a641-d418703ece22" providerId="ADAL" clId="{859296AE-058C-4C65-BA04-6986791C2943}" dt="2024-02-02T09:13:53.976" v="25673" actId="14100"/>
          <ac:spMkLst>
            <pc:docMk/>
            <pc:sldMk cId="1319537041" sldId="2147482374"/>
            <ac:spMk id="2" creationId="{228E8A2D-4500-CA06-19F7-3CB88FAC35EE}"/>
          </ac:spMkLst>
        </pc:spChg>
        <pc:spChg chg="mod">
          <ac:chgData name="Laurence ANGILBERT" userId="28ea2967-f540-4e7d-a641-d418703ece22" providerId="ADAL" clId="{859296AE-058C-4C65-BA04-6986791C2943}" dt="2024-02-02T09:13:49.412" v="25672" actId="14100"/>
          <ac:spMkLst>
            <pc:docMk/>
            <pc:sldMk cId="1319537041" sldId="2147482374"/>
            <ac:spMk id="3" creationId="{BC58630E-80D4-CF96-2E14-6800FC84F4FF}"/>
          </ac:spMkLst>
        </pc:spChg>
      </pc:sldChg>
      <pc:sldChg chg="add">
        <pc:chgData name="Laurence ANGILBERT" userId="28ea2967-f540-4e7d-a641-d418703ece22" providerId="ADAL" clId="{859296AE-058C-4C65-BA04-6986791C2943}" dt="2024-02-02T13:29:25.555" v="28427"/>
        <pc:sldMkLst>
          <pc:docMk/>
          <pc:sldMk cId="2671166103" sldId="2147482374"/>
        </pc:sldMkLst>
      </pc:sldChg>
      <pc:sldChg chg="add del">
        <pc:chgData name="Laurence ANGILBERT" userId="28ea2967-f540-4e7d-a641-d418703ece22" providerId="ADAL" clId="{859296AE-058C-4C65-BA04-6986791C2943}" dt="2024-02-02T13:29:20.285" v="28426" actId="2696"/>
        <pc:sldMkLst>
          <pc:docMk/>
          <pc:sldMk cId="3793231603" sldId="2147482374"/>
        </pc:sldMkLst>
      </pc:sldChg>
      <pc:sldChg chg="addSp delSp modSp mod">
        <pc:chgData name="Laurence ANGILBERT" userId="28ea2967-f540-4e7d-a641-d418703ece22" providerId="ADAL" clId="{859296AE-058C-4C65-BA04-6986791C2943}" dt="2024-02-02T13:16:23.483" v="28308" actId="14100"/>
        <pc:sldMkLst>
          <pc:docMk/>
          <pc:sldMk cId="1179137849" sldId="2147482375"/>
        </pc:sldMkLst>
        <pc:spChg chg="mod">
          <ac:chgData name="Laurence ANGILBERT" userId="28ea2967-f540-4e7d-a641-d418703ece22" providerId="ADAL" clId="{859296AE-058C-4C65-BA04-6986791C2943}" dt="2024-02-02T13:16:10.156" v="28306" actId="20577"/>
          <ac:spMkLst>
            <pc:docMk/>
            <pc:sldMk cId="1179137849" sldId="2147482375"/>
            <ac:spMk id="3" creationId="{084B46FB-EF76-6DA6-BAC9-4388B3A948CB}"/>
          </ac:spMkLst>
        </pc:spChg>
        <pc:spChg chg="del mod">
          <ac:chgData name="Laurence ANGILBERT" userId="28ea2967-f540-4e7d-a641-d418703ece22" providerId="ADAL" clId="{859296AE-058C-4C65-BA04-6986791C2943}" dt="2024-02-02T13:08:03.022" v="28302" actId="478"/>
          <ac:spMkLst>
            <pc:docMk/>
            <pc:sldMk cId="1179137849" sldId="2147482375"/>
            <ac:spMk id="25" creationId="{9D1F8B42-AAFD-BCA3-5318-8855389F0806}"/>
          </ac:spMkLst>
        </pc:spChg>
        <pc:spChg chg="mod">
          <ac:chgData name="Laurence ANGILBERT" userId="28ea2967-f540-4e7d-a641-d418703ece22" providerId="ADAL" clId="{859296AE-058C-4C65-BA04-6986791C2943}" dt="2024-02-02T13:00:18.872" v="28236" actId="20577"/>
          <ac:spMkLst>
            <pc:docMk/>
            <pc:sldMk cId="1179137849" sldId="2147482375"/>
            <ac:spMk id="57" creationId="{DC39C9CA-AAAC-033E-C86E-01B5FE2B1AFA}"/>
          </ac:spMkLst>
        </pc:spChg>
        <pc:spChg chg="mod">
          <ac:chgData name="Laurence ANGILBERT" userId="28ea2967-f540-4e7d-a641-d418703ece22" providerId="ADAL" clId="{859296AE-058C-4C65-BA04-6986791C2943}" dt="2024-02-02T13:02:24.882" v="28295" actId="14100"/>
          <ac:spMkLst>
            <pc:docMk/>
            <pc:sldMk cId="1179137849" sldId="2147482375"/>
            <ac:spMk id="59" creationId="{D5C3EC31-015B-82A6-D34D-974DB7C3E510}"/>
          </ac:spMkLst>
        </pc:spChg>
        <pc:spChg chg="add del mod">
          <ac:chgData name="Laurence ANGILBERT" userId="28ea2967-f540-4e7d-a641-d418703ece22" providerId="ADAL" clId="{859296AE-058C-4C65-BA04-6986791C2943}" dt="2024-02-02T13:10:09.606" v="28303" actId="478"/>
          <ac:spMkLst>
            <pc:docMk/>
            <pc:sldMk cId="1179137849" sldId="2147482375"/>
            <ac:spMk id="66" creationId="{E1F3B0A1-D771-2816-8F1E-F90268EA9939}"/>
          </ac:spMkLst>
        </pc:spChg>
        <pc:spChg chg="add del mod">
          <ac:chgData name="Laurence ANGILBERT" userId="28ea2967-f540-4e7d-a641-d418703ece22" providerId="ADAL" clId="{859296AE-058C-4C65-BA04-6986791C2943}" dt="2024-02-02T13:07:24.732" v="28301" actId="478"/>
          <ac:spMkLst>
            <pc:docMk/>
            <pc:sldMk cId="1179137849" sldId="2147482375"/>
            <ac:spMk id="67" creationId="{1956FF76-5B60-E1C7-6AF0-CD3AC5E5A6B6}"/>
          </ac:spMkLst>
        </pc:spChg>
        <pc:picChg chg="mod">
          <ac:chgData name="Laurence ANGILBERT" userId="28ea2967-f540-4e7d-a641-d418703ece22" providerId="ADAL" clId="{859296AE-058C-4C65-BA04-6986791C2943}" dt="2024-02-02T13:16:23.483" v="28308" actId="14100"/>
          <ac:picMkLst>
            <pc:docMk/>
            <pc:sldMk cId="1179137849" sldId="2147482375"/>
            <ac:picMk id="1026" creationId="{F231700B-8C94-C0EE-8695-7125E772820F}"/>
          </ac:picMkLst>
        </pc:picChg>
      </pc:sldChg>
      <pc:sldChg chg="modSp mod">
        <pc:chgData name="Laurence ANGILBERT" userId="28ea2967-f540-4e7d-a641-d418703ece22" providerId="ADAL" clId="{859296AE-058C-4C65-BA04-6986791C2943}" dt="2024-02-02T17:38:32.844" v="30104" actId="207"/>
        <pc:sldMkLst>
          <pc:docMk/>
          <pc:sldMk cId="3722675707" sldId="2147482376"/>
        </pc:sldMkLst>
        <pc:spChg chg="mod">
          <ac:chgData name="Laurence ANGILBERT" userId="28ea2967-f540-4e7d-a641-d418703ece22" providerId="ADAL" clId="{859296AE-058C-4C65-BA04-6986791C2943}" dt="2024-02-02T17:36:22.190" v="30103" actId="20577"/>
          <ac:spMkLst>
            <pc:docMk/>
            <pc:sldMk cId="3722675707" sldId="2147482376"/>
            <ac:spMk id="3" creationId="{D48881F7-4135-770F-122A-86ED4FFC84F9}"/>
          </ac:spMkLst>
        </pc:spChg>
        <pc:spChg chg="mod">
          <ac:chgData name="Laurence ANGILBERT" userId="28ea2967-f540-4e7d-a641-d418703ece22" providerId="ADAL" clId="{859296AE-058C-4C65-BA04-6986791C2943}" dt="2024-02-02T17:38:32.844" v="30104" actId="207"/>
          <ac:spMkLst>
            <pc:docMk/>
            <pc:sldMk cId="3722675707" sldId="2147482376"/>
            <ac:spMk id="17" creationId="{B8E73882-546F-71F9-1123-320874D89843}"/>
          </ac:spMkLst>
        </pc:spChg>
        <pc:spChg chg="mod">
          <ac:chgData name="Laurence ANGILBERT" userId="28ea2967-f540-4e7d-a641-d418703ece22" providerId="ADAL" clId="{859296AE-058C-4C65-BA04-6986791C2943}" dt="2024-02-02T13:04:03.978" v="28299" actId="20577"/>
          <ac:spMkLst>
            <pc:docMk/>
            <pc:sldMk cId="3722675707" sldId="2147482376"/>
            <ac:spMk id="28" creationId="{B8318679-2477-662B-2055-9540C845E3BB}"/>
          </ac:spMkLst>
        </pc:spChg>
      </pc:sldChg>
      <pc:sldChg chg="addSp delSp modSp mod">
        <pc:chgData name="Laurence ANGILBERT" userId="28ea2967-f540-4e7d-a641-d418703ece22" providerId="ADAL" clId="{859296AE-058C-4C65-BA04-6986791C2943}" dt="2024-02-02T17:41:38.740" v="30121" actId="1036"/>
        <pc:sldMkLst>
          <pc:docMk/>
          <pc:sldMk cId="4060980073" sldId="2147482377"/>
        </pc:sldMkLst>
        <pc:spChg chg="mod">
          <ac:chgData name="Laurence ANGILBERT" userId="28ea2967-f540-4e7d-a641-d418703ece22" providerId="ADAL" clId="{859296AE-058C-4C65-BA04-6986791C2943}" dt="2024-02-02T08:58:00.583" v="25377" actId="207"/>
          <ac:spMkLst>
            <pc:docMk/>
            <pc:sldMk cId="4060980073" sldId="2147482377"/>
            <ac:spMk id="2" creationId="{C3C9B16C-EF3E-7B84-C65A-636CF27F5E3A}"/>
          </ac:spMkLst>
        </pc:spChg>
        <pc:spChg chg="add mod">
          <ac:chgData name="Laurence ANGILBERT" userId="28ea2967-f540-4e7d-a641-d418703ece22" providerId="ADAL" clId="{859296AE-058C-4C65-BA04-6986791C2943}" dt="2024-02-02T13:17:18.308" v="28327" actId="207"/>
          <ac:spMkLst>
            <pc:docMk/>
            <pc:sldMk cId="4060980073" sldId="2147482377"/>
            <ac:spMk id="5" creationId="{4F62D9B9-7C12-AEDB-6FF6-83950E364800}"/>
          </ac:spMkLst>
        </pc:spChg>
        <pc:spChg chg="add del mod">
          <ac:chgData name="Laurence ANGILBERT" userId="28ea2967-f540-4e7d-a641-d418703ece22" providerId="ADAL" clId="{859296AE-058C-4C65-BA04-6986791C2943}" dt="2024-02-02T13:24:44.647" v="28398" actId="478"/>
          <ac:spMkLst>
            <pc:docMk/>
            <pc:sldMk cId="4060980073" sldId="2147482377"/>
            <ac:spMk id="9" creationId="{BC7D9D7A-00AB-9F97-2DC1-C6B262806B78}"/>
          </ac:spMkLst>
        </pc:spChg>
        <pc:spChg chg="add del mod">
          <ac:chgData name="Laurence ANGILBERT" userId="28ea2967-f540-4e7d-a641-d418703ece22" providerId="ADAL" clId="{859296AE-058C-4C65-BA04-6986791C2943}" dt="2024-02-02T17:41:28.890" v="30110" actId="478"/>
          <ac:spMkLst>
            <pc:docMk/>
            <pc:sldMk cId="4060980073" sldId="2147482377"/>
            <ac:spMk id="10" creationId="{D74881FD-7E87-985D-77CC-62E342833F2D}"/>
          </ac:spMkLst>
        </pc:spChg>
        <pc:spChg chg="add del mod">
          <ac:chgData name="Laurence ANGILBERT" userId="28ea2967-f540-4e7d-a641-d418703ece22" providerId="ADAL" clId="{859296AE-058C-4C65-BA04-6986791C2943}" dt="2024-02-02T17:41:30.771" v="30111" actId="478"/>
          <ac:spMkLst>
            <pc:docMk/>
            <pc:sldMk cId="4060980073" sldId="2147482377"/>
            <ac:spMk id="11" creationId="{75948F3E-B6E5-52CA-7D8B-3F5C1EF13FD9}"/>
          </ac:spMkLst>
        </pc:spChg>
        <pc:picChg chg="add mod">
          <ac:chgData name="Laurence ANGILBERT" userId="28ea2967-f540-4e7d-a641-d418703ece22" providerId="ADAL" clId="{859296AE-058C-4C65-BA04-6986791C2943}" dt="2024-02-02T13:23:32.042" v="28355" actId="1076"/>
          <ac:picMkLst>
            <pc:docMk/>
            <pc:sldMk cId="4060980073" sldId="2147482377"/>
            <ac:picMk id="7" creationId="{2BA0C382-16CE-1ECA-DD92-BA5A7C0F99F9}"/>
          </ac:picMkLst>
        </pc:picChg>
        <pc:picChg chg="add mod">
          <ac:chgData name="Laurence ANGILBERT" userId="28ea2967-f540-4e7d-a641-d418703ece22" providerId="ADAL" clId="{859296AE-058C-4C65-BA04-6986791C2943}" dt="2024-02-02T17:41:38.740" v="30121" actId="1036"/>
          <ac:picMkLst>
            <pc:docMk/>
            <pc:sldMk cId="4060980073" sldId="2147482377"/>
            <ac:picMk id="12" creationId="{0842D75C-E96D-B0ED-8B91-511D6E22C8BC}"/>
          </ac:picMkLst>
        </pc:picChg>
        <pc:picChg chg="del">
          <ac:chgData name="Laurence ANGILBERT" userId="28ea2967-f540-4e7d-a641-d418703ece22" providerId="ADAL" clId="{859296AE-058C-4C65-BA04-6986791C2943}" dt="2024-02-02T17:41:07.403" v="30105" actId="478"/>
          <ac:picMkLst>
            <pc:docMk/>
            <pc:sldMk cId="4060980073" sldId="2147482377"/>
            <ac:picMk id="15" creationId="{DA684E6D-A704-0E22-DAC5-2D7F92F84FC4}"/>
          </ac:picMkLst>
        </pc:picChg>
        <pc:picChg chg="del">
          <ac:chgData name="Laurence ANGILBERT" userId="28ea2967-f540-4e7d-a641-d418703ece22" providerId="ADAL" clId="{859296AE-058C-4C65-BA04-6986791C2943}" dt="2024-02-02T13:23:28.738" v="28354" actId="478"/>
          <ac:picMkLst>
            <pc:docMk/>
            <pc:sldMk cId="4060980073" sldId="2147482377"/>
            <ac:picMk id="209" creationId="{B4C25B23-F62D-D0B2-B4C3-032A8F80DB53}"/>
          </ac:picMkLst>
        </pc:picChg>
      </pc:sldChg>
      <pc:sldChg chg="add">
        <pc:chgData name="Laurence ANGILBERT" userId="28ea2967-f540-4e7d-a641-d418703ece22" providerId="ADAL" clId="{859296AE-058C-4C65-BA04-6986791C2943}" dt="2024-02-02T13:30:02.428" v="28431"/>
        <pc:sldMkLst>
          <pc:docMk/>
          <pc:sldMk cId="1084704492" sldId="2147482378"/>
        </pc:sldMkLst>
      </pc:sldChg>
      <pc:sldChg chg="modSp del mod">
        <pc:chgData name="Laurence ANGILBERT" userId="28ea2967-f540-4e7d-a641-d418703ece22" providerId="ADAL" clId="{859296AE-058C-4C65-BA04-6986791C2943}" dt="2024-02-02T13:29:51.402" v="28430" actId="2696"/>
        <pc:sldMkLst>
          <pc:docMk/>
          <pc:sldMk cId="3278766215" sldId="2147482378"/>
        </pc:sldMkLst>
        <pc:spChg chg="mod">
          <ac:chgData name="Laurence ANGILBERT" userId="28ea2967-f540-4e7d-a641-d418703ece22" providerId="ADAL" clId="{859296AE-058C-4C65-BA04-6986791C2943}" dt="2024-02-02T08:58:11.848" v="25379" actId="207"/>
          <ac:spMkLst>
            <pc:docMk/>
            <pc:sldMk cId="3278766215" sldId="2147482378"/>
            <ac:spMk id="2" creationId="{359A1670-6619-65DC-B141-9E1C581B2F52}"/>
          </ac:spMkLst>
        </pc:spChg>
      </pc:sldChg>
      <pc:sldChg chg="ord">
        <pc:chgData name="Laurence ANGILBERT" userId="28ea2967-f540-4e7d-a641-d418703ece22" providerId="ADAL" clId="{859296AE-058C-4C65-BA04-6986791C2943}" dt="2024-02-02T09:11:35.239" v="25645"/>
        <pc:sldMkLst>
          <pc:docMk/>
          <pc:sldMk cId="3741438624" sldId="2147482379"/>
        </pc:sldMkLst>
      </pc:sldChg>
      <pc:sldChg chg="addSp delSp modSp add del mod">
        <pc:chgData name="Laurence ANGILBERT" userId="28ea2967-f540-4e7d-a641-d418703ece22" providerId="ADAL" clId="{859296AE-058C-4C65-BA04-6986791C2943}" dt="2024-02-02T09:11:03.368" v="25639" actId="2696"/>
        <pc:sldMkLst>
          <pc:docMk/>
          <pc:sldMk cId="2414031844" sldId="2147482380"/>
        </pc:sldMkLst>
        <pc:spChg chg="del">
          <ac:chgData name="Laurence ANGILBERT" userId="28ea2967-f540-4e7d-a641-d418703ece22" providerId="ADAL" clId="{859296AE-058C-4C65-BA04-6986791C2943}" dt="2024-02-02T08:34:57.801" v="24729" actId="478"/>
          <ac:spMkLst>
            <pc:docMk/>
            <pc:sldMk cId="2414031844" sldId="2147482380"/>
            <ac:spMk id="2" creationId="{04ED0C95-C1F7-81E9-C4F2-34ADA595D804}"/>
          </ac:spMkLst>
        </pc:spChg>
        <pc:spChg chg="add mod">
          <ac:chgData name="Laurence ANGILBERT" userId="28ea2967-f540-4e7d-a641-d418703ece22" providerId="ADAL" clId="{859296AE-058C-4C65-BA04-6986791C2943}" dt="2024-02-02T08:41:13.854" v="25060" actId="14100"/>
          <ac:spMkLst>
            <pc:docMk/>
            <pc:sldMk cId="2414031844" sldId="2147482380"/>
            <ac:spMk id="4" creationId="{3842500A-1767-5006-8227-46F3CFF515DE}"/>
          </ac:spMkLst>
        </pc:spChg>
        <pc:spChg chg="add mod">
          <ac:chgData name="Laurence ANGILBERT" userId="28ea2967-f540-4e7d-a641-d418703ece22" providerId="ADAL" clId="{859296AE-058C-4C65-BA04-6986791C2943}" dt="2024-02-02T08:39:47.828" v="24974" actId="14100"/>
          <ac:spMkLst>
            <pc:docMk/>
            <pc:sldMk cId="2414031844" sldId="2147482380"/>
            <ac:spMk id="5" creationId="{E381E012-AAC8-2A2B-3901-4A9C4A6C8877}"/>
          </ac:spMkLst>
        </pc:spChg>
        <pc:spChg chg="add mod">
          <ac:chgData name="Laurence ANGILBERT" userId="28ea2967-f540-4e7d-a641-d418703ece22" providerId="ADAL" clId="{859296AE-058C-4C65-BA04-6986791C2943}" dt="2024-02-02T08:36:51.026" v="24930" actId="1038"/>
          <ac:spMkLst>
            <pc:docMk/>
            <pc:sldMk cId="2414031844" sldId="2147482380"/>
            <ac:spMk id="6" creationId="{EC858B65-F196-8336-200C-0BDB5907740E}"/>
          </ac:spMkLst>
        </pc:spChg>
        <pc:spChg chg="add mod">
          <ac:chgData name="Laurence ANGILBERT" userId="28ea2967-f540-4e7d-a641-d418703ece22" providerId="ADAL" clId="{859296AE-058C-4C65-BA04-6986791C2943}" dt="2024-02-02T08:36:28.643" v="24872" actId="14100"/>
          <ac:spMkLst>
            <pc:docMk/>
            <pc:sldMk cId="2414031844" sldId="2147482380"/>
            <ac:spMk id="7" creationId="{03920A0C-2F1E-1DB1-6575-7CA0B10EC09F}"/>
          </ac:spMkLst>
        </pc:spChg>
        <pc:spChg chg="add mod">
          <ac:chgData name="Laurence ANGILBERT" userId="28ea2967-f540-4e7d-a641-d418703ece22" providerId="ADAL" clId="{859296AE-058C-4C65-BA04-6986791C2943}" dt="2024-02-02T08:36:28.643" v="24872" actId="14100"/>
          <ac:spMkLst>
            <pc:docMk/>
            <pc:sldMk cId="2414031844" sldId="2147482380"/>
            <ac:spMk id="8" creationId="{082AF04F-C677-FAE6-6E7D-D1585F90F4AA}"/>
          </ac:spMkLst>
        </pc:spChg>
        <pc:spChg chg="add mod">
          <ac:chgData name="Laurence ANGILBERT" userId="28ea2967-f540-4e7d-a641-d418703ece22" providerId="ADAL" clId="{859296AE-058C-4C65-BA04-6986791C2943}" dt="2024-02-02T08:36:28.643" v="24872" actId="14100"/>
          <ac:spMkLst>
            <pc:docMk/>
            <pc:sldMk cId="2414031844" sldId="2147482380"/>
            <ac:spMk id="9" creationId="{A265AF4F-08DB-FC76-18E6-3692271E279D}"/>
          </ac:spMkLst>
        </pc:spChg>
        <pc:spChg chg="add del mod">
          <ac:chgData name="Laurence ANGILBERT" userId="28ea2967-f540-4e7d-a641-d418703ece22" providerId="ADAL" clId="{859296AE-058C-4C65-BA04-6986791C2943}" dt="2024-02-02T08:35:03.312" v="24730" actId="478"/>
          <ac:spMkLst>
            <pc:docMk/>
            <pc:sldMk cId="2414031844" sldId="2147482380"/>
            <ac:spMk id="10" creationId="{1C102E73-B510-9248-C5BA-A6AE5722A0B0}"/>
          </ac:spMkLst>
        </pc:spChg>
        <pc:spChg chg="add del mod">
          <ac:chgData name="Laurence ANGILBERT" userId="28ea2967-f540-4e7d-a641-d418703ece22" providerId="ADAL" clId="{859296AE-058C-4C65-BA04-6986791C2943}" dt="2024-02-02T08:35:03.312" v="24730" actId="478"/>
          <ac:spMkLst>
            <pc:docMk/>
            <pc:sldMk cId="2414031844" sldId="2147482380"/>
            <ac:spMk id="11" creationId="{17DA567A-D6D2-D4B5-71E8-F3D2CED8C875}"/>
          </ac:spMkLst>
        </pc:spChg>
        <pc:spChg chg="add del mod">
          <ac:chgData name="Laurence ANGILBERT" userId="28ea2967-f540-4e7d-a641-d418703ece22" providerId="ADAL" clId="{859296AE-058C-4C65-BA04-6986791C2943}" dt="2024-02-02T08:35:03.312" v="24730" actId="478"/>
          <ac:spMkLst>
            <pc:docMk/>
            <pc:sldMk cId="2414031844" sldId="2147482380"/>
            <ac:spMk id="12" creationId="{62FA346C-73E3-FB02-4B5B-628E363EE3B1}"/>
          </ac:spMkLst>
        </pc:spChg>
        <pc:spChg chg="add del mod">
          <ac:chgData name="Laurence ANGILBERT" userId="28ea2967-f540-4e7d-a641-d418703ece22" providerId="ADAL" clId="{859296AE-058C-4C65-BA04-6986791C2943}" dt="2024-02-02T08:35:03.312" v="24730" actId="478"/>
          <ac:spMkLst>
            <pc:docMk/>
            <pc:sldMk cId="2414031844" sldId="2147482380"/>
            <ac:spMk id="13" creationId="{35BB4DAC-526A-851A-2C24-643761D44362}"/>
          </ac:spMkLst>
        </pc:spChg>
        <pc:spChg chg="add mod">
          <ac:chgData name="Laurence ANGILBERT" userId="28ea2967-f540-4e7d-a641-d418703ece22" providerId="ADAL" clId="{859296AE-058C-4C65-BA04-6986791C2943}" dt="2024-02-02T08:36:28.643" v="24872" actId="14100"/>
          <ac:spMkLst>
            <pc:docMk/>
            <pc:sldMk cId="2414031844" sldId="2147482380"/>
            <ac:spMk id="14" creationId="{AFA20F57-3B4D-4E66-0700-BCB7146A5413}"/>
          </ac:spMkLst>
        </pc:spChg>
        <pc:spChg chg="add del mod">
          <ac:chgData name="Laurence ANGILBERT" userId="28ea2967-f540-4e7d-a641-d418703ece22" providerId="ADAL" clId="{859296AE-058C-4C65-BA04-6986791C2943}" dt="2024-02-02T08:35:03.312" v="24730" actId="478"/>
          <ac:spMkLst>
            <pc:docMk/>
            <pc:sldMk cId="2414031844" sldId="2147482380"/>
            <ac:spMk id="15" creationId="{9914C85B-F0D6-C021-1EF6-351F96130DAA}"/>
          </ac:spMkLst>
        </pc:spChg>
        <pc:spChg chg="add mod">
          <ac:chgData name="Laurence ANGILBERT" userId="28ea2967-f540-4e7d-a641-d418703ece22" providerId="ADAL" clId="{859296AE-058C-4C65-BA04-6986791C2943}" dt="2024-02-02T08:41:22.904" v="25061" actId="14100"/>
          <ac:spMkLst>
            <pc:docMk/>
            <pc:sldMk cId="2414031844" sldId="2147482380"/>
            <ac:spMk id="19" creationId="{58B21545-167E-8DC0-5ED1-E7D02A960C17}"/>
          </ac:spMkLst>
        </pc:spChg>
        <pc:spChg chg="add mod">
          <ac:chgData name="Laurence ANGILBERT" userId="28ea2967-f540-4e7d-a641-d418703ece22" providerId="ADAL" clId="{859296AE-058C-4C65-BA04-6986791C2943}" dt="2024-02-02T08:40:59.273" v="25034" actId="1037"/>
          <ac:spMkLst>
            <pc:docMk/>
            <pc:sldMk cId="2414031844" sldId="2147482380"/>
            <ac:spMk id="22" creationId="{B08BDC77-4A14-68BB-2BE9-122438D8FE7E}"/>
          </ac:spMkLst>
        </pc:spChg>
        <pc:spChg chg="del">
          <ac:chgData name="Laurence ANGILBERT" userId="28ea2967-f540-4e7d-a641-d418703ece22" providerId="ADAL" clId="{859296AE-058C-4C65-BA04-6986791C2943}" dt="2024-02-02T08:33:35.268" v="24725" actId="478"/>
          <ac:spMkLst>
            <pc:docMk/>
            <pc:sldMk cId="2414031844" sldId="2147482380"/>
            <ac:spMk id="25" creationId="{ECBF84C9-08DA-838E-6BC9-06AE70218783}"/>
          </ac:spMkLst>
        </pc:spChg>
        <pc:spChg chg="add mod">
          <ac:chgData name="Laurence ANGILBERT" userId="28ea2967-f540-4e7d-a641-d418703ece22" providerId="ADAL" clId="{859296AE-058C-4C65-BA04-6986791C2943}" dt="2024-02-02T08:40:06.448" v="24991" actId="1038"/>
          <ac:spMkLst>
            <pc:docMk/>
            <pc:sldMk cId="2414031844" sldId="2147482380"/>
            <ac:spMk id="26" creationId="{0A1BC62F-9171-F8B9-A3C8-F2406164EC08}"/>
          </ac:spMkLst>
        </pc:spChg>
        <pc:spChg chg="del">
          <ac:chgData name="Laurence ANGILBERT" userId="28ea2967-f540-4e7d-a641-d418703ece22" providerId="ADAL" clId="{859296AE-058C-4C65-BA04-6986791C2943}" dt="2024-02-02T08:33:35.268" v="24725" actId="478"/>
          <ac:spMkLst>
            <pc:docMk/>
            <pc:sldMk cId="2414031844" sldId="2147482380"/>
            <ac:spMk id="29" creationId="{F591CAC4-E8A3-53EA-C798-F8B59F26BDAA}"/>
          </ac:spMkLst>
        </pc:spChg>
        <pc:spChg chg="del">
          <ac:chgData name="Laurence ANGILBERT" userId="28ea2967-f540-4e7d-a641-d418703ece22" providerId="ADAL" clId="{859296AE-058C-4C65-BA04-6986791C2943}" dt="2024-02-02T08:33:35.268" v="24725" actId="478"/>
          <ac:spMkLst>
            <pc:docMk/>
            <pc:sldMk cId="2414031844" sldId="2147482380"/>
            <ac:spMk id="30" creationId="{FDC49919-F538-6A64-C927-62A1AE9E80CF}"/>
          </ac:spMkLst>
        </pc:spChg>
        <pc:spChg chg="add mod">
          <ac:chgData name="Laurence ANGILBERT" userId="28ea2967-f540-4e7d-a641-d418703ece22" providerId="ADAL" clId="{859296AE-058C-4C65-BA04-6986791C2943}" dt="2024-02-02T08:40:59.273" v="25034" actId="1037"/>
          <ac:spMkLst>
            <pc:docMk/>
            <pc:sldMk cId="2414031844" sldId="2147482380"/>
            <ac:spMk id="31" creationId="{835252AC-49F2-10DB-B160-A3033893BB21}"/>
          </ac:spMkLst>
        </pc:spChg>
        <pc:spChg chg="del">
          <ac:chgData name="Laurence ANGILBERT" userId="28ea2967-f540-4e7d-a641-d418703ece22" providerId="ADAL" clId="{859296AE-058C-4C65-BA04-6986791C2943}" dt="2024-02-02T08:33:35.268" v="24725" actId="478"/>
          <ac:spMkLst>
            <pc:docMk/>
            <pc:sldMk cId="2414031844" sldId="2147482380"/>
            <ac:spMk id="32" creationId="{80BE537E-326E-8FFB-E892-0B4E69E75101}"/>
          </ac:spMkLst>
        </pc:spChg>
        <pc:spChg chg="del">
          <ac:chgData name="Laurence ANGILBERT" userId="28ea2967-f540-4e7d-a641-d418703ece22" providerId="ADAL" clId="{859296AE-058C-4C65-BA04-6986791C2943}" dt="2024-02-02T08:33:35.268" v="24725" actId="478"/>
          <ac:spMkLst>
            <pc:docMk/>
            <pc:sldMk cId="2414031844" sldId="2147482380"/>
            <ac:spMk id="33" creationId="{6CCA23A1-4F61-1390-F118-646347C2419B}"/>
          </ac:spMkLst>
        </pc:spChg>
        <pc:spChg chg="del">
          <ac:chgData name="Laurence ANGILBERT" userId="28ea2967-f540-4e7d-a641-d418703ece22" providerId="ADAL" clId="{859296AE-058C-4C65-BA04-6986791C2943}" dt="2024-02-02T08:33:35.268" v="24725" actId="478"/>
          <ac:spMkLst>
            <pc:docMk/>
            <pc:sldMk cId="2414031844" sldId="2147482380"/>
            <ac:spMk id="36" creationId="{6D6BA3A3-3918-7869-5D1A-251880B3A67E}"/>
          </ac:spMkLst>
        </pc:spChg>
        <pc:spChg chg="del">
          <ac:chgData name="Laurence ANGILBERT" userId="28ea2967-f540-4e7d-a641-d418703ece22" providerId="ADAL" clId="{859296AE-058C-4C65-BA04-6986791C2943}" dt="2024-02-02T08:33:35.268" v="24725" actId="478"/>
          <ac:spMkLst>
            <pc:docMk/>
            <pc:sldMk cId="2414031844" sldId="2147482380"/>
            <ac:spMk id="37" creationId="{4B50B2EC-7D5F-2C19-76AF-180CDD98DA1A}"/>
          </ac:spMkLst>
        </pc:spChg>
        <pc:spChg chg="del">
          <ac:chgData name="Laurence ANGILBERT" userId="28ea2967-f540-4e7d-a641-d418703ece22" providerId="ADAL" clId="{859296AE-058C-4C65-BA04-6986791C2943}" dt="2024-02-02T08:33:35.268" v="24725" actId="478"/>
          <ac:spMkLst>
            <pc:docMk/>
            <pc:sldMk cId="2414031844" sldId="2147482380"/>
            <ac:spMk id="38" creationId="{C7EA4D56-B109-88FE-2F16-5F05A19822D0}"/>
          </ac:spMkLst>
        </pc:spChg>
        <pc:spChg chg="del">
          <ac:chgData name="Laurence ANGILBERT" userId="28ea2967-f540-4e7d-a641-d418703ece22" providerId="ADAL" clId="{859296AE-058C-4C65-BA04-6986791C2943}" dt="2024-02-02T08:33:35.268" v="24725" actId="478"/>
          <ac:spMkLst>
            <pc:docMk/>
            <pc:sldMk cId="2414031844" sldId="2147482380"/>
            <ac:spMk id="39" creationId="{6BA333BB-017B-09A2-EAE3-943A3F5D855B}"/>
          </ac:spMkLst>
        </pc:spChg>
        <pc:spChg chg="del">
          <ac:chgData name="Laurence ANGILBERT" userId="28ea2967-f540-4e7d-a641-d418703ece22" providerId="ADAL" clId="{859296AE-058C-4C65-BA04-6986791C2943}" dt="2024-02-02T08:33:35.268" v="24725" actId="478"/>
          <ac:spMkLst>
            <pc:docMk/>
            <pc:sldMk cId="2414031844" sldId="2147482380"/>
            <ac:spMk id="40" creationId="{2F73F4D0-B793-483B-02A3-2541ED0698F9}"/>
          </ac:spMkLst>
        </pc:spChg>
        <pc:spChg chg="del">
          <ac:chgData name="Laurence ANGILBERT" userId="28ea2967-f540-4e7d-a641-d418703ece22" providerId="ADAL" clId="{859296AE-058C-4C65-BA04-6986791C2943}" dt="2024-02-02T08:33:35.268" v="24725" actId="478"/>
          <ac:spMkLst>
            <pc:docMk/>
            <pc:sldMk cId="2414031844" sldId="2147482380"/>
            <ac:spMk id="44" creationId="{EE002922-DB8D-D72C-F5CF-1294EC4E4862}"/>
          </ac:spMkLst>
        </pc:spChg>
        <pc:spChg chg="del">
          <ac:chgData name="Laurence ANGILBERT" userId="28ea2967-f540-4e7d-a641-d418703ece22" providerId="ADAL" clId="{859296AE-058C-4C65-BA04-6986791C2943}" dt="2024-02-02T08:33:35.268" v="24725" actId="478"/>
          <ac:spMkLst>
            <pc:docMk/>
            <pc:sldMk cId="2414031844" sldId="2147482380"/>
            <ac:spMk id="46" creationId="{08940EA2-AE72-2BA5-1C74-56BEB513C2BB}"/>
          </ac:spMkLst>
        </pc:spChg>
        <pc:spChg chg="del">
          <ac:chgData name="Laurence ANGILBERT" userId="28ea2967-f540-4e7d-a641-d418703ece22" providerId="ADAL" clId="{859296AE-058C-4C65-BA04-6986791C2943}" dt="2024-02-02T08:33:35.268" v="24725" actId="478"/>
          <ac:spMkLst>
            <pc:docMk/>
            <pc:sldMk cId="2414031844" sldId="2147482380"/>
            <ac:spMk id="47" creationId="{DB6E03D1-A5E7-BB5D-AB67-996AE78AE073}"/>
          </ac:spMkLst>
        </pc:spChg>
        <pc:spChg chg="del">
          <ac:chgData name="Laurence ANGILBERT" userId="28ea2967-f540-4e7d-a641-d418703ece22" providerId="ADAL" clId="{859296AE-058C-4C65-BA04-6986791C2943}" dt="2024-02-02T08:33:35.268" v="24725" actId="478"/>
          <ac:spMkLst>
            <pc:docMk/>
            <pc:sldMk cId="2414031844" sldId="2147482380"/>
            <ac:spMk id="48" creationId="{6318C405-196B-6E3A-D930-B45572CB2308}"/>
          </ac:spMkLst>
        </pc:spChg>
        <pc:spChg chg="del">
          <ac:chgData name="Laurence ANGILBERT" userId="28ea2967-f540-4e7d-a641-d418703ece22" providerId="ADAL" clId="{859296AE-058C-4C65-BA04-6986791C2943}" dt="2024-02-02T08:33:35.268" v="24725" actId="478"/>
          <ac:spMkLst>
            <pc:docMk/>
            <pc:sldMk cId="2414031844" sldId="2147482380"/>
            <ac:spMk id="49" creationId="{6E332BB1-91C8-2FDD-444E-642D4EC4F3AD}"/>
          </ac:spMkLst>
        </pc:spChg>
        <pc:spChg chg="del">
          <ac:chgData name="Laurence ANGILBERT" userId="28ea2967-f540-4e7d-a641-d418703ece22" providerId="ADAL" clId="{859296AE-058C-4C65-BA04-6986791C2943}" dt="2024-02-02T08:33:35.268" v="24725" actId="478"/>
          <ac:spMkLst>
            <pc:docMk/>
            <pc:sldMk cId="2414031844" sldId="2147482380"/>
            <ac:spMk id="50" creationId="{1A0FC544-D26E-1A68-B582-2A9F6388F41E}"/>
          </ac:spMkLst>
        </pc:spChg>
        <pc:spChg chg="add mod">
          <ac:chgData name="Laurence ANGILBERT" userId="28ea2967-f540-4e7d-a641-d418703ece22" providerId="ADAL" clId="{859296AE-058C-4C65-BA04-6986791C2943}" dt="2024-02-02T08:40:59.273" v="25034" actId="1037"/>
          <ac:spMkLst>
            <pc:docMk/>
            <pc:sldMk cId="2414031844" sldId="2147482380"/>
            <ac:spMk id="51" creationId="{E720E9D6-8DCC-7E24-6BA6-D2C93B7C3CBE}"/>
          </ac:spMkLst>
        </pc:spChg>
        <pc:spChg chg="del">
          <ac:chgData name="Laurence ANGILBERT" userId="28ea2967-f540-4e7d-a641-d418703ece22" providerId="ADAL" clId="{859296AE-058C-4C65-BA04-6986791C2943}" dt="2024-02-02T08:33:35.268" v="24725" actId="478"/>
          <ac:spMkLst>
            <pc:docMk/>
            <pc:sldMk cId="2414031844" sldId="2147482380"/>
            <ac:spMk id="53" creationId="{85DF2348-0C85-B564-62AA-ACA3947381CB}"/>
          </ac:spMkLst>
        </pc:spChg>
        <pc:spChg chg="del">
          <ac:chgData name="Laurence ANGILBERT" userId="28ea2967-f540-4e7d-a641-d418703ece22" providerId="ADAL" clId="{859296AE-058C-4C65-BA04-6986791C2943}" dt="2024-02-02T08:33:35.268" v="24725" actId="478"/>
          <ac:spMkLst>
            <pc:docMk/>
            <pc:sldMk cId="2414031844" sldId="2147482380"/>
            <ac:spMk id="55" creationId="{743A3973-EF40-AB86-65E2-5A4D50ABD63E}"/>
          </ac:spMkLst>
        </pc:spChg>
        <pc:spChg chg="del">
          <ac:chgData name="Laurence ANGILBERT" userId="28ea2967-f540-4e7d-a641-d418703ece22" providerId="ADAL" clId="{859296AE-058C-4C65-BA04-6986791C2943}" dt="2024-02-02T08:33:35.268" v="24725" actId="478"/>
          <ac:spMkLst>
            <pc:docMk/>
            <pc:sldMk cId="2414031844" sldId="2147482380"/>
            <ac:spMk id="57" creationId="{5A06BA92-45BD-262A-C226-39E9BF04C54E}"/>
          </ac:spMkLst>
        </pc:spChg>
        <pc:spChg chg="del">
          <ac:chgData name="Laurence ANGILBERT" userId="28ea2967-f540-4e7d-a641-d418703ece22" providerId="ADAL" clId="{859296AE-058C-4C65-BA04-6986791C2943}" dt="2024-02-02T08:33:35.268" v="24725" actId="478"/>
          <ac:spMkLst>
            <pc:docMk/>
            <pc:sldMk cId="2414031844" sldId="2147482380"/>
            <ac:spMk id="58" creationId="{B49A5F10-7A83-D809-E448-4033FE93F64B}"/>
          </ac:spMkLst>
        </pc:spChg>
        <pc:spChg chg="del">
          <ac:chgData name="Laurence ANGILBERT" userId="28ea2967-f540-4e7d-a641-d418703ece22" providerId="ADAL" clId="{859296AE-058C-4C65-BA04-6986791C2943}" dt="2024-02-02T08:33:35.268" v="24725" actId="478"/>
          <ac:spMkLst>
            <pc:docMk/>
            <pc:sldMk cId="2414031844" sldId="2147482380"/>
            <ac:spMk id="59" creationId="{121CD3BB-D90E-78A0-4E9D-F5C5762F8DF9}"/>
          </ac:spMkLst>
        </pc:spChg>
        <pc:spChg chg="del">
          <ac:chgData name="Laurence ANGILBERT" userId="28ea2967-f540-4e7d-a641-d418703ece22" providerId="ADAL" clId="{859296AE-058C-4C65-BA04-6986791C2943}" dt="2024-02-02T08:33:35.268" v="24725" actId="478"/>
          <ac:spMkLst>
            <pc:docMk/>
            <pc:sldMk cId="2414031844" sldId="2147482380"/>
            <ac:spMk id="61" creationId="{4C014886-BAF0-6BD9-8E2E-C9567F1D6630}"/>
          </ac:spMkLst>
        </pc:spChg>
        <pc:spChg chg="del">
          <ac:chgData name="Laurence ANGILBERT" userId="28ea2967-f540-4e7d-a641-d418703ece22" providerId="ADAL" clId="{859296AE-058C-4C65-BA04-6986791C2943}" dt="2024-02-02T08:33:35.268" v="24725" actId="478"/>
          <ac:spMkLst>
            <pc:docMk/>
            <pc:sldMk cId="2414031844" sldId="2147482380"/>
            <ac:spMk id="63" creationId="{9601FC07-7F50-FDE3-B0AC-9B5A8C27BDCD}"/>
          </ac:spMkLst>
        </pc:spChg>
        <pc:spChg chg="del">
          <ac:chgData name="Laurence ANGILBERT" userId="28ea2967-f540-4e7d-a641-d418703ece22" providerId="ADAL" clId="{859296AE-058C-4C65-BA04-6986791C2943}" dt="2024-02-02T08:33:35.268" v="24725" actId="478"/>
          <ac:spMkLst>
            <pc:docMk/>
            <pc:sldMk cId="2414031844" sldId="2147482380"/>
            <ac:spMk id="3073" creationId="{D8F8CE86-0F6E-8CDF-24F5-0309C4BA5151}"/>
          </ac:spMkLst>
        </pc:spChg>
        <pc:spChg chg="del">
          <ac:chgData name="Laurence ANGILBERT" userId="28ea2967-f540-4e7d-a641-d418703ece22" providerId="ADAL" clId="{859296AE-058C-4C65-BA04-6986791C2943}" dt="2024-02-02T08:33:35.268" v="24725" actId="478"/>
          <ac:spMkLst>
            <pc:docMk/>
            <pc:sldMk cId="2414031844" sldId="2147482380"/>
            <ac:spMk id="3077" creationId="{7693B7C9-1A42-7226-D08F-E5977504A1D7}"/>
          </ac:spMkLst>
        </pc:spChg>
        <pc:spChg chg="del">
          <ac:chgData name="Laurence ANGILBERT" userId="28ea2967-f540-4e7d-a641-d418703ece22" providerId="ADAL" clId="{859296AE-058C-4C65-BA04-6986791C2943}" dt="2024-02-02T08:33:35.268" v="24725" actId="478"/>
          <ac:spMkLst>
            <pc:docMk/>
            <pc:sldMk cId="2414031844" sldId="2147482380"/>
            <ac:spMk id="3080" creationId="{34D261EB-9DF4-4965-0C58-44339F07BB90}"/>
          </ac:spMkLst>
        </pc:spChg>
        <pc:spChg chg="del">
          <ac:chgData name="Laurence ANGILBERT" userId="28ea2967-f540-4e7d-a641-d418703ece22" providerId="ADAL" clId="{859296AE-058C-4C65-BA04-6986791C2943}" dt="2024-02-02T08:33:35.268" v="24725" actId="478"/>
          <ac:spMkLst>
            <pc:docMk/>
            <pc:sldMk cId="2414031844" sldId="2147482380"/>
            <ac:spMk id="3105" creationId="{4B98A08B-1D29-E357-5932-4F70E9A603D1}"/>
          </ac:spMkLst>
        </pc:spChg>
        <pc:spChg chg="del">
          <ac:chgData name="Laurence ANGILBERT" userId="28ea2967-f540-4e7d-a641-d418703ece22" providerId="ADAL" clId="{859296AE-058C-4C65-BA04-6986791C2943}" dt="2024-02-02T08:33:35.268" v="24725" actId="478"/>
          <ac:spMkLst>
            <pc:docMk/>
            <pc:sldMk cId="2414031844" sldId="2147482380"/>
            <ac:spMk id="3106" creationId="{EFB6837E-A197-79BB-3A81-26E53B24B006}"/>
          </ac:spMkLst>
        </pc:spChg>
        <pc:spChg chg="add mod">
          <ac:chgData name="Laurence ANGILBERT" userId="28ea2967-f540-4e7d-a641-d418703ece22" providerId="ADAL" clId="{859296AE-058C-4C65-BA04-6986791C2943}" dt="2024-02-02T08:41:09.167" v="25059" actId="1037"/>
          <ac:spMkLst>
            <pc:docMk/>
            <pc:sldMk cId="2414031844" sldId="2147482380"/>
            <ac:spMk id="3137" creationId="{D0BBB0F1-76DE-701D-7E81-9D94C36A7497}"/>
          </ac:spMkLst>
        </pc:spChg>
        <pc:spChg chg="add mod">
          <ac:chgData name="Laurence ANGILBERT" userId="28ea2967-f540-4e7d-a641-d418703ece22" providerId="ADAL" clId="{859296AE-058C-4C65-BA04-6986791C2943}" dt="2024-02-02T08:40:06.448" v="24991" actId="1038"/>
          <ac:spMkLst>
            <pc:docMk/>
            <pc:sldMk cId="2414031844" sldId="2147482380"/>
            <ac:spMk id="3138" creationId="{148277E8-6DE9-C8A2-B00A-CF98F1825ADA}"/>
          </ac:spMkLst>
        </pc:spChg>
        <pc:spChg chg="add mod">
          <ac:chgData name="Laurence ANGILBERT" userId="28ea2967-f540-4e7d-a641-d418703ece22" providerId="ADAL" clId="{859296AE-058C-4C65-BA04-6986791C2943}" dt="2024-02-02T08:40:06.448" v="24991" actId="1038"/>
          <ac:spMkLst>
            <pc:docMk/>
            <pc:sldMk cId="2414031844" sldId="2147482380"/>
            <ac:spMk id="3139" creationId="{6EF89711-B4D7-2302-1693-4E58BD9FBC26}"/>
          </ac:spMkLst>
        </pc:spChg>
        <pc:spChg chg="add mod">
          <ac:chgData name="Laurence ANGILBERT" userId="28ea2967-f540-4e7d-a641-d418703ece22" providerId="ADAL" clId="{859296AE-058C-4C65-BA04-6986791C2943}" dt="2024-02-02T08:41:09.167" v="25059" actId="1037"/>
          <ac:spMkLst>
            <pc:docMk/>
            <pc:sldMk cId="2414031844" sldId="2147482380"/>
            <ac:spMk id="3141" creationId="{5DFB2233-AFFF-699B-64EF-A04F511FA7E0}"/>
          </ac:spMkLst>
        </pc:spChg>
        <pc:spChg chg="add mod">
          <ac:chgData name="Laurence ANGILBERT" userId="28ea2967-f540-4e7d-a641-d418703ece22" providerId="ADAL" clId="{859296AE-058C-4C65-BA04-6986791C2943}" dt="2024-02-02T08:43:05.493" v="25181" actId="1037"/>
          <ac:spMkLst>
            <pc:docMk/>
            <pc:sldMk cId="2414031844" sldId="2147482380"/>
            <ac:spMk id="3143" creationId="{26E14665-2D44-A729-9E10-5C14E5921BA9}"/>
          </ac:spMkLst>
        </pc:spChg>
        <pc:spChg chg="add mod">
          <ac:chgData name="Laurence ANGILBERT" userId="28ea2967-f540-4e7d-a641-d418703ece22" providerId="ADAL" clId="{859296AE-058C-4C65-BA04-6986791C2943}" dt="2024-02-02T08:42:06.177" v="25118" actId="1038"/>
          <ac:spMkLst>
            <pc:docMk/>
            <pc:sldMk cId="2414031844" sldId="2147482380"/>
            <ac:spMk id="3163" creationId="{706F0BEF-9F02-B745-5930-BE4D9C790E3D}"/>
          </ac:spMkLst>
        </pc:spChg>
        <pc:spChg chg="add mod">
          <ac:chgData name="Laurence ANGILBERT" userId="28ea2967-f540-4e7d-a641-d418703ece22" providerId="ADAL" clId="{859296AE-058C-4C65-BA04-6986791C2943}" dt="2024-02-02T08:41:58.467" v="25091" actId="1037"/>
          <ac:spMkLst>
            <pc:docMk/>
            <pc:sldMk cId="2414031844" sldId="2147482380"/>
            <ac:spMk id="3164" creationId="{95D38402-2199-38AE-5808-B6F0ABF6700C}"/>
          </ac:spMkLst>
        </pc:spChg>
        <pc:picChg chg="add mod">
          <ac:chgData name="Laurence ANGILBERT" userId="28ea2967-f540-4e7d-a641-d418703ece22" providerId="ADAL" clId="{859296AE-058C-4C65-BA04-6986791C2943}" dt="2024-02-02T08:36:05.796" v="24863" actId="1036"/>
          <ac:picMkLst>
            <pc:docMk/>
            <pc:sldMk cId="2414031844" sldId="2147482380"/>
            <ac:picMk id="20" creationId="{CF806C0F-A2BC-2C53-8B7D-F46191043ABD}"/>
          </ac:picMkLst>
        </pc:picChg>
        <pc:picChg chg="del">
          <ac:chgData name="Laurence ANGILBERT" userId="28ea2967-f540-4e7d-a641-d418703ece22" providerId="ADAL" clId="{859296AE-058C-4C65-BA04-6986791C2943}" dt="2024-02-02T08:33:35.268" v="24725" actId="478"/>
          <ac:picMkLst>
            <pc:docMk/>
            <pc:sldMk cId="2414031844" sldId="2147482380"/>
            <ac:picMk id="23" creationId="{019BB494-F317-2DB9-B90F-324CCF0ABC38}"/>
          </ac:picMkLst>
        </pc:picChg>
        <pc:picChg chg="add mod">
          <ac:chgData name="Laurence ANGILBERT" userId="28ea2967-f540-4e7d-a641-d418703ece22" providerId="ADAL" clId="{859296AE-058C-4C65-BA04-6986791C2943}" dt="2024-02-02T08:42:26.889" v="25130" actId="1037"/>
          <ac:picMkLst>
            <pc:docMk/>
            <pc:sldMk cId="2414031844" sldId="2147482380"/>
            <ac:picMk id="24" creationId="{39AF5A0D-7311-3069-939D-4AC16652590C}"/>
          </ac:picMkLst>
        </pc:picChg>
        <pc:picChg chg="add mod">
          <ac:chgData name="Laurence ANGILBERT" userId="28ea2967-f540-4e7d-a641-d418703ece22" providerId="ADAL" clId="{859296AE-058C-4C65-BA04-6986791C2943}" dt="2024-02-02T08:42:52.354" v="25163" actId="1037"/>
          <ac:picMkLst>
            <pc:docMk/>
            <pc:sldMk cId="2414031844" sldId="2147482380"/>
            <ac:picMk id="27" creationId="{C2BBA032-6A52-28DF-C281-43E393C8B3C9}"/>
          </ac:picMkLst>
        </pc:picChg>
        <pc:picChg chg="del">
          <ac:chgData name="Laurence ANGILBERT" userId="28ea2967-f540-4e7d-a641-d418703ece22" providerId="ADAL" clId="{859296AE-058C-4C65-BA04-6986791C2943}" dt="2024-02-02T08:33:35.268" v="24725" actId="478"/>
          <ac:picMkLst>
            <pc:docMk/>
            <pc:sldMk cId="2414031844" sldId="2147482380"/>
            <ac:picMk id="28" creationId="{7F05798F-D428-E523-F0B7-78588D0702BB}"/>
          </ac:picMkLst>
        </pc:picChg>
        <pc:picChg chg="del">
          <ac:chgData name="Laurence ANGILBERT" userId="28ea2967-f540-4e7d-a641-d418703ece22" providerId="ADAL" clId="{859296AE-058C-4C65-BA04-6986791C2943}" dt="2024-02-02T08:33:35.268" v="24725" actId="478"/>
          <ac:picMkLst>
            <pc:docMk/>
            <pc:sldMk cId="2414031844" sldId="2147482380"/>
            <ac:picMk id="34" creationId="{C772A5C1-931F-6371-798E-E55C7B06ED51}"/>
          </ac:picMkLst>
        </pc:picChg>
        <pc:picChg chg="del">
          <ac:chgData name="Laurence ANGILBERT" userId="28ea2967-f540-4e7d-a641-d418703ece22" providerId="ADAL" clId="{859296AE-058C-4C65-BA04-6986791C2943}" dt="2024-02-02T08:33:35.268" v="24725" actId="478"/>
          <ac:picMkLst>
            <pc:docMk/>
            <pc:sldMk cId="2414031844" sldId="2147482380"/>
            <ac:picMk id="41" creationId="{861EC56D-F774-2D9D-4B8E-7443B8772617}"/>
          </ac:picMkLst>
        </pc:picChg>
        <pc:picChg chg="del">
          <ac:chgData name="Laurence ANGILBERT" userId="28ea2967-f540-4e7d-a641-d418703ece22" providerId="ADAL" clId="{859296AE-058C-4C65-BA04-6986791C2943}" dt="2024-02-02T08:33:35.268" v="24725" actId="478"/>
          <ac:picMkLst>
            <pc:docMk/>
            <pc:sldMk cId="2414031844" sldId="2147482380"/>
            <ac:picMk id="42" creationId="{AE8CEC6F-900B-22E7-4F23-6498813BDEC5}"/>
          </ac:picMkLst>
        </pc:picChg>
        <pc:picChg chg="del">
          <ac:chgData name="Laurence ANGILBERT" userId="28ea2967-f540-4e7d-a641-d418703ece22" providerId="ADAL" clId="{859296AE-058C-4C65-BA04-6986791C2943}" dt="2024-02-02T08:33:35.268" v="24725" actId="478"/>
          <ac:picMkLst>
            <pc:docMk/>
            <pc:sldMk cId="2414031844" sldId="2147482380"/>
            <ac:picMk id="43" creationId="{609B8D06-F456-3234-0C2A-E7DAC1C967CC}"/>
          </ac:picMkLst>
        </pc:picChg>
        <pc:picChg chg="del">
          <ac:chgData name="Laurence ANGILBERT" userId="28ea2967-f540-4e7d-a641-d418703ece22" providerId="ADAL" clId="{859296AE-058C-4C65-BA04-6986791C2943}" dt="2024-02-02T08:33:35.268" v="24725" actId="478"/>
          <ac:picMkLst>
            <pc:docMk/>
            <pc:sldMk cId="2414031844" sldId="2147482380"/>
            <ac:picMk id="45" creationId="{25F32F03-50E5-83A7-6B11-5AFDD0BBBBF6}"/>
          </ac:picMkLst>
        </pc:picChg>
        <pc:picChg chg="del">
          <ac:chgData name="Laurence ANGILBERT" userId="28ea2967-f540-4e7d-a641-d418703ece22" providerId="ADAL" clId="{859296AE-058C-4C65-BA04-6986791C2943}" dt="2024-02-02T08:33:35.268" v="24725" actId="478"/>
          <ac:picMkLst>
            <pc:docMk/>
            <pc:sldMk cId="2414031844" sldId="2147482380"/>
            <ac:picMk id="52" creationId="{4AF8A9A2-62C8-A8C6-84E3-D01BCB5081F8}"/>
          </ac:picMkLst>
        </pc:picChg>
        <pc:picChg chg="add mod">
          <ac:chgData name="Laurence ANGILBERT" userId="28ea2967-f540-4e7d-a641-d418703ece22" providerId="ADAL" clId="{859296AE-058C-4C65-BA04-6986791C2943}" dt="2024-02-02T08:42:32.440" v="25142" actId="1037"/>
          <ac:picMkLst>
            <pc:docMk/>
            <pc:sldMk cId="2414031844" sldId="2147482380"/>
            <ac:picMk id="54" creationId="{B83F5BC6-C0E8-1008-C286-E2641EF2A679}"/>
          </ac:picMkLst>
        </pc:picChg>
        <pc:picChg chg="add mod">
          <ac:chgData name="Laurence ANGILBERT" userId="28ea2967-f540-4e7d-a641-d418703ece22" providerId="ADAL" clId="{859296AE-058C-4C65-BA04-6986791C2943}" dt="2024-02-02T08:42:43.306" v="25154" actId="1037"/>
          <ac:picMkLst>
            <pc:docMk/>
            <pc:sldMk cId="2414031844" sldId="2147482380"/>
            <ac:picMk id="56" creationId="{0A22071B-CC2B-06D1-BCA9-2100440C906B}"/>
          </ac:picMkLst>
        </pc:picChg>
        <pc:picChg chg="del">
          <ac:chgData name="Laurence ANGILBERT" userId="28ea2967-f540-4e7d-a641-d418703ece22" providerId="ADAL" clId="{859296AE-058C-4C65-BA04-6986791C2943}" dt="2024-02-02T08:33:35.268" v="24725" actId="478"/>
          <ac:picMkLst>
            <pc:docMk/>
            <pc:sldMk cId="2414031844" sldId="2147482380"/>
            <ac:picMk id="60" creationId="{DA5B574B-0053-5511-8D1F-80588849D203}"/>
          </ac:picMkLst>
        </pc:picChg>
        <pc:picChg chg="del">
          <ac:chgData name="Laurence ANGILBERT" userId="28ea2967-f540-4e7d-a641-d418703ece22" providerId="ADAL" clId="{859296AE-058C-4C65-BA04-6986791C2943}" dt="2024-02-02T08:33:35.268" v="24725" actId="478"/>
          <ac:picMkLst>
            <pc:docMk/>
            <pc:sldMk cId="2414031844" sldId="2147482380"/>
            <ac:picMk id="62" creationId="{0DBE3EA6-BE9E-6516-048A-941CF0674CEE}"/>
          </ac:picMkLst>
        </pc:picChg>
        <pc:picChg chg="del">
          <ac:chgData name="Laurence ANGILBERT" userId="28ea2967-f540-4e7d-a641-d418703ece22" providerId="ADAL" clId="{859296AE-058C-4C65-BA04-6986791C2943}" dt="2024-02-02T08:33:35.268" v="24725" actId="478"/>
          <ac:picMkLst>
            <pc:docMk/>
            <pc:sldMk cId="2414031844" sldId="2147482380"/>
            <ac:picMk id="3072" creationId="{9A1EC36E-01E8-3735-921C-5CFDFF8D927D}"/>
          </ac:picMkLst>
        </pc:picChg>
        <pc:picChg chg="del">
          <ac:chgData name="Laurence ANGILBERT" userId="28ea2967-f540-4e7d-a641-d418703ece22" providerId="ADAL" clId="{859296AE-058C-4C65-BA04-6986791C2943}" dt="2024-02-02T08:33:35.268" v="24725" actId="478"/>
          <ac:picMkLst>
            <pc:docMk/>
            <pc:sldMk cId="2414031844" sldId="2147482380"/>
            <ac:picMk id="3074" creationId="{46DACAC2-DFBA-71A8-8FAA-9FF6AD268E7D}"/>
          </ac:picMkLst>
        </pc:picChg>
        <pc:picChg chg="del">
          <ac:chgData name="Laurence ANGILBERT" userId="28ea2967-f540-4e7d-a641-d418703ece22" providerId="ADAL" clId="{859296AE-058C-4C65-BA04-6986791C2943}" dt="2024-02-02T08:33:35.268" v="24725" actId="478"/>
          <ac:picMkLst>
            <pc:docMk/>
            <pc:sldMk cId="2414031844" sldId="2147482380"/>
            <ac:picMk id="3075" creationId="{A1E8030C-CB7E-C20E-BCB0-4661D91C7171}"/>
          </ac:picMkLst>
        </pc:picChg>
        <pc:picChg chg="del">
          <ac:chgData name="Laurence ANGILBERT" userId="28ea2967-f540-4e7d-a641-d418703ece22" providerId="ADAL" clId="{859296AE-058C-4C65-BA04-6986791C2943}" dt="2024-02-02T08:33:35.268" v="24725" actId="478"/>
          <ac:picMkLst>
            <pc:docMk/>
            <pc:sldMk cId="2414031844" sldId="2147482380"/>
            <ac:picMk id="3076" creationId="{1E3E99CC-337F-FE52-3191-9E6FF5E98A5D}"/>
          </ac:picMkLst>
        </pc:picChg>
        <pc:picChg chg="del">
          <ac:chgData name="Laurence ANGILBERT" userId="28ea2967-f540-4e7d-a641-d418703ece22" providerId="ADAL" clId="{859296AE-058C-4C65-BA04-6986791C2943}" dt="2024-02-02T08:33:35.268" v="24725" actId="478"/>
          <ac:picMkLst>
            <pc:docMk/>
            <pc:sldMk cId="2414031844" sldId="2147482380"/>
            <ac:picMk id="3078" creationId="{C87EABC0-F727-2EE8-885D-766E83E457D1}"/>
          </ac:picMkLst>
        </pc:picChg>
        <pc:picChg chg="del">
          <ac:chgData name="Laurence ANGILBERT" userId="28ea2967-f540-4e7d-a641-d418703ece22" providerId="ADAL" clId="{859296AE-058C-4C65-BA04-6986791C2943}" dt="2024-02-02T08:33:35.268" v="24725" actId="478"/>
          <ac:picMkLst>
            <pc:docMk/>
            <pc:sldMk cId="2414031844" sldId="2147482380"/>
            <ac:picMk id="3079" creationId="{39F5BDBF-E468-F3D3-6AEE-D6381587E9D3}"/>
          </ac:picMkLst>
        </pc:picChg>
        <pc:picChg chg="del">
          <ac:chgData name="Laurence ANGILBERT" userId="28ea2967-f540-4e7d-a641-d418703ece22" providerId="ADAL" clId="{859296AE-058C-4C65-BA04-6986791C2943}" dt="2024-02-02T08:33:35.268" v="24725" actId="478"/>
          <ac:picMkLst>
            <pc:docMk/>
            <pc:sldMk cId="2414031844" sldId="2147482380"/>
            <ac:picMk id="3136" creationId="{00E63C76-6850-80D0-F49D-BB6261534DA4}"/>
          </ac:picMkLst>
        </pc:picChg>
        <pc:picChg chg="add mod">
          <ac:chgData name="Laurence ANGILBERT" userId="28ea2967-f540-4e7d-a641-d418703ece22" providerId="ADAL" clId="{859296AE-058C-4C65-BA04-6986791C2943}" dt="2024-02-02T08:42:52.354" v="25163" actId="1037"/>
          <ac:picMkLst>
            <pc:docMk/>
            <pc:sldMk cId="2414031844" sldId="2147482380"/>
            <ac:picMk id="3140" creationId="{8025E4A9-1D96-7CB1-14F1-3CADE8A9B19F}"/>
          </ac:picMkLst>
        </pc:picChg>
        <pc:picChg chg="add mod">
          <ac:chgData name="Laurence ANGILBERT" userId="28ea2967-f540-4e7d-a641-d418703ece22" providerId="ADAL" clId="{859296AE-058C-4C65-BA04-6986791C2943}" dt="2024-02-02T08:42:32.440" v="25142" actId="1037"/>
          <ac:picMkLst>
            <pc:docMk/>
            <pc:sldMk cId="2414031844" sldId="2147482380"/>
            <ac:picMk id="3142" creationId="{B1ADA135-6DE7-AEAF-2AD8-DD5EEF73531F}"/>
          </ac:picMkLst>
        </pc:picChg>
        <pc:picChg chg="add mod">
          <ac:chgData name="Laurence ANGILBERT" userId="28ea2967-f540-4e7d-a641-d418703ece22" providerId="ADAL" clId="{859296AE-058C-4C65-BA04-6986791C2943}" dt="2024-02-02T08:42:52.354" v="25163" actId="1037"/>
          <ac:picMkLst>
            <pc:docMk/>
            <pc:sldMk cId="2414031844" sldId="2147482380"/>
            <ac:picMk id="3144" creationId="{62D3725D-5D35-7FE8-DB7B-9871C93F5B49}"/>
          </ac:picMkLst>
        </pc:picChg>
        <pc:picChg chg="add mod">
          <ac:chgData name="Laurence ANGILBERT" userId="28ea2967-f540-4e7d-a641-d418703ece22" providerId="ADAL" clId="{859296AE-058C-4C65-BA04-6986791C2943}" dt="2024-02-02T08:41:09.167" v="25059" actId="1037"/>
          <ac:picMkLst>
            <pc:docMk/>
            <pc:sldMk cId="2414031844" sldId="2147482380"/>
            <ac:picMk id="3147" creationId="{610AB88D-5F19-7C72-E250-8D24744C9E1A}"/>
          </ac:picMkLst>
        </pc:picChg>
        <pc:picChg chg="add mod">
          <ac:chgData name="Laurence ANGILBERT" userId="28ea2967-f540-4e7d-a641-d418703ece22" providerId="ADAL" clId="{859296AE-058C-4C65-BA04-6986791C2943}" dt="2024-02-02T08:40:59.273" v="25034" actId="1037"/>
          <ac:picMkLst>
            <pc:docMk/>
            <pc:sldMk cId="2414031844" sldId="2147482380"/>
            <ac:picMk id="3148" creationId="{75B2957E-FD0D-27F9-30EF-BAA0ECEFBB19}"/>
          </ac:picMkLst>
        </pc:picChg>
        <pc:picChg chg="add mod">
          <ac:chgData name="Laurence ANGILBERT" userId="28ea2967-f540-4e7d-a641-d418703ece22" providerId="ADAL" clId="{859296AE-058C-4C65-BA04-6986791C2943}" dt="2024-02-02T08:39:57.797" v="24983" actId="1037"/>
          <ac:picMkLst>
            <pc:docMk/>
            <pc:sldMk cId="2414031844" sldId="2147482380"/>
            <ac:picMk id="3149" creationId="{3A0CD832-C2CE-9CFE-35E7-6D60AA3BEC41}"/>
          </ac:picMkLst>
        </pc:picChg>
        <pc:picChg chg="add mod">
          <ac:chgData name="Laurence ANGILBERT" userId="28ea2967-f540-4e7d-a641-d418703ece22" providerId="ADAL" clId="{859296AE-058C-4C65-BA04-6986791C2943}" dt="2024-02-02T08:42:26.889" v="25130" actId="1037"/>
          <ac:picMkLst>
            <pc:docMk/>
            <pc:sldMk cId="2414031844" sldId="2147482380"/>
            <ac:picMk id="3150" creationId="{C398C63C-8E3B-FDBB-2EEB-6AE8DF8DCAFF}"/>
          </ac:picMkLst>
        </pc:picChg>
        <pc:picChg chg="add mod">
          <ac:chgData name="Laurence ANGILBERT" userId="28ea2967-f540-4e7d-a641-d418703ece22" providerId="ADAL" clId="{859296AE-058C-4C65-BA04-6986791C2943}" dt="2024-02-02T08:42:32.440" v="25142" actId="1037"/>
          <ac:picMkLst>
            <pc:docMk/>
            <pc:sldMk cId="2414031844" sldId="2147482380"/>
            <ac:picMk id="3151" creationId="{70308169-CD75-8A2C-11E5-8A0C786EDCDA}"/>
          </ac:picMkLst>
        </pc:picChg>
        <pc:picChg chg="add mod">
          <ac:chgData name="Laurence ANGILBERT" userId="28ea2967-f540-4e7d-a641-d418703ece22" providerId="ADAL" clId="{859296AE-058C-4C65-BA04-6986791C2943}" dt="2024-02-02T08:42:26.889" v="25130" actId="1037"/>
          <ac:picMkLst>
            <pc:docMk/>
            <pc:sldMk cId="2414031844" sldId="2147482380"/>
            <ac:picMk id="3152" creationId="{04B46703-8152-F912-D5E0-1EFBE4E35256}"/>
          </ac:picMkLst>
        </pc:picChg>
        <pc:picChg chg="add mod">
          <ac:chgData name="Laurence ANGILBERT" userId="28ea2967-f540-4e7d-a641-d418703ece22" providerId="ADAL" clId="{859296AE-058C-4C65-BA04-6986791C2943}" dt="2024-02-02T08:42:26.889" v="25130" actId="1037"/>
          <ac:picMkLst>
            <pc:docMk/>
            <pc:sldMk cId="2414031844" sldId="2147482380"/>
            <ac:picMk id="3153" creationId="{85FE3F54-FFE2-F768-B068-643B7ED0BA79}"/>
          </ac:picMkLst>
        </pc:picChg>
        <pc:picChg chg="add mod">
          <ac:chgData name="Laurence ANGILBERT" userId="28ea2967-f540-4e7d-a641-d418703ece22" providerId="ADAL" clId="{859296AE-058C-4C65-BA04-6986791C2943}" dt="2024-02-02T08:42:32.440" v="25142" actId="1037"/>
          <ac:picMkLst>
            <pc:docMk/>
            <pc:sldMk cId="2414031844" sldId="2147482380"/>
            <ac:picMk id="3154" creationId="{E131BC77-4C4C-51EF-8F5B-83114E32B399}"/>
          </ac:picMkLst>
        </pc:picChg>
        <pc:picChg chg="add mod">
          <ac:chgData name="Laurence ANGILBERT" userId="28ea2967-f540-4e7d-a641-d418703ece22" providerId="ADAL" clId="{859296AE-058C-4C65-BA04-6986791C2943}" dt="2024-02-02T08:42:32.440" v="25142" actId="1037"/>
          <ac:picMkLst>
            <pc:docMk/>
            <pc:sldMk cId="2414031844" sldId="2147482380"/>
            <ac:picMk id="3155" creationId="{525459DE-89A6-F5F7-3244-98B098A3227E}"/>
          </ac:picMkLst>
        </pc:picChg>
        <pc:picChg chg="add mod">
          <ac:chgData name="Laurence ANGILBERT" userId="28ea2967-f540-4e7d-a641-d418703ece22" providerId="ADAL" clId="{859296AE-058C-4C65-BA04-6986791C2943}" dt="2024-02-02T08:42:26.889" v="25130" actId="1037"/>
          <ac:picMkLst>
            <pc:docMk/>
            <pc:sldMk cId="2414031844" sldId="2147482380"/>
            <ac:picMk id="3156" creationId="{4A363EBB-F159-B1CA-B97D-F9435D1555AE}"/>
          </ac:picMkLst>
        </pc:picChg>
        <pc:picChg chg="add mod">
          <ac:chgData name="Laurence ANGILBERT" userId="28ea2967-f540-4e7d-a641-d418703ece22" providerId="ADAL" clId="{859296AE-058C-4C65-BA04-6986791C2943}" dt="2024-02-02T08:42:32.440" v="25142" actId="1037"/>
          <ac:picMkLst>
            <pc:docMk/>
            <pc:sldMk cId="2414031844" sldId="2147482380"/>
            <ac:picMk id="3157" creationId="{1CCC4B99-BD27-171F-D63B-5B6C49A4058E}"/>
          </ac:picMkLst>
        </pc:picChg>
        <pc:picChg chg="add mod">
          <ac:chgData name="Laurence ANGILBERT" userId="28ea2967-f540-4e7d-a641-d418703ece22" providerId="ADAL" clId="{859296AE-058C-4C65-BA04-6986791C2943}" dt="2024-02-02T08:42:43.306" v="25154" actId="1037"/>
          <ac:picMkLst>
            <pc:docMk/>
            <pc:sldMk cId="2414031844" sldId="2147482380"/>
            <ac:picMk id="3158" creationId="{16E8D6C4-55C1-79F4-84F0-7F0BBD517B70}"/>
          </ac:picMkLst>
        </pc:picChg>
        <pc:picChg chg="add mod">
          <ac:chgData name="Laurence ANGILBERT" userId="28ea2967-f540-4e7d-a641-d418703ece22" providerId="ADAL" clId="{859296AE-058C-4C65-BA04-6986791C2943}" dt="2024-02-02T08:36:05.796" v="24863" actId="1036"/>
          <ac:picMkLst>
            <pc:docMk/>
            <pc:sldMk cId="2414031844" sldId="2147482380"/>
            <ac:picMk id="3159" creationId="{794B8CAF-BE3F-0DB0-9F9B-41EC2C13C799}"/>
          </ac:picMkLst>
        </pc:picChg>
        <pc:picChg chg="add mod">
          <ac:chgData name="Laurence ANGILBERT" userId="28ea2967-f540-4e7d-a641-d418703ece22" providerId="ADAL" clId="{859296AE-058C-4C65-BA04-6986791C2943}" dt="2024-02-02T08:36:05.796" v="24863" actId="1036"/>
          <ac:picMkLst>
            <pc:docMk/>
            <pc:sldMk cId="2414031844" sldId="2147482380"/>
            <ac:picMk id="3160" creationId="{E91BF928-71FE-8469-429A-5E6072C681B1}"/>
          </ac:picMkLst>
        </pc:picChg>
        <pc:picChg chg="add mod">
          <ac:chgData name="Laurence ANGILBERT" userId="28ea2967-f540-4e7d-a641-d418703ece22" providerId="ADAL" clId="{859296AE-058C-4C65-BA04-6986791C2943}" dt="2024-02-02T08:51:20.046" v="25336" actId="1076"/>
          <ac:picMkLst>
            <pc:docMk/>
            <pc:sldMk cId="2414031844" sldId="2147482380"/>
            <ac:picMk id="3161" creationId="{836D846B-DEAF-770D-C11C-7A4093870A09}"/>
          </ac:picMkLst>
        </pc:picChg>
        <pc:picChg chg="add mod">
          <ac:chgData name="Laurence ANGILBERT" userId="28ea2967-f540-4e7d-a641-d418703ece22" providerId="ADAL" clId="{859296AE-058C-4C65-BA04-6986791C2943}" dt="2024-02-02T08:36:05.796" v="24863" actId="1036"/>
          <ac:picMkLst>
            <pc:docMk/>
            <pc:sldMk cId="2414031844" sldId="2147482380"/>
            <ac:picMk id="3162" creationId="{F73B712E-8ED5-89A3-AF0B-B4A264E3D5EF}"/>
          </ac:picMkLst>
        </pc:picChg>
        <pc:picChg chg="add del mod">
          <ac:chgData name="Laurence ANGILBERT" userId="28ea2967-f540-4e7d-a641-d418703ece22" providerId="ADAL" clId="{859296AE-058C-4C65-BA04-6986791C2943}" dt="2024-02-02T08:41:41.083" v="25074" actId="478"/>
          <ac:picMkLst>
            <pc:docMk/>
            <pc:sldMk cId="2414031844" sldId="2147482380"/>
            <ac:picMk id="3165" creationId="{257C94CB-7117-7C2A-9F9B-74072260204E}"/>
          </ac:picMkLst>
        </pc:picChg>
        <pc:picChg chg="add del mod">
          <ac:chgData name="Laurence ANGILBERT" userId="28ea2967-f540-4e7d-a641-d418703ece22" providerId="ADAL" clId="{859296AE-058C-4C65-BA04-6986791C2943}" dt="2024-02-02T08:51:22.483" v="25337" actId="478"/>
          <ac:picMkLst>
            <pc:docMk/>
            <pc:sldMk cId="2414031844" sldId="2147482380"/>
            <ac:picMk id="3166" creationId="{39580A7B-A2C7-948E-3712-A7ED3BAC5D85}"/>
          </ac:picMkLst>
        </pc:picChg>
        <pc:picChg chg="add mod">
          <ac:chgData name="Laurence ANGILBERT" userId="28ea2967-f540-4e7d-a641-d418703ece22" providerId="ADAL" clId="{859296AE-058C-4C65-BA04-6986791C2943}" dt="2024-02-02T08:52:00.454" v="25341" actId="1076"/>
          <ac:picMkLst>
            <pc:docMk/>
            <pc:sldMk cId="2414031844" sldId="2147482380"/>
            <ac:picMk id="3167" creationId="{B8AF409F-6170-FF34-3AC1-10A60CEA7C6A}"/>
          </ac:picMkLst>
        </pc:picChg>
        <pc:cxnChg chg="add mod">
          <ac:chgData name="Laurence ANGILBERT" userId="28ea2967-f540-4e7d-a641-d418703ece22" providerId="ADAL" clId="{859296AE-058C-4C65-BA04-6986791C2943}" dt="2024-02-02T08:36:43.885" v="24909" actId="14100"/>
          <ac:cxnSpMkLst>
            <pc:docMk/>
            <pc:sldMk cId="2414031844" sldId="2147482380"/>
            <ac:cxnSpMk id="16" creationId="{9056194F-EAEB-D141-B1D0-52237DA8BF69}"/>
          </ac:cxnSpMkLst>
        </pc:cxnChg>
        <pc:cxnChg chg="add mod">
          <ac:chgData name="Laurence ANGILBERT" userId="28ea2967-f540-4e7d-a641-d418703ece22" providerId="ADAL" clId="{859296AE-058C-4C65-BA04-6986791C2943}" dt="2024-02-02T08:36:43.885" v="24909" actId="14100"/>
          <ac:cxnSpMkLst>
            <pc:docMk/>
            <pc:sldMk cId="2414031844" sldId="2147482380"/>
            <ac:cxnSpMk id="17" creationId="{FBF15299-4C7A-2EDA-2423-7B549447126E}"/>
          </ac:cxnSpMkLst>
        </pc:cxnChg>
        <pc:cxnChg chg="add mod">
          <ac:chgData name="Laurence ANGILBERT" userId="28ea2967-f540-4e7d-a641-d418703ece22" providerId="ADAL" clId="{859296AE-058C-4C65-BA04-6986791C2943}" dt="2024-02-02T08:36:43.885" v="24909" actId="14100"/>
          <ac:cxnSpMkLst>
            <pc:docMk/>
            <pc:sldMk cId="2414031844" sldId="2147482380"/>
            <ac:cxnSpMk id="18" creationId="{7ED25407-65B1-CCF2-D988-94A5351AC6D9}"/>
          </ac:cxnSpMkLst>
        </pc:cxnChg>
        <pc:cxnChg chg="add mod">
          <ac:chgData name="Laurence ANGILBERT" userId="28ea2967-f540-4e7d-a641-d418703ece22" providerId="ADAL" clId="{859296AE-058C-4C65-BA04-6986791C2943}" dt="2024-02-02T08:41:29.304" v="25073" actId="14100"/>
          <ac:cxnSpMkLst>
            <pc:docMk/>
            <pc:sldMk cId="2414031844" sldId="2147482380"/>
            <ac:cxnSpMk id="21" creationId="{325C1FDC-7055-BD3A-9FE7-ED9EF28821D3}"/>
          </ac:cxnSpMkLst>
        </pc:cxnChg>
        <pc:cxnChg chg="del">
          <ac:chgData name="Laurence ANGILBERT" userId="28ea2967-f540-4e7d-a641-d418703ece22" providerId="ADAL" clId="{859296AE-058C-4C65-BA04-6986791C2943}" dt="2024-02-02T08:33:35.268" v="24725" actId="478"/>
          <ac:cxnSpMkLst>
            <pc:docMk/>
            <pc:sldMk cId="2414031844" sldId="2147482380"/>
            <ac:cxnSpMk id="3086" creationId="{3A1FDC55-FC93-36D0-BC5E-49D8455BCC67}"/>
          </ac:cxnSpMkLst>
        </pc:cxnChg>
        <pc:cxnChg chg="del">
          <ac:chgData name="Laurence ANGILBERT" userId="28ea2967-f540-4e7d-a641-d418703ece22" providerId="ADAL" clId="{859296AE-058C-4C65-BA04-6986791C2943}" dt="2024-02-02T08:33:35.268" v="24725" actId="478"/>
          <ac:cxnSpMkLst>
            <pc:docMk/>
            <pc:sldMk cId="2414031844" sldId="2147482380"/>
            <ac:cxnSpMk id="3091" creationId="{4EC03AE8-2006-2112-516E-9BFF74025058}"/>
          </ac:cxnSpMkLst>
        </pc:cxnChg>
        <pc:cxnChg chg="del">
          <ac:chgData name="Laurence ANGILBERT" userId="28ea2967-f540-4e7d-a641-d418703ece22" providerId="ADAL" clId="{859296AE-058C-4C65-BA04-6986791C2943}" dt="2024-02-02T08:33:35.268" v="24725" actId="478"/>
          <ac:cxnSpMkLst>
            <pc:docMk/>
            <pc:sldMk cId="2414031844" sldId="2147482380"/>
            <ac:cxnSpMk id="3094" creationId="{04CEC3BE-4287-8DE9-1B18-1A94EF69F1AD}"/>
          </ac:cxnSpMkLst>
        </pc:cxnChg>
        <pc:cxnChg chg="del">
          <ac:chgData name="Laurence ANGILBERT" userId="28ea2967-f540-4e7d-a641-d418703ece22" providerId="ADAL" clId="{859296AE-058C-4C65-BA04-6986791C2943}" dt="2024-02-02T08:33:35.268" v="24725" actId="478"/>
          <ac:cxnSpMkLst>
            <pc:docMk/>
            <pc:sldMk cId="2414031844" sldId="2147482380"/>
            <ac:cxnSpMk id="3097" creationId="{4733A108-0FA8-B2D5-FA32-7620E26F7333}"/>
          </ac:cxnSpMkLst>
        </pc:cxnChg>
        <pc:cxnChg chg="del">
          <ac:chgData name="Laurence ANGILBERT" userId="28ea2967-f540-4e7d-a641-d418703ece22" providerId="ADAL" clId="{859296AE-058C-4C65-BA04-6986791C2943}" dt="2024-02-02T08:33:35.268" v="24725" actId="478"/>
          <ac:cxnSpMkLst>
            <pc:docMk/>
            <pc:sldMk cId="2414031844" sldId="2147482380"/>
            <ac:cxnSpMk id="3100" creationId="{6AABC0ED-EBAE-7ED5-DF23-64263E226885}"/>
          </ac:cxnSpMkLst>
        </pc:cxnChg>
        <pc:cxnChg chg="del">
          <ac:chgData name="Laurence ANGILBERT" userId="28ea2967-f540-4e7d-a641-d418703ece22" providerId="ADAL" clId="{859296AE-058C-4C65-BA04-6986791C2943}" dt="2024-02-02T08:33:35.268" v="24725" actId="478"/>
          <ac:cxnSpMkLst>
            <pc:docMk/>
            <pc:sldMk cId="2414031844" sldId="2147482380"/>
            <ac:cxnSpMk id="3129" creationId="{F8792367-5AE3-E8AE-A8D5-8F107FEDC4F6}"/>
          </ac:cxnSpMkLst>
        </pc:cxnChg>
        <pc:cxnChg chg="add del mod">
          <ac:chgData name="Laurence ANGILBERT" userId="28ea2967-f540-4e7d-a641-d418703ece22" providerId="ADAL" clId="{859296AE-058C-4C65-BA04-6986791C2943}" dt="2024-02-02T08:35:03.312" v="24730" actId="478"/>
          <ac:cxnSpMkLst>
            <pc:docMk/>
            <pc:sldMk cId="2414031844" sldId="2147482380"/>
            <ac:cxnSpMk id="3145" creationId="{3AFA6728-8FFF-6992-8EAC-B14D66F5B25C}"/>
          </ac:cxnSpMkLst>
        </pc:cxnChg>
        <pc:cxnChg chg="add del mod">
          <ac:chgData name="Laurence ANGILBERT" userId="28ea2967-f540-4e7d-a641-d418703ece22" providerId="ADAL" clId="{859296AE-058C-4C65-BA04-6986791C2943}" dt="2024-02-02T08:36:43.885" v="24909" actId="14100"/>
          <ac:cxnSpMkLst>
            <pc:docMk/>
            <pc:sldMk cId="2414031844" sldId="2147482380"/>
            <ac:cxnSpMk id="3146" creationId="{213F7CD7-347C-C030-049B-8F78BA5953FA}"/>
          </ac:cxnSpMkLst>
        </pc:cxnChg>
      </pc:sldChg>
      <pc:sldChg chg="add">
        <pc:chgData name="Laurence ANGILBERT" userId="28ea2967-f540-4e7d-a641-d418703ece22" providerId="ADAL" clId="{859296AE-058C-4C65-BA04-6986791C2943}" dt="2024-02-02T09:11:10.832" v="25640"/>
        <pc:sldMkLst>
          <pc:docMk/>
          <pc:sldMk cId="3284455612" sldId="2147482380"/>
        </pc:sldMkLst>
      </pc:sldChg>
      <pc:sldChg chg="addSp delSp modSp mod">
        <pc:chgData name="Laurence ANGILBERT" userId="28ea2967-f540-4e7d-a641-d418703ece22" providerId="ADAL" clId="{859296AE-058C-4C65-BA04-6986791C2943}" dt="2024-02-02T13:23:06.683" v="28350" actId="1076"/>
        <pc:sldMkLst>
          <pc:docMk/>
          <pc:sldMk cId="3284455612" sldId="2147482381"/>
        </pc:sldMkLst>
        <pc:spChg chg="mod">
          <ac:chgData name="Laurence ANGILBERT" userId="28ea2967-f540-4e7d-a641-d418703ece22" providerId="ADAL" clId="{859296AE-058C-4C65-BA04-6986791C2943}" dt="2024-02-02T13:21:43.903" v="28347" actId="1076"/>
          <ac:spMkLst>
            <pc:docMk/>
            <pc:sldMk cId="3284455612" sldId="2147482381"/>
            <ac:spMk id="3163" creationId="{95C0987C-2729-6375-3DAA-D41A9236D867}"/>
          </ac:spMkLst>
        </pc:spChg>
        <pc:picChg chg="add mod">
          <ac:chgData name="Laurence ANGILBERT" userId="28ea2967-f540-4e7d-a641-d418703ece22" providerId="ADAL" clId="{859296AE-058C-4C65-BA04-6986791C2943}" dt="2024-02-02T13:23:06.683" v="28350" actId="1076"/>
          <ac:picMkLst>
            <pc:docMk/>
            <pc:sldMk cId="3284455612" sldId="2147482381"/>
            <ac:picMk id="2" creationId="{B5CC15F4-B049-FC78-4118-F8C7845A9B19}"/>
          </ac:picMkLst>
        </pc:picChg>
        <pc:picChg chg="del">
          <ac:chgData name="Laurence ANGILBERT" userId="28ea2967-f540-4e7d-a641-d418703ece22" providerId="ADAL" clId="{859296AE-058C-4C65-BA04-6986791C2943}" dt="2024-02-02T13:22:33.209" v="28348" actId="478"/>
          <ac:picMkLst>
            <pc:docMk/>
            <pc:sldMk cId="3284455612" sldId="2147482381"/>
            <ac:picMk id="3167" creationId="{7FCAACB9-50E6-B16F-7500-8AE361565138}"/>
          </ac:picMkLst>
        </pc:picChg>
      </pc:sldChg>
      <pc:sldChg chg="addSp delSp modSp add mod">
        <pc:chgData name="Laurence ANGILBERT" userId="28ea2967-f540-4e7d-a641-d418703ece22" providerId="ADAL" clId="{859296AE-058C-4C65-BA04-6986791C2943}" dt="2024-02-02T18:25:20.453" v="30534" actId="1035"/>
        <pc:sldMkLst>
          <pc:docMk/>
          <pc:sldMk cId="1396490910" sldId="2147482385"/>
        </pc:sldMkLst>
        <pc:spChg chg="mod">
          <ac:chgData name="Laurence ANGILBERT" userId="28ea2967-f540-4e7d-a641-d418703ece22" providerId="ADAL" clId="{859296AE-058C-4C65-BA04-6986791C2943}" dt="2024-02-02T11:05:33.397" v="28144" actId="1036"/>
          <ac:spMkLst>
            <pc:docMk/>
            <pc:sldMk cId="1396490910" sldId="2147482385"/>
            <ac:spMk id="2" creationId="{B1FEC22B-43DA-180B-BF7E-55151744CFC3}"/>
          </ac:spMkLst>
        </pc:spChg>
        <pc:spChg chg="del mod">
          <ac:chgData name="Laurence ANGILBERT" userId="28ea2967-f540-4e7d-a641-d418703ece22" providerId="ADAL" clId="{859296AE-058C-4C65-BA04-6986791C2943}" dt="2024-02-02T12:52:18.527" v="28215" actId="478"/>
          <ac:spMkLst>
            <pc:docMk/>
            <pc:sldMk cId="1396490910" sldId="2147482385"/>
            <ac:spMk id="15" creationId="{A5072882-5553-A1E6-F95F-60FD63E13D0A}"/>
          </ac:spMkLst>
        </pc:spChg>
        <pc:spChg chg="del mod">
          <ac:chgData name="Laurence ANGILBERT" userId="28ea2967-f540-4e7d-a641-d418703ece22" providerId="ADAL" clId="{859296AE-058C-4C65-BA04-6986791C2943}" dt="2024-02-02T09:36:33.935" v="25878" actId="478"/>
          <ac:spMkLst>
            <pc:docMk/>
            <pc:sldMk cId="1396490910" sldId="2147482385"/>
            <ac:spMk id="16" creationId="{B36368F6-07C6-B60C-3EA2-CB0324230BDD}"/>
          </ac:spMkLst>
        </pc:spChg>
        <pc:spChg chg="add del mod">
          <ac:chgData name="Laurence ANGILBERT" userId="28ea2967-f540-4e7d-a641-d418703ece22" providerId="ADAL" clId="{859296AE-058C-4C65-BA04-6986791C2943}" dt="2024-02-02T12:51:39.584" v="28170" actId="478"/>
          <ac:spMkLst>
            <pc:docMk/>
            <pc:sldMk cId="1396490910" sldId="2147482385"/>
            <ac:spMk id="28" creationId="{FC8FA932-95C9-0B71-939F-765E302ABFCE}"/>
          </ac:spMkLst>
        </pc:spChg>
        <pc:spChg chg="add del mod">
          <ac:chgData name="Laurence ANGILBERT" userId="28ea2967-f540-4e7d-a641-d418703ece22" providerId="ADAL" clId="{859296AE-058C-4C65-BA04-6986791C2943}" dt="2024-02-02T13:33:44.527" v="28440" actId="478"/>
          <ac:spMkLst>
            <pc:docMk/>
            <pc:sldMk cId="1396490910" sldId="2147482385"/>
            <ac:spMk id="29" creationId="{15C87395-04E3-F164-1B6A-C320FB1DD5EE}"/>
          </ac:spMkLst>
        </pc:spChg>
        <pc:graphicFrameChg chg="mod modGraphic">
          <ac:chgData name="Laurence ANGILBERT" userId="28ea2967-f540-4e7d-a641-d418703ece22" providerId="ADAL" clId="{859296AE-058C-4C65-BA04-6986791C2943}" dt="2024-02-02T18:25:04.505" v="30486" actId="5793"/>
          <ac:graphicFrameMkLst>
            <pc:docMk/>
            <pc:sldMk cId="1396490910" sldId="2147482385"/>
            <ac:graphicFrameMk id="3" creationId="{F270CDAA-BAAA-2937-85E8-1589C26B8BBC}"/>
          </ac:graphicFrameMkLst>
        </pc:graphicFrameChg>
        <pc:picChg chg="del mod">
          <ac:chgData name="Laurence ANGILBERT" userId="28ea2967-f540-4e7d-a641-d418703ece22" providerId="ADAL" clId="{859296AE-058C-4C65-BA04-6986791C2943}" dt="2024-02-02T09:51:05.088" v="25982" actId="478"/>
          <ac:picMkLst>
            <pc:docMk/>
            <pc:sldMk cId="1396490910" sldId="2147482385"/>
            <ac:picMk id="4" creationId="{4A58D7AF-6574-A29C-2C74-CB581A6F0496}"/>
          </ac:picMkLst>
        </pc:picChg>
        <pc:picChg chg="mod">
          <ac:chgData name="Laurence ANGILBERT" userId="28ea2967-f540-4e7d-a641-d418703ece22" providerId="ADAL" clId="{859296AE-058C-4C65-BA04-6986791C2943}" dt="2024-02-02T10:19:15.530" v="26604" actId="1037"/>
          <ac:picMkLst>
            <pc:docMk/>
            <pc:sldMk cId="1396490910" sldId="2147482385"/>
            <ac:picMk id="6" creationId="{66ED1EF8-7949-AAEF-BE6F-0295C2F1FE54}"/>
          </ac:picMkLst>
        </pc:picChg>
        <pc:picChg chg="mod">
          <ac:chgData name="Laurence ANGILBERT" userId="28ea2967-f540-4e7d-a641-d418703ece22" providerId="ADAL" clId="{859296AE-058C-4C65-BA04-6986791C2943}" dt="2024-02-02T10:19:15.530" v="26604" actId="1037"/>
          <ac:picMkLst>
            <pc:docMk/>
            <pc:sldMk cId="1396490910" sldId="2147482385"/>
            <ac:picMk id="7" creationId="{09055014-15B6-1F81-E3EA-02AA879C7CA0}"/>
          </ac:picMkLst>
        </pc:picChg>
        <pc:picChg chg="del mod">
          <ac:chgData name="Laurence ANGILBERT" userId="28ea2967-f540-4e7d-a641-d418703ece22" providerId="ADAL" clId="{859296AE-058C-4C65-BA04-6986791C2943}" dt="2024-02-02T09:51:06.799" v="25983" actId="478"/>
          <ac:picMkLst>
            <pc:docMk/>
            <pc:sldMk cId="1396490910" sldId="2147482385"/>
            <ac:picMk id="8" creationId="{9D06A79F-748B-13CF-5E6E-C6482767750E}"/>
          </ac:picMkLst>
        </pc:picChg>
        <pc:picChg chg="del">
          <ac:chgData name="Laurence ANGILBERT" userId="28ea2967-f540-4e7d-a641-d418703ece22" providerId="ADAL" clId="{859296AE-058C-4C65-BA04-6986791C2943}" dt="2024-02-02T09:34:01.245" v="25808" actId="478"/>
          <ac:picMkLst>
            <pc:docMk/>
            <pc:sldMk cId="1396490910" sldId="2147482385"/>
            <ac:picMk id="9" creationId="{E1689FAC-61CA-D500-72BA-7F95D55AFE08}"/>
          </ac:picMkLst>
        </pc:picChg>
        <pc:picChg chg="del">
          <ac:chgData name="Laurence ANGILBERT" userId="28ea2967-f540-4e7d-a641-d418703ece22" providerId="ADAL" clId="{859296AE-058C-4C65-BA04-6986791C2943}" dt="2024-02-02T09:33:59.788" v="25807" actId="478"/>
          <ac:picMkLst>
            <pc:docMk/>
            <pc:sldMk cId="1396490910" sldId="2147482385"/>
            <ac:picMk id="10" creationId="{E64920AF-229B-0246-D3FD-75B33202B75D}"/>
          </ac:picMkLst>
        </pc:picChg>
        <pc:picChg chg="del mod">
          <ac:chgData name="Laurence ANGILBERT" userId="28ea2967-f540-4e7d-a641-d418703ece22" providerId="ADAL" clId="{859296AE-058C-4C65-BA04-6986791C2943}" dt="2024-02-02T10:28:25.052" v="26737" actId="478"/>
          <ac:picMkLst>
            <pc:docMk/>
            <pc:sldMk cId="1396490910" sldId="2147482385"/>
            <ac:picMk id="11" creationId="{7E877C25-E5BF-19DE-8B7D-D3EF46758F48}"/>
          </ac:picMkLst>
        </pc:picChg>
        <pc:picChg chg="del mod">
          <ac:chgData name="Laurence ANGILBERT" userId="28ea2967-f540-4e7d-a641-d418703ece22" providerId="ADAL" clId="{859296AE-058C-4C65-BA04-6986791C2943}" dt="2024-02-02T10:28:25.052" v="26737" actId="478"/>
          <ac:picMkLst>
            <pc:docMk/>
            <pc:sldMk cId="1396490910" sldId="2147482385"/>
            <ac:picMk id="12" creationId="{04B41D76-4F02-B60A-A11B-A91263BC1906}"/>
          </ac:picMkLst>
        </pc:picChg>
        <pc:picChg chg="del mod">
          <ac:chgData name="Laurence ANGILBERT" userId="28ea2967-f540-4e7d-a641-d418703ece22" providerId="ADAL" clId="{859296AE-058C-4C65-BA04-6986791C2943}" dt="2024-02-02T18:24:50.879" v="30480" actId="478"/>
          <ac:picMkLst>
            <pc:docMk/>
            <pc:sldMk cId="1396490910" sldId="2147482385"/>
            <ac:picMk id="13" creationId="{2A2AD6C3-70B1-D353-1BFE-DEA6F810BB96}"/>
          </ac:picMkLst>
        </pc:picChg>
        <pc:picChg chg="del mod">
          <ac:chgData name="Laurence ANGILBERT" userId="28ea2967-f540-4e7d-a641-d418703ece22" providerId="ADAL" clId="{859296AE-058C-4C65-BA04-6986791C2943}" dt="2024-02-02T18:24:50.879" v="30480" actId="478"/>
          <ac:picMkLst>
            <pc:docMk/>
            <pc:sldMk cId="1396490910" sldId="2147482385"/>
            <ac:picMk id="14" creationId="{4B400E2C-CED6-AFD9-1CF6-0407CB3C08EF}"/>
          </ac:picMkLst>
        </pc:picChg>
        <pc:picChg chg="add mod">
          <ac:chgData name="Laurence ANGILBERT" userId="28ea2967-f540-4e7d-a641-d418703ece22" providerId="ADAL" clId="{859296AE-058C-4C65-BA04-6986791C2943}" dt="2024-02-02T18:25:09.876" v="30509" actId="1036"/>
          <ac:picMkLst>
            <pc:docMk/>
            <pc:sldMk cId="1396490910" sldId="2147482385"/>
            <ac:picMk id="17" creationId="{E854BC60-6380-8EFB-C2EE-350976DC32CE}"/>
          </ac:picMkLst>
        </pc:picChg>
        <pc:picChg chg="add mod">
          <ac:chgData name="Laurence ANGILBERT" userId="28ea2967-f540-4e7d-a641-d418703ece22" providerId="ADAL" clId="{859296AE-058C-4C65-BA04-6986791C2943}" dt="2024-02-02T18:25:09.876" v="30509" actId="1036"/>
          <ac:picMkLst>
            <pc:docMk/>
            <pc:sldMk cId="1396490910" sldId="2147482385"/>
            <ac:picMk id="18" creationId="{F326AE16-7771-1E62-73F7-CF08441B8FDA}"/>
          </ac:picMkLst>
        </pc:picChg>
        <pc:picChg chg="add del mod">
          <ac:chgData name="Laurence ANGILBERT" userId="28ea2967-f540-4e7d-a641-d418703ece22" providerId="ADAL" clId="{859296AE-058C-4C65-BA04-6986791C2943}" dt="2024-02-02T10:07:56.690" v="26129" actId="21"/>
          <ac:picMkLst>
            <pc:docMk/>
            <pc:sldMk cId="1396490910" sldId="2147482385"/>
            <ac:picMk id="19" creationId="{D105E6B3-3919-CB56-C409-02831C86C03E}"/>
          </ac:picMkLst>
        </pc:picChg>
        <pc:picChg chg="add mod">
          <ac:chgData name="Laurence ANGILBERT" userId="28ea2967-f540-4e7d-a641-d418703ece22" providerId="ADAL" clId="{859296AE-058C-4C65-BA04-6986791C2943}" dt="2024-02-02T18:25:20.453" v="30534" actId="1035"/>
          <ac:picMkLst>
            <pc:docMk/>
            <pc:sldMk cId="1396490910" sldId="2147482385"/>
            <ac:picMk id="20" creationId="{0D944784-2072-3129-1BB7-E594FAD09AF6}"/>
          </ac:picMkLst>
        </pc:picChg>
        <pc:picChg chg="add mod">
          <ac:chgData name="Laurence ANGILBERT" userId="28ea2967-f540-4e7d-a641-d418703ece22" providerId="ADAL" clId="{859296AE-058C-4C65-BA04-6986791C2943}" dt="2024-02-02T18:25:20.453" v="30534" actId="1035"/>
          <ac:picMkLst>
            <pc:docMk/>
            <pc:sldMk cId="1396490910" sldId="2147482385"/>
            <ac:picMk id="21" creationId="{30921F61-1B29-F571-1AF3-D693D0B6B859}"/>
          </ac:picMkLst>
        </pc:picChg>
        <pc:picChg chg="add mod">
          <ac:chgData name="Laurence ANGILBERT" userId="28ea2967-f540-4e7d-a641-d418703ece22" providerId="ADAL" clId="{859296AE-058C-4C65-BA04-6986791C2943}" dt="2024-02-02T14:12:28.267" v="28838" actId="1076"/>
          <ac:picMkLst>
            <pc:docMk/>
            <pc:sldMk cId="1396490910" sldId="2147482385"/>
            <ac:picMk id="22" creationId="{F6954DC8-F37D-61E8-5DA6-E80A8F6BE7A5}"/>
          </ac:picMkLst>
        </pc:picChg>
        <pc:picChg chg="add del mod">
          <ac:chgData name="Laurence ANGILBERT" userId="28ea2967-f540-4e7d-a641-d418703ece22" providerId="ADAL" clId="{859296AE-058C-4C65-BA04-6986791C2943}" dt="2024-02-02T18:24:56.158" v="30482" actId="478"/>
          <ac:picMkLst>
            <pc:docMk/>
            <pc:sldMk cId="1396490910" sldId="2147482385"/>
            <ac:picMk id="23" creationId="{0295FF68-277F-C48B-D269-CD66275B2200}"/>
          </ac:picMkLst>
        </pc:picChg>
        <pc:picChg chg="add mod">
          <ac:chgData name="Laurence ANGILBERT" userId="28ea2967-f540-4e7d-a641-d418703ece22" providerId="ADAL" clId="{859296AE-058C-4C65-BA04-6986791C2943}" dt="2024-02-02T18:25:09.876" v="30509" actId="1036"/>
          <ac:picMkLst>
            <pc:docMk/>
            <pc:sldMk cId="1396490910" sldId="2147482385"/>
            <ac:picMk id="24" creationId="{F4A54EF9-9ECD-847F-F010-2959F2111BD7}"/>
          </ac:picMkLst>
        </pc:picChg>
        <pc:picChg chg="add mod">
          <ac:chgData name="Laurence ANGILBERT" userId="28ea2967-f540-4e7d-a641-d418703ece22" providerId="ADAL" clId="{859296AE-058C-4C65-BA04-6986791C2943}" dt="2024-02-02T18:25:09.876" v="30509" actId="1036"/>
          <ac:picMkLst>
            <pc:docMk/>
            <pc:sldMk cId="1396490910" sldId="2147482385"/>
            <ac:picMk id="25" creationId="{4E19B4D2-56B4-A5A3-828F-6E5C2710E6E8}"/>
          </ac:picMkLst>
        </pc:picChg>
        <pc:picChg chg="add mod">
          <ac:chgData name="Laurence ANGILBERT" userId="28ea2967-f540-4e7d-a641-d418703ece22" providerId="ADAL" clId="{859296AE-058C-4C65-BA04-6986791C2943}" dt="2024-02-02T18:25:09.876" v="30509" actId="1036"/>
          <ac:picMkLst>
            <pc:docMk/>
            <pc:sldMk cId="1396490910" sldId="2147482385"/>
            <ac:picMk id="26" creationId="{DC24E0E7-8569-BCA4-4275-DD0011D50619}"/>
          </ac:picMkLst>
        </pc:picChg>
      </pc:sldChg>
      <pc:sldChg chg="del">
        <pc:chgData name="Laurence ANGILBERT" userId="28ea2967-f540-4e7d-a641-d418703ece22" providerId="ADAL" clId="{859296AE-058C-4C65-BA04-6986791C2943}" dt="2024-02-02T13:28:47.234" v="28424" actId="2696"/>
        <pc:sldMkLst>
          <pc:docMk/>
          <pc:sldMk cId="2663546212" sldId="2147482386"/>
        </pc:sldMkLst>
      </pc:sldChg>
      <pc:sldChg chg="add del">
        <pc:chgData name="Laurence ANGILBERT" userId="28ea2967-f540-4e7d-a641-d418703ece22" providerId="ADAL" clId="{859296AE-058C-4C65-BA04-6986791C2943}" dt="2024-02-02T13:29:20.285" v="28426" actId="2696"/>
        <pc:sldMkLst>
          <pc:docMk/>
          <pc:sldMk cId="3690533698" sldId="2147482386"/>
        </pc:sldMkLst>
      </pc:sldChg>
      <pc:sldChg chg="add">
        <pc:chgData name="Laurence ANGILBERT" userId="28ea2967-f540-4e7d-a641-d418703ece22" providerId="ADAL" clId="{859296AE-058C-4C65-BA04-6986791C2943}" dt="2024-02-02T13:29:25.555" v="28427"/>
        <pc:sldMkLst>
          <pc:docMk/>
          <pc:sldMk cId="3803582852" sldId="2147482386"/>
        </pc:sldMkLst>
      </pc:sldChg>
      <pc:sldChg chg="modSp mod">
        <pc:chgData name="Laurence ANGILBERT" userId="28ea2967-f540-4e7d-a641-d418703ece22" providerId="ADAL" clId="{859296AE-058C-4C65-BA04-6986791C2943}" dt="2024-02-02T18:22:58.356" v="30478" actId="20577"/>
        <pc:sldMkLst>
          <pc:docMk/>
          <pc:sldMk cId="2566787782" sldId="2147482387"/>
        </pc:sldMkLst>
        <pc:spChg chg="mod">
          <ac:chgData name="Laurence ANGILBERT" userId="28ea2967-f540-4e7d-a641-d418703ece22" providerId="ADAL" clId="{859296AE-058C-4C65-BA04-6986791C2943}" dt="2024-02-02T18:22:58.356" v="30478" actId="20577"/>
          <ac:spMkLst>
            <pc:docMk/>
            <pc:sldMk cId="2566787782" sldId="2147482387"/>
            <ac:spMk id="49" creationId="{3C2CB9FD-E0F5-C0DC-27DF-1A4AA45DA099}"/>
          </ac:spMkLst>
        </pc:spChg>
      </pc:sldChg>
      <pc:sldChg chg="modSp mod">
        <pc:chgData name="Laurence ANGILBERT" userId="28ea2967-f540-4e7d-a641-d418703ece22" providerId="ADAL" clId="{859296AE-058C-4C65-BA04-6986791C2943}" dt="2024-02-02T18:29:40.775" v="30812" actId="6549"/>
        <pc:sldMkLst>
          <pc:docMk/>
          <pc:sldMk cId="1842583434" sldId="2147482388"/>
        </pc:sldMkLst>
        <pc:spChg chg="mod">
          <ac:chgData name="Laurence ANGILBERT" userId="28ea2967-f540-4e7d-a641-d418703ece22" providerId="ADAL" clId="{859296AE-058C-4C65-BA04-6986791C2943}" dt="2024-02-02T18:28:08.511" v="30604" actId="20577"/>
          <ac:spMkLst>
            <pc:docMk/>
            <pc:sldMk cId="1842583434" sldId="2147482388"/>
            <ac:spMk id="2" creationId="{AFEE6C69-7897-49F0-7AEF-DEC38AEB483B}"/>
          </ac:spMkLst>
        </pc:spChg>
        <pc:spChg chg="mod">
          <ac:chgData name="Laurence ANGILBERT" userId="28ea2967-f540-4e7d-a641-d418703ece22" providerId="ADAL" clId="{859296AE-058C-4C65-BA04-6986791C2943}" dt="2024-02-02T18:29:40.775" v="30812" actId="6549"/>
          <ac:spMkLst>
            <pc:docMk/>
            <pc:sldMk cId="1842583434" sldId="2147482388"/>
            <ac:spMk id="3" creationId="{FC466FF3-69E1-489D-8492-1C11425BD16C}"/>
          </ac:spMkLst>
        </pc:spChg>
      </pc:sldChg>
      <pc:sldChg chg="delSp modSp add del mod">
        <pc:chgData name="Laurence ANGILBERT" userId="28ea2967-f540-4e7d-a641-d418703ece22" providerId="ADAL" clId="{859296AE-058C-4C65-BA04-6986791C2943}" dt="2024-02-02T14:09:53.389" v="28796" actId="47"/>
        <pc:sldMkLst>
          <pc:docMk/>
          <pc:sldMk cId="2830084357" sldId="2147482388"/>
        </pc:sldMkLst>
        <pc:graphicFrameChg chg="modGraphic">
          <ac:chgData name="Laurence ANGILBERT" userId="28ea2967-f540-4e7d-a641-d418703ece22" providerId="ADAL" clId="{859296AE-058C-4C65-BA04-6986791C2943}" dt="2024-02-02T14:08:36.791" v="28771" actId="21"/>
          <ac:graphicFrameMkLst>
            <pc:docMk/>
            <pc:sldMk cId="2830084357" sldId="2147482388"/>
            <ac:graphicFrameMk id="27" creationId="{89D764C4-E944-33D1-1D07-054F8BB2F4FC}"/>
          </ac:graphicFrameMkLst>
        </pc:graphicFrameChg>
        <pc:picChg chg="del">
          <ac:chgData name="Laurence ANGILBERT" userId="28ea2967-f540-4e7d-a641-d418703ece22" providerId="ADAL" clId="{859296AE-058C-4C65-BA04-6986791C2943}" dt="2024-02-02T14:08:51.845" v="28773" actId="21"/>
          <ac:picMkLst>
            <pc:docMk/>
            <pc:sldMk cId="2830084357" sldId="2147482388"/>
            <ac:picMk id="37" creationId="{E924F1E4-2802-3523-E272-2D783B1C0FFE}"/>
          </ac:picMkLst>
        </pc:picChg>
        <pc:picChg chg="del">
          <ac:chgData name="Laurence ANGILBERT" userId="28ea2967-f540-4e7d-a641-d418703ece22" providerId="ADAL" clId="{859296AE-058C-4C65-BA04-6986791C2943}" dt="2024-02-02T14:08:51.845" v="28773" actId="21"/>
          <ac:picMkLst>
            <pc:docMk/>
            <pc:sldMk cId="2830084357" sldId="2147482388"/>
            <ac:picMk id="38" creationId="{BCD990CB-5E00-E13F-EB86-526B13F2A5BA}"/>
          </ac:picMkLst>
        </pc:picChg>
      </pc:sldChg>
      <pc:sldChg chg="delSp modSp add del mod">
        <pc:chgData name="Laurence ANGILBERT" userId="28ea2967-f540-4e7d-a641-d418703ece22" providerId="ADAL" clId="{859296AE-058C-4C65-BA04-6986791C2943}" dt="2024-02-02T14:34:39.244" v="29353" actId="47"/>
        <pc:sldMkLst>
          <pc:docMk/>
          <pc:sldMk cId="3140922868" sldId="2147482389"/>
        </pc:sldMkLst>
        <pc:graphicFrameChg chg="modGraphic">
          <ac:chgData name="Laurence ANGILBERT" userId="28ea2967-f540-4e7d-a641-d418703ece22" providerId="ADAL" clId="{859296AE-058C-4C65-BA04-6986791C2943}" dt="2024-02-02T14:33:49.088" v="29334" actId="21"/>
          <ac:graphicFrameMkLst>
            <pc:docMk/>
            <pc:sldMk cId="3140922868" sldId="2147482389"/>
            <ac:graphicFrameMk id="2" creationId="{63793679-98E2-42DF-5F95-151351E43B84}"/>
          </ac:graphicFrameMkLst>
        </pc:graphicFrameChg>
        <pc:picChg chg="del">
          <ac:chgData name="Laurence ANGILBERT" userId="28ea2967-f540-4e7d-a641-d418703ece22" providerId="ADAL" clId="{859296AE-058C-4C65-BA04-6986791C2943}" dt="2024-02-02T14:34:07.520" v="29344" actId="21"/>
          <ac:picMkLst>
            <pc:docMk/>
            <pc:sldMk cId="3140922868" sldId="2147482389"/>
            <ac:picMk id="28" creationId="{24600E04-334E-B96C-BDBB-1EF8B584E5D0}"/>
          </ac:picMkLst>
        </pc:picChg>
      </pc:sldChg>
      <pc:sldChg chg="modSp mod">
        <pc:chgData name="Laurence ANGILBERT" userId="28ea2967-f540-4e7d-a641-d418703ece22" providerId="ADAL" clId="{859296AE-058C-4C65-BA04-6986791C2943}" dt="2024-02-02T18:27:00.824" v="30597" actId="20577"/>
        <pc:sldMkLst>
          <pc:docMk/>
          <pc:sldMk cId="658512743" sldId="2147482390"/>
        </pc:sldMkLst>
        <pc:spChg chg="mod">
          <ac:chgData name="Laurence ANGILBERT" userId="28ea2967-f540-4e7d-a641-d418703ece22" providerId="ADAL" clId="{859296AE-058C-4C65-BA04-6986791C2943}" dt="2024-02-02T18:27:00.824" v="30597" actId="20577"/>
          <ac:spMkLst>
            <pc:docMk/>
            <pc:sldMk cId="658512743" sldId="2147482390"/>
            <ac:spMk id="14" creationId="{87DAD0CB-BA53-0307-2077-60A506CA4FD7}"/>
          </ac:spMkLst>
        </pc:spChg>
        <pc:spChg chg="mod">
          <ac:chgData name="Laurence ANGILBERT" userId="28ea2967-f540-4e7d-a641-d418703ece22" providerId="ADAL" clId="{859296AE-058C-4C65-BA04-6986791C2943}" dt="2024-02-02T18:26:47.796" v="30583" actId="20577"/>
          <ac:spMkLst>
            <pc:docMk/>
            <pc:sldMk cId="658512743" sldId="2147482390"/>
            <ac:spMk id="25" creationId="{8A2F8B1B-3339-38FB-F9DF-DB263BC89C15}"/>
          </ac:spMkLst>
        </pc:spChg>
      </pc:sldChg>
      <pc:sldChg chg="modSp mod">
        <pc:chgData name="Laurence ANGILBERT" userId="28ea2967-f540-4e7d-a641-d418703ece22" providerId="ADAL" clId="{859296AE-058C-4C65-BA04-6986791C2943}" dt="2024-02-02T18:29:50.778" v="30816" actId="20577"/>
        <pc:sldMkLst>
          <pc:docMk/>
          <pc:sldMk cId="2989955826" sldId="2147482391"/>
        </pc:sldMkLst>
        <pc:spChg chg="mod">
          <ac:chgData name="Laurence ANGILBERT" userId="28ea2967-f540-4e7d-a641-d418703ece22" providerId="ADAL" clId="{859296AE-058C-4C65-BA04-6986791C2943}" dt="2024-02-02T18:29:50.778" v="30816" actId="20577"/>
          <ac:spMkLst>
            <pc:docMk/>
            <pc:sldMk cId="2989955826" sldId="2147482391"/>
            <ac:spMk id="2" creationId="{AFEE6C69-7897-49F0-7AEF-DEC38AEB483B}"/>
          </ac:spMkLst>
        </pc:spChg>
      </pc:sldChg>
      <pc:sldMasterChg chg="delSldLayout">
        <pc:chgData name="Laurence ANGILBERT" userId="28ea2967-f540-4e7d-a641-d418703ece22" providerId="ADAL" clId="{859296AE-058C-4C65-BA04-6986791C2943}" dt="2024-02-02T13:30:46.400" v="28435" actId="2696"/>
        <pc:sldMasterMkLst>
          <pc:docMk/>
          <pc:sldMasterMk cId="2531651770" sldId="2147483701"/>
        </pc:sldMasterMkLst>
        <pc:sldLayoutChg chg="del">
          <pc:chgData name="Laurence ANGILBERT" userId="28ea2967-f540-4e7d-a641-d418703ece22" providerId="ADAL" clId="{859296AE-058C-4C65-BA04-6986791C2943}" dt="2024-02-02T13:30:46.400" v="28435" actId="2696"/>
          <pc:sldLayoutMkLst>
            <pc:docMk/>
            <pc:sldMasterMk cId="2531651770" sldId="2147483701"/>
            <pc:sldLayoutMk cId="1549862716" sldId="2147483752"/>
          </pc:sldLayoutMkLst>
        </pc:sldLayoutChg>
        <pc:sldLayoutChg chg="del">
          <pc:chgData name="Laurence ANGILBERT" userId="28ea2967-f540-4e7d-a641-d418703ece22" providerId="ADAL" clId="{859296AE-058C-4C65-BA04-6986791C2943}" dt="2024-01-31T13:57:01.518" v="13076" actId="47"/>
          <pc:sldLayoutMkLst>
            <pc:docMk/>
            <pc:sldMasterMk cId="2531651770" sldId="2147483701"/>
            <pc:sldLayoutMk cId="909830878" sldId="2147483848"/>
          </pc:sldLayoutMkLst>
        </pc:sldLayoutChg>
        <pc:sldLayoutChg chg="del">
          <pc:chgData name="Laurence ANGILBERT" userId="28ea2967-f540-4e7d-a641-d418703ece22" providerId="ADAL" clId="{859296AE-058C-4C65-BA04-6986791C2943}" dt="2024-01-31T16:14:38.473" v="14860" actId="47"/>
          <pc:sldLayoutMkLst>
            <pc:docMk/>
            <pc:sldMasterMk cId="2531651770" sldId="2147483701"/>
            <pc:sldLayoutMk cId="4168427786" sldId="2147483860"/>
          </pc:sldLayoutMkLst>
        </pc:sldLayoutChg>
      </pc:sldMasterChg>
      <pc:sldMasterChg chg="del delSldLayout">
        <pc:chgData name="Laurence ANGILBERT" userId="28ea2967-f540-4e7d-a641-d418703ece22" providerId="ADAL" clId="{859296AE-058C-4C65-BA04-6986791C2943}" dt="2024-01-31T03:28:46.388" v="7704" actId="47"/>
        <pc:sldMasterMkLst>
          <pc:docMk/>
          <pc:sldMasterMk cId="3313951240" sldId="2147483850"/>
        </pc:sldMasterMkLst>
        <pc:sldLayoutChg chg="del">
          <pc:chgData name="Laurence ANGILBERT" userId="28ea2967-f540-4e7d-a641-d418703ece22" providerId="ADAL" clId="{859296AE-058C-4C65-BA04-6986791C2943}" dt="2024-01-31T03:28:46.388" v="7704" actId="47"/>
          <pc:sldLayoutMkLst>
            <pc:docMk/>
            <pc:sldMasterMk cId="3313951240" sldId="2147483850"/>
            <pc:sldLayoutMk cId="3870027846" sldId="2147483851"/>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1086209876" sldId="2147483852"/>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1488438580" sldId="2147483853"/>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3631871831" sldId="2147483854"/>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4166275978" sldId="2147483855"/>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4142500309" sldId="2147483856"/>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3424717678" sldId="2147483857"/>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3511770149" sldId="2147483858"/>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495709549" sldId="2147483859"/>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436867127" sldId="2147483860"/>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666783578" sldId="2147483861"/>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2079242623" sldId="2147483862"/>
          </pc:sldLayoutMkLst>
        </pc:sldLayoutChg>
        <pc:sldLayoutChg chg="del">
          <pc:chgData name="Laurence ANGILBERT" userId="28ea2967-f540-4e7d-a641-d418703ece22" providerId="ADAL" clId="{859296AE-058C-4C65-BA04-6986791C2943}" dt="2024-01-31T03:28:46.388" v="7704" actId="47"/>
          <pc:sldLayoutMkLst>
            <pc:docMk/>
            <pc:sldMasterMk cId="3313951240" sldId="2147483850"/>
            <pc:sldLayoutMk cId="1515086696" sldId="2147483863"/>
          </pc:sldLayoutMkLst>
        </pc:sldLayoutChg>
      </pc:sldMasterChg>
    </pc:docChg>
  </pc:docChgLst>
  <pc:docChgLst>
    <pc:chgData name="Julia PONT" userId="6ea7fb32-49be-46d9-9d69-f51ddf012212" providerId="ADAL" clId="{2A9E832C-25F6-4F2E-84DD-F34ECE0E3917}"/>
    <pc:docChg chg="undo redo custSel addSld delSld modSld sldOrd">
      <pc:chgData name="Julia PONT" userId="6ea7fb32-49be-46d9-9d69-f51ddf012212" providerId="ADAL" clId="{2A9E832C-25F6-4F2E-84DD-F34ECE0E3917}" dt="2024-02-02T15:15:27.075" v="20061" actId="20577"/>
      <pc:docMkLst>
        <pc:docMk/>
      </pc:docMkLst>
      <pc:sldChg chg="addSp delSp modSp mod">
        <pc:chgData name="Julia PONT" userId="6ea7fb32-49be-46d9-9d69-f51ddf012212" providerId="ADAL" clId="{2A9E832C-25F6-4F2E-84DD-F34ECE0E3917}" dt="2024-01-29T17:29:52.124" v="2902" actId="478"/>
        <pc:sldMkLst>
          <pc:docMk/>
          <pc:sldMk cId="0" sldId="257"/>
        </pc:sldMkLst>
        <pc:picChg chg="add mod">
          <ac:chgData name="Julia PONT" userId="6ea7fb32-49be-46d9-9d69-f51ddf012212" providerId="ADAL" clId="{2A9E832C-25F6-4F2E-84DD-F34ECE0E3917}" dt="2024-01-29T17:29:48.547" v="2901" actId="1076"/>
          <ac:picMkLst>
            <pc:docMk/>
            <pc:sldMk cId="0" sldId="257"/>
            <ac:picMk id="5" creationId="{1702D6D7-8EE2-BC46-D3BA-75D407AEFCDB}"/>
          </ac:picMkLst>
        </pc:picChg>
        <pc:picChg chg="del">
          <ac:chgData name="Julia PONT" userId="6ea7fb32-49be-46d9-9d69-f51ddf012212" providerId="ADAL" clId="{2A9E832C-25F6-4F2E-84DD-F34ECE0E3917}" dt="2024-01-29T17:29:52.124" v="2902" actId="478"/>
          <ac:picMkLst>
            <pc:docMk/>
            <pc:sldMk cId="0" sldId="257"/>
            <ac:picMk id="1026" creationId="{F4406BF0-A6CF-92B8-9503-9119B1C272F5}"/>
          </ac:picMkLst>
        </pc:picChg>
      </pc:sldChg>
      <pc:sldChg chg="del">
        <pc:chgData name="Julia PONT" userId="6ea7fb32-49be-46d9-9d69-f51ddf012212" providerId="ADAL" clId="{2A9E832C-25F6-4F2E-84DD-F34ECE0E3917}" dt="2024-02-02T14:50:26.144" v="19747" actId="47"/>
        <pc:sldMkLst>
          <pc:docMk/>
          <pc:sldMk cId="1494044101" sldId="332"/>
        </pc:sldMkLst>
      </pc:sldChg>
      <pc:sldChg chg="modSp mod">
        <pc:chgData name="Julia PONT" userId="6ea7fb32-49be-46d9-9d69-f51ddf012212" providerId="ADAL" clId="{2A9E832C-25F6-4F2E-84DD-F34ECE0E3917}" dt="2024-02-02T15:07:26.439" v="20007" actId="2711"/>
        <pc:sldMkLst>
          <pc:docMk/>
          <pc:sldMk cId="4028295010" sldId="8008"/>
        </pc:sldMkLst>
        <pc:spChg chg="mod">
          <ac:chgData name="Julia PONT" userId="6ea7fb32-49be-46d9-9d69-f51ddf012212" providerId="ADAL" clId="{2A9E832C-25F6-4F2E-84DD-F34ECE0E3917}" dt="2024-02-02T15:07:26.439" v="20007" actId="2711"/>
          <ac:spMkLst>
            <pc:docMk/>
            <pc:sldMk cId="4028295010" sldId="8008"/>
            <ac:spMk id="7" creationId="{57A288DB-80E7-978F-4896-306A8CD7B875}"/>
          </ac:spMkLst>
        </pc:spChg>
        <pc:spChg chg="mod">
          <ac:chgData name="Julia PONT" userId="6ea7fb32-49be-46d9-9d69-f51ddf012212" providerId="ADAL" clId="{2A9E832C-25F6-4F2E-84DD-F34ECE0E3917}" dt="2024-02-02T15:07:26.439" v="20007" actId="2711"/>
          <ac:spMkLst>
            <pc:docMk/>
            <pc:sldMk cId="4028295010" sldId="8008"/>
            <ac:spMk id="11" creationId="{7D3E72B2-7C2E-A0EE-72D1-B3E8926BF504}"/>
          </ac:spMkLst>
        </pc:spChg>
        <pc:spChg chg="mod">
          <ac:chgData name="Julia PONT" userId="6ea7fb32-49be-46d9-9d69-f51ddf012212" providerId="ADAL" clId="{2A9E832C-25F6-4F2E-84DD-F34ECE0E3917}" dt="2024-02-02T15:07:26.439" v="20007" actId="2711"/>
          <ac:spMkLst>
            <pc:docMk/>
            <pc:sldMk cId="4028295010" sldId="8008"/>
            <ac:spMk id="20" creationId="{7D1772DF-A8CA-4534-8680-DEFCE6825AF4}"/>
          </ac:spMkLst>
        </pc:spChg>
        <pc:spChg chg="mod">
          <ac:chgData name="Julia PONT" userId="6ea7fb32-49be-46d9-9d69-f51ddf012212" providerId="ADAL" clId="{2A9E832C-25F6-4F2E-84DD-F34ECE0E3917}" dt="2024-02-02T15:07:26.439" v="20007" actId="2711"/>
          <ac:spMkLst>
            <pc:docMk/>
            <pc:sldMk cId="4028295010" sldId="8008"/>
            <ac:spMk id="21" creationId="{4A9712BC-2492-44A1-9479-D0153480674B}"/>
          </ac:spMkLst>
        </pc:spChg>
        <pc:spChg chg="mod">
          <ac:chgData name="Julia PONT" userId="6ea7fb32-49be-46d9-9d69-f51ddf012212" providerId="ADAL" clId="{2A9E832C-25F6-4F2E-84DD-F34ECE0E3917}" dt="2024-02-02T15:07:26.439" v="20007" actId="2711"/>
          <ac:spMkLst>
            <pc:docMk/>
            <pc:sldMk cId="4028295010" sldId="8008"/>
            <ac:spMk id="28" creationId="{016D43FE-C605-4F5D-B68F-F4D82B931A91}"/>
          </ac:spMkLst>
        </pc:spChg>
        <pc:spChg chg="mod">
          <ac:chgData name="Julia PONT" userId="6ea7fb32-49be-46d9-9d69-f51ddf012212" providerId="ADAL" clId="{2A9E832C-25F6-4F2E-84DD-F34ECE0E3917}" dt="2024-02-02T15:07:26.439" v="20007" actId="2711"/>
          <ac:spMkLst>
            <pc:docMk/>
            <pc:sldMk cId="4028295010" sldId="8008"/>
            <ac:spMk id="29" creationId="{18CB3812-FD95-4F66-9858-A878242AF8F9}"/>
          </ac:spMkLst>
        </pc:spChg>
        <pc:spChg chg="mod">
          <ac:chgData name="Julia PONT" userId="6ea7fb32-49be-46d9-9d69-f51ddf012212" providerId="ADAL" clId="{2A9E832C-25F6-4F2E-84DD-F34ECE0E3917}" dt="2024-02-02T15:07:26.439" v="20007" actId="2711"/>
          <ac:spMkLst>
            <pc:docMk/>
            <pc:sldMk cId="4028295010" sldId="8008"/>
            <ac:spMk id="36" creationId="{CB6C19FB-BB7C-479D-96E1-BCDA386CED87}"/>
          </ac:spMkLst>
        </pc:spChg>
        <pc:spChg chg="mod">
          <ac:chgData name="Julia PONT" userId="6ea7fb32-49be-46d9-9d69-f51ddf012212" providerId="ADAL" clId="{2A9E832C-25F6-4F2E-84DD-F34ECE0E3917}" dt="2024-02-02T15:07:26.439" v="20007" actId="2711"/>
          <ac:spMkLst>
            <pc:docMk/>
            <pc:sldMk cId="4028295010" sldId="8008"/>
            <ac:spMk id="37" creationId="{766E072B-347D-4D37-A2CF-742E56C6BF53}"/>
          </ac:spMkLst>
        </pc:spChg>
        <pc:spChg chg="mod">
          <ac:chgData name="Julia PONT" userId="6ea7fb32-49be-46d9-9d69-f51ddf012212" providerId="ADAL" clId="{2A9E832C-25F6-4F2E-84DD-F34ECE0E3917}" dt="2024-02-02T15:07:26.439" v="20007" actId="2711"/>
          <ac:spMkLst>
            <pc:docMk/>
            <pc:sldMk cId="4028295010" sldId="8008"/>
            <ac:spMk id="45" creationId="{A93F5781-8FE6-4D64-9B71-5AA483F8D0DF}"/>
          </ac:spMkLst>
        </pc:spChg>
        <pc:spChg chg="mod">
          <ac:chgData name="Julia PONT" userId="6ea7fb32-49be-46d9-9d69-f51ddf012212" providerId="ADAL" clId="{2A9E832C-25F6-4F2E-84DD-F34ECE0E3917}" dt="2024-02-02T15:07:26.439" v="20007" actId="2711"/>
          <ac:spMkLst>
            <pc:docMk/>
            <pc:sldMk cId="4028295010" sldId="8008"/>
            <ac:spMk id="46" creationId="{01EE19DC-96DE-42EA-8334-7CED2C560D6A}"/>
          </ac:spMkLst>
        </pc:spChg>
        <pc:spChg chg="mod">
          <ac:chgData name="Julia PONT" userId="6ea7fb32-49be-46d9-9d69-f51ddf012212" providerId="ADAL" clId="{2A9E832C-25F6-4F2E-84DD-F34ECE0E3917}" dt="2024-02-02T15:07:26.439" v="20007" actId="2711"/>
          <ac:spMkLst>
            <pc:docMk/>
            <pc:sldMk cId="4028295010" sldId="8008"/>
            <ac:spMk id="53" creationId="{87C35C41-FAC6-40A9-B3E0-3E6B5A97528D}"/>
          </ac:spMkLst>
        </pc:spChg>
        <pc:spChg chg="mod">
          <ac:chgData name="Julia PONT" userId="6ea7fb32-49be-46d9-9d69-f51ddf012212" providerId="ADAL" clId="{2A9E832C-25F6-4F2E-84DD-F34ECE0E3917}" dt="2024-02-02T15:07:26.439" v="20007" actId="2711"/>
          <ac:spMkLst>
            <pc:docMk/>
            <pc:sldMk cId="4028295010" sldId="8008"/>
            <ac:spMk id="54" creationId="{4E3F8DDF-254A-4F72-A8E4-4E94087EAFAF}"/>
          </ac:spMkLst>
        </pc:spChg>
        <pc:graphicFrameChg chg="modGraphic">
          <ac:chgData name="Julia PONT" userId="6ea7fb32-49be-46d9-9d69-f51ddf012212" providerId="ADAL" clId="{2A9E832C-25F6-4F2E-84DD-F34ECE0E3917}" dt="2024-02-01T17:47:05.832" v="17820" actId="2711"/>
          <ac:graphicFrameMkLst>
            <pc:docMk/>
            <pc:sldMk cId="4028295010" sldId="8008"/>
            <ac:graphicFrameMk id="66" creationId="{8B4DDF8D-5451-4B9A-BCF8-057011D0841C}"/>
          </ac:graphicFrameMkLst>
        </pc:graphicFrameChg>
      </pc:sldChg>
      <pc:sldChg chg="modSp mod">
        <pc:chgData name="Julia PONT" userId="6ea7fb32-49be-46d9-9d69-f51ddf012212" providerId="ADAL" clId="{2A9E832C-25F6-4F2E-84DD-F34ECE0E3917}" dt="2024-02-01T15:52:52.822" v="16233" actId="113"/>
        <pc:sldMkLst>
          <pc:docMk/>
          <pc:sldMk cId="3024221530" sldId="9003"/>
        </pc:sldMkLst>
        <pc:graphicFrameChg chg="mod modGraphic">
          <ac:chgData name="Julia PONT" userId="6ea7fb32-49be-46d9-9d69-f51ddf012212" providerId="ADAL" clId="{2A9E832C-25F6-4F2E-84DD-F34ECE0E3917}" dt="2024-02-01T15:52:52.822" v="16233" actId="113"/>
          <ac:graphicFrameMkLst>
            <pc:docMk/>
            <pc:sldMk cId="3024221530" sldId="9003"/>
            <ac:graphicFrameMk id="6" creationId="{F49AD9D9-8EB9-40C8-817E-797AEF95B20C}"/>
          </ac:graphicFrameMkLst>
        </pc:graphicFrameChg>
      </pc:sldChg>
      <pc:sldChg chg="modSp mod">
        <pc:chgData name="Julia PONT" userId="6ea7fb32-49be-46d9-9d69-f51ddf012212" providerId="ADAL" clId="{2A9E832C-25F6-4F2E-84DD-F34ECE0E3917}" dt="2024-02-02T08:24:37.258" v="17835" actId="255"/>
        <pc:sldMkLst>
          <pc:docMk/>
          <pc:sldMk cId="3662488934" sldId="9006"/>
        </pc:sldMkLst>
        <pc:spChg chg="mod">
          <ac:chgData name="Julia PONT" userId="6ea7fb32-49be-46d9-9d69-f51ddf012212" providerId="ADAL" clId="{2A9E832C-25F6-4F2E-84DD-F34ECE0E3917}" dt="2024-02-02T08:24:37.258" v="17835" actId="255"/>
          <ac:spMkLst>
            <pc:docMk/>
            <pc:sldMk cId="3662488934" sldId="9006"/>
            <ac:spMk id="12" creationId="{6949D553-9B02-42D7-9487-5D76097EDB8C}"/>
          </ac:spMkLst>
        </pc:spChg>
      </pc:sldChg>
      <pc:sldChg chg="modSp mod">
        <pc:chgData name="Julia PONT" userId="6ea7fb32-49be-46d9-9d69-f51ddf012212" providerId="ADAL" clId="{2A9E832C-25F6-4F2E-84DD-F34ECE0E3917}" dt="2024-01-26T16:14:57.550" v="74" actId="113"/>
        <pc:sldMkLst>
          <pc:docMk/>
          <pc:sldMk cId="320320174" sldId="9011"/>
        </pc:sldMkLst>
        <pc:graphicFrameChg chg="mod modGraphic">
          <ac:chgData name="Julia PONT" userId="6ea7fb32-49be-46d9-9d69-f51ddf012212" providerId="ADAL" clId="{2A9E832C-25F6-4F2E-84DD-F34ECE0E3917}" dt="2024-01-26T16:14:57.550" v="74" actId="113"/>
          <ac:graphicFrameMkLst>
            <pc:docMk/>
            <pc:sldMk cId="320320174" sldId="9011"/>
            <ac:graphicFrameMk id="6" creationId="{F49AD9D9-8EB9-40C8-817E-797AEF95B20C}"/>
          </ac:graphicFrameMkLst>
        </pc:graphicFrameChg>
      </pc:sldChg>
      <pc:sldChg chg="modSp mod">
        <pc:chgData name="Julia PONT" userId="6ea7fb32-49be-46d9-9d69-f51ddf012212" providerId="ADAL" clId="{2A9E832C-25F6-4F2E-84DD-F34ECE0E3917}" dt="2024-01-26T16:14:29.743" v="70" actId="207"/>
        <pc:sldMkLst>
          <pc:docMk/>
          <pc:sldMk cId="3703637770" sldId="9012"/>
        </pc:sldMkLst>
        <pc:graphicFrameChg chg="mod modGraphic">
          <ac:chgData name="Julia PONT" userId="6ea7fb32-49be-46d9-9d69-f51ddf012212" providerId="ADAL" clId="{2A9E832C-25F6-4F2E-84DD-F34ECE0E3917}" dt="2024-01-26T16:14:29.743" v="70" actId="207"/>
          <ac:graphicFrameMkLst>
            <pc:docMk/>
            <pc:sldMk cId="3703637770" sldId="9012"/>
            <ac:graphicFrameMk id="6" creationId="{F49AD9D9-8EB9-40C8-817E-797AEF95B20C}"/>
          </ac:graphicFrameMkLst>
        </pc:graphicFrameChg>
      </pc:sldChg>
      <pc:sldChg chg="del">
        <pc:chgData name="Julia PONT" userId="6ea7fb32-49be-46d9-9d69-f51ddf012212" providerId="ADAL" clId="{2A9E832C-25F6-4F2E-84DD-F34ECE0E3917}" dt="2024-01-30T15:41:33.273" v="5466" actId="47"/>
        <pc:sldMkLst>
          <pc:docMk/>
          <pc:sldMk cId="3338283755" sldId="2076137969"/>
        </pc:sldMkLst>
      </pc:sldChg>
      <pc:sldChg chg="addSp delSp modSp add mod">
        <pc:chgData name="Julia PONT" userId="6ea7fb32-49be-46d9-9d69-f51ddf012212" providerId="ADAL" clId="{2A9E832C-25F6-4F2E-84DD-F34ECE0E3917}" dt="2024-02-02T08:34:56.667" v="17918" actId="207"/>
        <pc:sldMkLst>
          <pc:docMk/>
          <pc:sldMk cId="549485756" sldId="2142532689"/>
        </pc:sldMkLst>
        <pc:spChg chg="add mod">
          <ac:chgData name="Julia PONT" userId="6ea7fb32-49be-46d9-9d69-f51ddf012212" providerId="ADAL" clId="{2A9E832C-25F6-4F2E-84DD-F34ECE0E3917}" dt="2024-01-29T18:07:12.401" v="3700" actId="20577"/>
          <ac:spMkLst>
            <pc:docMk/>
            <pc:sldMk cId="549485756" sldId="2142532689"/>
            <ac:spMk id="2" creationId="{37ABA3EB-E2C2-19FA-8155-950A7F5BB28C}"/>
          </ac:spMkLst>
        </pc:spChg>
        <pc:spChg chg="del">
          <ac:chgData name="Julia PONT" userId="6ea7fb32-49be-46d9-9d69-f51ddf012212" providerId="ADAL" clId="{2A9E832C-25F6-4F2E-84DD-F34ECE0E3917}" dt="2024-01-26T16:21:20.038" v="153" actId="478"/>
          <ac:spMkLst>
            <pc:docMk/>
            <pc:sldMk cId="549485756" sldId="2142532689"/>
            <ac:spMk id="2" creationId="{ABFD8919-58B5-CBF1-8B21-0D9CABB937CD}"/>
          </ac:spMkLst>
        </pc:spChg>
        <pc:spChg chg="add mod">
          <ac:chgData name="Julia PONT" userId="6ea7fb32-49be-46d9-9d69-f51ddf012212" providerId="ADAL" clId="{2A9E832C-25F6-4F2E-84DD-F34ECE0E3917}" dt="2024-02-01T13:28:12.573" v="14148" actId="14100"/>
          <ac:spMkLst>
            <pc:docMk/>
            <pc:sldMk cId="549485756" sldId="2142532689"/>
            <ac:spMk id="2" creationId="{B8203CF6-DC42-0C46-CD16-4F343DF5FE77}"/>
          </ac:spMkLst>
        </pc:spChg>
        <pc:spChg chg="add mod topLvl">
          <ac:chgData name="Julia PONT" userId="6ea7fb32-49be-46d9-9d69-f51ddf012212" providerId="ADAL" clId="{2A9E832C-25F6-4F2E-84DD-F34ECE0E3917}" dt="2024-02-02T08:30:03.017" v="17891" actId="164"/>
          <ac:spMkLst>
            <pc:docMk/>
            <pc:sldMk cId="549485756" sldId="2142532689"/>
            <ac:spMk id="3" creationId="{667C8A85-8CD5-181E-1B44-9BED4BC58ECF}"/>
          </ac:spMkLst>
        </pc:spChg>
        <pc:spChg chg="del">
          <ac:chgData name="Julia PONT" userId="6ea7fb32-49be-46d9-9d69-f51ddf012212" providerId="ADAL" clId="{2A9E832C-25F6-4F2E-84DD-F34ECE0E3917}" dt="2024-01-26T16:21:20.038" v="153" actId="478"/>
          <ac:spMkLst>
            <pc:docMk/>
            <pc:sldMk cId="549485756" sldId="2142532689"/>
            <ac:spMk id="4" creationId="{E1F6AF39-21B8-35CC-8E14-120A511ABE0E}"/>
          </ac:spMkLst>
        </pc:spChg>
        <pc:spChg chg="mod">
          <ac:chgData name="Julia PONT" userId="6ea7fb32-49be-46d9-9d69-f51ddf012212" providerId="ADAL" clId="{2A9E832C-25F6-4F2E-84DD-F34ECE0E3917}" dt="2024-02-02T08:28:53.444" v="17884" actId="165"/>
          <ac:spMkLst>
            <pc:docMk/>
            <pc:sldMk cId="549485756" sldId="2142532689"/>
            <ac:spMk id="5" creationId="{544069F3-8220-51EE-508A-1C07112F822D}"/>
          </ac:spMkLst>
        </pc:spChg>
        <pc:spChg chg="mod topLvl">
          <ac:chgData name="Julia PONT" userId="6ea7fb32-49be-46d9-9d69-f51ddf012212" providerId="ADAL" clId="{2A9E832C-25F6-4F2E-84DD-F34ECE0E3917}" dt="2024-01-26T16:36:25.208" v="435" actId="255"/>
          <ac:spMkLst>
            <pc:docMk/>
            <pc:sldMk cId="549485756" sldId="2142532689"/>
            <ac:spMk id="7" creationId="{8079125D-CFC6-49E2-531A-B3BCD8992476}"/>
          </ac:spMkLst>
        </pc:spChg>
        <pc:spChg chg="add mod topLvl">
          <ac:chgData name="Julia PONT" userId="6ea7fb32-49be-46d9-9d69-f51ddf012212" providerId="ADAL" clId="{2A9E832C-25F6-4F2E-84DD-F34ECE0E3917}" dt="2024-02-02T08:30:03.017" v="17891" actId="164"/>
          <ac:spMkLst>
            <pc:docMk/>
            <pc:sldMk cId="549485756" sldId="2142532689"/>
            <ac:spMk id="8" creationId="{DE545888-F0D1-9B72-F95E-9BE644FB71DD}"/>
          </ac:spMkLst>
        </pc:spChg>
        <pc:spChg chg="del">
          <ac:chgData name="Julia PONT" userId="6ea7fb32-49be-46d9-9d69-f51ddf012212" providerId="ADAL" clId="{2A9E832C-25F6-4F2E-84DD-F34ECE0E3917}" dt="2024-01-26T16:21:20.038" v="153" actId="478"/>
          <ac:spMkLst>
            <pc:docMk/>
            <pc:sldMk cId="549485756" sldId="2142532689"/>
            <ac:spMk id="10" creationId="{6224314F-8EFA-23B6-FBD8-6230815F75AB}"/>
          </ac:spMkLst>
        </pc:spChg>
        <pc:spChg chg="mod">
          <ac:chgData name="Julia PONT" userId="6ea7fb32-49be-46d9-9d69-f51ddf012212" providerId="ADAL" clId="{2A9E832C-25F6-4F2E-84DD-F34ECE0E3917}" dt="2024-02-02T08:29:58.953" v="17890" actId="207"/>
          <ac:spMkLst>
            <pc:docMk/>
            <pc:sldMk cId="549485756" sldId="2142532689"/>
            <ac:spMk id="18" creationId="{C8231268-C2B2-BE48-01AF-35E343770CEF}"/>
          </ac:spMkLst>
        </pc:spChg>
        <pc:spChg chg="mod">
          <ac:chgData name="Julia PONT" userId="6ea7fb32-49be-46d9-9d69-f51ddf012212" providerId="ADAL" clId="{2A9E832C-25F6-4F2E-84DD-F34ECE0E3917}" dt="2024-02-02T08:28:53.444" v="17884" actId="165"/>
          <ac:spMkLst>
            <pc:docMk/>
            <pc:sldMk cId="549485756" sldId="2142532689"/>
            <ac:spMk id="19" creationId="{2919C7B7-E893-CF95-29BA-9D5F3B7828C1}"/>
          </ac:spMkLst>
        </pc:spChg>
        <pc:spChg chg="del">
          <ac:chgData name="Julia PONT" userId="6ea7fb32-49be-46d9-9d69-f51ddf012212" providerId="ADAL" clId="{2A9E832C-25F6-4F2E-84DD-F34ECE0E3917}" dt="2024-01-26T16:21:20.038" v="153" actId="478"/>
          <ac:spMkLst>
            <pc:docMk/>
            <pc:sldMk cId="549485756" sldId="2142532689"/>
            <ac:spMk id="23" creationId="{6E845714-A151-017A-FDCE-E74D45EAC45A}"/>
          </ac:spMkLst>
        </pc:spChg>
        <pc:spChg chg="del">
          <ac:chgData name="Julia PONT" userId="6ea7fb32-49be-46d9-9d69-f51ddf012212" providerId="ADAL" clId="{2A9E832C-25F6-4F2E-84DD-F34ECE0E3917}" dt="2024-01-26T16:21:20.038" v="153" actId="478"/>
          <ac:spMkLst>
            <pc:docMk/>
            <pc:sldMk cId="549485756" sldId="2142532689"/>
            <ac:spMk id="24" creationId="{572ACBD2-3395-DE0D-4894-2C7FA9C50882}"/>
          </ac:spMkLst>
        </pc:spChg>
        <pc:spChg chg="mod topLvl">
          <ac:chgData name="Julia PONT" userId="6ea7fb32-49be-46d9-9d69-f51ddf012212" providerId="ADAL" clId="{2A9E832C-25F6-4F2E-84DD-F34ECE0E3917}" dt="2024-02-02T08:31:05.084" v="17899" actId="11"/>
          <ac:spMkLst>
            <pc:docMk/>
            <pc:sldMk cId="549485756" sldId="2142532689"/>
            <ac:spMk id="25" creationId="{1515E993-6069-6C0D-1BB2-F62EC1A5417F}"/>
          </ac:spMkLst>
        </pc:spChg>
        <pc:spChg chg="mod">
          <ac:chgData name="Julia PONT" userId="6ea7fb32-49be-46d9-9d69-f51ddf012212" providerId="ADAL" clId="{2A9E832C-25F6-4F2E-84DD-F34ECE0E3917}" dt="2024-02-02T08:28:41.705" v="17883"/>
          <ac:spMkLst>
            <pc:docMk/>
            <pc:sldMk cId="549485756" sldId="2142532689"/>
            <ac:spMk id="30" creationId="{A8A15718-341E-1618-BBFE-8DE79C4D1726}"/>
          </ac:spMkLst>
        </pc:spChg>
        <pc:spChg chg="mod">
          <ac:chgData name="Julia PONT" userId="6ea7fb32-49be-46d9-9d69-f51ddf012212" providerId="ADAL" clId="{2A9E832C-25F6-4F2E-84DD-F34ECE0E3917}" dt="2024-02-02T08:29:46.994" v="17887" actId="207"/>
          <ac:spMkLst>
            <pc:docMk/>
            <pc:sldMk cId="549485756" sldId="2142532689"/>
            <ac:spMk id="32" creationId="{B3495833-9CC2-ED21-6E68-56E657DD98F8}"/>
          </ac:spMkLst>
        </pc:spChg>
        <pc:spChg chg="mod">
          <ac:chgData name="Julia PONT" userId="6ea7fb32-49be-46d9-9d69-f51ddf012212" providerId="ADAL" clId="{2A9E832C-25F6-4F2E-84DD-F34ECE0E3917}" dt="2024-02-02T08:29:50.757" v="17888" actId="207"/>
          <ac:spMkLst>
            <pc:docMk/>
            <pc:sldMk cId="549485756" sldId="2142532689"/>
            <ac:spMk id="33" creationId="{7A064286-2ACC-8408-C2B8-83BB75643094}"/>
          </ac:spMkLst>
        </pc:spChg>
        <pc:spChg chg="mod">
          <ac:chgData name="Julia PONT" userId="6ea7fb32-49be-46d9-9d69-f51ddf012212" providerId="ADAL" clId="{2A9E832C-25F6-4F2E-84DD-F34ECE0E3917}" dt="2024-02-02T08:34:56.667" v="17918" actId="207"/>
          <ac:spMkLst>
            <pc:docMk/>
            <pc:sldMk cId="549485756" sldId="2142532689"/>
            <ac:spMk id="34" creationId="{9650F1C7-7C98-3C61-8C3C-2BBA81E3429C}"/>
          </ac:spMkLst>
        </pc:spChg>
        <pc:spChg chg="mod">
          <ac:chgData name="Julia PONT" userId="6ea7fb32-49be-46d9-9d69-f51ddf012212" providerId="ADAL" clId="{2A9E832C-25F6-4F2E-84DD-F34ECE0E3917}" dt="2024-02-02T08:28:53.444" v="17884" actId="165"/>
          <ac:spMkLst>
            <pc:docMk/>
            <pc:sldMk cId="549485756" sldId="2142532689"/>
            <ac:spMk id="38" creationId="{B39395E4-28F0-BDD2-0069-AD0984A16A96}"/>
          </ac:spMkLst>
        </pc:spChg>
        <pc:grpChg chg="add mod">
          <ac:chgData name="Julia PONT" userId="6ea7fb32-49be-46d9-9d69-f51ddf012212" providerId="ADAL" clId="{2A9E832C-25F6-4F2E-84DD-F34ECE0E3917}" dt="2024-02-02T08:30:03.017" v="17891" actId="164"/>
          <ac:grpSpMkLst>
            <pc:docMk/>
            <pc:sldMk cId="549485756" sldId="2142532689"/>
            <ac:grpSpMk id="2" creationId="{B7591FB7-9EB5-1898-48B3-1F2E4E077AD4}"/>
          </ac:grpSpMkLst>
        </pc:grpChg>
        <pc:grpChg chg="add del mod">
          <ac:chgData name="Julia PONT" userId="6ea7fb32-49be-46d9-9d69-f51ddf012212" providerId="ADAL" clId="{2A9E832C-25F6-4F2E-84DD-F34ECE0E3917}" dt="2024-01-26T16:38:33.733" v="591" actId="165"/>
          <ac:grpSpMkLst>
            <pc:docMk/>
            <pc:sldMk cId="549485756" sldId="2142532689"/>
            <ac:grpSpMk id="11" creationId="{1DF2DEE5-3FE9-640C-600A-0293D1EC0A4D}"/>
          </ac:grpSpMkLst>
        </pc:grpChg>
        <pc:grpChg chg="add mod topLvl">
          <ac:chgData name="Julia PONT" userId="6ea7fb32-49be-46d9-9d69-f51ddf012212" providerId="ADAL" clId="{2A9E832C-25F6-4F2E-84DD-F34ECE0E3917}" dt="2024-02-02T08:28:53.444" v="17884" actId="165"/>
          <ac:grpSpMkLst>
            <pc:docMk/>
            <pc:sldMk cId="549485756" sldId="2142532689"/>
            <ac:grpSpMk id="12" creationId="{06C65158-0C43-C5A8-1268-AC9F4F66CE23}"/>
          </ac:grpSpMkLst>
        </pc:grpChg>
        <pc:grpChg chg="add mod topLvl">
          <ac:chgData name="Julia PONT" userId="6ea7fb32-49be-46d9-9d69-f51ddf012212" providerId="ADAL" clId="{2A9E832C-25F6-4F2E-84DD-F34ECE0E3917}" dt="2024-02-02T08:28:53.444" v="17884" actId="165"/>
          <ac:grpSpMkLst>
            <pc:docMk/>
            <pc:sldMk cId="549485756" sldId="2142532689"/>
            <ac:grpSpMk id="13" creationId="{21F32860-3180-7683-85D2-6CADC0941E0A}"/>
          </ac:grpSpMkLst>
        </pc:grpChg>
        <pc:grpChg chg="add del mod">
          <ac:chgData name="Julia PONT" userId="6ea7fb32-49be-46d9-9d69-f51ddf012212" providerId="ADAL" clId="{2A9E832C-25F6-4F2E-84DD-F34ECE0E3917}" dt="2024-01-26T16:24:29.307" v="226" actId="165"/>
          <ac:grpSpMkLst>
            <pc:docMk/>
            <pc:sldMk cId="549485756" sldId="2142532689"/>
            <ac:grpSpMk id="14" creationId="{5915690C-221A-F46A-6CC6-D3D065B31A8A}"/>
          </ac:grpSpMkLst>
        </pc:grpChg>
        <pc:grpChg chg="add mod">
          <ac:chgData name="Julia PONT" userId="6ea7fb32-49be-46d9-9d69-f51ddf012212" providerId="ADAL" clId="{2A9E832C-25F6-4F2E-84DD-F34ECE0E3917}" dt="2024-01-26T16:26:53.529" v="267" actId="408"/>
          <ac:grpSpMkLst>
            <pc:docMk/>
            <pc:sldMk cId="549485756" sldId="2142532689"/>
            <ac:grpSpMk id="15" creationId="{BD17B117-05FB-2314-602F-ABA5B9766B19}"/>
          </ac:grpSpMkLst>
        </pc:grpChg>
        <pc:grpChg chg="add del mod">
          <ac:chgData name="Julia PONT" userId="6ea7fb32-49be-46d9-9d69-f51ddf012212" providerId="ADAL" clId="{2A9E832C-25F6-4F2E-84DD-F34ECE0E3917}" dt="2024-02-02T08:28:53.444" v="17884" actId="165"/>
          <ac:grpSpMkLst>
            <pc:docMk/>
            <pc:sldMk cId="549485756" sldId="2142532689"/>
            <ac:grpSpMk id="16" creationId="{E103CC10-A6A7-9A33-7864-8A7A76424CDB}"/>
          </ac:grpSpMkLst>
        </pc:grpChg>
        <pc:grpChg chg="add mod topLvl">
          <ac:chgData name="Julia PONT" userId="6ea7fb32-49be-46d9-9d69-f51ddf012212" providerId="ADAL" clId="{2A9E832C-25F6-4F2E-84DD-F34ECE0E3917}" dt="2024-02-02T08:28:53.444" v="17884" actId="165"/>
          <ac:grpSpMkLst>
            <pc:docMk/>
            <pc:sldMk cId="549485756" sldId="2142532689"/>
            <ac:grpSpMk id="17" creationId="{3B02F0FC-5B2A-ED1C-4D81-23F7BD3EEA44}"/>
          </ac:grpSpMkLst>
        </pc:grpChg>
        <pc:grpChg chg="add del mod">
          <ac:chgData name="Julia PONT" userId="6ea7fb32-49be-46d9-9d69-f51ddf012212" providerId="ADAL" clId="{2A9E832C-25F6-4F2E-84DD-F34ECE0E3917}" dt="2024-02-02T08:28:53.444" v="17884" actId="165"/>
          <ac:grpSpMkLst>
            <pc:docMk/>
            <pc:sldMk cId="549485756" sldId="2142532689"/>
            <ac:grpSpMk id="20" creationId="{5C943D1A-95E0-5305-4853-662961D148BE}"/>
          </ac:grpSpMkLst>
        </pc:grpChg>
        <pc:grpChg chg="add del mod">
          <ac:chgData name="Julia PONT" userId="6ea7fb32-49be-46d9-9d69-f51ddf012212" providerId="ADAL" clId="{2A9E832C-25F6-4F2E-84DD-F34ECE0E3917}" dt="2024-02-02T08:28:53.444" v="17884" actId="165"/>
          <ac:grpSpMkLst>
            <pc:docMk/>
            <pc:sldMk cId="549485756" sldId="2142532689"/>
            <ac:grpSpMk id="27" creationId="{3323E204-0F0B-F947-C480-611E6BD7732E}"/>
          </ac:grpSpMkLst>
        </pc:grpChg>
        <pc:grpChg chg="add del mod">
          <ac:chgData name="Julia PONT" userId="6ea7fb32-49be-46d9-9d69-f51ddf012212" providerId="ADAL" clId="{2A9E832C-25F6-4F2E-84DD-F34ECE0E3917}" dt="2024-02-02T08:28:53.444" v="17884" actId="165"/>
          <ac:grpSpMkLst>
            <pc:docMk/>
            <pc:sldMk cId="549485756" sldId="2142532689"/>
            <ac:grpSpMk id="35" creationId="{65559D40-C722-5A0B-24DE-F744F3C2E3C9}"/>
          </ac:grpSpMkLst>
        </pc:grpChg>
        <pc:graphicFrameChg chg="add del mod">
          <ac:chgData name="Julia PONT" userId="6ea7fb32-49be-46d9-9d69-f51ddf012212" providerId="ADAL" clId="{2A9E832C-25F6-4F2E-84DD-F34ECE0E3917}" dt="2024-01-26T17:09:07.849" v="1961" actId="21"/>
          <ac:graphicFrameMkLst>
            <pc:docMk/>
            <pc:sldMk cId="549485756" sldId="2142532689"/>
            <ac:graphicFrameMk id="36" creationId="{C6996EF6-F0EB-67E5-AD2E-C7D940C23613}"/>
          </ac:graphicFrameMkLst>
        </pc:graphicFrameChg>
        <pc:picChg chg="mod topLvl">
          <ac:chgData name="Julia PONT" userId="6ea7fb32-49be-46d9-9d69-f51ddf012212" providerId="ADAL" clId="{2A9E832C-25F6-4F2E-84DD-F34ECE0E3917}" dt="2024-02-02T08:28:53.444" v="17884" actId="165"/>
          <ac:picMkLst>
            <pc:docMk/>
            <pc:sldMk cId="549485756" sldId="2142532689"/>
            <ac:picMk id="6" creationId="{BA2E81AC-9F07-04EA-5F37-1F7FA2A01E67}"/>
          </ac:picMkLst>
        </pc:picChg>
        <pc:picChg chg="mod topLvl">
          <ac:chgData name="Julia PONT" userId="6ea7fb32-49be-46d9-9d69-f51ddf012212" providerId="ADAL" clId="{2A9E832C-25F6-4F2E-84DD-F34ECE0E3917}" dt="2024-01-26T16:38:53.577" v="604" actId="1038"/>
          <ac:picMkLst>
            <pc:docMk/>
            <pc:sldMk cId="549485756" sldId="2142532689"/>
            <ac:picMk id="9" creationId="{5904BD4C-6B18-D95B-413D-D7C652B5B9EE}"/>
          </ac:picMkLst>
        </pc:picChg>
        <pc:picChg chg="add mod topLvl">
          <ac:chgData name="Julia PONT" userId="6ea7fb32-49be-46d9-9d69-f51ddf012212" providerId="ADAL" clId="{2A9E832C-25F6-4F2E-84DD-F34ECE0E3917}" dt="2024-02-02T08:28:53.444" v="17884" actId="165"/>
          <ac:picMkLst>
            <pc:docMk/>
            <pc:sldMk cId="549485756" sldId="2142532689"/>
            <ac:picMk id="26" creationId="{D5AD588F-5B77-D8D8-9D30-96C8BB2D1731}"/>
          </ac:picMkLst>
        </pc:picChg>
        <pc:picChg chg="add mod topLvl">
          <ac:chgData name="Julia PONT" userId="6ea7fb32-49be-46d9-9d69-f51ddf012212" providerId="ADAL" clId="{2A9E832C-25F6-4F2E-84DD-F34ECE0E3917}" dt="2024-02-02T08:28:53.444" v="17884" actId="165"/>
          <ac:picMkLst>
            <pc:docMk/>
            <pc:sldMk cId="549485756" sldId="2142532689"/>
            <ac:picMk id="29" creationId="{A8095A6A-1248-5614-C52C-7A5FEF182EFA}"/>
          </ac:picMkLst>
        </pc:picChg>
        <pc:picChg chg="mod ord topLvl">
          <ac:chgData name="Julia PONT" userId="6ea7fb32-49be-46d9-9d69-f51ddf012212" providerId="ADAL" clId="{2A9E832C-25F6-4F2E-84DD-F34ECE0E3917}" dt="2024-02-02T08:28:53.444" v="17884" actId="165"/>
          <ac:picMkLst>
            <pc:docMk/>
            <pc:sldMk cId="549485756" sldId="2142532689"/>
            <ac:picMk id="39" creationId="{EDA1B137-74C6-F626-009B-D825BB4A19EF}"/>
          </ac:picMkLst>
        </pc:picChg>
        <pc:cxnChg chg="del mod">
          <ac:chgData name="Julia PONT" userId="6ea7fb32-49be-46d9-9d69-f51ddf012212" providerId="ADAL" clId="{2A9E832C-25F6-4F2E-84DD-F34ECE0E3917}" dt="2024-01-26T16:21:22.411" v="154" actId="478"/>
          <ac:cxnSpMkLst>
            <pc:docMk/>
            <pc:sldMk cId="549485756" sldId="2142532689"/>
            <ac:cxnSpMk id="22" creationId="{80EC9353-940F-1B2B-4DB9-7F2AEEAD082A}"/>
          </ac:cxnSpMkLst>
        </pc:cxnChg>
      </pc:sldChg>
      <pc:sldChg chg="modSp add mod ord modShow">
        <pc:chgData name="Julia PONT" userId="6ea7fb32-49be-46d9-9d69-f51ddf012212" providerId="ADAL" clId="{2A9E832C-25F6-4F2E-84DD-F34ECE0E3917}" dt="2024-01-30T13:42:29.300" v="4161" actId="729"/>
        <pc:sldMkLst>
          <pc:docMk/>
          <pc:sldMk cId="3737960785" sldId="2142533067"/>
        </pc:sldMkLst>
        <pc:spChg chg="mod">
          <ac:chgData name="Julia PONT" userId="6ea7fb32-49be-46d9-9d69-f51ddf012212" providerId="ADAL" clId="{2A9E832C-25F6-4F2E-84DD-F34ECE0E3917}" dt="2024-01-29T17:56:06.448" v="3448" actId="14100"/>
          <ac:spMkLst>
            <pc:docMk/>
            <pc:sldMk cId="3737960785" sldId="2142533067"/>
            <ac:spMk id="9" creationId="{DA435760-2148-3C10-7182-BE2393FD5E39}"/>
          </ac:spMkLst>
        </pc:spChg>
      </pc:sldChg>
      <pc:sldChg chg="addSp delSp modSp add mod modShow">
        <pc:chgData name="Julia PONT" userId="6ea7fb32-49be-46d9-9d69-f51ddf012212" providerId="ADAL" clId="{2A9E832C-25F6-4F2E-84DD-F34ECE0E3917}" dt="2024-01-29T17:56:25.459" v="3454" actId="729"/>
        <pc:sldMkLst>
          <pc:docMk/>
          <pc:sldMk cId="3957856886" sldId="2142533069"/>
        </pc:sldMkLst>
        <pc:spChg chg="add mod">
          <ac:chgData name="Julia PONT" userId="6ea7fb32-49be-46d9-9d69-f51ddf012212" providerId="ADAL" clId="{2A9E832C-25F6-4F2E-84DD-F34ECE0E3917}" dt="2024-01-29T17:56:18.719" v="3451"/>
          <ac:spMkLst>
            <pc:docMk/>
            <pc:sldMk cId="3957856886" sldId="2142533069"/>
            <ac:spMk id="3" creationId="{C0C5FD3B-6C68-650F-F083-178B0DC2C57C}"/>
          </ac:spMkLst>
        </pc:spChg>
        <pc:spChg chg="del">
          <ac:chgData name="Julia PONT" userId="6ea7fb32-49be-46d9-9d69-f51ddf012212" providerId="ADAL" clId="{2A9E832C-25F6-4F2E-84DD-F34ECE0E3917}" dt="2024-01-29T17:56:17.958" v="3450" actId="478"/>
          <ac:spMkLst>
            <pc:docMk/>
            <pc:sldMk cId="3957856886" sldId="2142533069"/>
            <ac:spMk id="9" creationId="{2C623BB9-9B76-61B6-BFCB-2DBCED08B835}"/>
          </ac:spMkLst>
        </pc:spChg>
      </pc:sldChg>
      <pc:sldChg chg="modSp mod">
        <pc:chgData name="Julia PONT" userId="6ea7fb32-49be-46d9-9d69-f51ddf012212" providerId="ADAL" clId="{2A9E832C-25F6-4F2E-84DD-F34ECE0E3917}" dt="2024-01-26T16:14:05.916" v="67" actId="207"/>
        <pc:sldMkLst>
          <pc:docMk/>
          <pc:sldMk cId="66151116" sldId="2142533073"/>
        </pc:sldMkLst>
        <pc:graphicFrameChg chg="mod modGraphic">
          <ac:chgData name="Julia PONT" userId="6ea7fb32-49be-46d9-9d69-f51ddf012212" providerId="ADAL" clId="{2A9E832C-25F6-4F2E-84DD-F34ECE0E3917}" dt="2024-01-26T16:14:05.916" v="67" actId="207"/>
          <ac:graphicFrameMkLst>
            <pc:docMk/>
            <pc:sldMk cId="66151116" sldId="2142533073"/>
            <ac:graphicFrameMk id="6" creationId="{F49AD9D9-8EB9-40C8-817E-797AEF95B20C}"/>
          </ac:graphicFrameMkLst>
        </pc:graphicFrameChg>
      </pc:sldChg>
      <pc:sldChg chg="modSp mod">
        <pc:chgData name="Julia PONT" userId="6ea7fb32-49be-46d9-9d69-f51ddf012212" providerId="ADAL" clId="{2A9E832C-25F6-4F2E-84DD-F34ECE0E3917}" dt="2024-01-26T16:12:23.392" v="52" actId="207"/>
        <pc:sldMkLst>
          <pc:docMk/>
          <pc:sldMk cId="3185406215" sldId="2142533074"/>
        </pc:sldMkLst>
        <pc:graphicFrameChg chg="mod modGraphic">
          <ac:chgData name="Julia PONT" userId="6ea7fb32-49be-46d9-9d69-f51ddf012212" providerId="ADAL" clId="{2A9E832C-25F6-4F2E-84DD-F34ECE0E3917}" dt="2024-01-26T16:12:23.392" v="52" actId="207"/>
          <ac:graphicFrameMkLst>
            <pc:docMk/>
            <pc:sldMk cId="3185406215" sldId="2142533074"/>
            <ac:graphicFrameMk id="6" creationId="{F49AD9D9-8EB9-40C8-817E-797AEF95B20C}"/>
          </ac:graphicFrameMkLst>
        </pc:graphicFrameChg>
      </pc:sldChg>
      <pc:sldChg chg="modSp mod">
        <pc:chgData name="Julia PONT" userId="6ea7fb32-49be-46d9-9d69-f51ddf012212" providerId="ADAL" clId="{2A9E832C-25F6-4F2E-84DD-F34ECE0E3917}" dt="2024-01-26T16:13:42.905" v="65" actId="572"/>
        <pc:sldMkLst>
          <pc:docMk/>
          <pc:sldMk cId="2838154252" sldId="2142533077"/>
        </pc:sldMkLst>
        <pc:graphicFrameChg chg="mod modGraphic">
          <ac:chgData name="Julia PONT" userId="6ea7fb32-49be-46d9-9d69-f51ddf012212" providerId="ADAL" clId="{2A9E832C-25F6-4F2E-84DD-F34ECE0E3917}" dt="2024-01-26T16:13:42.905" v="65" actId="572"/>
          <ac:graphicFrameMkLst>
            <pc:docMk/>
            <pc:sldMk cId="2838154252" sldId="2142533077"/>
            <ac:graphicFrameMk id="6" creationId="{F49AD9D9-8EB9-40C8-817E-797AEF95B20C}"/>
          </ac:graphicFrameMkLst>
        </pc:graphicFrameChg>
      </pc:sldChg>
      <pc:sldChg chg="addSp delSp modSp add mod ord">
        <pc:chgData name="Julia PONT" userId="6ea7fb32-49be-46d9-9d69-f51ddf012212" providerId="ADAL" clId="{2A9E832C-25F6-4F2E-84DD-F34ECE0E3917}" dt="2024-01-31T18:09:51.196" v="11701" actId="1076"/>
        <pc:sldMkLst>
          <pc:docMk/>
          <pc:sldMk cId="1427097841" sldId="2147376857"/>
        </pc:sldMkLst>
        <pc:spChg chg="add mod">
          <ac:chgData name="Julia PONT" userId="6ea7fb32-49be-46d9-9d69-f51ddf012212" providerId="ADAL" clId="{2A9E832C-25F6-4F2E-84DD-F34ECE0E3917}" dt="2024-01-31T18:09:02.648" v="11585" actId="20577"/>
          <ac:spMkLst>
            <pc:docMk/>
            <pc:sldMk cId="1427097841" sldId="2147376857"/>
            <ac:spMk id="13" creationId="{24AF7895-B0F5-9A7A-F71B-F6C8C4F33692}"/>
          </ac:spMkLst>
        </pc:spChg>
        <pc:spChg chg="add del mod">
          <ac:chgData name="Julia PONT" userId="6ea7fb32-49be-46d9-9d69-f51ddf012212" providerId="ADAL" clId="{2A9E832C-25F6-4F2E-84DD-F34ECE0E3917}" dt="2024-01-31T17:32:32.171" v="10889" actId="478"/>
          <ac:spMkLst>
            <pc:docMk/>
            <pc:sldMk cId="1427097841" sldId="2147376857"/>
            <ac:spMk id="14" creationId="{542C5D42-DD4F-F5C5-3529-2093F46B12C8}"/>
          </ac:spMkLst>
        </pc:spChg>
        <pc:spChg chg="add mod">
          <ac:chgData name="Julia PONT" userId="6ea7fb32-49be-46d9-9d69-f51ddf012212" providerId="ADAL" clId="{2A9E832C-25F6-4F2E-84DD-F34ECE0E3917}" dt="2024-01-31T18:09:51.196" v="11701" actId="1076"/>
          <ac:spMkLst>
            <pc:docMk/>
            <pc:sldMk cId="1427097841" sldId="2147376857"/>
            <ac:spMk id="15" creationId="{5328F2E9-EC99-DB47-2F8C-D53A3E5402E1}"/>
          </ac:spMkLst>
        </pc:spChg>
      </pc:sldChg>
      <pc:sldChg chg="addSp delSp modSp mod">
        <pc:chgData name="Julia PONT" userId="6ea7fb32-49be-46d9-9d69-f51ddf012212" providerId="ADAL" clId="{2A9E832C-25F6-4F2E-84DD-F34ECE0E3917}" dt="2024-01-31T15:34:24.330" v="9179" actId="2085"/>
        <pc:sldMkLst>
          <pc:docMk/>
          <pc:sldMk cId="212100458" sldId="2147376937"/>
        </pc:sldMkLst>
        <pc:spChg chg="mod">
          <ac:chgData name="Julia PONT" userId="6ea7fb32-49be-46d9-9d69-f51ddf012212" providerId="ADAL" clId="{2A9E832C-25F6-4F2E-84DD-F34ECE0E3917}" dt="2024-01-31T14:29:40.925" v="8112" actId="207"/>
          <ac:spMkLst>
            <pc:docMk/>
            <pc:sldMk cId="212100458" sldId="2147376937"/>
            <ac:spMk id="3" creationId="{42DA54D8-BD8E-C42B-629D-8F6685218EA8}"/>
          </ac:spMkLst>
        </pc:spChg>
        <pc:spChg chg="add del mod">
          <ac:chgData name="Julia PONT" userId="6ea7fb32-49be-46d9-9d69-f51ddf012212" providerId="ADAL" clId="{2A9E832C-25F6-4F2E-84DD-F34ECE0E3917}" dt="2024-01-31T15:33:24.192" v="9091" actId="21"/>
          <ac:spMkLst>
            <pc:docMk/>
            <pc:sldMk cId="212100458" sldId="2147376937"/>
            <ac:spMk id="7" creationId="{BA0994D2-306C-59F1-FF7E-1718B67000A1}"/>
          </ac:spMkLst>
        </pc:spChg>
        <pc:spChg chg="add mod">
          <ac:chgData name="Julia PONT" userId="6ea7fb32-49be-46d9-9d69-f51ddf012212" providerId="ADAL" clId="{2A9E832C-25F6-4F2E-84DD-F34ECE0E3917}" dt="2024-01-31T15:34:24.330" v="9179" actId="2085"/>
          <ac:spMkLst>
            <pc:docMk/>
            <pc:sldMk cId="212100458" sldId="2147376937"/>
            <ac:spMk id="21" creationId="{01739C80-DFB8-86A6-DC05-B32EC6B676D0}"/>
          </ac:spMkLst>
        </pc:spChg>
      </pc:sldChg>
      <pc:sldChg chg="modSp mod">
        <pc:chgData name="Julia PONT" userId="6ea7fb32-49be-46d9-9d69-f51ddf012212" providerId="ADAL" clId="{2A9E832C-25F6-4F2E-84DD-F34ECE0E3917}" dt="2024-02-01T10:10:04.166" v="13070" actId="20577"/>
        <pc:sldMkLst>
          <pc:docMk/>
          <pc:sldMk cId="3713294166" sldId="2147376937"/>
        </pc:sldMkLst>
        <pc:spChg chg="mod">
          <ac:chgData name="Julia PONT" userId="6ea7fb32-49be-46d9-9d69-f51ddf012212" providerId="ADAL" clId="{2A9E832C-25F6-4F2E-84DD-F34ECE0E3917}" dt="2024-02-01T10:10:04.166" v="13070" actId="20577"/>
          <ac:spMkLst>
            <pc:docMk/>
            <pc:sldMk cId="3713294166" sldId="2147376937"/>
            <ac:spMk id="21" creationId="{01739C80-DFB8-86A6-DC05-B32EC6B676D0}"/>
          </ac:spMkLst>
        </pc:spChg>
      </pc:sldChg>
      <pc:sldChg chg="addSp delSp modSp add mod modShow">
        <pc:chgData name="Julia PONT" userId="6ea7fb32-49be-46d9-9d69-f51ddf012212" providerId="ADAL" clId="{2A9E832C-25F6-4F2E-84DD-F34ECE0E3917}" dt="2024-01-29T18:05:39.356" v="3623" actId="729"/>
        <pc:sldMkLst>
          <pc:docMk/>
          <pc:sldMk cId="1828859758" sldId="2147470009"/>
        </pc:sldMkLst>
        <pc:spChg chg="add mod">
          <ac:chgData name="Julia PONT" userId="6ea7fb32-49be-46d9-9d69-f51ddf012212" providerId="ADAL" clId="{2A9E832C-25F6-4F2E-84DD-F34ECE0E3917}" dt="2024-01-29T18:05:21.504" v="3621"/>
          <ac:spMkLst>
            <pc:docMk/>
            <pc:sldMk cId="1828859758" sldId="2147470009"/>
            <ac:spMk id="3" creationId="{85A64739-50E9-5DDB-55FC-863FBE8C04DB}"/>
          </ac:spMkLst>
        </pc:spChg>
        <pc:spChg chg="del">
          <ac:chgData name="Julia PONT" userId="6ea7fb32-49be-46d9-9d69-f51ddf012212" providerId="ADAL" clId="{2A9E832C-25F6-4F2E-84DD-F34ECE0E3917}" dt="2024-01-29T18:05:20.857" v="3620" actId="478"/>
          <ac:spMkLst>
            <pc:docMk/>
            <pc:sldMk cId="1828859758" sldId="2147470009"/>
            <ac:spMk id="14" creationId="{C8BA28CE-5342-96EA-A525-A1FBA466E86E}"/>
          </ac:spMkLst>
        </pc:spChg>
      </pc:sldChg>
      <pc:sldChg chg="modSp mod">
        <pc:chgData name="Julia PONT" userId="6ea7fb32-49be-46d9-9d69-f51ddf012212" providerId="ADAL" clId="{2A9E832C-25F6-4F2E-84DD-F34ECE0E3917}" dt="2024-02-02T15:07:03.797" v="20006" actId="2711"/>
        <pc:sldMkLst>
          <pc:docMk/>
          <pc:sldMk cId="4212703342" sldId="2147470798"/>
        </pc:sldMkLst>
        <pc:spChg chg="mod">
          <ac:chgData name="Julia PONT" userId="6ea7fb32-49be-46d9-9d69-f51ddf012212" providerId="ADAL" clId="{2A9E832C-25F6-4F2E-84DD-F34ECE0E3917}" dt="2024-02-02T15:07:03.797" v="20006" actId="2711"/>
          <ac:spMkLst>
            <pc:docMk/>
            <pc:sldMk cId="4212703342" sldId="2147470798"/>
            <ac:spMk id="20" creationId="{7D1772DF-A8CA-4534-8680-DEFCE6825AF4}"/>
          </ac:spMkLst>
        </pc:spChg>
        <pc:spChg chg="mod">
          <ac:chgData name="Julia PONT" userId="6ea7fb32-49be-46d9-9d69-f51ddf012212" providerId="ADAL" clId="{2A9E832C-25F6-4F2E-84DD-F34ECE0E3917}" dt="2024-02-02T15:07:03.797" v="20006" actId="2711"/>
          <ac:spMkLst>
            <pc:docMk/>
            <pc:sldMk cId="4212703342" sldId="2147470798"/>
            <ac:spMk id="21" creationId="{4A9712BC-2492-44A1-9479-D0153480674B}"/>
          </ac:spMkLst>
        </pc:spChg>
        <pc:spChg chg="mod">
          <ac:chgData name="Julia PONT" userId="6ea7fb32-49be-46d9-9d69-f51ddf012212" providerId="ADAL" clId="{2A9E832C-25F6-4F2E-84DD-F34ECE0E3917}" dt="2024-02-02T15:07:03.797" v="20006" actId="2711"/>
          <ac:spMkLst>
            <pc:docMk/>
            <pc:sldMk cId="4212703342" sldId="2147470798"/>
            <ac:spMk id="28" creationId="{016D43FE-C605-4F5D-B68F-F4D82B931A91}"/>
          </ac:spMkLst>
        </pc:spChg>
        <pc:spChg chg="mod">
          <ac:chgData name="Julia PONT" userId="6ea7fb32-49be-46d9-9d69-f51ddf012212" providerId="ADAL" clId="{2A9E832C-25F6-4F2E-84DD-F34ECE0E3917}" dt="2024-02-02T15:07:03.797" v="20006" actId="2711"/>
          <ac:spMkLst>
            <pc:docMk/>
            <pc:sldMk cId="4212703342" sldId="2147470798"/>
            <ac:spMk id="29" creationId="{18CB3812-FD95-4F66-9858-A878242AF8F9}"/>
          </ac:spMkLst>
        </pc:spChg>
        <pc:spChg chg="mod">
          <ac:chgData name="Julia PONT" userId="6ea7fb32-49be-46d9-9d69-f51ddf012212" providerId="ADAL" clId="{2A9E832C-25F6-4F2E-84DD-F34ECE0E3917}" dt="2024-02-02T15:07:03.797" v="20006" actId="2711"/>
          <ac:spMkLst>
            <pc:docMk/>
            <pc:sldMk cId="4212703342" sldId="2147470798"/>
            <ac:spMk id="35" creationId="{7977B2A6-01AC-06B4-61D1-84ACE6B1F1A7}"/>
          </ac:spMkLst>
        </pc:spChg>
        <pc:spChg chg="mod">
          <ac:chgData name="Julia PONT" userId="6ea7fb32-49be-46d9-9d69-f51ddf012212" providerId="ADAL" clId="{2A9E832C-25F6-4F2E-84DD-F34ECE0E3917}" dt="2024-02-02T15:07:03.797" v="20006" actId="2711"/>
          <ac:spMkLst>
            <pc:docMk/>
            <pc:sldMk cId="4212703342" sldId="2147470798"/>
            <ac:spMk id="36" creationId="{33AD694E-5A99-1CE7-9B6E-918F4CF4E568}"/>
          </ac:spMkLst>
        </pc:spChg>
        <pc:spChg chg="mod">
          <ac:chgData name="Julia PONT" userId="6ea7fb32-49be-46d9-9d69-f51ddf012212" providerId="ADAL" clId="{2A9E832C-25F6-4F2E-84DD-F34ECE0E3917}" dt="2024-02-02T15:07:03.797" v="20006" actId="2711"/>
          <ac:spMkLst>
            <pc:docMk/>
            <pc:sldMk cId="4212703342" sldId="2147470798"/>
            <ac:spMk id="45" creationId="{A93F5781-8FE6-4D64-9B71-5AA483F8D0DF}"/>
          </ac:spMkLst>
        </pc:spChg>
        <pc:spChg chg="mod">
          <ac:chgData name="Julia PONT" userId="6ea7fb32-49be-46d9-9d69-f51ddf012212" providerId="ADAL" clId="{2A9E832C-25F6-4F2E-84DD-F34ECE0E3917}" dt="2024-02-02T15:07:03.797" v="20006" actId="2711"/>
          <ac:spMkLst>
            <pc:docMk/>
            <pc:sldMk cId="4212703342" sldId="2147470798"/>
            <ac:spMk id="53" creationId="{87C35C41-FAC6-40A9-B3E0-3E6B5A97528D}"/>
          </ac:spMkLst>
        </pc:spChg>
        <pc:spChg chg="mod">
          <ac:chgData name="Julia PONT" userId="6ea7fb32-49be-46d9-9d69-f51ddf012212" providerId="ADAL" clId="{2A9E832C-25F6-4F2E-84DD-F34ECE0E3917}" dt="2024-02-02T15:07:03.797" v="20006" actId="2711"/>
          <ac:spMkLst>
            <pc:docMk/>
            <pc:sldMk cId="4212703342" sldId="2147470798"/>
            <ac:spMk id="54" creationId="{4E3F8DDF-254A-4F72-A8E4-4E94087EAFAF}"/>
          </ac:spMkLst>
        </pc:spChg>
        <pc:spChg chg="mod">
          <ac:chgData name="Julia PONT" userId="6ea7fb32-49be-46d9-9d69-f51ddf012212" providerId="ADAL" clId="{2A9E832C-25F6-4F2E-84DD-F34ECE0E3917}" dt="2024-02-02T15:07:03.797" v="20006" actId="2711"/>
          <ac:spMkLst>
            <pc:docMk/>
            <pc:sldMk cId="4212703342" sldId="2147470798"/>
            <ac:spMk id="61" creationId="{DEA8E539-B806-4AE1-8D1B-CFB21142DF77}"/>
          </ac:spMkLst>
        </pc:spChg>
        <pc:spChg chg="mod">
          <ac:chgData name="Julia PONT" userId="6ea7fb32-49be-46d9-9d69-f51ddf012212" providerId="ADAL" clId="{2A9E832C-25F6-4F2E-84DD-F34ECE0E3917}" dt="2024-02-02T15:07:03.797" v="20006" actId="2711"/>
          <ac:spMkLst>
            <pc:docMk/>
            <pc:sldMk cId="4212703342" sldId="2147470798"/>
            <ac:spMk id="62" creationId="{B7FF390A-89B7-41D3-AEDD-FE726B0A0A9B}"/>
          </ac:spMkLst>
        </pc:spChg>
        <pc:graphicFrameChg chg="mod modGraphic">
          <ac:chgData name="Julia PONT" userId="6ea7fb32-49be-46d9-9d69-f51ddf012212" providerId="ADAL" clId="{2A9E832C-25F6-4F2E-84DD-F34ECE0E3917}" dt="2024-02-01T17:45:09.097" v="17815" actId="2711"/>
          <ac:graphicFrameMkLst>
            <pc:docMk/>
            <pc:sldMk cId="4212703342" sldId="2147470798"/>
            <ac:graphicFrameMk id="66" creationId="{8B4DDF8D-5451-4B9A-BCF8-057011D0841C}"/>
          </ac:graphicFrameMkLst>
        </pc:graphicFrameChg>
      </pc:sldChg>
      <pc:sldChg chg="addSp modSp mod modShow">
        <pc:chgData name="Julia PONT" userId="6ea7fb32-49be-46d9-9d69-f51ddf012212" providerId="ADAL" clId="{2A9E832C-25F6-4F2E-84DD-F34ECE0E3917}" dt="2024-01-30T14:29:52.463" v="4557" actId="729"/>
        <pc:sldMkLst>
          <pc:docMk/>
          <pc:sldMk cId="1139860624" sldId="2147470883"/>
        </pc:sldMkLst>
        <pc:spChg chg="add mod">
          <ac:chgData name="Julia PONT" userId="6ea7fb32-49be-46d9-9d69-f51ddf012212" providerId="ADAL" clId="{2A9E832C-25F6-4F2E-84DD-F34ECE0E3917}" dt="2024-01-29T17:37:00.583" v="3091" actId="2085"/>
          <ac:spMkLst>
            <pc:docMk/>
            <pc:sldMk cId="1139860624" sldId="2147470883"/>
            <ac:spMk id="3" creationId="{801146D2-4671-03B5-4C8C-DB8F95A078E6}"/>
          </ac:spMkLst>
        </pc:spChg>
      </pc:sldChg>
      <pc:sldChg chg="addSp modSp mod">
        <pc:chgData name="Julia PONT" userId="6ea7fb32-49be-46d9-9d69-f51ddf012212" providerId="ADAL" clId="{2A9E832C-25F6-4F2E-84DD-F34ECE0E3917}" dt="2024-01-30T16:50:56.491" v="7471" actId="113"/>
        <pc:sldMkLst>
          <pc:docMk/>
          <pc:sldMk cId="1787236388" sldId="2147470885"/>
        </pc:sldMkLst>
        <pc:spChg chg="add mod">
          <ac:chgData name="Julia PONT" userId="6ea7fb32-49be-46d9-9d69-f51ddf012212" providerId="ADAL" clId="{2A9E832C-25F6-4F2E-84DD-F34ECE0E3917}" dt="2024-01-30T16:50:56.491" v="7471" actId="113"/>
          <ac:spMkLst>
            <pc:docMk/>
            <pc:sldMk cId="1787236388" sldId="2147470885"/>
            <ac:spMk id="3" creationId="{26676C7D-29AC-B36D-DBCB-C0D3FB20ED1B}"/>
          </ac:spMkLst>
        </pc:spChg>
        <pc:spChg chg="add mod">
          <ac:chgData name="Julia PONT" userId="6ea7fb32-49be-46d9-9d69-f51ddf012212" providerId="ADAL" clId="{2A9E832C-25F6-4F2E-84DD-F34ECE0E3917}" dt="2024-01-30T10:44:50.637" v="3868" actId="1076"/>
          <ac:spMkLst>
            <pc:docMk/>
            <pc:sldMk cId="1787236388" sldId="2147470885"/>
            <ac:spMk id="52" creationId="{F1B92457-E39B-91AD-1B36-60336AB9B90D}"/>
          </ac:spMkLst>
        </pc:spChg>
      </pc:sldChg>
      <pc:sldChg chg="addSp delSp modSp mod">
        <pc:chgData name="Julia PONT" userId="6ea7fb32-49be-46d9-9d69-f51ddf012212" providerId="ADAL" clId="{2A9E832C-25F6-4F2E-84DD-F34ECE0E3917}" dt="2024-02-02T13:24:57.994" v="19130" actId="478"/>
        <pc:sldMkLst>
          <pc:docMk/>
          <pc:sldMk cId="2137399364" sldId="2147470896"/>
        </pc:sldMkLst>
        <pc:spChg chg="del">
          <ac:chgData name="Julia PONT" userId="6ea7fb32-49be-46d9-9d69-f51ddf012212" providerId="ADAL" clId="{2A9E832C-25F6-4F2E-84DD-F34ECE0E3917}" dt="2024-02-02T13:24:57.994" v="19130" actId="478"/>
          <ac:spMkLst>
            <pc:docMk/>
            <pc:sldMk cId="2137399364" sldId="2147470896"/>
            <ac:spMk id="5" creationId="{CECD6723-B0A5-BC71-1DF1-3FF974F643B7}"/>
          </ac:spMkLst>
        </pc:spChg>
        <pc:spChg chg="add mod">
          <ac:chgData name="Julia PONT" userId="6ea7fb32-49be-46d9-9d69-f51ddf012212" providerId="ADAL" clId="{2A9E832C-25F6-4F2E-84DD-F34ECE0E3917}" dt="2024-01-31T14:10:43.549" v="8042" actId="1076"/>
          <ac:spMkLst>
            <pc:docMk/>
            <pc:sldMk cId="2137399364" sldId="2147470896"/>
            <ac:spMk id="9" creationId="{706B163F-7708-97E9-8212-076E697FE2FC}"/>
          </ac:spMkLst>
        </pc:spChg>
        <pc:spChg chg="add mod">
          <ac:chgData name="Julia PONT" userId="6ea7fb32-49be-46d9-9d69-f51ddf012212" providerId="ADAL" clId="{2A9E832C-25F6-4F2E-84DD-F34ECE0E3917}" dt="2024-02-01T09:49:27.767" v="13045" actId="1076"/>
          <ac:spMkLst>
            <pc:docMk/>
            <pc:sldMk cId="2137399364" sldId="2147470896"/>
            <ac:spMk id="9" creationId="{C888D0CC-C728-F6E0-CC99-0C2C15BA478E}"/>
          </ac:spMkLst>
        </pc:spChg>
        <pc:spChg chg="add mod">
          <ac:chgData name="Julia PONT" userId="6ea7fb32-49be-46d9-9d69-f51ddf012212" providerId="ADAL" clId="{2A9E832C-25F6-4F2E-84DD-F34ECE0E3917}" dt="2024-01-30T16:37:43.839" v="7230" actId="21"/>
          <ac:spMkLst>
            <pc:docMk/>
            <pc:sldMk cId="2137399364" sldId="2147470896"/>
            <ac:spMk id="15" creationId="{10A12AC6-74CB-EC01-DCEC-CC23218ABB4E}"/>
          </ac:spMkLst>
        </pc:spChg>
        <pc:spChg chg="add mod ord">
          <ac:chgData name="Julia PONT" userId="6ea7fb32-49be-46d9-9d69-f51ddf012212" providerId="ADAL" clId="{2A9E832C-25F6-4F2E-84DD-F34ECE0E3917}" dt="2024-01-31T14:11:06.090" v="8055" actId="20577"/>
          <ac:spMkLst>
            <pc:docMk/>
            <pc:sldMk cId="2137399364" sldId="2147470896"/>
            <ac:spMk id="19" creationId="{450CC1F5-34C8-9D47-E61E-4AA3E04E75C5}"/>
          </ac:spMkLst>
        </pc:spChg>
        <pc:spChg chg="mod">
          <ac:chgData name="Julia PONT" userId="6ea7fb32-49be-46d9-9d69-f51ddf012212" providerId="ADAL" clId="{2A9E832C-25F6-4F2E-84DD-F34ECE0E3917}" dt="2024-01-31T14:11:14.356" v="8057" actId="13926"/>
          <ac:spMkLst>
            <pc:docMk/>
            <pc:sldMk cId="2137399364" sldId="2147470896"/>
            <ac:spMk id="35" creationId="{6C2F0D4C-EB50-A7AC-DE5F-A2564E1FC3EA}"/>
          </ac:spMkLst>
        </pc:spChg>
        <pc:spChg chg="mod">
          <ac:chgData name="Julia PONT" userId="6ea7fb32-49be-46d9-9d69-f51ddf012212" providerId="ADAL" clId="{2A9E832C-25F6-4F2E-84DD-F34ECE0E3917}" dt="2024-01-31T14:11:20.784" v="8058" actId="13926"/>
          <ac:spMkLst>
            <pc:docMk/>
            <pc:sldMk cId="2137399364" sldId="2147470896"/>
            <ac:spMk id="38" creationId="{03BC92C9-8904-71BC-377D-D5D242BE88C9}"/>
          </ac:spMkLst>
        </pc:spChg>
        <pc:spChg chg="mod">
          <ac:chgData name="Julia PONT" userId="6ea7fb32-49be-46d9-9d69-f51ddf012212" providerId="ADAL" clId="{2A9E832C-25F6-4F2E-84DD-F34ECE0E3917}" dt="2024-01-31T14:11:12.388" v="8056" actId="13926"/>
          <ac:spMkLst>
            <pc:docMk/>
            <pc:sldMk cId="2137399364" sldId="2147470896"/>
            <ac:spMk id="39" creationId="{03FE1E16-D62B-422F-E590-61004572A4A7}"/>
          </ac:spMkLst>
        </pc:spChg>
        <pc:picChg chg="del">
          <ac:chgData name="Julia PONT" userId="6ea7fb32-49be-46d9-9d69-f51ddf012212" providerId="ADAL" clId="{2A9E832C-25F6-4F2E-84DD-F34ECE0E3917}" dt="2024-01-30T16:44:16.320" v="7294" actId="478"/>
          <ac:picMkLst>
            <pc:docMk/>
            <pc:sldMk cId="2137399364" sldId="2147470896"/>
            <ac:picMk id="5" creationId="{320392C2-DD45-D7C3-E1F2-82068E90E1BD}"/>
          </ac:picMkLst>
        </pc:picChg>
        <pc:picChg chg="mod">
          <ac:chgData name="Julia PONT" userId="6ea7fb32-49be-46d9-9d69-f51ddf012212" providerId="ADAL" clId="{2A9E832C-25F6-4F2E-84DD-F34ECE0E3917}" dt="2024-01-30T16:44:24.091" v="7298" actId="12788"/>
          <ac:picMkLst>
            <pc:docMk/>
            <pc:sldMk cId="2137399364" sldId="2147470896"/>
            <ac:picMk id="7" creationId="{6DE46B0E-6379-1B36-04F4-318783965374}"/>
          </ac:picMkLst>
        </pc:picChg>
        <pc:picChg chg="add mod">
          <ac:chgData name="Julia PONT" userId="6ea7fb32-49be-46d9-9d69-f51ddf012212" providerId="ADAL" clId="{2A9E832C-25F6-4F2E-84DD-F34ECE0E3917}" dt="2024-01-30T10:46:14.110" v="3899" actId="1076"/>
          <ac:picMkLst>
            <pc:docMk/>
            <pc:sldMk cId="2137399364" sldId="2147470896"/>
            <ac:picMk id="17" creationId="{701A77AF-0149-E35B-D639-7959059C2B15}"/>
          </ac:picMkLst>
        </pc:picChg>
        <pc:picChg chg="add mod">
          <ac:chgData name="Julia PONT" userId="6ea7fb32-49be-46d9-9d69-f51ddf012212" providerId="ADAL" clId="{2A9E832C-25F6-4F2E-84DD-F34ECE0E3917}" dt="2024-01-30T16:44:24.091" v="7298" actId="12788"/>
          <ac:picMkLst>
            <pc:docMk/>
            <pc:sldMk cId="2137399364" sldId="2147470896"/>
            <ac:picMk id="1026" creationId="{6F839310-6CEC-C6C9-4CFD-170B9A34E78E}"/>
          </ac:picMkLst>
        </pc:picChg>
      </pc:sldChg>
      <pc:sldChg chg="addSp delSp modSp add mod modShow">
        <pc:chgData name="Julia PONT" userId="6ea7fb32-49be-46d9-9d69-f51ddf012212" providerId="ADAL" clId="{2A9E832C-25F6-4F2E-84DD-F34ECE0E3917}" dt="2024-01-29T17:56:25.459" v="3454" actId="729"/>
        <pc:sldMkLst>
          <pc:docMk/>
          <pc:sldMk cId="2123927659" sldId="2147471160"/>
        </pc:sldMkLst>
        <pc:spChg chg="del">
          <ac:chgData name="Julia PONT" userId="6ea7fb32-49be-46d9-9d69-f51ddf012212" providerId="ADAL" clId="{2A9E832C-25F6-4F2E-84DD-F34ECE0E3917}" dt="2024-01-29T17:56:21.835" v="3452" actId="478"/>
          <ac:spMkLst>
            <pc:docMk/>
            <pc:sldMk cId="2123927659" sldId="2147471160"/>
            <ac:spMk id="9" creationId="{22CDEB65-C3D1-A7CA-4C93-63B2945CE283}"/>
          </ac:spMkLst>
        </pc:spChg>
        <pc:spChg chg="add mod">
          <ac:chgData name="Julia PONT" userId="6ea7fb32-49be-46d9-9d69-f51ddf012212" providerId="ADAL" clId="{2A9E832C-25F6-4F2E-84DD-F34ECE0E3917}" dt="2024-01-29T17:56:22.317" v="3453"/>
          <ac:spMkLst>
            <pc:docMk/>
            <pc:sldMk cId="2123927659" sldId="2147471160"/>
            <ac:spMk id="35" creationId="{D8A29304-0E1C-53C5-79B8-9BE6E87FDB28}"/>
          </ac:spMkLst>
        </pc:spChg>
      </pc:sldChg>
      <pc:sldChg chg="addSp modSp mod">
        <pc:chgData name="Julia PONT" userId="6ea7fb32-49be-46d9-9d69-f51ddf012212" providerId="ADAL" clId="{2A9E832C-25F6-4F2E-84DD-F34ECE0E3917}" dt="2024-01-30T15:41:48.228" v="5482" actId="20577"/>
        <pc:sldMkLst>
          <pc:docMk/>
          <pc:sldMk cId="1948237764" sldId="2147471161"/>
        </pc:sldMkLst>
        <pc:spChg chg="add mod">
          <ac:chgData name="Julia PONT" userId="6ea7fb32-49be-46d9-9d69-f51ddf012212" providerId="ADAL" clId="{2A9E832C-25F6-4F2E-84DD-F34ECE0E3917}" dt="2024-01-30T10:55:23.884" v="3946" actId="1076"/>
          <ac:spMkLst>
            <pc:docMk/>
            <pc:sldMk cId="1948237764" sldId="2147471161"/>
            <ac:spMk id="2" creationId="{CCD94FC5-18A4-EF42-7CA1-9F5B71F7B78A}"/>
          </ac:spMkLst>
        </pc:spChg>
        <pc:spChg chg="add mod">
          <ac:chgData name="Julia PONT" userId="6ea7fb32-49be-46d9-9d69-f51ddf012212" providerId="ADAL" clId="{2A9E832C-25F6-4F2E-84DD-F34ECE0E3917}" dt="2024-01-30T11:03:12.342" v="4083" actId="1076"/>
          <ac:spMkLst>
            <pc:docMk/>
            <pc:sldMk cId="1948237764" sldId="2147471161"/>
            <ac:spMk id="4" creationId="{04941EF6-F5F3-90F7-3C50-2E3B80E2914D}"/>
          </ac:spMkLst>
        </pc:spChg>
        <pc:spChg chg="add mod">
          <ac:chgData name="Julia PONT" userId="6ea7fb32-49be-46d9-9d69-f51ddf012212" providerId="ADAL" clId="{2A9E832C-25F6-4F2E-84DD-F34ECE0E3917}" dt="2024-01-30T11:03:07.193" v="4082" actId="1076"/>
          <ac:spMkLst>
            <pc:docMk/>
            <pc:sldMk cId="1948237764" sldId="2147471161"/>
            <ac:spMk id="15" creationId="{F9BD4AF1-6911-3E8E-E2C6-6D9126E9BA82}"/>
          </ac:spMkLst>
        </pc:spChg>
        <pc:spChg chg="mod">
          <ac:chgData name="Julia PONT" userId="6ea7fb32-49be-46d9-9d69-f51ddf012212" providerId="ADAL" clId="{2A9E832C-25F6-4F2E-84DD-F34ECE0E3917}" dt="2024-01-30T15:41:48.228" v="5482" actId="20577"/>
          <ac:spMkLst>
            <pc:docMk/>
            <pc:sldMk cId="1948237764" sldId="2147471161"/>
            <ac:spMk id="19" creationId="{7A29BC5B-573D-F7CB-C0E2-744F818DBA87}"/>
          </ac:spMkLst>
        </pc:spChg>
        <pc:graphicFrameChg chg="modGraphic">
          <ac:chgData name="Julia PONT" userId="6ea7fb32-49be-46d9-9d69-f51ddf012212" providerId="ADAL" clId="{2A9E832C-25F6-4F2E-84DD-F34ECE0E3917}" dt="2024-01-30T10:53:58.150" v="3909" actId="120"/>
          <ac:graphicFrameMkLst>
            <pc:docMk/>
            <pc:sldMk cId="1948237764" sldId="2147471161"/>
            <ac:graphicFrameMk id="25" creationId="{002674AB-6B6B-02F7-5E25-0EB30DB53238}"/>
          </ac:graphicFrameMkLst>
        </pc:graphicFrameChg>
      </pc:sldChg>
      <pc:sldChg chg="modSp add del mod modShow">
        <pc:chgData name="Julia PONT" userId="6ea7fb32-49be-46d9-9d69-f51ddf012212" providerId="ADAL" clId="{2A9E832C-25F6-4F2E-84DD-F34ECE0E3917}" dt="2024-01-29T18:16:05.247" v="3776" actId="47"/>
        <pc:sldMkLst>
          <pc:docMk/>
          <pc:sldMk cId="2422794521" sldId="2147471165"/>
        </pc:sldMkLst>
        <pc:spChg chg="mod">
          <ac:chgData name="Julia PONT" userId="6ea7fb32-49be-46d9-9d69-f51ddf012212" providerId="ADAL" clId="{2A9E832C-25F6-4F2E-84DD-F34ECE0E3917}" dt="2024-01-29T18:05:12.065" v="3619" actId="20577"/>
          <ac:spMkLst>
            <pc:docMk/>
            <pc:sldMk cId="2422794521" sldId="2147471165"/>
            <ac:spMk id="20" creationId="{A2B59A10-5391-C829-2440-AAD64859CA76}"/>
          </ac:spMkLst>
        </pc:spChg>
      </pc:sldChg>
      <pc:sldChg chg="addSp modSp mod">
        <pc:chgData name="Julia PONT" userId="6ea7fb32-49be-46d9-9d69-f51ddf012212" providerId="ADAL" clId="{2A9E832C-25F6-4F2E-84DD-F34ECE0E3917}" dt="2024-01-29T17:51:07.213" v="3395" actId="113"/>
        <pc:sldMkLst>
          <pc:docMk/>
          <pc:sldMk cId="2163271625" sldId="2147480287"/>
        </pc:sldMkLst>
        <pc:spChg chg="add mod">
          <ac:chgData name="Julia PONT" userId="6ea7fb32-49be-46d9-9d69-f51ddf012212" providerId="ADAL" clId="{2A9E832C-25F6-4F2E-84DD-F34ECE0E3917}" dt="2024-01-29T17:51:07.213" v="3395" actId="113"/>
          <ac:spMkLst>
            <pc:docMk/>
            <pc:sldMk cId="2163271625" sldId="2147480287"/>
            <ac:spMk id="8" creationId="{1B086139-18B4-38FE-4B00-980740AACDF7}"/>
          </ac:spMkLst>
        </pc:spChg>
      </pc:sldChg>
      <pc:sldChg chg="modSp mod">
        <pc:chgData name="Julia PONT" userId="6ea7fb32-49be-46d9-9d69-f51ddf012212" providerId="ADAL" clId="{2A9E832C-25F6-4F2E-84DD-F34ECE0E3917}" dt="2024-01-31T14:14:16.980" v="8059" actId="20577"/>
        <pc:sldMkLst>
          <pc:docMk/>
          <pc:sldMk cId="3389911945" sldId="2147480290"/>
        </pc:sldMkLst>
        <pc:spChg chg="mod">
          <ac:chgData name="Julia PONT" userId="6ea7fb32-49be-46d9-9d69-f51ddf012212" providerId="ADAL" clId="{2A9E832C-25F6-4F2E-84DD-F34ECE0E3917}" dt="2024-01-31T14:14:16.980" v="8059" actId="20577"/>
          <ac:spMkLst>
            <pc:docMk/>
            <pc:sldMk cId="3389911945" sldId="2147480290"/>
            <ac:spMk id="6" creationId="{E25C4568-CBD6-8A3F-6075-46A4887C05FC}"/>
          </ac:spMkLst>
        </pc:spChg>
      </pc:sldChg>
      <pc:sldChg chg="addSp delSp modSp mod">
        <pc:chgData name="Julia PONT" userId="6ea7fb32-49be-46d9-9d69-f51ddf012212" providerId="ADAL" clId="{2A9E832C-25F6-4F2E-84DD-F34ECE0E3917}" dt="2024-02-02T08:23:19.437" v="17833" actId="207"/>
        <pc:sldMkLst>
          <pc:docMk/>
          <pc:sldMk cId="596601236" sldId="2147480292"/>
        </pc:sldMkLst>
        <pc:spChg chg="mod">
          <ac:chgData name="Julia PONT" userId="6ea7fb32-49be-46d9-9d69-f51ddf012212" providerId="ADAL" clId="{2A9E832C-25F6-4F2E-84DD-F34ECE0E3917}" dt="2024-02-02T08:23:19.437" v="17833" actId="207"/>
          <ac:spMkLst>
            <pc:docMk/>
            <pc:sldMk cId="596601236" sldId="2147480292"/>
            <ac:spMk id="4" creationId="{57894F96-70C8-2EF7-4474-546B825A05B8}"/>
          </ac:spMkLst>
        </pc:spChg>
        <pc:spChg chg="mod">
          <ac:chgData name="Julia PONT" userId="6ea7fb32-49be-46d9-9d69-f51ddf012212" providerId="ADAL" clId="{2A9E832C-25F6-4F2E-84DD-F34ECE0E3917}" dt="2024-01-30T16:41:45.495" v="7282" actId="207"/>
          <ac:spMkLst>
            <pc:docMk/>
            <pc:sldMk cId="596601236" sldId="2147480292"/>
            <ac:spMk id="36" creationId="{A5B01E4A-A820-5E89-D447-BE0273A2C2EF}"/>
          </ac:spMkLst>
        </pc:spChg>
        <pc:spChg chg="mod">
          <ac:chgData name="Julia PONT" userId="6ea7fb32-49be-46d9-9d69-f51ddf012212" providerId="ADAL" clId="{2A9E832C-25F6-4F2E-84DD-F34ECE0E3917}" dt="2024-01-29T17:27:32.527" v="2872" actId="1035"/>
          <ac:spMkLst>
            <pc:docMk/>
            <pc:sldMk cId="596601236" sldId="2147480292"/>
            <ac:spMk id="60" creationId="{E37C64BC-55F1-E6FB-E64E-AF2B6F155CE7}"/>
          </ac:spMkLst>
        </pc:spChg>
        <pc:picChg chg="add mod">
          <ac:chgData name="Julia PONT" userId="6ea7fb32-49be-46d9-9d69-f51ddf012212" providerId="ADAL" clId="{2A9E832C-25F6-4F2E-84DD-F34ECE0E3917}" dt="2024-01-30T16:41:11.844" v="7272" actId="1036"/>
          <ac:picMkLst>
            <pc:docMk/>
            <pc:sldMk cId="596601236" sldId="2147480292"/>
            <ac:picMk id="6" creationId="{DB54F003-64A5-2727-0BC4-96AAD3273BF6}"/>
          </ac:picMkLst>
        </pc:picChg>
        <pc:picChg chg="mod">
          <ac:chgData name="Julia PONT" userId="6ea7fb32-49be-46d9-9d69-f51ddf012212" providerId="ADAL" clId="{2A9E832C-25F6-4F2E-84DD-F34ECE0E3917}" dt="2024-01-30T16:41:17.195" v="7273" actId="12789"/>
          <ac:picMkLst>
            <pc:docMk/>
            <pc:sldMk cId="596601236" sldId="2147480292"/>
            <ac:picMk id="8" creationId="{327A1E60-4FEA-E2EB-90CD-5D9C5F8E12C1}"/>
          </ac:picMkLst>
        </pc:picChg>
        <pc:picChg chg="mod">
          <ac:chgData name="Julia PONT" userId="6ea7fb32-49be-46d9-9d69-f51ddf012212" providerId="ADAL" clId="{2A9E832C-25F6-4F2E-84DD-F34ECE0E3917}" dt="2024-01-30T16:41:17.195" v="7273" actId="12789"/>
          <ac:picMkLst>
            <pc:docMk/>
            <pc:sldMk cId="596601236" sldId="2147480292"/>
            <ac:picMk id="9" creationId="{F3FF6A12-3C94-5D56-5289-92D0AF6FA303}"/>
          </ac:picMkLst>
        </pc:picChg>
        <pc:picChg chg="add mod modCrop">
          <ac:chgData name="Julia PONT" userId="6ea7fb32-49be-46d9-9d69-f51ddf012212" providerId="ADAL" clId="{2A9E832C-25F6-4F2E-84DD-F34ECE0E3917}" dt="2024-01-29T17:27:38.498" v="2879" actId="1037"/>
          <ac:picMkLst>
            <pc:docMk/>
            <pc:sldMk cId="596601236" sldId="2147480292"/>
            <ac:picMk id="10" creationId="{D43F3AED-7B12-1BFF-21D4-689AE4659C64}"/>
          </ac:picMkLst>
        </pc:picChg>
        <pc:picChg chg="mod">
          <ac:chgData name="Julia PONT" userId="6ea7fb32-49be-46d9-9d69-f51ddf012212" providerId="ADAL" clId="{2A9E832C-25F6-4F2E-84DD-F34ECE0E3917}" dt="2024-01-30T16:41:17.195" v="7273" actId="12789"/>
          <ac:picMkLst>
            <pc:docMk/>
            <pc:sldMk cId="596601236" sldId="2147480292"/>
            <ac:picMk id="11" creationId="{CC62A1A3-A1A0-C606-F971-84217571F07F}"/>
          </ac:picMkLst>
        </pc:picChg>
        <pc:picChg chg="mod">
          <ac:chgData name="Julia PONT" userId="6ea7fb32-49be-46d9-9d69-f51ddf012212" providerId="ADAL" clId="{2A9E832C-25F6-4F2E-84DD-F34ECE0E3917}" dt="2024-01-30T16:41:17.195" v="7273" actId="12789"/>
          <ac:picMkLst>
            <pc:docMk/>
            <pc:sldMk cId="596601236" sldId="2147480292"/>
            <ac:picMk id="35" creationId="{1CFEC578-5C84-F6E9-CA6C-9DA81390A27F}"/>
          </ac:picMkLst>
        </pc:picChg>
        <pc:picChg chg="add mod">
          <ac:chgData name="Julia PONT" userId="6ea7fb32-49be-46d9-9d69-f51ddf012212" providerId="ADAL" clId="{2A9E832C-25F6-4F2E-84DD-F34ECE0E3917}" dt="2024-01-30T16:41:11.844" v="7272" actId="1036"/>
          <ac:picMkLst>
            <pc:docMk/>
            <pc:sldMk cId="596601236" sldId="2147480292"/>
            <ac:picMk id="38" creationId="{FDD687B1-7FC0-10C0-0B7E-7082E3D02191}"/>
          </ac:picMkLst>
        </pc:picChg>
        <pc:picChg chg="add mod">
          <ac:chgData name="Julia PONT" userId="6ea7fb32-49be-46d9-9d69-f51ddf012212" providerId="ADAL" clId="{2A9E832C-25F6-4F2E-84DD-F34ECE0E3917}" dt="2024-01-30T16:41:11.844" v="7272" actId="1036"/>
          <ac:picMkLst>
            <pc:docMk/>
            <pc:sldMk cId="596601236" sldId="2147480292"/>
            <ac:picMk id="43" creationId="{21BF951A-B637-4F66-6979-C58EDD7C5152}"/>
          </ac:picMkLst>
        </pc:picChg>
        <pc:picChg chg="add mod">
          <ac:chgData name="Julia PONT" userId="6ea7fb32-49be-46d9-9d69-f51ddf012212" providerId="ADAL" clId="{2A9E832C-25F6-4F2E-84DD-F34ECE0E3917}" dt="2024-01-30T16:41:11.844" v="7272" actId="1036"/>
          <ac:picMkLst>
            <pc:docMk/>
            <pc:sldMk cId="596601236" sldId="2147480292"/>
            <ac:picMk id="47" creationId="{763E06AA-319A-2363-8DD9-4F69CB62ED70}"/>
          </ac:picMkLst>
        </pc:picChg>
        <pc:picChg chg="del">
          <ac:chgData name="Julia PONT" userId="6ea7fb32-49be-46d9-9d69-f51ddf012212" providerId="ADAL" clId="{2A9E832C-25F6-4F2E-84DD-F34ECE0E3917}" dt="2024-01-29T17:27:13.830" v="2863" actId="478"/>
          <ac:picMkLst>
            <pc:docMk/>
            <pc:sldMk cId="596601236" sldId="2147480292"/>
            <ac:picMk id="68" creationId="{8CDAFBA7-828F-8A59-A1DC-CF706B811E96}"/>
          </ac:picMkLst>
        </pc:picChg>
      </pc:sldChg>
      <pc:sldChg chg="addSp modSp mod">
        <pc:chgData name="Julia PONT" userId="6ea7fb32-49be-46d9-9d69-f51ddf012212" providerId="ADAL" clId="{2A9E832C-25F6-4F2E-84DD-F34ECE0E3917}" dt="2024-01-29T18:06:41.998" v="3684" actId="20577"/>
        <pc:sldMkLst>
          <pc:docMk/>
          <pc:sldMk cId="4251555247" sldId="2147480293"/>
        </pc:sldMkLst>
        <pc:spChg chg="add mod">
          <ac:chgData name="Julia PONT" userId="6ea7fb32-49be-46d9-9d69-f51ddf012212" providerId="ADAL" clId="{2A9E832C-25F6-4F2E-84DD-F34ECE0E3917}" dt="2024-01-29T18:06:41.998" v="3684" actId="20577"/>
          <ac:spMkLst>
            <pc:docMk/>
            <pc:sldMk cId="4251555247" sldId="2147480293"/>
            <ac:spMk id="31" creationId="{2656CBF1-838E-87B4-9BF7-353C4A280B49}"/>
          </ac:spMkLst>
        </pc:spChg>
      </pc:sldChg>
      <pc:sldChg chg="modSp mod">
        <pc:chgData name="Julia PONT" userId="6ea7fb32-49be-46d9-9d69-f51ddf012212" providerId="ADAL" clId="{2A9E832C-25F6-4F2E-84DD-F34ECE0E3917}" dt="2024-01-31T15:53:49.684" v="9266" actId="13926"/>
        <pc:sldMkLst>
          <pc:docMk/>
          <pc:sldMk cId="936296583" sldId="2147480294"/>
        </pc:sldMkLst>
        <pc:spChg chg="mod">
          <ac:chgData name="Julia PONT" userId="6ea7fb32-49be-46d9-9d69-f51ddf012212" providerId="ADAL" clId="{2A9E832C-25F6-4F2E-84DD-F34ECE0E3917}" dt="2024-01-31T15:53:49.684" v="9266" actId="13926"/>
          <ac:spMkLst>
            <pc:docMk/>
            <pc:sldMk cId="936296583" sldId="2147480294"/>
            <ac:spMk id="5" creationId="{55617DAA-EC35-FEFB-5EFD-29E815E418A5}"/>
          </ac:spMkLst>
        </pc:spChg>
      </pc:sldChg>
      <pc:sldChg chg="addSp delSp mod modShow">
        <pc:chgData name="Julia PONT" userId="6ea7fb32-49be-46d9-9d69-f51ddf012212" providerId="ADAL" clId="{2A9E832C-25F6-4F2E-84DD-F34ECE0E3917}" dt="2024-01-26T16:16:39.642" v="81" actId="729"/>
        <pc:sldMkLst>
          <pc:docMk/>
          <pc:sldMk cId="2389986792" sldId="2147480295"/>
        </pc:sldMkLst>
        <pc:spChg chg="del">
          <ac:chgData name="Julia PONT" userId="6ea7fb32-49be-46d9-9d69-f51ddf012212" providerId="ADAL" clId="{2A9E832C-25F6-4F2E-84DD-F34ECE0E3917}" dt="2024-01-26T16:16:12.782" v="77" actId="478"/>
          <ac:spMkLst>
            <pc:docMk/>
            <pc:sldMk cId="2389986792" sldId="2147480295"/>
            <ac:spMk id="3" creationId="{0F5FE605-BCD3-489C-88B3-61CB80F6C249}"/>
          </ac:spMkLst>
        </pc:spChg>
        <pc:spChg chg="add del">
          <ac:chgData name="Julia PONT" userId="6ea7fb32-49be-46d9-9d69-f51ddf012212" providerId="ADAL" clId="{2A9E832C-25F6-4F2E-84DD-F34ECE0E3917}" dt="2024-01-26T16:16:33.703" v="80" actId="21"/>
          <ac:spMkLst>
            <pc:docMk/>
            <pc:sldMk cId="2389986792" sldId="2147480295"/>
            <ac:spMk id="4" creationId="{DDB605CA-7C8A-2FD6-3719-AB1EA4128D56}"/>
          </ac:spMkLst>
        </pc:spChg>
        <pc:spChg chg="add del">
          <ac:chgData name="Julia PONT" userId="6ea7fb32-49be-46d9-9d69-f51ddf012212" providerId="ADAL" clId="{2A9E832C-25F6-4F2E-84DD-F34ECE0E3917}" dt="2024-01-26T16:16:33.703" v="80" actId="21"/>
          <ac:spMkLst>
            <pc:docMk/>
            <pc:sldMk cId="2389986792" sldId="2147480295"/>
            <ac:spMk id="5" creationId="{B3D218B5-57C0-9419-ACBF-3CB6EC07A033}"/>
          </ac:spMkLst>
        </pc:spChg>
        <pc:spChg chg="add del">
          <ac:chgData name="Julia PONT" userId="6ea7fb32-49be-46d9-9d69-f51ddf012212" providerId="ADAL" clId="{2A9E832C-25F6-4F2E-84DD-F34ECE0E3917}" dt="2024-01-26T16:16:33.703" v="80" actId="21"/>
          <ac:spMkLst>
            <pc:docMk/>
            <pc:sldMk cId="2389986792" sldId="2147480295"/>
            <ac:spMk id="6" creationId="{1BFF0450-A5DD-066F-50D7-173531D24D58}"/>
          </ac:spMkLst>
        </pc:spChg>
        <pc:spChg chg="add del">
          <ac:chgData name="Julia PONT" userId="6ea7fb32-49be-46d9-9d69-f51ddf012212" providerId="ADAL" clId="{2A9E832C-25F6-4F2E-84DD-F34ECE0E3917}" dt="2024-01-26T16:16:33.703" v="80" actId="21"/>
          <ac:spMkLst>
            <pc:docMk/>
            <pc:sldMk cId="2389986792" sldId="2147480295"/>
            <ac:spMk id="7" creationId="{A50AB6AA-EA56-87F2-364D-FBB6A1BA70E1}"/>
          </ac:spMkLst>
        </pc:spChg>
        <pc:spChg chg="add del">
          <ac:chgData name="Julia PONT" userId="6ea7fb32-49be-46d9-9d69-f51ddf012212" providerId="ADAL" clId="{2A9E832C-25F6-4F2E-84DD-F34ECE0E3917}" dt="2024-01-26T16:16:33.703" v="80" actId="21"/>
          <ac:spMkLst>
            <pc:docMk/>
            <pc:sldMk cId="2389986792" sldId="2147480295"/>
            <ac:spMk id="8" creationId="{DFF23D7B-5BD1-7FF3-7139-8DBDDCAF39CF}"/>
          </ac:spMkLst>
        </pc:spChg>
        <pc:spChg chg="add del">
          <ac:chgData name="Julia PONT" userId="6ea7fb32-49be-46d9-9d69-f51ddf012212" providerId="ADAL" clId="{2A9E832C-25F6-4F2E-84DD-F34ECE0E3917}" dt="2024-01-26T16:16:33.703" v="80" actId="21"/>
          <ac:spMkLst>
            <pc:docMk/>
            <pc:sldMk cId="2389986792" sldId="2147480295"/>
            <ac:spMk id="9" creationId="{9CC11519-A77C-AE5E-612C-52F61157B121}"/>
          </ac:spMkLst>
        </pc:spChg>
        <pc:spChg chg="add del">
          <ac:chgData name="Julia PONT" userId="6ea7fb32-49be-46d9-9d69-f51ddf012212" providerId="ADAL" clId="{2A9E832C-25F6-4F2E-84DD-F34ECE0E3917}" dt="2024-01-26T16:16:33.703" v="80" actId="21"/>
          <ac:spMkLst>
            <pc:docMk/>
            <pc:sldMk cId="2389986792" sldId="2147480295"/>
            <ac:spMk id="10" creationId="{5BD3E751-2CBC-AA86-1E01-8D8895938B2D}"/>
          </ac:spMkLst>
        </pc:spChg>
      </pc:sldChg>
      <pc:sldChg chg="modSp mod">
        <pc:chgData name="Julia PONT" userId="6ea7fb32-49be-46d9-9d69-f51ddf012212" providerId="ADAL" clId="{2A9E832C-25F6-4F2E-84DD-F34ECE0E3917}" dt="2024-01-30T15:57:33.146" v="5672" actId="20577"/>
        <pc:sldMkLst>
          <pc:docMk/>
          <pc:sldMk cId="3314057026" sldId="2147480296"/>
        </pc:sldMkLst>
        <pc:graphicFrameChg chg="modGraphic">
          <ac:chgData name="Julia PONT" userId="6ea7fb32-49be-46d9-9d69-f51ddf012212" providerId="ADAL" clId="{2A9E832C-25F6-4F2E-84DD-F34ECE0E3917}" dt="2024-01-30T15:57:33.146" v="5672" actId="20577"/>
          <ac:graphicFrameMkLst>
            <pc:docMk/>
            <pc:sldMk cId="3314057026" sldId="2147480296"/>
            <ac:graphicFrameMk id="52" creationId="{7F86C2B7-5FAB-0233-E01B-D6D2A7C40DAC}"/>
          </ac:graphicFrameMkLst>
        </pc:graphicFrameChg>
      </pc:sldChg>
      <pc:sldChg chg="addSp delSp modSp mod ord modShow">
        <pc:chgData name="Julia PONT" userId="6ea7fb32-49be-46d9-9d69-f51ddf012212" providerId="ADAL" clId="{2A9E832C-25F6-4F2E-84DD-F34ECE0E3917}" dt="2024-02-01T16:30:07.397" v="16576"/>
        <pc:sldMkLst>
          <pc:docMk/>
          <pc:sldMk cId="1871989762" sldId="2147480297"/>
        </pc:sldMkLst>
        <pc:spChg chg="mod">
          <ac:chgData name="Julia PONT" userId="6ea7fb32-49be-46d9-9d69-f51ddf012212" providerId="ADAL" clId="{2A9E832C-25F6-4F2E-84DD-F34ECE0E3917}" dt="2024-01-30T15:21:55.363" v="4693" actId="20577"/>
          <ac:spMkLst>
            <pc:docMk/>
            <pc:sldMk cId="1871989762" sldId="2147480297"/>
            <ac:spMk id="2" creationId="{8841BFD6-808B-A31A-3219-984E547A519C}"/>
          </ac:spMkLst>
        </pc:spChg>
        <pc:spChg chg="del mod">
          <ac:chgData name="Julia PONT" userId="6ea7fb32-49be-46d9-9d69-f51ddf012212" providerId="ADAL" clId="{2A9E832C-25F6-4F2E-84DD-F34ECE0E3917}" dt="2024-01-29T17:37:17.799" v="3125" actId="478"/>
          <ac:spMkLst>
            <pc:docMk/>
            <pc:sldMk cId="1871989762" sldId="2147480297"/>
            <ac:spMk id="3" creationId="{0F5FE605-BCD3-489C-88B3-61CB80F6C249}"/>
          </ac:spMkLst>
        </pc:spChg>
        <pc:spChg chg="mod ord">
          <ac:chgData name="Julia PONT" userId="6ea7fb32-49be-46d9-9d69-f51ddf012212" providerId="ADAL" clId="{2A9E832C-25F6-4F2E-84DD-F34ECE0E3917}" dt="2024-02-01T11:06:30.469" v="13514" actId="207"/>
          <ac:spMkLst>
            <pc:docMk/>
            <pc:sldMk cId="1871989762" sldId="2147480297"/>
            <ac:spMk id="4" creationId="{DDB605CA-7C8A-2FD6-3719-AB1EA4128D56}"/>
          </ac:spMkLst>
        </pc:spChg>
        <pc:spChg chg="mod ord">
          <ac:chgData name="Julia PONT" userId="6ea7fb32-49be-46d9-9d69-f51ddf012212" providerId="ADAL" clId="{2A9E832C-25F6-4F2E-84DD-F34ECE0E3917}" dt="2024-02-01T11:05:41.822" v="13508" actId="207"/>
          <ac:spMkLst>
            <pc:docMk/>
            <pc:sldMk cId="1871989762" sldId="2147480297"/>
            <ac:spMk id="5" creationId="{B3D218B5-57C0-9419-ACBF-3CB6EC07A033}"/>
          </ac:spMkLst>
        </pc:spChg>
        <pc:spChg chg="mod">
          <ac:chgData name="Julia PONT" userId="6ea7fb32-49be-46d9-9d69-f51ddf012212" providerId="ADAL" clId="{2A9E832C-25F6-4F2E-84DD-F34ECE0E3917}" dt="2024-02-01T11:05:41.822" v="13508" actId="207"/>
          <ac:spMkLst>
            <pc:docMk/>
            <pc:sldMk cId="1871989762" sldId="2147480297"/>
            <ac:spMk id="6" creationId="{1BFF0450-A5DD-066F-50D7-173531D24D58}"/>
          </ac:spMkLst>
        </pc:spChg>
        <pc:spChg chg="mod">
          <ac:chgData name="Julia PONT" userId="6ea7fb32-49be-46d9-9d69-f51ddf012212" providerId="ADAL" clId="{2A9E832C-25F6-4F2E-84DD-F34ECE0E3917}" dt="2024-02-01T11:05:41.822" v="13508" actId="207"/>
          <ac:spMkLst>
            <pc:docMk/>
            <pc:sldMk cId="1871989762" sldId="2147480297"/>
            <ac:spMk id="7" creationId="{A50AB6AA-EA56-87F2-364D-FBB6A1BA70E1}"/>
          </ac:spMkLst>
        </pc:spChg>
        <pc:spChg chg="mod">
          <ac:chgData name="Julia PONT" userId="6ea7fb32-49be-46d9-9d69-f51ddf012212" providerId="ADAL" clId="{2A9E832C-25F6-4F2E-84DD-F34ECE0E3917}" dt="2024-02-01T11:06:19.905" v="13511" actId="207"/>
          <ac:spMkLst>
            <pc:docMk/>
            <pc:sldMk cId="1871989762" sldId="2147480297"/>
            <ac:spMk id="8" creationId="{DFF23D7B-5BD1-7FF3-7139-8DBDDCAF39CF}"/>
          </ac:spMkLst>
        </pc:spChg>
        <pc:spChg chg="mod ord">
          <ac:chgData name="Julia PONT" userId="6ea7fb32-49be-46d9-9d69-f51ddf012212" providerId="ADAL" clId="{2A9E832C-25F6-4F2E-84DD-F34ECE0E3917}" dt="2024-02-01T11:06:19.905" v="13511" actId="207"/>
          <ac:spMkLst>
            <pc:docMk/>
            <pc:sldMk cId="1871989762" sldId="2147480297"/>
            <ac:spMk id="9" creationId="{9CC11519-A77C-AE5E-612C-52F61157B121}"/>
          </ac:spMkLst>
        </pc:spChg>
        <pc:spChg chg="mod ord">
          <ac:chgData name="Julia PONT" userId="6ea7fb32-49be-46d9-9d69-f51ddf012212" providerId="ADAL" clId="{2A9E832C-25F6-4F2E-84DD-F34ECE0E3917}" dt="2024-02-01T11:05:41.822" v="13508" actId="207"/>
          <ac:spMkLst>
            <pc:docMk/>
            <pc:sldMk cId="1871989762" sldId="2147480297"/>
            <ac:spMk id="10" creationId="{5BD3E751-2CBC-AA86-1E01-8D8895938B2D}"/>
          </ac:spMkLst>
        </pc:spChg>
        <pc:spChg chg="add mod">
          <ac:chgData name="Julia PONT" userId="6ea7fb32-49be-46d9-9d69-f51ddf012212" providerId="ADAL" clId="{2A9E832C-25F6-4F2E-84DD-F34ECE0E3917}" dt="2024-01-31T15:42:50.679" v="9252" actId="1076"/>
          <ac:spMkLst>
            <pc:docMk/>
            <pc:sldMk cId="1871989762" sldId="2147480297"/>
            <ac:spMk id="11" creationId="{9FCE7BA3-05AB-738E-09E3-6810F0A07D1D}"/>
          </ac:spMkLst>
        </pc:spChg>
        <pc:spChg chg="add mod">
          <ac:chgData name="Julia PONT" userId="6ea7fb32-49be-46d9-9d69-f51ddf012212" providerId="ADAL" clId="{2A9E832C-25F6-4F2E-84DD-F34ECE0E3917}" dt="2024-01-26T16:16:18.038" v="79"/>
          <ac:spMkLst>
            <pc:docMk/>
            <pc:sldMk cId="1871989762" sldId="2147480297"/>
            <ac:spMk id="11" creationId="{DDB605CA-7C8A-2FD6-3719-AB1EA4128D56}"/>
          </ac:spMkLst>
        </pc:spChg>
        <pc:spChg chg="mod">
          <ac:chgData name="Julia PONT" userId="6ea7fb32-49be-46d9-9d69-f51ddf012212" providerId="ADAL" clId="{2A9E832C-25F6-4F2E-84DD-F34ECE0E3917}" dt="2024-01-31T18:14:40.625" v="11736" actId="1076"/>
          <ac:spMkLst>
            <pc:docMk/>
            <pc:sldMk cId="1871989762" sldId="2147480297"/>
            <ac:spMk id="12" creationId="{19705654-CA39-F9D6-997C-3E5D4871001B}"/>
          </ac:spMkLst>
        </pc:spChg>
        <pc:spChg chg="add mod">
          <ac:chgData name="Julia PONT" userId="6ea7fb32-49be-46d9-9d69-f51ddf012212" providerId="ADAL" clId="{2A9E832C-25F6-4F2E-84DD-F34ECE0E3917}" dt="2024-01-26T16:16:18.038" v="79"/>
          <ac:spMkLst>
            <pc:docMk/>
            <pc:sldMk cId="1871989762" sldId="2147480297"/>
            <ac:spMk id="12" creationId="{B3D218B5-57C0-9419-ACBF-3CB6EC07A033}"/>
          </ac:spMkLst>
        </pc:spChg>
        <pc:spChg chg="add mod">
          <ac:chgData name="Julia PONT" userId="6ea7fb32-49be-46d9-9d69-f51ddf012212" providerId="ADAL" clId="{2A9E832C-25F6-4F2E-84DD-F34ECE0E3917}" dt="2024-01-26T16:16:18.038" v="79"/>
          <ac:spMkLst>
            <pc:docMk/>
            <pc:sldMk cId="1871989762" sldId="2147480297"/>
            <ac:spMk id="13" creationId="{5BD3E751-2CBC-AA86-1E01-8D8895938B2D}"/>
          </ac:spMkLst>
        </pc:spChg>
        <pc:spChg chg="add mod">
          <ac:chgData name="Julia PONT" userId="6ea7fb32-49be-46d9-9d69-f51ddf012212" providerId="ADAL" clId="{2A9E832C-25F6-4F2E-84DD-F34ECE0E3917}" dt="2024-02-01T11:07:13.186" v="13516" actId="1076"/>
          <ac:spMkLst>
            <pc:docMk/>
            <pc:sldMk cId="1871989762" sldId="2147480297"/>
            <ac:spMk id="14" creationId="{00FD97FC-A046-A280-9ACB-EA767318B947}"/>
          </ac:spMkLst>
        </pc:spChg>
        <pc:spChg chg="add mod">
          <ac:chgData name="Julia PONT" userId="6ea7fb32-49be-46d9-9d69-f51ddf012212" providerId="ADAL" clId="{2A9E832C-25F6-4F2E-84DD-F34ECE0E3917}" dt="2024-01-26T16:16:18.038" v="79"/>
          <ac:spMkLst>
            <pc:docMk/>
            <pc:sldMk cId="1871989762" sldId="2147480297"/>
            <ac:spMk id="14" creationId="{1BFF0450-A5DD-066F-50D7-173531D24D58}"/>
          </ac:spMkLst>
        </pc:spChg>
        <pc:spChg chg="add mod">
          <ac:chgData name="Julia PONT" userId="6ea7fb32-49be-46d9-9d69-f51ddf012212" providerId="ADAL" clId="{2A9E832C-25F6-4F2E-84DD-F34ECE0E3917}" dt="2024-02-01T12:37:35.774" v="13517" actId="207"/>
          <ac:spMkLst>
            <pc:docMk/>
            <pc:sldMk cId="1871989762" sldId="2147480297"/>
            <ac:spMk id="15" creationId="{6F2337FD-20C4-3A62-D2E0-3A7966C1885C}"/>
          </ac:spMkLst>
        </pc:spChg>
        <pc:spChg chg="add mod">
          <ac:chgData name="Julia PONT" userId="6ea7fb32-49be-46d9-9d69-f51ddf012212" providerId="ADAL" clId="{2A9E832C-25F6-4F2E-84DD-F34ECE0E3917}" dt="2024-01-26T16:16:18.038" v="79"/>
          <ac:spMkLst>
            <pc:docMk/>
            <pc:sldMk cId="1871989762" sldId="2147480297"/>
            <ac:spMk id="15" creationId="{A50AB6AA-EA56-87F2-364D-FBB6A1BA70E1}"/>
          </ac:spMkLst>
        </pc:spChg>
        <pc:spChg chg="add mod">
          <ac:chgData name="Julia PONT" userId="6ea7fb32-49be-46d9-9d69-f51ddf012212" providerId="ADAL" clId="{2A9E832C-25F6-4F2E-84DD-F34ECE0E3917}" dt="2024-01-26T16:16:18.038" v="79"/>
          <ac:spMkLst>
            <pc:docMk/>
            <pc:sldMk cId="1871989762" sldId="2147480297"/>
            <ac:spMk id="16" creationId="{DFF23D7B-5BD1-7FF3-7139-8DBDDCAF39CF}"/>
          </ac:spMkLst>
        </pc:spChg>
        <pc:spChg chg="add mod">
          <ac:chgData name="Julia PONT" userId="6ea7fb32-49be-46d9-9d69-f51ddf012212" providerId="ADAL" clId="{2A9E832C-25F6-4F2E-84DD-F34ECE0E3917}" dt="2024-01-26T16:16:18.038" v="79"/>
          <ac:spMkLst>
            <pc:docMk/>
            <pc:sldMk cId="1871989762" sldId="2147480297"/>
            <ac:spMk id="17" creationId="{9CC11519-A77C-AE5E-612C-52F61157B121}"/>
          </ac:spMkLst>
        </pc:spChg>
        <pc:spChg chg="add mod">
          <ac:chgData name="Julia PONT" userId="6ea7fb32-49be-46d9-9d69-f51ddf012212" providerId="ADAL" clId="{2A9E832C-25F6-4F2E-84DD-F34ECE0E3917}" dt="2024-02-01T11:06:30.469" v="13514" actId="207"/>
          <ac:spMkLst>
            <pc:docMk/>
            <pc:sldMk cId="1871989762" sldId="2147480297"/>
            <ac:spMk id="18" creationId="{82EA6A6F-8754-3A2B-8B12-552606CAED25}"/>
          </ac:spMkLst>
        </pc:spChg>
        <pc:spChg chg="add mod">
          <ac:chgData name="Julia PONT" userId="6ea7fb32-49be-46d9-9d69-f51ddf012212" providerId="ADAL" clId="{2A9E832C-25F6-4F2E-84DD-F34ECE0E3917}" dt="2024-02-01T11:06:19.905" v="13511" actId="207"/>
          <ac:spMkLst>
            <pc:docMk/>
            <pc:sldMk cId="1871989762" sldId="2147480297"/>
            <ac:spMk id="19" creationId="{B4E8EBD2-6E3E-AB00-98A9-EE2E5A2B164D}"/>
          </ac:spMkLst>
        </pc:spChg>
        <pc:spChg chg="add del mod">
          <ac:chgData name="Julia PONT" userId="6ea7fb32-49be-46d9-9d69-f51ddf012212" providerId="ADAL" clId="{2A9E832C-25F6-4F2E-84DD-F34ECE0E3917}" dt="2024-01-30T14:31:07.941" v="4582" actId="478"/>
          <ac:spMkLst>
            <pc:docMk/>
            <pc:sldMk cId="1871989762" sldId="2147480297"/>
            <ac:spMk id="20" creationId="{022DACDC-1803-9FF0-EEBB-1E1B55F63270}"/>
          </ac:spMkLst>
        </pc:spChg>
        <pc:spChg chg="add mod">
          <ac:chgData name="Julia PONT" userId="6ea7fb32-49be-46d9-9d69-f51ddf012212" providerId="ADAL" clId="{2A9E832C-25F6-4F2E-84DD-F34ECE0E3917}" dt="2024-02-01T11:05:41.822" v="13508" actId="207"/>
          <ac:spMkLst>
            <pc:docMk/>
            <pc:sldMk cId="1871989762" sldId="2147480297"/>
            <ac:spMk id="22" creationId="{1718CD15-4AD2-D150-E63A-FBAE7C3534F6}"/>
          </ac:spMkLst>
        </pc:spChg>
        <pc:spChg chg="add mod ord">
          <ac:chgData name="Julia PONT" userId="6ea7fb32-49be-46d9-9d69-f51ddf012212" providerId="ADAL" clId="{2A9E832C-25F6-4F2E-84DD-F34ECE0E3917}" dt="2024-02-01T11:05:41.822" v="13508" actId="207"/>
          <ac:spMkLst>
            <pc:docMk/>
            <pc:sldMk cId="1871989762" sldId="2147480297"/>
            <ac:spMk id="23" creationId="{A3962392-6742-FA3F-BA10-5080A824DACF}"/>
          </ac:spMkLst>
        </pc:spChg>
        <pc:spChg chg="add del mod">
          <ac:chgData name="Julia PONT" userId="6ea7fb32-49be-46d9-9d69-f51ddf012212" providerId="ADAL" clId="{2A9E832C-25F6-4F2E-84DD-F34ECE0E3917}" dt="2024-01-30T15:39:51.631" v="5326" actId="478"/>
          <ac:spMkLst>
            <pc:docMk/>
            <pc:sldMk cId="1871989762" sldId="2147480297"/>
            <ac:spMk id="26" creationId="{02A18E1A-F3EA-7F09-DCCC-03E9777FAFDF}"/>
          </ac:spMkLst>
        </pc:spChg>
        <pc:spChg chg="add mod">
          <ac:chgData name="Julia PONT" userId="6ea7fb32-49be-46d9-9d69-f51ddf012212" providerId="ADAL" clId="{2A9E832C-25F6-4F2E-84DD-F34ECE0E3917}" dt="2024-02-01T09:42:58.981" v="12989"/>
          <ac:spMkLst>
            <pc:docMk/>
            <pc:sldMk cId="1871989762" sldId="2147480297"/>
            <ac:spMk id="26" creationId="{606B71F8-A843-9AD6-6990-5704DDEC4751}"/>
          </ac:spMkLst>
        </pc:spChg>
        <pc:spChg chg="mod">
          <ac:chgData name="Julia PONT" userId="6ea7fb32-49be-46d9-9d69-f51ddf012212" providerId="ADAL" clId="{2A9E832C-25F6-4F2E-84DD-F34ECE0E3917}" dt="2024-01-30T15:41:10.875" v="5464" actId="207"/>
          <ac:spMkLst>
            <pc:docMk/>
            <pc:sldMk cId="1871989762" sldId="2147480297"/>
            <ac:spMk id="28" creationId="{4BCD0E86-81E4-0309-481D-E123442B4E28}"/>
          </ac:spMkLst>
        </pc:spChg>
        <pc:spChg chg="mod">
          <ac:chgData name="Julia PONT" userId="6ea7fb32-49be-46d9-9d69-f51ddf012212" providerId="ADAL" clId="{2A9E832C-25F6-4F2E-84DD-F34ECE0E3917}" dt="2024-01-30T15:41:10.875" v="5464" actId="207"/>
          <ac:spMkLst>
            <pc:docMk/>
            <pc:sldMk cId="1871989762" sldId="2147480297"/>
            <ac:spMk id="30" creationId="{46ADFA1A-7505-4FFE-26F2-431E642A5DDD}"/>
          </ac:spMkLst>
        </pc:spChg>
        <pc:spChg chg="mod">
          <ac:chgData name="Julia PONT" userId="6ea7fb32-49be-46d9-9d69-f51ddf012212" providerId="ADAL" clId="{2A9E832C-25F6-4F2E-84DD-F34ECE0E3917}" dt="2024-01-30T15:41:10.875" v="5464" actId="207"/>
          <ac:spMkLst>
            <pc:docMk/>
            <pc:sldMk cId="1871989762" sldId="2147480297"/>
            <ac:spMk id="31" creationId="{014FB3FE-F601-6C1B-170A-9BD48510ABB9}"/>
          </ac:spMkLst>
        </pc:spChg>
        <pc:spChg chg="mod">
          <ac:chgData name="Julia PONT" userId="6ea7fb32-49be-46d9-9d69-f51ddf012212" providerId="ADAL" clId="{2A9E832C-25F6-4F2E-84DD-F34ECE0E3917}" dt="2024-01-30T15:41:10.875" v="5464" actId="207"/>
          <ac:spMkLst>
            <pc:docMk/>
            <pc:sldMk cId="1871989762" sldId="2147480297"/>
            <ac:spMk id="32" creationId="{3B122B0A-151E-7433-0F3F-2E058D5753AE}"/>
          </ac:spMkLst>
        </pc:spChg>
        <pc:spChg chg="add mod">
          <ac:chgData name="Julia PONT" userId="6ea7fb32-49be-46d9-9d69-f51ddf012212" providerId="ADAL" clId="{2A9E832C-25F6-4F2E-84DD-F34ECE0E3917}" dt="2024-01-31T18:15:58.391" v="11762" actId="1036"/>
          <ac:spMkLst>
            <pc:docMk/>
            <pc:sldMk cId="1871989762" sldId="2147480297"/>
            <ac:spMk id="33" creationId="{A01CA21F-187D-8632-F55B-7A28454CCA1E}"/>
          </ac:spMkLst>
        </pc:spChg>
        <pc:spChg chg="add mod">
          <ac:chgData name="Julia PONT" userId="6ea7fb32-49be-46d9-9d69-f51ddf012212" providerId="ADAL" clId="{2A9E832C-25F6-4F2E-84DD-F34ECE0E3917}" dt="2024-01-31T18:15:58.391" v="11762" actId="1036"/>
          <ac:spMkLst>
            <pc:docMk/>
            <pc:sldMk cId="1871989762" sldId="2147480297"/>
            <ac:spMk id="34" creationId="{BCCF8B0A-7B31-919F-FD0C-3BDE2CDCEB95}"/>
          </ac:spMkLst>
        </pc:spChg>
        <pc:spChg chg="add del mod">
          <ac:chgData name="Julia PONT" userId="6ea7fb32-49be-46d9-9d69-f51ddf012212" providerId="ADAL" clId="{2A9E832C-25F6-4F2E-84DD-F34ECE0E3917}" dt="2024-02-01T11:04:53.037" v="13489" actId="478"/>
          <ac:spMkLst>
            <pc:docMk/>
            <pc:sldMk cId="1871989762" sldId="2147480297"/>
            <ac:spMk id="35" creationId="{6BCFBB0C-B952-363E-7516-8C7421CFF4F4}"/>
          </ac:spMkLst>
        </pc:spChg>
        <pc:spChg chg="add del mod">
          <ac:chgData name="Julia PONT" userId="6ea7fb32-49be-46d9-9d69-f51ddf012212" providerId="ADAL" clId="{2A9E832C-25F6-4F2E-84DD-F34ECE0E3917}" dt="2024-02-01T11:04:53.037" v="13489" actId="478"/>
          <ac:spMkLst>
            <pc:docMk/>
            <pc:sldMk cId="1871989762" sldId="2147480297"/>
            <ac:spMk id="36" creationId="{7517D526-2AA1-C9FB-6CBF-1454CC334339}"/>
          </ac:spMkLst>
        </pc:spChg>
        <pc:spChg chg="add mod">
          <ac:chgData name="Julia PONT" userId="6ea7fb32-49be-46d9-9d69-f51ddf012212" providerId="ADAL" clId="{2A9E832C-25F6-4F2E-84DD-F34ECE0E3917}" dt="2024-01-31T18:29:20.670" v="11880" actId="12789"/>
          <ac:spMkLst>
            <pc:docMk/>
            <pc:sldMk cId="1871989762" sldId="2147480297"/>
            <ac:spMk id="41" creationId="{8569D39C-1E7E-AA57-6417-F5B137715A95}"/>
          </ac:spMkLst>
        </pc:spChg>
        <pc:spChg chg="add mod">
          <ac:chgData name="Julia PONT" userId="6ea7fb32-49be-46d9-9d69-f51ddf012212" providerId="ADAL" clId="{2A9E832C-25F6-4F2E-84DD-F34ECE0E3917}" dt="2024-01-31T18:29:20.670" v="11880" actId="12789"/>
          <ac:spMkLst>
            <pc:docMk/>
            <pc:sldMk cId="1871989762" sldId="2147480297"/>
            <ac:spMk id="42" creationId="{BB63BE6B-4684-6B89-BE45-7525A2FAC41C}"/>
          </ac:spMkLst>
        </pc:spChg>
        <pc:spChg chg="add mod">
          <ac:chgData name="Julia PONT" userId="6ea7fb32-49be-46d9-9d69-f51ddf012212" providerId="ADAL" clId="{2A9E832C-25F6-4F2E-84DD-F34ECE0E3917}" dt="2024-01-31T18:29:20.670" v="11880" actId="12789"/>
          <ac:spMkLst>
            <pc:docMk/>
            <pc:sldMk cId="1871989762" sldId="2147480297"/>
            <ac:spMk id="43" creationId="{FFAD3599-18CF-009C-32CA-15E6FF2D0D39}"/>
          </ac:spMkLst>
        </pc:spChg>
        <pc:spChg chg="add del mod ord">
          <ac:chgData name="Julia PONT" userId="6ea7fb32-49be-46d9-9d69-f51ddf012212" providerId="ADAL" clId="{2A9E832C-25F6-4F2E-84DD-F34ECE0E3917}" dt="2024-01-31T18:27:45.726" v="11871" actId="478"/>
          <ac:spMkLst>
            <pc:docMk/>
            <pc:sldMk cId="1871989762" sldId="2147480297"/>
            <ac:spMk id="44" creationId="{B9CC102E-110F-40AE-A434-CAEE546F3BD3}"/>
          </ac:spMkLst>
        </pc:spChg>
        <pc:spChg chg="mod topLvl">
          <ac:chgData name="Julia PONT" userId="6ea7fb32-49be-46d9-9d69-f51ddf012212" providerId="ADAL" clId="{2A9E832C-25F6-4F2E-84DD-F34ECE0E3917}" dt="2024-02-01T11:04:39.915" v="13485" actId="207"/>
          <ac:spMkLst>
            <pc:docMk/>
            <pc:sldMk cId="1871989762" sldId="2147480297"/>
            <ac:spMk id="47" creationId="{F7EFE765-D3E2-D83D-15BD-60893A012875}"/>
          </ac:spMkLst>
        </pc:spChg>
        <pc:spChg chg="mod topLvl">
          <ac:chgData name="Julia PONT" userId="6ea7fb32-49be-46d9-9d69-f51ddf012212" providerId="ADAL" clId="{2A9E832C-25F6-4F2E-84DD-F34ECE0E3917}" dt="2024-02-01T11:04:41.833" v="13486" actId="207"/>
          <ac:spMkLst>
            <pc:docMk/>
            <pc:sldMk cId="1871989762" sldId="2147480297"/>
            <ac:spMk id="49" creationId="{4FDF85B2-296E-DA12-F9F6-963F88CBDCDC}"/>
          </ac:spMkLst>
        </pc:spChg>
        <pc:spChg chg="mod topLvl">
          <ac:chgData name="Julia PONT" userId="6ea7fb32-49be-46d9-9d69-f51ddf012212" providerId="ADAL" clId="{2A9E832C-25F6-4F2E-84DD-F34ECE0E3917}" dt="2024-02-01T11:04:44.367" v="13487" actId="207"/>
          <ac:spMkLst>
            <pc:docMk/>
            <pc:sldMk cId="1871989762" sldId="2147480297"/>
            <ac:spMk id="51" creationId="{26A5CF66-D414-E1C6-F7CC-129DB43DDB8D}"/>
          </ac:spMkLst>
        </pc:spChg>
        <pc:spChg chg="mod topLvl">
          <ac:chgData name="Julia PONT" userId="6ea7fb32-49be-46d9-9d69-f51ddf012212" providerId="ADAL" clId="{2A9E832C-25F6-4F2E-84DD-F34ECE0E3917}" dt="2024-02-01T11:04:50.129" v="13488" actId="207"/>
          <ac:spMkLst>
            <pc:docMk/>
            <pc:sldMk cId="1871989762" sldId="2147480297"/>
            <ac:spMk id="53" creationId="{8EA43EA8-A7DB-F2E7-88BE-6547A70036D8}"/>
          </ac:spMkLst>
        </pc:spChg>
        <pc:spChg chg="mod topLvl">
          <ac:chgData name="Julia PONT" userId="6ea7fb32-49be-46d9-9d69-f51ddf012212" providerId="ADAL" clId="{2A9E832C-25F6-4F2E-84DD-F34ECE0E3917}" dt="2024-01-30T14:19:15.833" v="4195" actId="164"/>
          <ac:spMkLst>
            <pc:docMk/>
            <pc:sldMk cId="1871989762" sldId="2147480297"/>
            <ac:spMk id="55" creationId="{189BDCCA-24B3-20EF-D802-8E9EB0AF9878}"/>
          </ac:spMkLst>
        </pc:spChg>
        <pc:spChg chg="mod topLvl">
          <ac:chgData name="Julia PONT" userId="6ea7fb32-49be-46d9-9d69-f51ddf012212" providerId="ADAL" clId="{2A9E832C-25F6-4F2E-84DD-F34ECE0E3917}" dt="2024-02-01T11:04:37.245" v="13483" actId="207"/>
          <ac:spMkLst>
            <pc:docMk/>
            <pc:sldMk cId="1871989762" sldId="2147480297"/>
            <ac:spMk id="58" creationId="{20930015-73E2-48FC-2F01-3298F0E8F43D}"/>
          </ac:spMkLst>
        </pc:spChg>
        <pc:spChg chg="mod">
          <ac:chgData name="Julia PONT" userId="6ea7fb32-49be-46d9-9d69-f51ddf012212" providerId="ADAL" clId="{2A9E832C-25F6-4F2E-84DD-F34ECE0E3917}" dt="2024-01-30T14:18:47.391" v="4188" actId="165"/>
          <ac:spMkLst>
            <pc:docMk/>
            <pc:sldMk cId="1871989762" sldId="2147480297"/>
            <ac:spMk id="62" creationId="{CAC25D54-113B-DA78-C807-C131DD417D62}"/>
          </ac:spMkLst>
        </pc:spChg>
        <pc:spChg chg="mod">
          <ac:chgData name="Julia PONT" userId="6ea7fb32-49be-46d9-9d69-f51ddf012212" providerId="ADAL" clId="{2A9E832C-25F6-4F2E-84DD-F34ECE0E3917}" dt="2024-01-30T14:18:47.391" v="4188" actId="165"/>
          <ac:spMkLst>
            <pc:docMk/>
            <pc:sldMk cId="1871989762" sldId="2147480297"/>
            <ac:spMk id="63" creationId="{A6ABCBD5-39DE-8B0A-FAC2-AB6B5AD6C1EC}"/>
          </ac:spMkLst>
        </pc:spChg>
        <pc:spChg chg="mod">
          <ac:chgData name="Julia PONT" userId="6ea7fb32-49be-46d9-9d69-f51ddf012212" providerId="ADAL" clId="{2A9E832C-25F6-4F2E-84DD-F34ECE0E3917}" dt="2024-01-30T14:18:47.391" v="4188" actId="165"/>
          <ac:spMkLst>
            <pc:docMk/>
            <pc:sldMk cId="1871989762" sldId="2147480297"/>
            <ac:spMk id="64" creationId="{7044D695-3A82-D80F-D64A-4B3CB043A76F}"/>
          </ac:spMkLst>
        </pc:spChg>
        <pc:spChg chg="mod">
          <ac:chgData name="Julia PONT" userId="6ea7fb32-49be-46d9-9d69-f51ddf012212" providerId="ADAL" clId="{2A9E832C-25F6-4F2E-84DD-F34ECE0E3917}" dt="2024-01-30T14:18:47.391" v="4188" actId="165"/>
          <ac:spMkLst>
            <pc:docMk/>
            <pc:sldMk cId="1871989762" sldId="2147480297"/>
            <ac:spMk id="65" creationId="{E6CD615D-28A6-F4B6-4BAB-61307BD0A4BD}"/>
          </ac:spMkLst>
        </pc:spChg>
        <pc:spChg chg="mod">
          <ac:chgData name="Julia PONT" userId="6ea7fb32-49be-46d9-9d69-f51ddf012212" providerId="ADAL" clId="{2A9E832C-25F6-4F2E-84DD-F34ECE0E3917}" dt="2024-01-30T14:18:47.391" v="4188" actId="165"/>
          <ac:spMkLst>
            <pc:docMk/>
            <pc:sldMk cId="1871989762" sldId="2147480297"/>
            <ac:spMk id="66" creationId="{F09DE6B9-D432-C491-F461-33C73A51EDAB}"/>
          </ac:spMkLst>
        </pc:spChg>
        <pc:spChg chg="mod">
          <ac:chgData name="Julia PONT" userId="6ea7fb32-49be-46d9-9d69-f51ddf012212" providerId="ADAL" clId="{2A9E832C-25F6-4F2E-84DD-F34ECE0E3917}" dt="2024-01-30T14:18:47.391" v="4188" actId="165"/>
          <ac:spMkLst>
            <pc:docMk/>
            <pc:sldMk cId="1871989762" sldId="2147480297"/>
            <ac:spMk id="67" creationId="{0A855619-72C3-FE06-CCA5-8E4D8F874598}"/>
          </ac:spMkLst>
        </pc:spChg>
        <pc:spChg chg="mod">
          <ac:chgData name="Julia PONT" userId="6ea7fb32-49be-46d9-9d69-f51ddf012212" providerId="ADAL" clId="{2A9E832C-25F6-4F2E-84DD-F34ECE0E3917}" dt="2024-01-30T14:18:47.391" v="4188" actId="165"/>
          <ac:spMkLst>
            <pc:docMk/>
            <pc:sldMk cId="1871989762" sldId="2147480297"/>
            <ac:spMk id="68" creationId="{FCE48449-69D2-62FD-7A5A-060D0D40F9FA}"/>
          </ac:spMkLst>
        </pc:spChg>
        <pc:spChg chg="mod">
          <ac:chgData name="Julia PONT" userId="6ea7fb32-49be-46d9-9d69-f51ddf012212" providerId="ADAL" clId="{2A9E832C-25F6-4F2E-84DD-F34ECE0E3917}" dt="2024-01-30T14:18:47.391" v="4188" actId="165"/>
          <ac:spMkLst>
            <pc:docMk/>
            <pc:sldMk cId="1871989762" sldId="2147480297"/>
            <ac:spMk id="69" creationId="{E1E00330-B7A7-6B43-BD36-E5486DAF5746}"/>
          </ac:spMkLst>
        </pc:spChg>
        <pc:spChg chg="mod">
          <ac:chgData name="Julia PONT" userId="6ea7fb32-49be-46d9-9d69-f51ddf012212" providerId="ADAL" clId="{2A9E832C-25F6-4F2E-84DD-F34ECE0E3917}" dt="2024-01-30T14:18:47.391" v="4188" actId="165"/>
          <ac:spMkLst>
            <pc:docMk/>
            <pc:sldMk cId="1871989762" sldId="2147480297"/>
            <ac:spMk id="70" creationId="{790BFA82-A489-BF8D-1EEE-76823A4F8CB4}"/>
          </ac:spMkLst>
        </pc:spChg>
        <pc:spChg chg="mod">
          <ac:chgData name="Julia PONT" userId="6ea7fb32-49be-46d9-9d69-f51ddf012212" providerId="ADAL" clId="{2A9E832C-25F6-4F2E-84DD-F34ECE0E3917}" dt="2024-01-30T15:18:33.119" v="4591" actId="165"/>
          <ac:spMkLst>
            <pc:docMk/>
            <pc:sldMk cId="1871989762" sldId="2147480297"/>
            <ac:spMk id="71" creationId="{A44420BB-43C2-61BF-5D05-C3386F5F0AB5}"/>
          </ac:spMkLst>
        </pc:spChg>
        <pc:spChg chg="mod">
          <ac:chgData name="Julia PONT" userId="6ea7fb32-49be-46d9-9d69-f51ddf012212" providerId="ADAL" clId="{2A9E832C-25F6-4F2E-84DD-F34ECE0E3917}" dt="2024-01-30T15:18:33.119" v="4591" actId="165"/>
          <ac:spMkLst>
            <pc:docMk/>
            <pc:sldMk cId="1871989762" sldId="2147480297"/>
            <ac:spMk id="72" creationId="{2DB4852E-75DB-494B-4E51-10962A98A883}"/>
          </ac:spMkLst>
        </pc:spChg>
        <pc:spChg chg="mod">
          <ac:chgData name="Julia PONT" userId="6ea7fb32-49be-46d9-9d69-f51ddf012212" providerId="ADAL" clId="{2A9E832C-25F6-4F2E-84DD-F34ECE0E3917}" dt="2024-01-30T15:18:33.119" v="4591" actId="165"/>
          <ac:spMkLst>
            <pc:docMk/>
            <pc:sldMk cId="1871989762" sldId="2147480297"/>
            <ac:spMk id="73" creationId="{AA28535E-0353-E0CF-AAE1-8AC4AB802CD8}"/>
          </ac:spMkLst>
        </pc:spChg>
        <pc:spChg chg="mod">
          <ac:chgData name="Julia PONT" userId="6ea7fb32-49be-46d9-9d69-f51ddf012212" providerId="ADAL" clId="{2A9E832C-25F6-4F2E-84DD-F34ECE0E3917}" dt="2024-02-01T11:04:37.245" v="13483" actId="207"/>
          <ac:spMkLst>
            <pc:docMk/>
            <pc:sldMk cId="1871989762" sldId="2147480297"/>
            <ac:spMk id="74" creationId="{45308101-7539-22EE-B64F-2FD13681751C}"/>
          </ac:spMkLst>
        </pc:spChg>
        <pc:spChg chg="mod">
          <ac:chgData name="Julia PONT" userId="6ea7fb32-49be-46d9-9d69-f51ddf012212" providerId="ADAL" clId="{2A9E832C-25F6-4F2E-84DD-F34ECE0E3917}" dt="2024-02-01T11:04:37.245" v="13483" actId="207"/>
          <ac:spMkLst>
            <pc:docMk/>
            <pc:sldMk cId="1871989762" sldId="2147480297"/>
            <ac:spMk id="75" creationId="{D90BFFC5-35DF-DFB8-B3EF-2B18D0065CE1}"/>
          </ac:spMkLst>
        </pc:spChg>
        <pc:spChg chg="mod">
          <ac:chgData name="Julia PONT" userId="6ea7fb32-49be-46d9-9d69-f51ddf012212" providerId="ADAL" clId="{2A9E832C-25F6-4F2E-84DD-F34ECE0E3917}" dt="2024-02-01T11:04:37.688" v="13484" actId="207"/>
          <ac:spMkLst>
            <pc:docMk/>
            <pc:sldMk cId="1871989762" sldId="2147480297"/>
            <ac:spMk id="76" creationId="{D59D1D10-04D9-82B2-F862-5168EE443A55}"/>
          </ac:spMkLst>
        </pc:spChg>
        <pc:spChg chg="mod">
          <ac:chgData name="Julia PONT" userId="6ea7fb32-49be-46d9-9d69-f51ddf012212" providerId="ADAL" clId="{2A9E832C-25F6-4F2E-84DD-F34ECE0E3917}" dt="2024-02-01T11:04:37.688" v="13484" actId="207"/>
          <ac:spMkLst>
            <pc:docMk/>
            <pc:sldMk cId="1871989762" sldId="2147480297"/>
            <ac:spMk id="77" creationId="{C1F23CA1-ADB5-2A65-A790-2F2B13D5C757}"/>
          </ac:spMkLst>
        </pc:spChg>
        <pc:spChg chg="mod">
          <ac:chgData name="Julia PONT" userId="6ea7fb32-49be-46d9-9d69-f51ddf012212" providerId="ADAL" clId="{2A9E832C-25F6-4F2E-84DD-F34ECE0E3917}" dt="2024-02-01T11:04:37.688" v="13484" actId="207"/>
          <ac:spMkLst>
            <pc:docMk/>
            <pc:sldMk cId="1871989762" sldId="2147480297"/>
            <ac:spMk id="78" creationId="{682FC99D-D2AF-0165-D94B-048AA87380A6}"/>
          </ac:spMkLst>
        </pc:spChg>
        <pc:spChg chg="mod">
          <ac:chgData name="Julia PONT" userId="6ea7fb32-49be-46d9-9d69-f51ddf012212" providerId="ADAL" clId="{2A9E832C-25F6-4F2E-84DD-F34ECE0E3917}" dt="2024-02-01T11:04:37.688" v="13484" actId="207"/>
          <ac:spMkLst>
            <pc:docMk/>
            <pc:sldMk cId="1871989762" sldId="2147480297"/>
            <ac:spMk id="79" creationId="{63132CCE-7FD3-AEF8-F7E1-8A68C35C5211}"/>
          </ac:spMkLst>
        </pc:spChg>
        <pc:spChg chg="mod ord">
          <ac:chgData name="Julia PONT" userId="6ea7fb32-49be-46d9-9d69-f51ddf012212" providerId="ADAL" clId="{2A9E832C-25F6-4F2E-84DD-F34ECE0E3917}" dt="2024-02-01T11:05:41.822" v="13508" actId="207"/>
          <ac:spMkLst>
            <pc:docMk/>
            <pc:sldMk cId="1871989762" sldId="2147480297"/>
            <ac:spMk id="87" creationId="{17F2A924-26EE-FC5F-B54D-76E5FA58A853}"/>
          </ac:spMkLst>
        </pc:spChg>
        <pc:spChg chg="del mod">
          <ac:chgData name="Julia PONT" userId="6ea7fb32-49be-46d9-9d69-f51ddf012212" providerId="ADAL" clId="{2A9E832C-25F6-4F2E-84DD-F34ECE0E3917}" dt="2024-01-30T15:22:28.359" v="4721" actId="478"/>
          <ac:spMkLst>
            <pc:docMk/>
            <pc:sldMk cId="1871989762" sldId="2147480297"/>
            <ac:spMk id="88" creationId="{657D61AA-1DC9-2F14-6814-46DDDB86B6AD}"/>
          </ac:spMkLst>
        </pc:spChg>
        <pc:spChg chg="mod ord">
          <ac:chgData name="Julia PONT" userId="6ea7fb32-49be-46d9-9d69-f51ddf012212" providerId="ADAL" clId="{2A9E832C-25F6-4F2E-84DD-F34ECE0E3917}" dt="2024-02-01T11:06:19.905" v="13511" actId="207"/>
          <ac:spMkLst>
            <pc:docMk/>
            <pc:sldMk cId="1871989762" sldId="2147480297"/>
            <ac:spMk id="89" creationId="{E2AE0162-C27B-3F39-1ABB-51E67EF598AD}"/>
          </ac:spMkLst>
        </pc:spChg>
        <pc:spChg chg="mod">
          <ac:chgData name="Julia PONT" userId="6ea7fb32-49be-46d9-9d69-f51ddf012212" providerId="ADAL" clId="{2A9E832C-25F6-4F2E-84DD-F34ECE0E3917}" dt="2024-02-01T11:06:30.469" v="13514" actId="207"/>
          <ac:spMkLst>
            <pc:docMk/>
            <pc:sldMk cId="1871989762" sldId="2147480297"/>
            <ac:spMk id="90" creationId="{57627848-41DE-E72B-5D05-B2426B087524}"/>
          </ac:spMkLst>
        </pc:spChg>
        <pc:grpChg chg="add mod">
          <ac:chgData name="Julia PONT" userId="6ea7fb32-49be-46d9-9d69-f51ddf012212" providerId="ADAL" clId="{2A9E832C-25F6-4F2E-84DD-F34ECE0E3917}" dt="2024-01-31T18:15:58.391" v="11762" actId="1036"/>
          <ac:grpSpMkLst>
            <pc:docMk/>
            <pc:sldMk cId="1871989762" sldId="2147480297"/>
            <ac:grpSpMk id="3" creationId="{1255C4E5-FB73-35A3-ADDD-84CDCBECCF62}"/>
          </ac:grpSpMkLst>
        </pc:grpChg>
        <pc:grpChg chg="add del mod">
          <ac:chgData name="Julia PONT" userId="6ea7fb32-49be-46d9-9d69-f51ddf012212" providerId="ADAL" clId="{2A9E832C-25F6-4F2E-84DD-F34ECE0E3917}" dt="2024-01-30T14:19:44.243" v="4208" actId="478"/>
          <ac:grpSpMkLst>
            <pc:docMk/>
            <pc:sldMk cId="1871989762" sldId="2147480297"/>
            <ac:grpSpMk id="3" creationId="{86DD3074-C1C6-9C6F-4776-5B675C26C18C}"/>
          </ac:grpSpMkLst>
        </pc:grpChg>
        <pc:grpChg chg="add del mod">
          <ac:chgData name="Julia PONT" userId="6ea7fb32-49be-46d9-9d69-f51ddf012212" providerId="ADAL" clId="{2A9E832C-25F6-4F2E-84DD-F34ECE0E3917}" dt="2024-01-30T15:18:33.119" v="4591" actId="165"/>
          <ac:grpSpMkLst>
            <pc:docMk/>
            <pc:sldMk cId="1871989762" sldId="2147480297"/>
            <ac:grpSpMk id="12" creationId="{1A22BF26-AFDF-1ACA-DAC0-EDE0CAF51A89}"/>
          </ac:grpSpMkLst>
        </pc:grpChg>
        <pc:grpChg chg="add del mod">
          <ac:chgData name="Julia PONT" userId="6ea7fb32-49be-46d9-9d69-f51ddf012212" providerId="ADAL" clId="{2A9E832C-25F6-4F2E-84DD-F34ECE0E3917}" dt="2024-01-30T15:18:33.119" v="4591" actId="165"/>
          <ac:grpSpMkLst>
            <pc:docMk/>
            <pc:sldMk cId="1871989762" sldId="2147480297"/>
            <ac:grpSpMk id="13" creationId="{D114F9B6-6A57-1188-6C12-F5E7FCAE4727}"/>
          </ac:grpSpMkLst>
        </pc:grpChg>
        <pc:grpChg chg="add del mod">
          <ac:chgData name="Julia PONT" userId="6ea7fb32-49be-46d9-9d69-f51ddf012212" providerId="ADAL" clId="{2A9E832C-25F6-4F2E-84DD-F34ECE0E3917}" dt="2024-01-30T15:18:33.119" v="4591" actId="165"/>
          <ac:grpSpMkLst>
            <pc:docMk/>
            <pc:sldMk cId="1871989762" sldId="2147480297"/>
            <ac:grpSpMk id="14" creationId="{7EC869FB-C387-09A4-924C-B6E37A031E48}"/>
          </ac:grpSpMkLst>
        </pc:grpChg>
        <pc:grpChg chg="add del mod">
          <ac:chgData name="Julia PONT" userId="6ea7fb32-49be-46d9-9d69-f51ddf012212" providerId="ADAL" clId="{2A9E832C-25F6-4F2E-84DD-F34ECE0E3917}" dt="2024-01-30T15:18:33.119" v="4591" actId="165"/>
          <ac:grpSpMkLst>
            <pc:docMk/>
            <pc:sldMk cId="1871989762" sldId="2147480297"/>
            <ac:grpSpMk id="15" creationId="{CD7F1732-6E0F-2710-1B60-330DD590404F}"/>
          </ac:grpSpMkLst>
        </pc:grpChg>
        <pc:grpChg chg="add mod">
          <ac:chgData name="Julia PONT" userId="6ea7fb32-49be-46d9-9d69-f51ddf012212" providerId="ADAL" clId="{2A9E832C-25F6-4F2E-84DD-F34ECE0E3917}" dt="2024-02-01T11:04:37.245" v="13483" actId="207"/>
          <ac:grpSpMkLst>
            <pc:docMk/>
            <pc:sldMk cId="1871989762" sldId="2147480297"/>
            <ac:grpSpMk id="16" creationId="{FCCA1681-CDA4-B7C4-F097-47B49824422A}"/>
          </ac:grpSpMkLst>
        </pc:grpChg>
        <pc:grpChg chg="add mod">
          <ac:chgData name="Julia PONT" userId="6ea7fb32-49be-46d9-9d69-f51ddf012212" providerId="ADAL" clId="{2A9E832C-25F6-4F2E-84DD-F34ECE0E3917}" dt="2024-02-01T11:04:37.245" v="13483" actId="207"/>
          <ac:grpSpMkLst>
            <pc:docMk/>
            <pc:sldMk cId="1871989762" sldId="2147480297"/>
            <ac:grpSpMk id="20" creationId="{E2DC3E27-ED9F-ED5D-E3A8-3CEFCF14DE61}"/>
          </ac:grpSpMkLst>
        </pc:grpChg>
        <pc:grpChg chg="add mod">
          <ac:chgData name="Julia PONT" userId="6ea7fb32-49be-46d9-9d69-f51ddf012212" providerId="ADAL" clId="{2A9E832C-25F6-4F2E-84DD-F34ECE0E3917}" dt="2024-02-01T11:04:37.688" v="13484" actId="207"/>
          <ac:grpSpMkLst>
            <pc:docMk/>
            <pc:sldMk cId="1871989762" sldId="2147480297"/>
            <ac:grpSpMk id="21" creationId="{5E4AACA4-F6AF-7F18-BCE2-9DE68FD9975B}"/>
          </ac:grpSpMkLst>
        </pc:grpChg>
        <pc:grpChg chg="add mod">
          <ac:chgData name="Julia PONT" userId="6ea7fb32-49be-46d9-9d69-f51ddf012212" providerId="ADAL" clId="{2A9E832C-25F6-4F2E-84DD-F34ECE0E3917}" dt="2024-01-31T18:15:58.391" v="11762" actId="1036"/>
          <ac:grpSpMkLst>
            <pc:docMk/>
            <pc:sldMk cId="1871989762" sldId="2147480297"/>
            <ac:grpSpMk id="27" creationId="{CB58F41A-B39C-B8EC-772A-28A968C044B0}"/>
          </ac:grpSpMkLst>
        </pc:grpChg>
        <pc:grpChg chg="mod">
          <ac:chgData name="Julia PONT" userId="6ea7fb32-49be-46d9-9d69-f51ddf012212" providerId="ADAL" clId="{2A9E832C-25F6-4F2E-84DD-F34ECE0E3917}" dt="2024-01-30T15:41:10.875" v="5464" actId="207"/>
          <ac:grpSpMkLst>
            <pc:docMk/>
            <pc:sldMk cId="1871989762" sldId="2147480297"/>
            <ac:grpSpMk id="29" creationId="{F95BB540-6537-4B64-E0D7-0B57496DD096}"/>
          </ac:grpSpMkLst>
        </pc:grpChg>
        <pc:grpChg chg="mod topLvl">
          <ac:chgData name="Julia PONT" userId="6ea7fb32-49be-46d9-9d69-f51ddf012212" providerId="ADAL" clId="{2A9E832C-25F6-4F2E-84DD-F34ECE0E3917}" dt="2024-02-01T11:04:37.688" v="13484" actId="207"/>
          <ac:grpSpMkLst>
            <pc:docMk/>
            <pc:sldMk cId="1871989762" sldId="2147480297"/>
            <ac:grpSpMk id="57" creationId="{EED24476-2751-5D40-F1A2-DC5E57BC2BF8}"/>
          </ac:grpSpMkLst>
        </pc:grpChg>
        <pc:grpChg chg="mod topLvl">
          <ac:chgData name="Julia PONT" userId="6ea7fb32-49be-46d9-9d69-f51ddf012212" providerId="ADAL" clId="{2A9E832C-25F6-4F2E-84DD-F34ECE0E3917}" dt="2024-02-01T11:04:37.245" v="13483" actId="207"/>
          <ac:grpSpMkLst>
            <pc:docMk/>
            <pc:sldMk cId="1871989762" sldId="2147480297"/>
            <ac:grpSpMk id="59" creationId="{1187F6A3-28E1-8BF8-8219-645CC7584DF3}"/>
          </ac:grpSpMkLst>
        </pc:grpChg>
        <pc:grpChg chg="mod topLvl">
          <ac:chgData name="Julia PONT" userId="6ea7fb32-49be-46d9-9d69-f51ddf012212" providerId="ADAL" clId="{2A9E832C-25F6-4F2E-84DD-F34ECE0E3917}" dt="2024-01-30T15:19:24.692" v="4602" actId="164"/>
          <ac:grpSpMkLst>
            <pc:docMk/>
            <pc:sldMk cId="1871989762" sldId="2147480297"/>
            <ac:grpSpMk id="60" creationId="{F7157E1E-6744-B0FE-415C-2AAB342FCB94}"/>
          </ac:grpSpMkLst>
        </pc:grpChg>
        <pc:grpChg chg="mod topLvl">
          <ac:chgData name="Julia PONT" userId="6ea7fb32-49be-46d9-9d69-f51ddf012212" providerId="ADAL" clId="{2A9E832C-25F6-4F2E-84DD-F34ECE0E3917}" dt="2024-01-30T14:19:15.833" v="4195" actId="164"/>
          <ac:grpSpMkLst>
            <pc:docMk/>
            <pc:sldMk cId="1871989762" sldId="2147480297"/>
            <ac:grpSpMk id="61" creationId="{1B394518-BBC7-8F39-B78C-83199E8AAC35}"/>
          </ac:grpSpMkLst>
        </pc:grpChg>
        <pc:grpChg chg="del mod">
          <ac:chgData name="Julia PONT" userId="6ea7fb32-49be-46d9-9d69-f51ddf012212" providerId="ADAL" clId="{2A9E832C-25F6-4F2E-84DD-F34ECE0E3917}" dt="2024-01-30T14:18:47.391" v="4188" actId="165"/>
          <ac:grpSpMkLst>
            <pc:docMk/>
            <pc:sldMk cId="1871989762" sldId="2147480297"/>
            <ac:grpSpMk id="80" creationId="{EAF6303C-396E-4741-51A2-0C103F4D7C00}"/>
          </ac:grpSpMkLst>
        </pc:grpChg>
        <pc:grpChg chg="del mod">
          <ac:chgData name="Julia PONT" userId="6ea7fb32-49be-46d9-9d69-f51ddf012212" providerId="ADAL" clId="{2A9E832C-25F6-4F2E-84DD-F34ECE0E3917}" dt="2024-01-30T14:18:47.391" v="4188" actId="165"/>
          <ac:grpSpMkLst>
            <pc:docMk/>
            <pc:sldMk cId="1871989762" sldId="2147480297"/>
            <ac:grpSpMk id="81" creationId="{77D321D5-2BCF-8AB9-9289-59A1368C79DE}"/>
          </ac:grpSpMkLst>
        </pc:grpChg>
        <pc:grpChg chg="del mod">
          <ac:chgData name="Julia PONT" userId="6ea7fb32-49be-46d9-9d69-f51ddf012212" providerId="ADAL" clId="{2A9E832C-25F6-4F2E-84DD-F34ECE0E3917}" dt="2024-01-30T14:18:47.391" v="4188" actId="165"/>
          <ac:grpSpMkLst>
            <pc:docMk/>
            <pc:sldMk cId="1871989762" sldId="2147480297"/>
            <ac:grpSpMk id="82" creationId="{7E26E359-6EEB-7DF2-A5A6-071C82EAF553}"/>
          </ac:grpSpMkLst>
        </pc:grpChg>
        <pc:grpChg chg="del mod">
          <ac:chgData name="Julia PONT" userId="6ea7fb32-49be-46d9-9d69-f51ddf012212" providerId="ADAL" clId="{2A9E832C-25F6-4F2E-84DD-F34ECE0E3917}" dt="2024-01-30T14:18:47.391" v="4188" actId="165"/>
          <ac:grpSpMkLst>
            <pc:docMk/>
            <pc:sldMk cId="1871989762" sldId="2147480297"/>
            <ac:grpSpMk id="83" creationId="{C55E83A3-F9E8-0C74-0E90-E2492A6B119F}"/>
          </ac:grpSpMkLst>
        </pc:grpChg>
        <pc:grpChg chg="del mod">
          <ac:chgData name="Julia PONT" userId="6ea7fb32-49be-46d9-9d69-f51ddf012212" providerId="ADAL" clId="{2A9E832C-25F6-4F2E-84DD-F34ECE0E3917}" dt="2024-01-30T14:18:47.391" v="4188" actId="165"/>
          <ac:grpSpMkLst>
            <pc:docMk/>
            <pc:sldMk cId="1871989762" sldId="2147480297"/>
            <ac:grpSpMk id="84" creationId="{079E93EB-3F81-7419-4D00-7A0C5235941C}"/>
          </ac:grpSpMkLst>
        </pc:grpChg>
        <pc:picChg chg="add mod">
          <ac:chgData name="Julia PONT" userId="6ea7fb32-49be-46d9-9d69-f51ddf012212" providerId="ADAL" clId="{2A9E832C-25F6-4F2E-84DD-F34ECE0E3917}" dt="2024-01-31T18:14:32.747" v="11735" actId="207"/>
          <ac:picMkLst>
            <pc:docMk/>
            <pc:sldMk cId="1871989762" sldId="2147480297"/>
            <ac:picMk id="13" creationId="{4D6E0195-0488-3A11-8B78-5EB8F62E8DAB}"/>
          </ac:picMkLst>
        </pc:picChg>
        <pc:picChg chg="add del mod">
          <ac:chgData name="Julia PONT" userId="6ea7fb32-49be-46d9-9d69-f51ddf012212" providerId="ADAL" clId="{2A9E832C-25F6-4F2E-84DD-F34ECE0E3917}" dt="2024-01-31T17:34:15.707" v="10901" actId="478"/>
          <ac:picMkLst>
            <pc:docMk/>
            <pc:sldMk cId="1871989762" sldId="2147480297"/>
            <ac:picMk id="15" creationId="{BEA14983-9DD2-769B-FC18-4BC4F03AF350}"/>
          </ac:picMkLst>
        </pc:picChg>
        <pc:picChg chg="add mod">
          <ac:chgData name="Julia PONT" userId="6ea7fb32-49be-46d9-9d69-f51ddf012212" providerId="ADAL" clId="{2A9E832C-25F6-4F2E-84DD-F34ECE0E3917}" dt="2024-01-31T18:15:58.391" v="11762" actId="1036"/>
          <ac:picMkLst>
            <pc:docMk/>
            <pc:sldMk cId="1871989762" sldId="2147480297"/>
            <ac:picMk id="17" creationId="{251AB920-98C0-424C-B3ED-5FCE2DF5F9BB}"/>
          </ac:picMkLst>
        </pc:picChg>
        <pc:picChg chg="add mod">
          <ac:chgData name="Julia PONT" userId="6ea7fb32-49be-46d9-9d69-f51ddf012212" providerId="ADAL" clId="{2A9E832C-25F6-4F2E-84DD-F34ECE0E3917}" dt="2024-01-31T18:15:58.391" v="11762" actId="1036"/>
          <ac:picMkLst>
            <pc:docMk/>
            <pc:sldMk cId="1871989762" sldId="2147480297"/>
            <ac:picMk id="24" creationId="{D5AF7C78-7B2E-45DF-850B-F5E2F6E0C797}"/>
          </ac:picMkLst>
        </pc:picChg>
        <pc:picChg chg="add mod">
          <ac:chgData name="Julia PONT" userId="6ea7fb32-49be-46d9-9d69-f51ddf012212" providerId="ADAL" clId="{2A9E832C-25F6-4F2E-84DD-F34ECE0E3917}" dt="2024-01-31T18:15:58.391" v="11762" actId="1036"/>
          <ac:picMkLst>
            <pc:docMk/>
            <pc:sldMk cId="1871989762" sldId="2147480297"/>
            <ac:picMk id="25" creationId="{0E65DC76-16C3-6077-3CDE-BAFC29533E37}"/>
          </ac:picMkLst>
        </pc:picChg>
        <pc:picChg chg="add del mod">
          <ac:chgData name="Julia PONT" userId="6ea7fb32-49be-46d9-9d69-f51ddf012212" providerId="ADAL" clId="{2A9E832C-25F6-4F2E-84DD-F34ECE0E3917}" dt="2024-01-31T17:38:11.663" v="11021" actId="478"/>
          <ac:picMkLst>
            <pc:docMk/>
            <pc:sldMk cId="1871989762" sldId="2147480297"/>
            <ac:picMk id="35" creationId="{B2EE9FA7-8372-B9F7-7E86-60472A7E775B}"/>
          </ac:picMkLst>
        </pc:picChg>
        <pc:picChg chg="add del mod">
          <ac:chgData name="Julia PONT" userId="6ea7fb32-49be-46d9-9d69-f51ddf012212" providerId="ADAL" clId="{2A9E832C-25F6-4F2E-84DD-F34ECE0E3917}" dt="2024-01-31T17:38:07.411" v="11019" actId="478"/>
          <ac:picMkLst>
            <pc:docMk/>
            <pc:sldMk cId="1871989762" sldId="2147480297"/>
            <ac:picMk id="36" creationId="{F158AD2F-8700-161D-972B-DDFB53C9E6CC}"/>
          </ac:picMkLst>
        </pc:picChg>
        <pc:picChg chg="add del mod">
          <ac:chgData name="Julia PONT" userId="6ea7fb32-49be-46d9-9d69-f51ddf012212" providerId="ADAL" clId="{2A9E832C-25F6-4F2E-84DD-F34ECE0E3917}" dt="2024-01-31T17:38:09.381" v="11020" actId="478"/>
          <ac:picMkLst>
            <pc:docMk/>
            <pc:sldMk cId="1871989762" sldId="2147480297"/>
            <ac:picMk id="37" creationId="{347F79E2-5849-161D-034E-CD51C42BE33B}"/>
          </ac:picMkLst>
        </pc:picChg>
        <pc:picChg chg="add mod ord">
          <ac:chgData name="Julia PONT" userId="6ea7fb32-49be-46d9-9d69-f51ddf012212" providerId="ADAL" clId="{2A9E832C-25F6-4F2E-84DD-F34ECE0E3917}" dt="2024-01-31T18:15:58.391" v="11762" actId="1036"/>
          <ac:picMkLst>
            <pc:docMk/>
            <pc:sldMk cId="1871989762" sldId="2147480297"/>
            <ac:picMk id="38" creationId="{0A6F251B-4048-3A5E-CC40-FD7128AADD10}"/>
          </ac:picMkLst>
        </pc:picChg>
        <pc:picChg chg="add mod ord">
          <ac:chgData name="Julia PONT" userId="6ea7fb32-49be-46d9-9d69-f51ddf012212" providerId="ADAL" clId="{2A9E832C-25F6-4F2E-84DD-F34ECE0E3917}" dt="2024-01-31T18:15:58.391" v="11762" actId="1036"/>
          <ac:picMkLst>
            <pc:docMk/>
            <pc:sldMk cId="1871989762" sldId="2147480297"/>
            <ac:picMk id="39" creationId="{93B31935-171B-C190-01DF-23283D8B729C}"/>
          </ac:picMkLst>
        </pc:picChg>
        <pc:picChg chg="add mod ord">
          <ac:chgData name="Julia PONT" userId="6ea7fb32-49be-46d9-9d69-f51ddf012212" providerId="ADAL" clId="{2A9E832C-25F6-4F2E-84DD-F34ECE0E3917}" dt="2024-01-31T18:15:58.391" v="11762" actId="1036"/>
          <ac:picMkLst>
            <pc:docMk/>
            <pc:sldMk cId="1871989762" sldId="2147480297"/>
            <ac:picMk id="40" creationId="{139A1737-534D-1CDC-B1D9-2C234A2E0E1A}"/>
          </ac:picMkLst>
        </pc:picChg>
      </pc:sldChg>
      <pc:sldChg chg="addSp modSp mod">
        <pc:chgData name="Julia PONT" userId="6ea7fb32-49be-46d9-9d69-f51ddf012212" providerId="ADAL" clId="{2A9E832C-25F6-4F2E-84DD-F34ECE0E3917}" dt="2024-02-01T13:31:39.399" v="14163" actId="732"/>
        <pc:sldMkLst>
          <pc:docMk/>
          <pc:sldMk cId="1688075584" sldId="2147480302"/>
        </pc:sldMkLst>
        <pc:spChg chg="mod">
          <ac:chgData name="Julia PONT" userId="6ea7fb32-49be-46d9-9d69-f51ddf012212" providerId="ADAL" clId="{2A9E832C-25F6-4F2E-84DD-F34ECE0E3917}" dt="2024-01-29T18:20:10.301" v="3848" actId="404"/>
          <ac:spMkLst>
            <pc:docMk/>
            <pc:sldMk cId="1688075584" sldId="2147480302"/>
            <ac:spMk id="4" creationId="{B45A4892-FF4B-57AE-B1BE-8B25B579B799}"/>
          </ac:spMkLst>
        </pc:spChg>
        <pc:spChg chg="mod">
          <ac:chgData name="Julia PONT" userId="6ea7fb32-49be-46d9-9d69-f51ddf012212" providerId="ADAL" clId="{2A9E832C-25F6-4F2E-84DD-F34ECE0E3917}" dt="2024-01-29T18:20:28.758" v="3850" actId="20577"/>
          <ac:spMkLst>
            <pc:docMk/>
            <pc:sldMk cId="1688075584" sldId="2147480302"/>
            <ac:spMk id="10" creationId="{D14BB2B0-040E-3510-DFE5-855F08829352}"/>
          </ac:spMkLst>
        </pc:spChg>
        <pc:spChg chg="mod">
          <ac:chgData name="Julia PONT" userId="6ea7fb32-49be-46d9-9d69-f51ddf012212" providerId="ADAL" clId="{2A9E832C-25F6-4F2E-84DD-F34ECE0E3917}" dt="2024-01-29T18:20:40.116" v="3852" actId="20577"/>
          <ac:spMkLst>
            <pc:docMk/>
            <pc:sldMk cId="1688075584" sldId="2147480302"/>
            <ac:spMk id="11" creationId="{BAA3DDC7-5320-E950-E89D-4CD10B5E9099}"/>
          </ac:spMkLst>
        </pc:spChg>
        <pc:spChg chg="mod">
          <ac:chgData name="Julia PONT" userId="6ea7fb32-49be-46d9-9d69-f51ddf012212" providerId="ADAL" clId="{2A9E832C-25F6-4F2E-84DD-F34ECE0E3917}" dt="2024-01-29T18:20:51.589" v="3853"/>
          <ac:spMkLst>
            <pc:docMk/>
            <pc:sldMk cId="1688075584" sldId="2147480302"/>
            <ac:spMk id="12" creationId="{748E64C8-4429-B3A9-1B63-62F518C01507}"/>
          </ac:spMkLst>
        </pc:spChg>
        <pc:spChg chg="add mod">
          <ac:chgData name="Julia PONT" userId="6ea7fb32-49be-46d9-9d69-f51ddf012212" providerId="ADAL" clId="{2A9E832C-25F6-4F2E-84DD-F34ECE0E3917}" dt="2024-02-01T09:45:12.536" v="13015" actId="20577"/>
          <ac:spMkLst>
            <pc:docMk/>
            <pc:sldMk cId="1688075584" sldId="2147480302"/>
            <ac:spMk id="20" creationId="{A673B27B-671E-7E3B-9314-B56DF6C44F99}"/>
          </ac:spMkLst>
        </pc:spChg>
        <pc:spChg chg="add mod">
          <ac:chgData name="Julia PONT" userId="6ea7fb32-49be-46d9-9d69-f51ddf012212" providerId="ADAL" clId="{2A9E832C-25F6-4F2E-84DD-F34ECE0E3917}" dt="2024-01-29T18:21:06.354" v="3866" actId="20577"/>
          <ac:spMkLst>
            <pc:docMk/>
            <pc:sldMk cId="1688075584" sldId="2147480302"/>
            <ac:spMk id="24" creationId="{F29FA0D9-5054-CBEB-03DE-F02462CEE6EA}"/>
          </ac:spMkLst>
        </pc:spChg>
        <pc:picChg chg="add mod">
          <ac:chgData name="Julia PONT" userId="6ea7fb32-49be-46d9-9d69-f51ddf012212" providerId="ADAL" clId="{2A9E832C-25F6-4F2E-84DD-F34ECE0E3917}" dt="2024-01-29T18:19:59.332" v="3846" actId="1076"/>
          <ac:picMkLst>
            <pc:docMk/>
            <pc:sldMk cId="1688075584" sldId="2147480302"/>
            <ac:picMk id="23" creationId="{77FDF1C8-DD6C-7720-BD63-94DBC38947A4}"/>
          </ac:picMkLst>
        </pc:picChg>
        <pc:picChg chg="mod">
          <ac:chgData name="Julia PONT" userId="6ea7fb32-49be-46d9-9d69-f51ddf012212" providerId="ADAL" clId="{2A9E832C-25F6-4F2E-84DD-F34ECE0E3917}" dt="2024-02-01T13:31:39.399" v="14163" actId="732"/>
          <ac:picMkLst>
            <pc:docMk/>
            <pc:sldMk cId="1688075584" sldId="2147480302"/>
            <ac:picMk id="28" creationId="{A9B22746-374E-B15F-07EE-BCFD9D104AC6}"/>
          </ac:picMkLst>
        </pc:picChg>
      </pc:sldChg>
      <pc:sldChg chg="addSp delSp modSp mod">
        <pc:chgData name="Julia PONT" userId="6ea7fb32-49be-46d9-9d69-f51ddf012212" providerId="ADAL" clId="{2A9E832C-25F6-4F2E-84DD-F34ECE0E3917}" dt="2024-02-02T08:21:13.542" v="17821"/>
        <pc:sldMkLst>
          <pc:docMk/>
          <pc:sldMk cId="2459109621" sldId="2147480303"/>
        </pc:sldMkLst>
        <pc:spChg chg="del">
          <ac:chgData name="Julia PONT" userId="6ea7fb32-49be-46d9-9d69-f51ddf012212" providerId="ADAL" clId="{2A9E832C-25F6-4F2E-84DD-F34ECE0E3917}" dt="2024-01-29T18:15:44.673" v="3746" actId="478"/>
          <ac:spMkLst>
            <pc:docMk/>
            <pc:sldMk cId="2459109621" sldId="2147480303"/>
            <ac:spMk id="2" creationId="{4571CE98-744E-AA09-64CC-3BE397816DFC}"/>
          </ac:spMkLst>
        </pc:spChg>
        <pc:spChg chg="mod">
          <ac:chgData name="Julia PONT" userId="6ea7fb32-49be-46d9-9d69-f51ddf012212" providerId="ADAL" clId="{2A9E832C-25F6-4F2E-84DD-F34ECE0E3917}" dt="2024-01-29T18:17:44.411" v="3806" actId="165"/>
          <ac:spMkLst>
            <pc:docMk/>
            <pc:sldMk cId="2459109621" sldId="2147480303"/>
            <ac:spMk id="7" creationId="{2BCAD846-C836-CB3E-EE34-99681707557B}"/>
          </ac:spMkLst>
        </pc:spChg>
        <pc:spChg chg="mod">
          <ac:chgData name="Julia PONT" userId="6ea7fb32-49be-46d9-9d69-f51ddf012212" providerId="ADAL" clId="{2A9E832C-25F6-4F2E-84DD-F34ECE0E3917}" dt="2024-01-29T18:17:44.411" v="3806" actId="165"/>
          <ac:spMkLst>
            <pc:docMk/>
            <pc:sldMk cId="2459109621" sldId="2147480303"/>
            <ac:spMk id="9" creationId="{F9D4C8CD-98D0-403C-7695-9BEC976F890B}"/>
          </ac:spMkLst>
        </pc:spChg>
        <pc:spChg chg="mod">
          <ac:chgData name="Julia PONT" userId="6ea7fb32-49be-46d9-9d69-f51ddf012212" providerId="ADAL" clId="{2A9E832C-25F6-4F2E-84DD-F34ECE0E3917}" dt="2024-01-29T18:17:44.411" v="3806" actId="165"/>
          <ac:spMkLst>
            <pc:docMk/>
            <pc:sldMk cId="2459109621" sldId="2147480303"/>
            <ac:spMk id="10" creationId="{068FB984-131F-3BB8-C2C3-687501F965A2}"/>
          </ac:spMkLst>
        </pc:spChg>
        <pc:spChg chg="mod">
          <ac:chgData name="Julia PONT" userId="6ea7fb32-49be-46d9-9d69-f51ddf012212" providerId="ADAL" clId="{2A9E832C-25F6-4F2E-84DD-F34ECE0E3917}" dt="2024-01-29T18:17:44.411" v="3806" actId="165"/>
          <ac:spMkLst>
            <pc:docMk/>
            <pc:sldMk cId="2459109621" sldId="2147480303"/>
            <ac:spMk id="11" creationId="{80314F09-7F8F-2D55-21AF-82ECE806D00D}"/>
          </ac:spMkLst>
        </pc:spChg>
        <pc:spChg chg="mod">
          <ac:chgData name="Julia PONT" userId="6ea7fb32-49be-46d9-9d69-f51ddf012212" providerId="ADAL" clId="{2A9E832C-25F6-4F2E-84DD-F34ECE0E3917}" dt="2024-01-29T18:17:44.411" v="3806" actId="165"/>
          <ac:spMkLst>
            <pc:docMk/>
            <pc:sldMk cId="2459109621" sldId="2147480303"/>
            <ac:spMk id="12" creationId="{DC7B36EF-A9CE-5E86-D017-3F1F65A08008}"/>
          </ac:spMkLst>
        </pc:spChg>
        <pc:spChg chg="add mod">
          <ac:chgData name="Julia PONT" userId="6ea7fb32-49be-46d9-9d69-f51ddf012212" providerId="ADAL" clId="{2A9E832C-25F6-4F2E-84DD-F34ECE0E3917}" dt="2024-02-01T09:44:37.132" v="12996" actId="207"/>
          <ac:spMkLst>
            <pc:docMk/>
            <pc:sldMk cId="2459109621" sldId="2147480303"/>
            <ac:spMk id="13" creationId="{BC7423FC-1AD2-65AD-7EF9-E7417B55902E}"/>
          </ac:spMkLst>
        </pc:spChg>
        <pc:spChg chg="mod">
          <ac:chgData name="Julia PONT" userId="6ea7fb32-49be-46d9-9d69-f51ddf012212" providerId="ADAL" clId="{2A9E832C-25F6-4F2E-84DD-F34ECE0E3917}" dt="2024-01-29T18:17:44.411" v="3806" actId="165"/>
          <ac:spMkLst>
            <pc:docMk/>
            <pc:sldMk cId="2459109621" sldId="2147480303"/>
            <ac:spMk id="14" creationId="{5E3324FC-FAFE-E746-33BF-12B89357D566}"/>
          </ac:spMkLst>
        </pc:spChg>
        <pc:spChg chg="mod">
          <ac:chgData name="Julia PONT" userId="6ea7fb32-49be-46d9-9d69-f51ddf012212" providerId="ADAL" clId="{2A9E832C-25F6-4F2E-84DD-F34ECE0E3917}" dt="2024-01-29T18:17:44.411" v="3806" actId="165"/>
          <ac:spMkLst>
            <pc:docMk/>
            <pc:sldMk cId="2459109621" sldId="2147480303"/>
            <ac:spMk id="15" creationId="{EB003108-A40E-B510-5D20-692D69E31B7A}"/>
          </ac:spMkLst>
        </pc:spChg>
        <pc:spChg chg="mod">
          <ac:chgData name="Julia PONT" userId="6ea7fb32-49be-46d9-9d69-f51ddf012212" providerId="ADAL" clId="{2A9E832C-25F6-4F2E-84DD-F34ECE0E3917}" dt="2024-01-29T18:17:44.411" v="3806" actId="165"/>
          <ac:spMkLst>
            <pc:docMk/>
            <pc:sldMk cId="2459109621" sldId="2147480303"/>
            <ac:spMk id="17" creationId="{0445967A-E726-B628-558F-45695A7E77B3}"/>
          </ac:spMkLst>
        </pc:spChg>
        <pc:spChg chg="mod">
          <ac:chgData name="Julia PONT" userId="6ea7fb32-49be-46d9-9d69-f51ddf012212" providerId="ADAL" clId="{2A9E832C-25F6-4F2E-84DD-F34ECE0E3917}" dt="2024-01-29T18:17:44.411" v="3806" actId="165"/>
          <ac:spMkLst>
            <pc:docMk/>
            <pc:sldMk cId="2459109621" sldId="2147480303"/>
            <ac:spMk id="18" creationId="{C5E7D573-E386-9B42-C16E-688DE422773A}"/>
          </ac:spMkLst>
        </pc:spChg>
        <pc:spChg chg="mod">
          <ac:chgData name="Julia PONT" userId="6ea7fb32-49be-46d9-9d69-f51ddf012212" providerId="ADAL" clId="{2A9E832C-25F6-4F2E-84DD-F34ECE0E3917}" dt="2024-01-29T18:17:44.411" v="3806" actId="165"/>
          <ac:spMkLst>
            <pc:docMk/>
            <pc:sldMk cId="2459109621" sldId="2147480303"/>
            <ac:spMk id="19" creationId="{F1AA3BAE-B3B6-7324-8751-DF3603B65F5B}"/>
          </ac:spMkLst>
        </pc:spChg>
        <pc:spChg chg="mod">
          <ac:chgData name="Julia PONT" userId="6ea7fb32-49be-46d9-9d69-f51ddf012212" providerId="ADAL" clId="{2A9E832C-25F6-4F2E-84DD-F34ECE0E3917}" dt="2024-01-29T18:17:44.411" v="3806" actId="165"/>
          <ac:spMkLst>
            <pc:docMk/>
            <pc:sldMk cId="2459109621" sldId="2147480303"/>
            <ac:spMk id="20" creationId="{1BA94A26-CE45-1340-C07A-E5530CF66B61}"/>
          </ac:spMkLst>
        </pc:spChg>
        <pc:spChg chg="add mod">
          <ac:chgData name="Julia PONT" userId="6ea7fb32-49be-46d9-9d69-f51ddf012212" providerId="ADAL" clId="{2A9E832C-25F6-4F2E-84DD-F34ECE0E3917}" dt="2024-01-29T18:19:19.719" v="3826" actId="12"/>
          <ac:spMkLst>
            <pc:docMk/>
            <pc:sldMk cId="2459109621" sldId="2147480303"/>
            <ac:spMk id="22" creationId="{0F5CC068-BEB6-75F0-2653-BF4C75B26F43}"/>
          </ac:spMkLst>
        </pc:spChg>
        <pc:spChg chg="del">
          <ac:chgData name="Julia PONT" userId="6ea7fb32-49be-46d9-9d69-f51ddf012212" providerId="ADAL" clId="{2A9E832C-25F6-4F2E-84DD-F34ECE0E3917}" dt="2024-01-29T18:15:44.673" v="3746" actId="478"/>
          <ac:spMkLst>
            <pc:docMk/>
            <pc:sldMk cId="2459109621" sldId="2147480303"/>
            <ac:spMk id="23" creationId="{D1FFB7E3-E1ED-C268-7CC9-C7A61C44A3A0}"/>
          </ac:spMkLst>
        </pc:spChg>
        <pc:spChg chg="add mod">
          <ac:chgData name="Julia PONT" userId="6ea7fb32-49be-46d9-9d69-f51ddf012212" providerId="ADAL" clId="{2A9E832C-25F6-4F2E-84DD-F34ECE0E3917}" dt="2024-01-29T18:19:17.252" v="3825" actId="12"/>
          <ac:spMkLst>
            <pc:docMk/>
            <pc:sldMk cId="2459109621" sldId="2147480303"/>
            <ac:spMk id="24" creationId="{9D04B3E2-268E-5092-9AEC-F0AA3211E088}"/>
          </ac:spMkLst>
        </pc:spChg>
        <pc:spChg chg="mod">
          <ac:chgData name="Julia PONT" userId="6ea7fb32-49be-46d9-9d69-f51ddf012212" providerId="ADAL" clId="{2A9E832C-25F6-4F2E-84DD-F34ECE0E3917}" dt="2024-01-29T18:16:00.655" v="3775" actId="20577"/>
          <ac:spMkLst>
            <pc:docMk/>
            <pc:sldMk cId="2459109621" sldId="2147480303"/>
            <ac:spMk id="25" creationId="{F8CEBBC7-D764-0EBC-C71D-FCD6989F1589}"/>
          </ac:spMkLst>
        </pc:spChg>
        <pc:spChg chg="add mod">
          <ac:chgData name="Julia PONT" userId="6ea7fb32-49be-46d9-9d69-f51ddf012212" providerId="ADAL" clId="{2A9E832C-25F6-4F2E-84DD-F34ECE0E3917}" dt="2024-01-31T15:01:38.064" v="8495" actId="20577"/>
          <ac:spMkLst>
            <pc:docMk/>
            <pc:sldMk cId="2459109621" sldId="2147480303"/>
            <ac:spMk id="31" creationId="{C525BBE0-9CFA-6ADC-0EDD-0D9341105740}"/>
          </ac:spMkLst>
        </pc:spChg>
        <pc:grpChg chg="add del mod">
          <ac:chgData name="Julia PONT" userId="6ea7fb32-49be-46d9-9d69-f51ddf012212" providerId="ADAL" clId="{2A9E832C-25F6-4F2E-84DD-F34ECE0E3917}" dt="2024-01-29T18:17:44.411" v="3806" actId="165"/>
          <ac:grpSpMkLst>
            <pc:docMk/>
            <pc:sldMk cId="2459109621" sldId="2147480303"/>
            <ac:grpSpMk id="3" creationId="{247FFFF0-5213-F228-9A58-4636E934A44F}"/>
          </ac:grpSpMkLst>
        </pc:grpChg>
        <pc:grpChg chg="mod topLvl">
          <ac:chgData name="Julia PONT" userId="6ea7fb32-49be-46d9-9d69-f51ddf012212" providerId="ADAL" clId="{2A9E832C-25F6-4F2E-84DD-F34ECE0E3917}" dt="2024-01-29T18:18:30.608" v="3818" actId="164"/>
          <ac:grpSpMkLst>
            <pc:docMk/>
            <pc:sldMk cId="2459109621" sldId="2147480303"/>
            <ac:grpSpMk id="4" creationId="{32BC04EB-DF30-CE4C-1063-3065E44A07DB}"/>
          </ac:grpSpMkLst>
        </pc:grpChg>
        <pc:grpChg chg="mod">
          <ac:chgData name="Julia PONT" userId="6ea7fb32-49be-46d9-9d69-f51ddf012212" providerId="ADAL" clId="{2A9E832C-25F6-4F2E-84DD-F34ECE0E3917}" dt="2024-01-29T18:17:44.411" v="3806" actId="165"/>
          <ac:grpSpMkLst>
            <pc:docMk/>
            <pc:sldMk cId="2459109621" sldId="2147480303"/>
            <ac:grpSpMk id="6" creationId="{1B3900D5-E2FE-1782-8767-2C49696112E3}"/>
          </ac:grpSpMkLst>
        </pc:grpChg>
        <pc:grpChg chg="del mod">
          <ac:chgData name="Julia PONT" userId="6ea7fb32-49be-46d9-9d69-f51ddf012212" providerId="ADAL" clId="{2A9E832C-25F6-4F2E-84DD-F34ECE0E3917}" dt="2024-01-29T18:18:17.931" v="3816" actId="478"/>
          <ac:grpSpMkLst>
            <pc:docMk/>
            <pc:sldMk cId="2459109621" sldId="2147480303"/>
            <ac:grpSpMk id="13" creationId="{4941950E-1982-044C-5B90-0C93D7E7AF75}"/>
          </ac:grpSpMkLst>
        </pc:grpChg>
        <pc:grpChg chg="mod">
          <ac:chgData name="Julia PONT" userId="6ea7fb32-49be-46d9-9d69-f51ddf012212" providerId="ADAL" clId="{2A9E832C-25F6-4F2E-84DD-F34ECE0E3917}" dt="2024-01-29T18:17:44.411" v="3806" actId="165"/>
          <ac:grpSpMkLst>
            <pc:docMk/>
            <pc:sldMk cId="2459109621" sldId="2147480303"/>
            <ac:grpSpMk id="16" creationId="{478D8FB6-7970-09BB-409B-9695770ACEEA}"/>
          </ac:grpSpMkLst>
        </pc:grpChg>
        <pc:grpChg chg="add mod">
          <ac:chgData name="Julia PONT" userId="6ea7fb32-49be-46d9-9d69-f51ddf012212" providerId="ADAL" clId="{2A9E832C-25F6-4F2E-84DD-F34ECE0E3917}" dt="2024-01-29T18:18:30.608" v="3818" actId="164"/>
          <ac:grpSpMkLst>
            <pc:docMk/>
            <pc:sldMk cId="2459109621" sldId="2147480303"/>
            <ac:grpSpMk id="30" creationId="{A84FE664-BC8F-287F-A3FC-F1D8DE491D20}"/>
          </ac:grpSpMkLst>
        </pc:grpChg>
        <pc:graphicFrameChg chg="mod">
          <ac:chgData name="Julia PONT" userId="6ea7fb32-49be-46d9-9d69-f51ddf012212" providerId="ADAL" clId="{2A9E832C-25F6-4F2E-84DD-F34ECE0E3917}" dt="2024-02-02T08:21:13.542" v="17821"/>
          <ac:graphicFrameMkLst>
            <pc:docMk/>
            <pc:sldMk cId="2459109621" sldId="2147480303"/>
            <ac:graphicFrameMk id="16" creationId="{A9370543-16C4-1D1E-AE6D-60224E589558}"/>
          </ac:graphicFrameMkLst>
        </pc:graphicFrameChg>
        <pc:picChg chg="del mod topLvl">
          <ac:chgData name="Julia PONT" userId="6ea7fb32-49be-46d9-9d69-f51ddf012212" providerId="ADAL" clId="{2A9E832C-25F6-4F2E-84DD-F34ECE0E3917}" dt="2024-01-29T18:17:55.208" v="3809" actId="478"/>
          <ac:picMkLst>
            <pc:docMk/>
            <pc:sldMk cId="2459109621" sldId="2147480303"/>
            <ac:picMk id="5" creationId="{507B8B13-065C-B2E3-8687-8A6BF4F6DE3C}"/>
          </ac:picMkLst>
        </pc:picChg>
        <pc:picChg chg="del mod">
          <ac:chgData name="Julia PONT" userId="6ea7fb32-49be-46d9-9d69-f51ddf012212" providerId="ADAL" clId="{2A9E832C-25F6-4F2E-84DD-F34ECE0E3917}" dt="2024-01-29T18:18:22.217" v="3817" actId="478"/>
          <ac:picMkLst>
            <pc:docMk/>
            <pc:sldMk cId="2459109621" sldId="2147480303"/>
            <ac:picMk id="8" creationId="{F8ECDC07-2C3C-623D-ED1F-8896978E0B36}"/>
          </ac:picMkLst>
        </pc:picChg>
        <pc:picChg chg="del mod">
          <ac:chgData name="Julia PONT" userId="6ea7fb32-49be-46d9-9d69-f51ddf012212" providerId="ADAL" clId="{2A9E832C-25F6-4F2E-84DD-F34ECE0E3917}" dt="2024-01-29T18:18:17.931" v="3816" actId="478"/>
          <ac:picMkLst>
            <pc:docMk/>
            <pc:sldMk cId="2459109621" sldId="2147480303"/>
            <ac:picMk id="21" creationId="{0693B657-7DAE-9139-4F35-4D57222A645C}"/>
          </ac:picMkLst>
        </pc:picChg>
        <pc:picChg chg="add mod">
          <ac:chgData name="Julia PONT" userId="6ea7fb32-49be-46d9-9d69-f51ddf012212" providerId="ADAL" clId="{2A9E832C-25F6-4F2E-84DD-F34ECE0E3917}" dt="2024-01-29T18:18:30.608" v="3818" actId="164"/>
          <ac:picMkLst>
            <pc:docMk/>
            <pc:sldMk cId="2459109621" sldId="2147480303"/>
            <ac:picMk id="27" creationId="{6BA577B9-81F1-2539-3AD0-571626144F81}"/>
          </ac:picMkLst>
        </pc:picChg>
        <pc:picChg chg="add mod">
          <ac:chgData name="Julia PONT" userId="6ea7fb32-49be-46d9-9d69-f51ddf012212" providerId="ADAL" clId="{2A9E832C-25F6-4F2E-84DD-F34ECE0E3917}" dt="2024-01-29T18:18:39.475" v="3820" actId="1076"/>
          <ac:picMkLst>
            <pc:docMk/>
            <pc:sldMk cId="2459109621" sldId="2147480303"/>
            <ac:picMk id="28" creationId="{4CD0D787-25D6-696A-C6B9-C3AD2DDDA6A2}"/>
          </ac:picMkLst>
        </pc:picChg>
        <pc:picChg chg="add mod">
          <ac:chgData name="Julia PONT" userId="6ea7fb32-49be-46d9-9d69-f51ddf012212" providerId="ADAL" clId="{2A9E832C-25F6-4F2E-84DD-F34ECE0E3917}" dt="2024-01-29T18:18:35.310" v="3819" actId="1076"/>
          <ac:picMkLst>
            <pc:docMk/>
            <pc:sldMk cId="2459109621" sldId="2147480303"/>
            <ac:picMk id="29" creationId="{56D4B4CE-BAE6-B26A-9AFF-2021D589005C}"/>
          </ac:picMkLst>
        </pc:picChg>
      </pc:sldChg>
      <pc:sldChg chg="addSp delSp modSp mod">
        <pc:chgData name="Julia PONT" userId="6ea7fb32-49be-46d9-9d69-f51ddf012212" providerId="ADAL" clId="{2A9E832C-25F6-4F2E-84DD-F34ECE0E3917}" dt="2024-02-02T15:05:23.520" v="20003" actId="478"/>
        <pc:sldMkLst>
          <pc:docMk/>
          <pc:sldMk cId="1464809953" sldId="2147480304"/>
        </pc:sldMkLst>
        <pc:spChg chg="add del mod">
          <ac:chgData name="Julia PONT" userId="6ea7fb32-49be-46d9-9d69-f51ddf012212" providerId="ADAL" clId="{2A9E832C-25F6-4F2E-84DD-F34ECE0E3917}" dt="2024-02-01T08:23:30.086" v="12747" actId="478"/>
          <ac:spMkLst>
            <pc:docMk/>
            <pc:sldMk cId="1464809953" sldId="2147480304"/>
            <ac:spMk id="3" creationId="{50A354C1-91B1-C84C-0343-F3EFF401A7E7}"/>
          </ac:spMkLst>
        </pc:spChg>
        <pc:spChg chg="mod topLvl">
          <ac:chgData name="Julia PONT" userId="6ea7fb32-49be-46d9-9d69-f51ddf012212" providerId="ADAL" clId="{2A9E832C-25F6-4F2E-84DD-F34ECE0E3917}" dt="2024-01-31T17:58:06.253" v="11343" actId="165"/>
          <ac:spMkLst>
            <pc:docMk/>
            <pc:sldMk cId="1464809953" sldId="2147480304"/>
            <ac:spMk id="4" creationId="{B5DBEA63-28A2-79C6-E7C7-A07954455BFD}"/>
          </ac:spMkLst>
        </pc:spChg>
        <pc:spChg chg="mod">
          <ac:chgData name="Julia PONT" userId="6ea7fb32-49be-46d9-9d69-f51ddf012212" providerId="ADAL" clId="{2A9E832C-25F6-4F2E-84DD-F34ECE0E3917}" dt="2024-02-02T13:30:28.543" v="19134"/>
          <ac:spMkLst>
            <pc:docMk/>
            <pc:sldMk cId="1464809953" sldId="2147480304"/>
            <ac:spMk id="5" creationId="{2DE99F23-2E89-3950-B514-B2A857A48BAF}"/>
          </ac:spMkLst>
        </pc:spChg>
        <pc:spChg chg="mod topLvl">
          <ac:chgData name="Julia PONT" userId="6ea7fb32-49be-46d9-9d69-f51ddf012212" providerId="ADAL" clId="{2A9E832C-25F6-4F2E-84DD-F34ECE0E3917}" dt="2024-01-31T17:58:06.253" v="11343" actId="165"/>
          <ac:spMkLst>
            <pc:docMk/>
            <pc:sldMk cId="1464809953" sldId="2147480304"/>
            <ac:spMk id="8" creationId="{51050D41-9C3F-45F2-DF67-3D32DC0FD903}"/>
          </ac:spMkLst>
        </pc:spChg>
        <pc:spChg chg="mod topLvl">
          <ac:chgData name="Julia PONT" userId="6ea7fb32-49be-46d9-9d69-f51ddf012212" providerId="ADAL" clId="{2A9E832C-25F6-4F2E-84DD-F34ECE0E3917}" dt="2024-02-01T08:03:55.997" v="12722" actId="207"/>
          <ac:spMkLst>
            <pc:docMk/>
            <pc:sldMk cId="1464809953" sldId="2147480304"/>
            <ac:spMk id="10" creationId="{5CC3FCF3-C9D6-2CC5-2FAB-EA87BAD383D4}"/>
          </ac:spMkLst>
        </pc:spChg>
        <pc:spChg chg="add mod">
          <ac:chgData name="Julia PONT" userId="6ea7fb32-49be-46d9-9d69-f51ddf012212" providerId="ADAL" clId="{2A9E832C-25F6-4F2E-84DD-F34ECE0E3917}" dt="2024-02-01T09:37:44.809" v="12856" actId="207"/>
          <ac:spMkLst>
            <pc:docMk/>
            <pc:sldMk cId="1464809953" sldId="2147480304"/>
            <ac:spMk id="11" creationId="{037BC75C-4C0B-BB80-B9CB-70D64668BA94}"/>
          </ac:spMkLst>
        </pc:spChg>
        <pc:spChg chg="mod topLvl">
          <ac:chgData name="Julia PONT" userId="6ea7fb32-49be-46d9-9d69-f51ddf012212" providerId="ADAL" clId="{2A9E832C-25F6-4F2E-84DD-F34ECE0E3917}" dt="2024-01-31T17:58:06.253" v="11343" actId="165"/>
          <ac:spMkLst>
            <pc:docMk/>
            <pc:sldMk cId="1464809953" sldId="2147480304"/>
            <ac:spMk id="12" creationId="{8B14E636-F4FD-DB8B-C6C8-56974E085836}"/>
          </ac:spMkLst>
        </pc:spChg>
        <pc:spChg chg="mod topLvl">
          <ac:chgData name="Julia PONT" userId="6ea7fb32-49be-46d9-9d69-f51ddf012212" providerId="ADAL" clId="{2A9E832C-25F6-4F2E-84DD-F34ECE0E3917}" dt="2024-01-31T17:58:06.253" v="11343" actId="165"/>
          <ac:spMkLst>
            <pc:docMk/>
            <pc:sldMk cId="1464809953" sldId="2147480304"/>
            <ac:spMk id="13" creationId="{625BAB93-C0A5-CA04-C4E0-009F6402AE8E}"/>
          </ac:spMkLst>
        </pc:spChg>
        <pc:spChg chg="mod topLvl">
          <ac:chgData name="Julia PONT" userId="6ea7fb32-49be-46d9-9d69-f51ddf012212" providerId="ADAL" clId="{2A9E832C-25F6-4F2E-84DD-F34ECE0E3917}" dt="2024-01-31T17:58:06.253" v="11343" actId="165"/>
          <ac:spMkLst>
            <pc:docMk/>
            <pc:sldMk cId="1464809953" sldId="2147480304"/>
            <ac:spMk id="14" creationId="{1D8CCB36-C415-019F-6169-AF384BD47DEE}"/>
          </ac:spMkLst>
        </pc:spChg>
        <pc:spChg chg="mod">
          <ac:chgData name="Julia PONT" userId="6ea7fb32-49be-46d9-9d69-f51ddf012212" providerId="ADAL" clId="{2A9E832C-25F6-4F2E-84DD-F34ECE0E3917}" dt="2024-02-02T15:04:39.300" v="19992" actId="13926"/>
          <ac:spMkLst>
            <pc:docMk/>
            <pc:sldMk cId="1464809953" sldId="2147480304"/>
            <ac:spMk id="17" creationId="{469D69E2-FD92-2DBE-8D85-D1F4ECD77DD2}"/>
          </ac:spMkLst>
        </pc:spChg>
        <pc:spChg chg="mod topLvl">
          <ac:chgData name="Julia PONT" userId="6ea7fb32-49be-46d9-9d69-f51ddf012212" providerId="ADAL" clId="{2A9E832C-25F6-4F2E-84DD-F34ECE0E3917}" dt="2024-02-01T08:04:03.981" v="12724" actId="207"/>
          <ac:spMkLst>
            <pc:docMk/>
            <pc:sldMk cId="1464809953" sldId="2147480304"/>
            <ac:spMk id="18" creationId="{8D0F6BD6-D28E-550F-11AF-797E613226B3}"/>
          </ac:spMkLst>
        </pc:spChg>
        <pc:spChg chg="mod topLvl">
          <ac:chgData name="Julia PONT" userId="6ea7fb32-49be-46d9-9d69-f51ddf012212" providerId="ADAL" clId="{2A9E832C-25F6-4F2E-84DD-F34ECE0E3917}" dt="2024-01-31T17:58:06.253" v="11343" actId="165"/>
          <ac:spMkLst>
            <pc:docMk/>
            <pc:sldMk cId="1464809953" sldId="2147480304"/>
            <ac:spMk id="20" creationId="{12B05C26-95EC-A956-E705-3899CA9A4F8E}"/>
          </ac:spMkLst>
        </pc:spChg>
        <pc:spChg chg="add mod">
          <ac:chgData name="Julia PONT" userId="6ea7fb32-49be-46d9-9d69-f51ddf012212" providerId="ADAL" clId="{2A9E832C-25F6-4F2E-84DD-F34ECE0E3917}" dt="2024-01-31T17:58:13.305" v="11345" actId="164"/>
          <ac:spMkLst>
            <pc:docMk/>
            <pc:sldMk cId="1464809953" sldId="2147480304"/>
            <ac:spMk id="23" creationId="{C077E0F3-BB87-CD6E-B6BF-78CC455613EA}"/>
          </ac:spMkLst>
        </pc:spChg>
        <pc:spChg chg="mod">
          <ac:chgData name="Julia PONT" userId="6ea7fb32-49be-46d9-9d69-f51ddf012212" providerId="ADAL" clId="{2A9E832C-25F6-4F2E-84DD-F34ECE0E3917}" dt="2024-02-02T15:05:02.763" v="20002" actId="13926"/>
          <ac:spMkLst>
            <pc:docMk/>
            <pc:sldMk cId="1464809953" sldId="2147480304"/>
            <ac:spMk id="24" creationId="{8B72F721-84F4-8905-41E8-678E75CB9DCD}"/>
          </ac:spMkLst>
        </pc:spChg>
        <pc:spChg chg="del mod topLvl">
          <ac:chgData name="Julia PONT" userId="6ea7fb32-49be-46d9-9d69-f51ddf012212" providerId="ADAL" clId="{2A9E832C-25F6-4F2E-84DD-F34ECE0E3917}" dt="2024-01-31T17:51:46.559" v="11167" actId="478"/>
          <ac:spMkLst>
            <pc:docMk/>
            <pc:sldMk cId="1464809953" sldId="2147480304"/>
            <ac:spMk id="24" creationId="{C8964802-08BF-861D-056F-48624439FD6A}"/>
          </ac:spMkLst>
        </pc:spChg>
        <pc:spChg chg="add del mod">
          <ac:chgData name="Julia PONT" userId="6ea7fb32-49be-46d9-9d69-f51ddf012212" providerId="ADAL" clId="{2A9E832C-25F6-4F2E-84DD-F34ECE0E3917}" dt="2024-02-02T15:05:23.520" v="20003" actId="478"/>
          <ac:spMkLst>
            <pc:docMk/>
            <pc:sldMk cId="1464809953" sldId="2147480304"/>
            <ac:spMk id="25" creationId="{688CB9FA-F149-E81A-B55B-B83AFABEAEF2}"/>
          </ac:spMkLst>
        </pc:spChg>
        <pc:spChg chg="mod topLvl">
          <ac:chgData name="Julia PONT" userId="6ea7fb32-49be-46d9-9d69-f51ddf012212" providerId="ADAL" clId="{2A9E832C-25F6-4F2E-84DD-F34ECE0E3917}" dt="2024-02-01T08:04:24.743" v="12725" actId="207"/>
          <ac:spMkLst>
            <pc:docMk/>
            <pc:sldMk cId="1464809953" sldId="2147480304"/>
            <ac:spMk id="26" creationId="{D28D840D-9040-2F96-E213-A4B4BBC84C14}"/>
          </ac:spMkLst>
        </pc:spChg>
        <pc:spChg chg="mod topLvl">
          <ac:chgData name="Julia PONT" userId="6ea7fb32-49be-46d9-9d69-f51ddf012212" providerId="ADAL" clId="{2A9E832C-25F6-4F2E-84DD-F34ECE0E3917}" dt="2024-02-01T08:04:28.301" v="12726" actId="208"/>
          <ac:spMkLst>
            <pc:docMk/>
            <pc:sldMk cId="1464809953" sldId="2147480304"/>
            <ac:spMk id="27" creationId="{4ED430CA-A705-2884-75AC-702A617DA0D8}"/>
          </ac:spMkLst>
        </pc:spChg>
        <pc:spChg chg="add mod topLvl">
          <ac:chgData name="Julia PONT" userId="6ea7fb32-49be-46d9-9d69-f51ddf012212" providerId="ADAL" clId="{2A9E832C-25F6-4F2E-84DD-F34ECE0E3917}" dt="2024-02-02T15:04:49.910" v="19997" actId="13926"/>
          <ac:spMkLst>
            <pc:docMk/>
            <pc:sldMk cId="1464809953" sldId="2147480304"/>
            <ac:spMk id="28" creationId="{6665339A-B286-BD2D-9B8A-B5A1C1DAB789}"/>
          </ac:spMkLst>
        </pc:spChg>
        <pc:spChg chg="mod topLvl">
          <ac:chgData name="Julia PONT" userId="6ea7fb32-49be-46d9-9d69-f51ddf012212" providerId="ADAL" clId="{2A9E832C-25F6-4F2E-84DD-F34ECE0E3917}" dt="2024-02-01T08:03:58.281" v="12723" actId="207"/>
          <ac:spMkLst>
            <pc:docMk/>
            <pc:sldMk cId="1464809953" sldId="2147480304"/>
            <ac:spMk id="30" creationId="{F2DD44DF-9784-A594-7A03-6BEECA56F396}"/>
          </ac:spMkLst>
        </pc:spChg>
        <pc:spChg chg="mod topLvl">
          <ac:chgData name="Julia PONT" userId="6ea7fb32-49be-46d9-9d69-f51ddf012212" providerId="ADAL" clId="{2A9E832C-25F6-4F2E-84DD-F34ECE0E3917}" dt="2024-01-31T17:58:06.253" v="11343" actId="165"/>
          <ac:spMkLst>
            <pc:docMk/>
            <pc:sldMk cId="1464809953" sldId="2147480304"/>
            <ac:spMk id="31" creationId="{376A6590-0C0C-0C5E-9DC0-2613D50A8F52}"/>
          </ac:spMkLst>
        </pc:spChg>
        <pc:spChg chg="add del mod">
          <ac:chgData name="Julia PONT" userId="6ea7fb32-49be-46d9-9d69-f51ddf012212" providerId="ADAL" clId="{2A9E832C-25F6-4F2E-84DD-F34ECE0E3917}" dt="2024-01-31T17:57:20.013" v="11339" actId="478"/>
          <ac:spMkLst>
            <pc:docMk/>
            <pc:sldMk cId="1464809953" sldId="2147480304"/>
            <ac:spMk id="33" creationId="{904117F8-EAB0-68AB-0403-C9C634B88A91}"/>
          </ac:spMkLst>
        </pc:spChg>
        <pc:spChg chg="add del mod">
          <ac:chgData name="Julia PONT" userId="6ea7fb32-49be-46d9-9d69-f51ddf012212" providerId="ADAL" clId="{2A9E832C-25F6-4F2E-84DD-F34ECE0E3917}" dt="2024-01-31T17:57:20.013" v="11339" actId="478"/>
          <ac:spMkLst>
            <pc:docMk/>
            <pc:sldMk cId="1464809953" sldId="2147480304"/>
            <ac:spMk id="34" creationId="{E09B995E-F6CB-E1AD-55A6-CA096932CDDF}"/>
          </ac:spMkLst>
        </pc:spChg>
        <pc:spChg chg="add del mod">
          <ac:chgData name="Julia PONT" userId="6ea7fb32-49be-46d9-9d69-f51ddf012212" providerId="ADAL" clId="{2A9E832C-25F6-4F2E-84DD-F34ECE0E3917}" dt="2024-01-31T17:57:20.013" v="11339" actId="478"/>
          <ac:spMkLst>
            <pc:docMk/>
            <pc:sldMk cId="1464809953" sldId="2147480304"/>
            <ac:spMk id="35" creationId="{192EAA93-0DB3-87E8-392A-6BFD74BC2C26}"/>
          </ac:spMkLst>
        </pc:spChg>
        <pc:spChg chg="add mod">
          <ac:chgData name="Julia PONT" userId="6ea7fb32-49be-46d9-9d69-f51ddf012212" providerId="ADAL" clId="{2A9E832C-25F6-4F2E-84DD-F34ECE0E3917}" dt="2024-01-31T17:57:13.998" v="11338" actId="164"/>
          <ac:spMkLst>
            <pc:docMk/>
            <pc:sldMk cId="1464809953" sldId="2147480304"/>
            <ac:spMk id="52" creationId="{6118F0F9-9749-8A0F-CF8F-6379289F1DF5}"/>
          </ac:spMkLst>
        </pc:spChg>
        <pc:spChg chg="add mod">
          <ac:chgData name="Julia PONT" userId="6ea7fb32-49be-46d9-9d69-f51ddf012212" providerId="ADAL" clId="{2A9E832C-25F6-4F2E-84DD-F34ECE0E3917}" dt="2024-02-01T08:04:55.292" v="12729" actId="208"/>
          <ac:spMkLst>
            <pc:docMk/>
            <pc:sldMk cId="1464809953" sldId="2147480304"/>
            <ac:spMk id="53" creationId="{893EC842-4BD8-432C-A4CD-F1FB01F4DE27}"/>
          </ac:spMkLst>
        </pc:spChg>
        <pc:spChg chg="add mod">
          <ac:chgData name="Julia PONT" userId="6ea7fb32-49be-46d9-9d69-f51ddf012212" providerId="ADAL" clId="{2A9E832C-25F6-4F2E-84DD-F34ECE0E3917}" dt="2024-01-31T17:54:11.068" v="11219" actId="164"/>
          <ac:spMkLst>
            <pc:docMk/>
            <pc:sldMk cId="1464809953" sldId="2147480304"/>
            <ac:spMk id="56" creationId="{46AA2116-D9BA-8779-1087-35FD53085CB5}"/>
          </ac:spMkLst>
        </pc:spChg>
        <pc:spChg chg="add mod">
          <ac:chgData name="Julia PONT" userId="6ea7fb32-49be-46d9-9d69-f51ddf012212" providerId="ADAL" clId="{2A9E832C-25F6-4F2E-84DD-F34ECE0E3917}" dt="2024-01-31T17:54:16.561" v="11221" actId="164"/>
          <ac:spMkLst>
            <pc:docMk/>
            <pc:sldMk cId="1464809953" sldId="2147480304"/>
            <ac:spMk id="59" creationId="{001AAFD9-536E-E2AD-6D91-9B681AE73FE6}"/>
          </ac:spMkLst>
        </pc:spChg>
        <pc:spChg chg="add mod">
          <ac:chgData name="Julia PONT" userId="6ea7fb32-49be-46d9-9d69-f51ddf012212" providerId="ADAL" clId="{2A9E832C-25F6-4F2E-84DD-F34ECE0E3917}" dt="2024-01-31T17:56:15.172" v="11273" actId="164"/>
          <ac:spMkLst>
            <pc:docMk/>
            <pc:sldMk cId="1464809953" sldId="2147480304"/>
            <ac:spMk id="63" creationId="{F4246061-18F1-4933-AD23-60DCF48B4E37}"/>
          </ac:spMkLst>
        </pc:spChg>
        <pc:spChg chg="add mod">
          <ac:chgData name="Julia PONT" userId="6ea7fb32-49be-46d9-9d69-f51ddf012212" providerId="ADAL" clId="{2A9E832C-25F6-4F2E-84DD-F34ECE0E3917}" dt="2024-01-31T17:56:02.801" v="11270" actId="164"/>
          <ac:spMkLst>
            <pc:docMk/>
            <pc:sldMk cId="1464809953" sldId="2147480304"/>
            <ac:spMk id="1024" creationId="{3D61EBA7-C6DB-0D72-4E11-9357BAB9F366}"/>
          </ac:spMkLst>
        </pc:spChg>
        <pc:spChg chg="add mod">
          <ac:chgData name="Julia PONT" userId="6ea7fb32-49be-46d9-9d69-f51ddf012212" providerId="ADAL" clId="{2A9E832C-25F6-4F2E-84DD-F34ECE0E3917}" dt="2024-01-31T17:56:09.870" v="11271" actId="12789"/>
          <ac:spMkLst>
            <pc:docMk/>
            <pc:sldMk cId="1464809953" sldId="2147480304"/>
            <ac:spMk id="1025" creationId="{C621CC93-A8F8-0D5C-1588-3823C6BB806F}"/>
          </ac:spMkLst>
        </pc:spChg>
        <pc:grpChg chg="add del mod">
          <ac:chgData name="Julia PONT" userId="6ea7fb32-49be-46d9-9d69-f51ddf012212" providerId="ADAL" clId="{2A9E832C-25F6-4F2E-84DD-F34ECE0E3917}" dt="2024-02-02T13:40:04.823" v="19254" actId="478"/>
          <ac:grpSpMkLst>
            <pc:docMk/>
            <pc:sldMk cId="1464809953" sldId="2147480304"/>
            <ac:grpSpMk id="3" creationId="{B6CE650B-52E5-0F08-5B06-1BAF3497D4E1}"/>
          </ac:grpSpMkLst>
        </pc:grpChg>
        <pc:grpChg chg="add del mod">
          <ac:chgData name="Julia PONT" userId="6ea7fb32-49be-46d9-9d69-f51ddf012212" providerId="ADAL" clId="{2A9E832C-25F6-4F2E-84DD-F34ECE0E3917}" dt="2024-01-31T17:40:59.647" v="11061" actId="165"/>
          <ac:grpSpMkLst>
            <pc:docMk/>
            <pc:sldMk cId="1464809953" sldId="2147480304"/>
            <ac:grpSpMk id="3" creationId="{E56C80F7-C17F-7A42-295C-F94DC14B5085}"/>
          </ac:grpSpMkLst>
        </pc:grpChg>
        <pc:grpChg chg="add del mod">
          <ac:chgData name="Julia PONT" userId="6ea7fb32-49be-46d9-9d69-f51ddf012212" providerId="ADAL" clId="{2A9E832C-25F6-4F2E-84DD-F34ECE0E3917}" dt="2024-01-31T17:40:59.647" v="11061" actId="165"/>
          <ac:grpSpMkLst>
            <pc:docMk/>
            <pc:sldMk cId="1464809953" sldId="2147480304"/>
            <ac:grpSpMk id="6" creationId="{7D18E260-B806-D752-BB1F-C950BD1AFA0E}"/>
          </ac:grpSpMkLst>
        </pc:grpChg>
        <pc:grpChg chg="add del mod">
          <ac:chgData name="Julia PONT" userId="6ea7fb32-49be-46d9-9d69-f51ddf012212" providerId="ADAL" clId="{2A9E832C-25F6-4F2E-84DD-F34ECE0E3917}" dt="2024-01-31T17:40:59.647" v="11061" actId="165"/>
          <ac:grpSpMkLst>
            <pc:docMk/>
            <pc:sldMk cId="1464809953" sldId="2147480304"/>
            <ac:grpSpMk id="7" creationId="{A9948E35-FC5F-54E1-A81F-7C8A6BBDF72A}"/>
          </ac:grpSpMkLst>
        </pc:grpChg>
        <pc:grpChg chg="del mod topLvl">
          <ac:chgData name="Julia PONT" userId="6ea7fb32-49be-46d9-9d69-f51ddf012212" providerId="ADAL" clId="{2A9E832C-25F6-4F2E-84DD-F34ECE0E3917}" dt="2024-01-31T17:41:08.193" v="11062" actId="165"/>
          <ac:grpSpMkLst>
            <pc:docMk/>
            <pc:sldMk cId="1464809953" sldId="2147480304"/>
            <ac:grpSpMk id="9" creationId="{3D256AAE-E97D-47AC-9360-01077ABE7137}"/>
          </ac:grpSpMkLst>
        </pc:grpChg>
        <pc:grpChg chg="del mod topLvl">
          <ac:chgData name="Julia PONT" userId="6ea7fb32-49be-46d9-9d69-f51ddf012212" providerId="ADAL" clId="{2A9E832C-25F6-4F2E-84DD-F34ECE0E3917}" dt="2024-01-31T17:41:08.193" v="11062" actId="165"/>
          <ac:grpSpMkLst>
            <pc:docMk/>
            <pc:sldMk cId="1464809953" sldId="2147480304"/>
            <ac:grpSpMk id="11" creationId="{BCC0FAC9-BBAB-FAE2-2F2C-23ECDD2F2430}"/>
          </ac:grpSpMkLst>
        </pc:grpChg>
        <pc:grpChg chg="add mod">
          <ac:chgData name="Julia PONT" userId="6ea7fb32-49be-46d9-9d69-f51ddf012212" providerId="ADAL" clId="{2A9E832C-25F6-4F2E-84DD-F34ECE0E3917}" dt="2024-02-02T13:39:56.236" v="19252" actId="1076"/>
          <ac:grpSpMkLst>
            <pc:docMk/>
            <pc:sldMk cId="1464809953" sldId="2147480304"/>
            <ac:grpSpMk id="11" creationId="{E28AFED8-6D0C-CEC0-C327-B6C7EFE757F9}"/>
          </ac:grpSpMkLst>
        </pc:grpChg>
        <pc:grpChg chg="add del mod">
          <ac:chgData name="Julia PONT" userId="6ea7fb32-49be-46d9-9d69-f51ddf012212" providerId="ADAL" clId="{2A9E832C-25F6-4F2E-84DD-F34ECE0E3917}" dt="2024-01-31T17:40:59.647" v="11061" actId="165"/>
          <ac:grpSpMkLst>
            <pc:docMk/>
            <pc:sldMk cId="1464809953" sldId="2147480304"/>
            <ac:grpSpMk id="15" creationId="{4BDCB0EC-F9B1-05E7-BE73-9C73FD37D85F}"/>
          </ac:grpSpMkLst>
        </pc:grpChg>
        <pc:grpChg chg="add mod">
          <ac:chgData name="Julia PONT" userId="6ea7fb32-49be-46d9-9d69-f51ddf012212" providerId="ADAL" clId="{2A9E832C-25F6-4F2E-84DD-F34ECE0E3917}" dt="2024-02-02T13:39:52.595" v="19251" actId="1076"/>
          <ac:grpSpMkLst>
            <pc:docMk/>
            <pc:sldMk cId="1464809953" sldId="2147480304"/>
            <ac:grpSpMk id="15" creationId="{5DB63412-8081-B8F8-B50D-5D5A1F5B8224}"/>
          </ac:grpSpMkLst>
        </pc:grpChg>
        <pc:grpChg chg="mod">
          <ac:chgData name="Julia PONT" userId="6ea7fb32-49be-46d9-9d69-f51ddf012212" providerId="ADAL" clId="{2A9E832C-25F6-4F2E-84DD-F34ECE0E3917}" dt="2024-01-31T14:24:02.432" v="8111" actId="1076"/>
          <ac:grpSpMkLst>
            <pc:docMk/>
            <pc:sldMk cId="1464809953" sldId="2147480304"/>
            <ac:grpSpMk id="16" creationId="{37F04A7D-9DE1-FF1D-BF85-7BFEC27FB3EE}"/>
          </ac:grpSpMkLst>
        </pc:grpChg>
        <pc:grpChg chg="add del mod">
          <ac:chgData name="Julia PONT" userId="6ea7fb32-49be-46d9-9d69-f51ddf012212" providerId="ADAL" clId="{2A9E832C-25F6-4F2E-84DD-F34ECE0E3917}" dt="2024-01-31T17:40:59.647" v="11061" actId="165"/>
          <ac:grpSpMkLst>
            <pc:docMk/>
            <pc:sldMk cId="1464809953" sldId="2147480304"/>
            <ac:grpSpMk id="16" creationId="{B3967D7A-96B0-A109-772F-1B182824F690}"/>
          </ac:grpSpMkLst>
        </pc:grpChg>
        <pc:grpChg chg="add del mod">
          <ac:chgData name="Julia PONT" userId="6ea7fb32-49be-46d9-9d69-f51ddf012212" providerId="ADAL" clId="{2A9E832C-25F6-4F2E-84DD-F34ECE0E3917}" dt="2024-01-31T17:40:59.647" v="11061" actId="165"/>
          <ac:grpSpMkLst>
            <pc:docMk/>
            <pc:sldMk cId="1464809953" sldId="2147480304"/>
            <ac:grpSpMk id="17" creationId="{872EDF13-B74F-2228-DD46-D0792914F425}"/>
          </ac:grpSpMkLst>
        </pc:grpChg>
        <pc:grpChg chg="add mod">
          <ac:chgData name="Julia PONT" userId="6ea7fb32-49be-46d9-9d69-f51ddf012212" providerId="ADAL" clId="{2A9E832C-25F6-4F2E-84DD-F34ECE0E3917}" dt="2024-02-02T13:40:09.920" v="19255" actId="1076"/>
          <ac:grpSpMkLst>
            <pc:docMk/>
            <pc:sldMk cId="1464809953" sldId="2147480304"/>
            <ac:grpSpMk id="21" creationId="{700E93AB-4E1D-7324-C605-C1905D669968}"/>
          </ac:grpSpMkLst>
        </pc:grpChg>
        <pc:grpChg chg="del mod topLvl">
          <ac:chgData name="Julia PONT" userId="6ea7fb32-49be-46d9-9d69-f51ddf012212" providerId="ADAL" clId="{2A9E832C-25F6-4F2E-84DD-F34ECE0E3917}" dt="2024-01-31T17:41:08.193" v="11062" actId="165"/>
          <ac:grpSpMkLst>
            <pc:docMk/>
            <pc:sldMk cId="1464809953" sldId="2147480304"/>
            <ac:grpSpMk id="25" creationId="{B6A48F8A-C687-339E-CD4F-285448036D82}"/>
          </ac:grpSpMkLst>
        </pc:grpChg>
        <pc:grpChg chg="del mod topLvl">
          <ac:chgData name="Julia PONT" userId="6ea7fb32-49be-46d9-9d69-f51ddf012212" providerId="ADAL" clId="{2A9E832C-25F6-4F2E-84DD-F34ECE0E3917}" dt="2024-01-31T17:41:08.193" v="11062" actId="165"/>
          <ac:grpSpMkLst>
            <pc:docMk/>
            <pc:sldMk cId="1464809953" sldId="2147480304"/>
            <ac:grpSpMk id="29" creationId="{7FEB62D9-BD22-6012-E31F-99F8FBB4AC80}"/>
          </ac:grpSpMkLst>
        </pc:grpChg>
        <pc:grpChg chg="add del mod">
          <ac:chgData name="Julia PONT" userId="6ea7fb32-49be-46d9-9d69-f51ddf012212" providerId="ADAL" clId="{2A9E832C-25F6-4F2E-84DD-F34ECE0E3917}" dt="2024-01-31T17:43:37.723" v="11069" actId="165"/>
          <ac:grpSpMkLst>
            <pc:docMk/>
            <pc:sldMk cId="1464809953" sldId="2147480304"/>
            <ac:grpSpMk id="36" creationId="{6F43FEB3-63C4-48EE-B568-8D5882C6BEB0}"/>
          </ac:grpSpMkLst>
        </pc:grpChg>
        <pc:grpChg chg="add mod topLvl">
          <ac:chgData name="Julia PONT" userId="6ea7fb32-49be-46d9-9d69-f51ddf012212" providerId="ADAL" clId="{2A9E832C-25F6-4F2E-84DD-F34ECE0E3917}" dt="2024-01-31T17:58:06.253" v="11343" actId="165"/>
          <ac:grpSpMkLst>
            <pc:docMk/>
            <pc:sldMk cId="1464809953" sldId="2147480304"/>
            <ac:grpSpMk id="44" creationId="{EA7D42E2-1DE2-3283-36BA-4523F1E0154F}"/>
          </ac:grpSpMkLst>
        </pc:grpChg>
        <pc:grpChg chg="add mod topLvl">
          <ac:chgData name="Julia PONT" userId="6ea7fb32-49be-46d9-9d69-f51ddf012212" providerId="ADAL" clId="{2A9E832C-25F6-4F2E-84DD-F34ECE0E3917}" dt="2024-02-02T13:32:01.281" v="19165" actId="1037"/>
          <ac:grpSpMkLst>
            <pc:docMk/>
            <pc:sldMk cId="1464809953" sldId="2147480304"/>
            <ac:grpSpMk id="45" creationId="{4B1BE460-FBB7-D4B9-E93A-CA4890D9C98D}"/>
          </ac:grpSpMkLst>
        </pc:grpChg>
        <pc:grpChg chg="add mod topLvl">
          <ac:chgData name="Julia PONT" userId="6ea7fb32-49be-46d9-9d69-f51ddf012212" providerId="ADAL" clId="{2A9E832C-25F6-4F2E-84DD-F34ECE0E3917}" dt="2024-02-02T13:32:01.281" v="19165" actId="1037"/>
          <ac:grpSpMkLst>
            <pc:docMk/>
            <pc:sldMk cId="1464809953" sldId="2147480304"/>
            <ac:grpSpMk id="46" creationId="{175CE625-4794-6C99-14D7-C57752997DAD}"/>
          </ac:grpSpMkLst>
        </pc:grpChg>
        <pc:grpChg chg="add mod topLvl">
          <ac:chgData name="Julia PONT" userId="6ea7fb32-49be-46d9-9d69-f51ddf012212" providerId="ADAL" clId="{2A9E832C-25F6-4F2E-84DD-F34ECE0E3917}" dt="2024-02-02T13:32:01.281" v="19165" actId="1037"/>
          <ac:grpSpMkLst>
            <pc:docMk/>
            <pc:sldMk cId="1464809953" sldId="2147480304"/>
            <ac:grpSpMk id="49" creationId="{B0A569CE-E6D1-499A-3269-0D5F517F5E5B}"/>
          </ac:grpSpMkLst>
        </pc:grpChg>
        <pc:grpChg chg="add mod topLvl">
          <ac:chgData name="Julia PONT" userId="6ea7fb32-49be-46d9-9d69-f51ddf012212" providerId="ADAL" clId="{2A9E832C-25F6-4F2E-84DD-F34ECE0E3917}" dt="2024-02-02T13:32:01.281" v="19165" actId="1037"/>
          <ac:grpSpMkLst>
            <pc:docMk/>
            <pc:sldMk cId="1464809953" sldId="2147480304"/>
            <ac:grpSpMk id="50" creationId="{8203805C-4018-1313-4E22-76C4D268D26A}"/>
          </ac:grpSpMkLst>
        </pc:grpChg>
        <pc:grpChg chg="add mod topLvl">
          <ac:chgData name="Julia PONT" userId="6ea7fb32-49be-46d9-9d69-f51ddf012212" providerId="ADAL" clId="{2A9E832C-25F6-4F2E-84DD-F34ECE0E3917}" dt="2024-02-02T13:32:01.281" v="19165" actId="1037"/>
          <ac:grpSpMkLst>
            <pc:docMk/>
            <pc:sldMk cId="1464809953" sldId="2147480304"/>
            <ac:grpSpMk id="51" creationId="{15AB5409-BA2B-9BC4-734E-0682893CB03A}"/>
          </ac:grpSpMkLst>
        </pc:grpChg>
        <pc:grpChg chg="add mod">
          <ac:chgData name="Julia PONT" userId="6ea7fb32-49be-46d9-9d69-f51ddf012212" providerId="ADAL" clId="{2A9E832C-25F6-4F2E-84DD-F34ECE0E3917}" dt="2024-01-31T17:55:56.113" v="11268" actId="164"/>
          <ac:grpSpMkLst>
            <pc:docMk/>
            <pc:sldMk cId="1464809953" sldId="2147480304"/>
            <ac:grpSpMk id="55" creationId="{FEF62FF1-4EBA-D851-1107-797661CEFEAE}"/>
          </ac:grpSpMkLst>
        </pc:grpChg>
        <pc:grpChg chg="add mod">
          <ac:chgData name="Julia PONT" userId="6ea7fb32-49be-46d9-9d69-f51ddf012212" providerId="ADAL" clId="{2A9E832C-25F6-4F2E-84DD-F34ECE0E3917}" dt="2024-01-31T17:56:02.801" v="11270" actId="164"/>
          <ac:grpSpMkLst>
            <pc:docMk/>
            <pc:sldMk cId="1464809953" sldId="2147480304"/>
            <ac:grpSpMk id="58" creationId="{671E421C-688A-1A52-AD84-4653407DAF68}"/>
          </ac:grpSpMkLst>
        </pc:grpChg>
        <pc:grpChg chg="add mod">
          <ac:chgData name="Julia PONT" userId="6ea7fb32-49be-46d9-9d69-f51ddf012212" providerId="ADAL" clId="{2A9E832C-25F6-4F2E-84DD-F34ECE0E3917}" dt="2024-01-31T17:56:15.172" v="11273" actId="164"/>
          <ac:grpSpMkLst>
            <pc:docMk/>
            <pc:sldMk cId="1464809953" sldId="2147480304"/>
            <ac:grpSpMk id="61" creationId="{BC5C2E5C-CCFC-8B7A-AE16-5FEA45C2F0D1}"/>
          </ac:grpSpMkLst>
        </pc:grpChg>
        <pc:grpChg chg="add mod">
          <ac:chgData name="Julia PONT" userId="6ea7fb32-49be-46d9-9d69-f51ddf012212" providerId="ADAL" clId="{2A9E832C-25F6-4F2E-84DD-F34ECE0E3917}" dt="2024-01-31T17:57:13.998" v="11338" actId="164"/>
          <ac:grpSpMkLst>
            <pc:docMk/>
            <pc:sldMk cId="1464809953" sldId="2147480304"/>
            <ac:grpSpMk id="1027" creationId="{D4821A82-995A-253F-30CF-CB8472715F42}"/>
          </ac:grpSpMkLst>
        </pc:grpChg>
        <pc:grpChg chg="add mod">
          <ac:chgData name="Julia PONT" userId="6ea7fb32-49be-46d9-9d69-f51ddf012212" providerId="ADAL" clId="{2A9E832C-25F6-4F2E-84DD-F34ECE0E3917}" dt="2024-01-31T17:57:13.998" v="11338" actId="164"/>
          <ac:grpSpMkLst>
            <pc:docMk/>
            <pc:sldMk cId="1464809953" sldId="2147480304"/>
            <ac:grpSpMk id="1029" creationId="{B1670744-99C4-F7F8-8217-0826897C3692}"/>
          </ac:grpSpMkLst>
        </pc:grpChg>
        <pc:grpChg chg="add mod">
          <ac:chgData name="Julia PONT" userId="6ea7fb32-49be-46d9-9d69-f51ddf012212" providerId="ADAL" clId="{2A9E832C-25F6-4F2E-84DD-F34ECE0E3917}" dt="2024-01-31T17:57:13.998" v="11338" actId="164"/>
          <ac:grpSpMkLst>
            <pc:docMk/>
            <pc:sldMk cId="1464809953" sldId="2147480304"/>
            <ac:grpSpMk id="1031" creationId="{92BC3819-EDA8-450D-8881-6C78D5A79BF2}"/>
          </ac:grpSpMkLst>
        </pc:grpChg>
        <pc:grpChg chg="add mod">
          <ac:chgData name="Julia PONT" userId="6ea7fb32-49be-46d9-9d69-f51ddf012212" providerId="ADAL" clId="{2A9E832C-25F6-4F2E-84DD-F34ECE0E3917}" dt="2024-01-31T17:57:26.639" v="11340" actId="1076"/>
          <ac:grpSpMkLst>
            <pc:docMk/>
            <pc:sldMk cId="1464809953" sldId="2147480304"/>
            <ac:grpSpMk id="1032" creationId="{5CD64212-7966-11BE-56F1-1CBE2E3D02E5}"/>
          </ac:grpSpMkLst>
        </pc:grpChg>
        <pc:grpChg chg="add del mod">
          <ac:chgData name="Julia PONT" userId="6ea7fb32-49be-46d9-9d69-f51ddf012212" providerId="ADAL" clId="{2A9E832C-25F6-4F2E-84DD-F34ECE0E3917}" dt="2024-01-31T17:58:06.253" v="11343" actId="165"/>
          <ac:grpSpMkLst>
            <pc:docMk/>
            <pc:sldMk cId="1464809953" sldId="2147480304"/>
            <ac:grpSpMk id="1033" creationId="{9B4CFA9D-133F-A29A-EF0A-D09768D1A69B}"/>
          </ac:grpSpMkLst>
        </pc:grpChg>
        <pc:grpChg chg="add del mod ord">
          <ac:chgData name="Julia PONT" userId="6ea7fb32-49be-46d9-9d69-f51ddf012212" providerId="ADAL" clId="{2A9E832C-25F6-4F2E-84DD-F34ECE0E3917}" dt="2024-02-02T13:39:28.828" v="19244" actId="165"/>
          <ac:grpSpMkLst>
            <pc:docMk/>
            <pc:sldMk cId="1464809953" sldId="2147480304"/>
            <ac:grpSpMk id="1034" creationId="{8A06EDAA-8AAF-42CF-BEE9-F9C309EF3E8C}"/>
          </ac:grpSpMkLst>
        </pc:grpChg>
        <pc:grpChg chg="add del mod">
          <ac:chgData name="Julia PONT" userId="6ea7fb32-49be-46d9-9d69-f51ddf012212" providerId="ADAL" clId="{2A9E832C-25F6-4F2E-84DD-F34ECE0E3917}" dt="2024-02-02T13:39:46.659" v="19250" actId="478"/>
          <ac:grpSpMkLst>
            <pc:docMk/>
            <pc:sldMk cId="1464809953" sldId="2147480304"/>
            <ac:grpSpMk id="1035" creationId="{9E237317-AF22-DDE6-4DCA-371DF6CB84BB}"/>
          </ac:grpSpMkLst>
        </pc:grpChg>
        <pc:picChg chg="mod">
          <ac:chgData name="Julia PONT" userId="6ea7fb32-49be-46d9-9d69-f51ddf012212" providerId="ADAL" clId="{2A9E832C-25F6-4F2E-84DD-F34ECE0E3917}" dt="2024-02-02T13:32:42.562" v="19177" actId="2085"/>
          <ac:picMkLst>
            <pc:docMk/>
            <pc:sldMk cId="1464809953" sldId="2147480304"/>
            <ac:picMk id="4" creationId="{4B78A1B2-3C6C-D8E1-4E99-DB5FE10B1888}"/>
          </ac:picMkLst>
        </pc:picChg>
        <pc:picChg chg="del mod topLvl">
          <ac:chgData name="Julia PONT" userId="6ea7fb32-49be-46d9-9d69-f51ddf012212" providerId="ADAL" clId="{2A9E832C-25F6-4F2E-84DD-F34ECE0E3917}" dt="2024-01-31T17:50:49.077" v="11149" actId="478"/>
          <ac:picMkLst>
            <pc:docMk/>
            <pc:sldMk cId="1464809953" sldId="2147480304"/>
            <ac:picMk id="5" creationId="{F85C0CF2-C2D8-13F4-DF4B-F6719B5A8511}"/>
          </ac:picMkLst>
        </pc:picChg>
        <pc:picChg chg="add mod">
          <ac:chgData name="Julia PONT" userId="6ea7fb32-49be-46d9-9d69-f51ddf012212" providerId="ADAL" clId="{2A9E832C-25F6-4F2E-84DD-F34ECE0E3917}" dt="2024-02-02T13:36:39.256" v="19212" actId="1076"/>
          <ac:picMkLst>
            <pc:docMk/>
            <pc:sldMk cId="1464809953" sldId="2147480304"/>
            <ac:picMk id="8" creationId="{64DF2E6B-4467-3AD1-67F8-6B9E5A4A173F}"/>
          </ac:picMkLst>
        </pc:picChg>
        <pc:picChg chg="add mod modCrop">
          <ac:chgData name="Julia PONT" userId="6ea7fb32-49be-46d9-9d69-f51ddf012212" providerId="ADAL" clId="{2A9E832C-25F6-4F2E-84DD-F34ECE0E3917}" dt="2024-02-02T13:36:59.497" v="19216" actId="1076"/>
          <ac:picMkLst>
            <pc:docMk/>
            <pc:sldMk cId="1464809953" sldId="2147480304"/>
            <ac:picMk id="9" creationId="{51C649B1-5EC9-BE37-EA45-8D0E9588999C}"/>
          </ac:picMkLst>
        </pc:picChg>
        <pc:picChg chg="mod">
          <ac:chgData name="Julia PONT" userId="6ea7fb32-49be-46d9-9d69-f51ddf012212" providerId="ADAL" clId="{2A9E832C-25F6-4F2E-84DD-F34ECE0E3917}" dt="2024-02-02T13:39:42.515" v="19248"/>
          <ac:picMkLst>
            <pc:docMk/>
            <pc:sldMk cId="1464809953" sldId="2147480304"/>
            <ac:picMk id="16" creationId="{0F545585-5CE7-16EB-05E7-49D8668B6139}"/>
          </ac:picMkLst>
        </pc:picChg>
        <pc:picChg chg="add mod topLvl">
          <ac:chgData name="Julia PONT" userId="6ea7fb32-49be-46d9-9d69-f51ddf012212" providerId="ADAL" clId="{2A9E832C-25F6-4F2E-84DD-F34ECE0E3917}" dt="2024-02-02T13:39:41.065" v="19247" actId="164"/>
          <ac:picMkLst>
            <pc:docMk/>
            <pc:sldMk cId="1464809953" sldId="2147480304"/>
            <ac:picMk id="19" creationId="{5566F477-1CE2-8E2E-D2AC-D9AEEF40FA84}"/>
          </ac:picMkLst>
        </pc:picChg>
        <pc:picChg chg="del mod topLvl">
          <ac:chgData name="Julia PONT" userId="6ea7fb32-49be-46d9-9d69-f51ddf012212" providerId="ADAL" clId="{2A9E832C-25F6-4F2E-84DD-F34ECE0E3917}" dt="2024-01-31T17:48:56.593" v="11094" actId="478"/>
          <ac:picMkLst>
            <pc:docMk/>
            <pc:sldMk cId="1464809953" sldId="2147480304"/>
            <ac:picMk id="21" creationId="{CE4DDA4D-B238-A63B-79D0-C9546658EBAF}"/>
          </ac:picMkLst>
        </pc:picChg>
        <pc:picChg chg="del mod topLvl">
          <ac:chgData name="Julia PONT" userId="6ea7fb32-49be-46d9-9d69-f51ddf012212" providerId="ADAL" clId="{2A9E832C-25F6-4F2E-84DD-F34ECE0E3917}" dt="2024-01-31T17:51:45.028" v="11166" actId="478"/>
          <ac:picMkLst>
            <pc:docMk/>
            <pc:sldMk cId="1464809953" sldId="2147480304"/>
            <ac:picMk id="22" creationId="{38B001F8-9C93-3EB0-F22A-08FB20E853E5}"/>
          </ac:picMkLst>
        </pc:picChg>
        <pc:picChg chg="mod">
          <ac:chgData name="Julia PONT" userId="6ea7fb32-49be-46d9-9d69-f51ddf012212" providerId="ADAL" clId="{2A9E832C-25F6-4F2E-84DD-F34ECE0E3917}" dt="2024-02-02T13:40:16.142" v="19256" actId="207"/>
          <ac:picMkLst>
            <pc:docMk/>
            <pc:sldMk cId="1464809953" sldId="2147480304"/>
            <ac:picMk id="22" creationId="{AE4C4CFE-6408-C3C4-2148-AC1DB77FB0FE}"/>
          </ac:picMkLst>
        </pc:picChg>
        <pc:picChg chg="add mod">
          <ac:chgData name="Julia PONT" userId="6ea7fb32-49be-46d9-9d69-f51ddf012212" providerId="ADAL" clId="{2A9E832C-25F6-4F2E-84DD-F34ECE0E3917}" dt="2024-01-31T17:58:13.305" v="11345" actId="164"/>
          <ac:picMkLst>
            <pc:docMk/>
            <pc:sldMk cId="1464809953" sldId="2147480304"/>
            <ac:picMk id="32" creationId="{E2FAA58B-7ACD-AC5B-65B6-1BC323756D40}"/>
          </ac:picMkLst>
        </pc:picChg>
        <pc:picChg chg="add del mod">
          <ac:chgData name="Julia PONT" userId="6ea7fb32-49be-46d9-9d69-f51ddf012212" providerId="ADAL" clId="{2A9E832C-25F6-4F2E-84DD-F34ECE0E3917}" dt="2024-01-31T15:40:51.391" v="9235" actId="478"/>
          <ac:picMkLst>
            <pc:docMk/>
            <pc:sldMk cId="1464809953" sldId="2147480304"/>
            <ac:picMk id="37" creationId="{76A10D92-A756-2C10-69E5-68AEC9000666}"/>
          </ac:picMkLst>
        </pc:picChg>
        <pc:picChg chg="add mod">
          <ac:chgData name="Julia PONT" userId="6ea7fb32-49be-46d9-9d69-f51ddf012212" providerId="ADAL" clId="{2A9E832C-25F6-4F2E-84DD-F34ECE0E3917}" dt="2024-02-01T08:04:34.047" v="12727"/>
          <ac:picMkLst>
            <pc:docMk/>
            <pc:sldMk cId="1464809953" sldId="2147480304"/>
            <ac:picMk id="38" creationId="{092758EB-32C8-C91D-1B1C-CC2BAB864DE5}"/>
          </ac:picMkLst>
        </pc:picChg>
        <pc:picChg chg="add mod">
          <ac:chgData name="Julia PONT" userId="6ea7fb32-49be-46d9-9d69-f51ddf012212" providerId="ADAL" clId="{2A9E832C-25F6-4F2E-84DD-F34ECE0E3917}" dt="2024-01-31T17:58:06.253" v="11343" actId="165"/>
          <ac:picMkLst>
            <pc:docMk/>
            <pc:sldMk cId="1464809953" sldId="2147480304"/>
            <ac:picMk id="40" creationId="{71B761C2-765E-D6EF-F3C9-5F8817E5A294}"/>
          </ac:picMkLst>
        </pc:picChg>
        <pc:picChg chg="add mod">
          <ac:chgData name="Julia PONT" userId="6ea7fb32-49be-46d9-9d69-f51ddf012212" providerId="ADAL" clId="{2A9E832C-25F6-4F2E-84DD-F34ECE0E3917}" dt="2024-01-31T17:58:06.253" v="11343" actId="165"/>
          <ac:picMkLst>
            <pc:docMk/>
            <pc:sldMk cId="1464809953" sldId="2147480304"/>
            <ac:picMk id="42" creationId="{CB0C7562-8C56-2742-CBAB-E047199E1299}"/>
          </ac:picMkLst>
        </pc:picChg>
        <pc:picChg chg="add mod">
          <ac:chgData name="Julia PONT" userId="6ea7fb32-49be-46d9-9d69-f51ddf012212" providerId="ADAL" clId="{2A9E832C-25F6-4F2E-84DD-F34ECE0E3917}" dt="2024-01-31T17:58:06.253" v="11343" actId="165"/>
          <ac:picMkLst>
            <pc:docMk/>
            <pc:sldMk cId="1464809953" sldId="2147480304"/>
            <ac:picMk id="43" creationId="{BA879867-9321-E86D-8FDE-C1636FCC6B12}"/>
          </ac:picMkLst>
        </pc:picChg>
        <pc:picChg chg="add mod">
          <ac:chgData name="Julia PONT" userId="6ea7fb32-49be-46d9-9d69-f51ddf012212" providerId="ADAL" clId="{2A9E832C-25F6-4F2E-84DD-F34ECE0E3917}" dt="2024-01-31T17:58:06.253" v="11343" actId="165"/>
          <ac:picMkLst>
            <pc:docMk/>
            <pc:sldMk cId="1464809953" sldId="2147480304"/>
            <ac:picMk id="47" creationId="{63D37AA3-1EF0-E078-5FEE-9D8300FC88DE}"/>
          </ac:picMkLst>
        </pc:picChg>
        <pc:picChg chg="add mod">
          <ac:chgData name="Julia PONT" userId="6ea7fb32-49be-46d9-9d69-f51ddf012212" providerId="ADAL" clId="{2A9E832C-25F6-4F2E-84DD-F34ECE0E3917}" dt="2024-01-31T17:58:06.253" v="11343" actId="165"/>
          <ac:picMkLst>
            <pc:docMk/>
            <pc:sldMk cId="1464809953" sldId="2147480304"/>
            <ac:picMk id="48" creationId="{472B2BA3-8EED-1FC6-83A6-C2D3F15EF3D6}"/>
          </ac:picMkLst>
        </pc:picChg>
        <pc:picChg chg="add mod">
          <ac:chgData name="Julia PONT" userId="6ea7fb32-49be-46d9-9d69-f51ddf012212" providerId="ADAL" clId="{2A9E832C-25F6-4F2E-84DD-F34ECE0E3917}" dt="2024-02-01T08:04:47.450" v="12728"/>
          <ac:picMkLst>
            <pc:docMk/>
            <pc:sldMk cId="1464809953" sldId="2147480304"/>
            <ac:picMk id="54" creationId="{8B683649-82DA-D286-BCEF-18B5B9CC235E}"/>
          </ac:picMkLst>
        </pc:picChg>
        <pc:picChg chg="add mod">
          <ac:chgData name="Julia PONT" userId="6ea7fb32-49be-46d9-9d69-f51ddf012212" providerId="ADAL" clId="{2A9E832C-25F6-4F2E-84DD-F34ECE0E3917}" dt="2024-01-31T17:54:11.068" v="11219" actId="164"/>
          <ac:picMkLst>
            <pc:docMk/>
            <pc:sldMk cId="1464809953" sldId="2147480304"/>
            <ac:picMk id="57" creationId="{709D2B88-AD30-9C07-AB0F-EB81F0E25DE7}"/>
          </ac:picMkLst>
        </pc:picChg>
        <pc:picChg chg="add mod">
          <ac:chgData name="Julia PONT" userId="6ea7fb32-49be-46d9-9d69-f51ddf012212" providerId="ADAL" clId="{2A9E832C-25F6-4F2E-84DD-F34ECE0E3917}" dt="2024-01-31T17:54:16.561" v="11221" actId="164"/>
          <ac:picMkLst>
            <pc:docMk/>
            <pc:sldMk cId="1464809953" sldId="2147480304"/>
            <ac:picMk id="60" creationId="{431C6633-EFF7-51D9-93A2-DA115A8B35D8}"/>
          </ac:picMkLst>
        </pc:picChg>
        <pc:picChg chg="del mod topLvl">
          <ac:chgData name="Julia PONT" userId="6ea7fb32-49be-46d9-9d69-f51ddf012212" providerId="ADAL" clId="{2A9E832C-25F6-4F2E-84DD-F34ECE0E3917}" dt="2024-01-31T17:51:45.028" v="11166" actId="478"/>
          <ac:picMkLst>
            <pc:docMk/>
            <pc:sldMk cId="1464809953" sldId="2147480304"/>
            <ac:picMk id="1026" creationId="{BB37E5D9-8341-0EC3-3474-0379AC0EEF23}"/>
          </ac:picMkLst>
        </pc:picChg>
        <pc:picChg chg="del mod topLvl">
          <ac:chgData name="Julia PONT" userId="6ea7fb32-49be-46d9-9d69-f51ddf012212" providerId="ADAL" clId="{2A9E832C-25F6-4F2E-84DD-F34ECE0E3917}" dt="2024-01-31T17:51:45.028" v="11166" actId="478"/>
          <ac:picMkLst>
            <pc:docMk/>
            <pc:sldMk cId="1464809953" sldId="2147480304"/>
            <ac:picMk id="1028" creationId="{F92612FA-6DA5-4F57-B8B9-4262F6B6A9D6}"/>
          </ac:picMkLst>
        </pc:picChg>
        <pc:picChg chg="del mod topLvl">
          <ac:chgData name="Julia PONT" userId="6ea7fb32-49be-46d9-9d69-f51ddf012212" providerId="ADAL" clId="{2A9E832C-25F6-4F2E-84DD-F34ECE0E3917}" dt="2024-01-31T17:51:07.885" v="11153" actId="478"/>
          <ac:picMkLst>
            <pc:docMk/>
            <pc:sldMk cId="1464809953" sldId="2147480304"/>
            <ac:picMk id="1030" creationId="{423F84E0-8386-980E-7653-85661EB6CE07}"/>
          </ac:picMkLst>
        </pc:picChg>
        <pc:cxnChg chg="add del">
          <ac:chgData name="Julia PONT" userId="6ea7fb32-49be-46d9-9d69-f51ddf012212" providerId="ADAL" clId="{2A9E832C-25F6-4F2E-84DD-F34ECE0E3917}" dt="2024-02-02T13:30:41.587" v="19137" actId="478"/>
          <ac:cxnSpMkLst>
            <pc:docMk/>
            <pc:sldMk cId="1464809953" sldId="2147480304"/>
            <ac:cxnSpMk id="7" creationId="{D59239F4-44B9-4613-21FF-F0A36B361F8D}"/>
          </ac:cxnSpMkLst>
        </pc:cxnChg>
      </pc:sldChg>
      <pc:sldChg chg="addSp delSp modSp add mod">
        <pc:chgData name="Julia PONT" userId="6ea7fb32-49be-46d9-9d69-f51ddf012212" providerId="ADAL" clId="{2A9E832C-25F6-4F2E-84DD-F34ECE0E3917}" dt="2024-02-02T08:35:16.394" v="17919"/>
        <pc:sldMkLst>
          <pc:docMk/>
          <pc:sldMk cId="1097620525" sldId="2147480307"/>
        </pc:sldMkLst>
        <pc:spChg chg="mod topLvl">
          <ac:chgData name="Julia PONT" userId="6ea7fb32-49be-46d9-9d69-f51ddf012212" providerId="ADAL" clId="{2A9E832C-25F6-4F2E-84DD-F34ECE0E3917}" dt="2024-02-02T08:32:08.594" v="17905" actId="207"/>
          <ac:spMkLst>
            <pc:docMk/>
            <pc:sldMk cId="1097620525" sldId="2147480307"/>
            <ac:spMk id="3" creationId="{667C8A85-8CD5-181E-1B44-9BED4BC58ECF}"/>
          </ac:spMkLst>
        </pc:spChg>
        <pc:spChg chg="mod topLvl">
          <ac:chgData name="Julia PONT" userId="6ea7fb32-49be-46d9-9d69-f51ddf012212" providerId="ADAL" clId="{2A9E832C-25F6-4F2E-84DD-F34ECE0E3917}" dt="2024-01-26T16:43:18.339" v="632" actId="164"/>
          <ac:spMkLst>
            <pc:docMk/>
            <pc:sldMk cId="1097620525" sldId="2147480307"/>
            <ac:spMk id="5" creationId="{544069F3-8220-51EE-508A-1C07112F822D}"/>
          </ac:spMkLst>
        </pc:spChg>
        <pc:spChg chg="mod topLvl">
          <ac:chgData name="Julia PONT" userId="6ea7fb32-49be-46d9-9d69-f51ddf012212" providerId="ADAL" clId="{2A9E832C-25F6-4F2E-84DD-F34ECE0E3917}" dt="2024-01-26T16:43:13.406" v="631" actId="164"/>
          <ac:spMkLst>
            <pc:docMk/>
            <pc:sldMk cId="1097620525" sldId="2147480307"/>
            <ac:spMk id="7" creationId="{8079125D-CFC6-49E2-531A-B3BCD8992476}"/>
          </ac:spMkLst>
        </pc:spChg>
        <pc:spChg chg="mod topLvl">
          <ac:chgData name="Julia PONT" userId="6ea7fb32-49be-46d9-9d69-f51ddf012212" providerId="ADAL" clId="{2A9E832C-25F6-4F2E-84DD-F34ECE0E3917}" dt="2024-01-26T16:43:26.887" v="634" actId="164"/>
          <ac:spMkLst>
            <pc:docMk/>
            <pc:sldMk cId="1097620525" sldId="2147480307"/>
            <ac:spMk id="8" creationId="{DE545888-F0D1-9B72-F95E-9BE644FB71DD}"/>
          </ac:spMkLst>
        </pc:spChg>
        <pc:spChg chg="add mod">
          <ac:chgData name="Julia PONT" userId="6ea7fb32-49be-46d9-9d69-f51ddf012212" providerId="ADAL" clId="{2A9E832C-25F6-4F2E-84DD-F34ECE0E3917}" dt="2024-01-30T16:36:29.708" v="7214" actId="1076"/>
          <ac:spMkLst>
            <pc:docMk/>
            <pc:sldMk cId="1097620525" sldId="2147480307"/>
            <ac:spMk id="12" creationId="{9D8F7B25-71EA-5957-C56A-F22A4B3A46E0}"/>
          </ac:spMkLst>
        </pc:spChg>
        <pc:spChg chg="add del mod">
          <ac:chgData name="Julia PONT" userId="6ea7fb32-49be-46d9-9d69-f51ddf012212" providerId="ADAL" clId="{2A9E832C-25F6-4F2E-84DD-F34ECE0E3917}" dt="2024-01-29T18:07:17.825" v="3701" actId="478"/>
          <ac:spMkLst>
            <pc:docMk/>
            <pc:sldMk cId="1097620525" sldId="2147480307"/>
            <ac:spMk id="12" creationId="{DC4E5AD8-CA8A-656C-1AE3-EFF266AA7C26}"/>
          </ac:spMkLst>
        </pc:spChg>
        <pc:spChg chg="add mod">
          <ac:chgData name="Julia PONT" userId="6ea7fb32-49be-46d9-9d69-f51ddf012212" providerId="ADAL" clId="{2A9E832C-25F6-4F2E-84DD-F34ECE0E3917}" dt="2024-01-29T18:07:18.457" v="3702"/>
          <ac:spMkLst>
            <pc:docMk/>
            <pc:sldMk cId="1097620525" sldId="2147480307"/>
            <ac:spMk id="13" creationId="{1C8F7348-02FC-948B-3C99-0B281EC55F6F}"/>
          </ac:spMkLst>
        </pc:spChg>
        <pc:spChg chg="add mod">
          <ac:chgData name="Julia PONT" userId="6ea7fb32-49be-46d9-9d69-f51ddf012212" providerId="ADAL" clId="{2A9E832C-25F6-4F2E-84DD-F34ECE0E3917}" dt="2024-01-30T16:36:38.551" v="7219" actId="1076"/>
          <ac:spMkLst>
            <pc:docMk/>
            <pc:sldMk cId="1097620525" sldId="2147480307"/>
            <ac:spMk id="15" creationId="{87894977-D37B-BFAA-ACB2-71D798227DEA}"/>
          </ac:spMkLst>
        </pc:spChg>
        <pc:spChg chg="add mod">
          <ac:chgData name="Julia PONT" userId="6ea7fb32-49be-46d9-9d69-f51ddf012212" providerId="ADAL" clId="{2A9E832C-25F6-4F2E-84DD-F34ECE0E3917}" dt="2024-02-01T13:28:21.854" v="14150"/>
          <ac:spMkLst>
            <pc:docMk/>
            <pc:sldMk cId="1097620525" sldId="2147480307"/>
            <ac:spMk id="15" creationId="{8E92742F-7C56-65FB-D929-C1F4B640105E}"/>
          </ac:spMkLst>
        </pc:spChg>
        <pc:spChg chg="add mod">
          <ac:chgData name="Julia PONT" userId="6ea7fb32-49be-46d9-9d69-f51ddf012212" providerId="ADAL" clId="{2A9E832C-25F6-4F2E-84DD-F34ECE0E3917}" dt="2024-01-30T16:36:32.083" v="7215" actId="1076"/>
          <ac:spMkLst>
            <pc:docMk/>
            <pc:sldMk cId="1097620525" sldId="2147480307"/>
            <ac:spMk id="16" creationId="{F9F73472-5CAA-C09A-3734-EB5F864E69C3}"/>
          </ac:spMkLst>
        </pc:spChg>
        <pc:spChg chg="mod topLvl">
          <ac:chgData name="Julia PONT" userId="6ea7fb32-49be-46d9-9d69-f51ddf012212" providerId="ADAL" clId="{2A9E832C-25F6-4F2E-84DD-F34ECE0E3917}" dt="2024-02-02T08:32:11.274" v="17906" actId="207"/>
          <ac:spMkLst>
            <pc:docMk/>
            <pc:sldMk cId="1097620525" sldId="2147480307"/>
            <ac:spMk id="18" creationId="{C8231268-C2B2-BE48-01AF-35E343770CEF}"/>
          </ac:spMkLst>
        </pc:spChg>
        <pc:spChg chg="mod topLvl">
          <ac:chgData name="Julia PONT" userId="6ea7fb32-49be-46d9-9d69-f51ddf012212" providerId="ADAL" clId="{2A9E832C-25F6-4F2E-84DD-F34ECE0E3917}" dt="2024-01-26T16:42:49.542" v="628" actId="164"/>
          <ac:spMkLst>
            <pc:docMk/>
            <pc:sldMk cId="1097620525" sldId="2147480307"/>
            <ac:spMk id="19" creationId="{2919C7B7-E893-CF95-29BA-9D5F3B7828C1}"/>
          </ac:spMkLst>
        </pc:spChg>
        <pc:spChg chg="mod topLvl">
          <ac:chgData name="Julia PONT" userId="6ea7fb32-49be-46d9-9d69-f51ddf012212" providerId="ADAL" clId="{2A9E832C-25F6-4F2E-84DD-F34ECE0E3917}" dt="2024-02-02T08:33:34.069" v="17917" actId="11"/>
          <ac:spMkLst>
            <pc:docMk/>
            <pc:sldMk cId="1097620525" sldId="2147480307"/>
            <ac:spMk id="25" creationId="{1515E993-6069-6C0D-1BB2-F62EC1A5417F}"/>
          </ac:spMkLst>
        </pc:spChg>
        <pc:spChg chg="mod">
          <ac:chgData name="Julia PONT" userId="6ea7fb32-49be-46d9-9d69-f51ddf012212" providerId="ADAL" clId="{2A9E832C-25F6-4F2E-84DD-F34ECE0E3917}" dt="2024-02-02T08:35:16.394" v="17919"/>
          <ac:spMkLst>
            <pc:docMk/>
            <pc:sldMk cId="1097620525" sldId="2147480307"/>
            <ac:spMk id="30" creationId="{A8A15718-341E-1618-BBFE-8DE79C4D1726}"/>
          </ac:spMkLst>
        </pc:spChg>
        <pc:spChg chg="mod topLvl">
          <ac:chgData name="Julia PONT" userId="6ea7fb32-49be-46d9-9d69-f51ddf012212" providerId="ADAL" clId="{2A9E832C-25F6-4F2E-84DD-F34ECE0E3917}" dt="2024-02-02T08:32:01.779" v="17903" actId="207"/>
          <ac:spMkLst>
            <pc:docMk/>
            <pc:sldMk cId="1097620525" sldId="2147480307"/>
            <ac:spMk id="32" creationId="{B3495833-9CC2-ED21-6E68-56E657DD98F8}"/>
          </ac:spMkLst>
        </pc:spChg>
        <pc:spChg chg="mod topLvl">
          <ac:chgData name="Julia PONT" userId="6ea7fb32-49be-46d9-9d69-f51ddf012212" providerId="ADAL" clId="{2A9E832C-25F6-4F2E-84DD-F34ECE0E3917}" dt="2024-02-02T08:32:06.146" v="17904" actId="207"/>
          <ac:spMkLst>
            <pc:docMk/>
            <pc:sldMk cId="1097620525" sldId="2147480307"/>
            <ac:spMk id="33" creationId="{7A064286-2ACC-8408-C2B8-83BB75643094}"/>
          </ac:spMkLst>
        </pc:spChg>
        <pc:spChg chg="mod">
          <ac:chgData name="Julia PONT" userId="6ea7fb32-49be-46d9-9d69-f51ddf012212" providerId="ADAL" clId="{2A9E832C-25F6-4F2E-84DD-F34ECE0E3917}" dt="2024-02-02T08:32:23.592" v="17908" actId="207"/>
          <ac:spMkLst>
            <pc:docMk/>
            <pc:sldMk cId="1097620525" sldId="2147480307"/>
            <ac:spMk id="34" creationId="{9650F1C7-7C98-3C61-8C3C-2BBA81E3429C}"/>
          </ac:spMkLst>
        </pc:spChg>
        <pc:spChg chg="mod topLvl">
          <ac:chgData name="Julia PONT" userId="6ea7fb32-49be-46d9-9d69-f51ddf012212" providerId="ADAL" clId="{2A9E832C-25F6-4F2E-84DD-F34ECE0E3917}" dt="2024-01-26T16:43:22.433" v="633" actId="164"/>
          <ac:spMkLst>
            <pc:docMk/>
            <pc:sldMk cId="1097620525" sldId="2147480307"/>
            <ac:spMk id="38" creationId="{B39395E4-28F0-BDD2-0069-AD0984A16A96}"/>
          </ac:spMkLst>
        </pc:spChg>
        <pc:grpChg chg="add mod">
          <ac:chgData name="Julia PONT" userId="6ea7fb32-49be-46d9-9d69-f51ddf012212" providerId="ADAL" clId="{2A9E832C-25F6-4F2E-84DD-F34ECE0E3917}" dt="2024-01-26T16:42:49.542" v="628" actId="164"/>
          <ac:grpSpMkLst>
            <pc:docMk/>
            <pc:sldMk cId="1097620525" sldId="2147480307"/>
            <ac:grpSpMk id="2" creationId="{EA28810B-0F1A-33FC-557D-04A040D2357B}"/>
          </ac:grpSpMkLst>
        </pc:grpChg>
        <pc:grpChg chg="add mod">
          <ac:chgData name="Julia PONT" userId="6ea7fb32-49be-46d9-9d69-f51ddf012212" providerId="ADAL" clId="{2A9E832C-25F6-4F2E-84DD-F34ECE0E3917}" dt="2024-01-26T16:43:13.406" v="631" actId="164"/>
          <ac:grpSpMkLst>
            <pc:docMk/>
            <pc:sldMk cId="1097620525" sldId="2147480307"/>
            <ac:grpSpMk id="4" creationId="{824A06BA-A461-44F3-8AA9-4CAAA46DE75A}"/>
          </ac:grpSpMkLst>
        </pc:grpChg>
        <pc:grpChg chg="add mod">
          <ac:chgData name="Julia PONT" userId="6ea7fb32-49be-46d9-9d69-f51ddf012212" providerId="ADAL" clId="{2A9E832C-25F6-4F2E-84DD-F34ECE0E3917}" dt="2024-01-26T16:43:18.339" v="632" actId="164"/>
          <ac:grpSpMkLst>
            <pc:docMk/>
            <pc:sldMk cId="1097620525" sldId="2147480307"/>
            <ac:grpSpMk id="10" creationId="{15AADAC6-D9A2-7ECC-DBED-296040E229F2}"/>
          </ac:grpSpMkLst>
        </pc:grpChg>
        <pc:grpChg chg="add mod">
          <ac:chgData name="Julia PONT" userId="6ea7fb32-49be-46d9-9d69-f51ddf012212" providerId="ADAL" clId="{2A9E832C-25F6-4F2E-84DD-F34ECE0E3917}" dt="2024-01-26T16:43:22.433" v="633" actId="164"/>
          <ac:grpSpMkLst>
            <pc:docMk/>
            <pc:sldMk cId="1097620525" sldId="2147480307"/>
            <ac:grpSpMk id="11" creationId="{9C7CABAD-85B9-725B-FC7C-03E6727DD17A}"/>
          </ac:grpSpMkLst>
        </pc:grpChg>
        <pc:grpChg chg="del mod topLvl">
          <ac:chgData name="Julia PONT" userId="6ea7fb32-49be-46d9-9d69-f51ddf012212" providerId="ADAL" clId="{2A9E832C-25F6-4F2E-84DD-F34ECE0E3917}" dt="2024-01-26T16:42:05.836" v="623" actId="165"/>
          <ac:grpSpMkLst>
            <pc:docMk/>
            <pc:sldMk cId="1097620525" sldId="2147480307"/>
            <ac:grpSpMk id="12" creationId="{06C65158-0C43-C5A8-1268-AC9F4F66CE23}"/>
          </ac:grpSpMkLst>
        </pc:grpChg>
        <pc:grpChg chg="del mod topLvl">
          <ac:chgData name="Julia PONT" userId="6ea7fb32-49be-46d9-9d69-f51ddf012212" providerId="ADAL" clId="{2A9E832C-25F6-4F2E-84DD-F34ECE0E3917}" dt="2024-01-26T16:42:05.836" v="623" actId="165"/>
          <ac:grpSpMkLst>
            <pc:docMk/>
            <pc:sldMk cId="1097620525" sldId="2147480307"/>
            <ac:grpSpMk id="13" creationId="{21F32860-3180-7683-85D2-6CADC0941E0A}"/>
          </ac:grpSpMkLst>
        </pc:grpChg>
        <pc:grpChg chg="add mod">
          <ac:chgData name="Julia PONT" userId="6ea7fb32-49be-46d9-9d69-f51ddf012212" providerId="ADAL" clId="{2A9E832C-25F6-4F2E-84DD-F34ECE0E3917}" dt="2024-01-26T16:43:26.887" v="634" actId="164"/>
          <ac:grpSpMkLst>
            <pc:docMk/>
            <pc:sldMk cId="1097620525" sldId="2147480307"/>
            <ac:grpSpMk id="14" creationId="{E4069771-A32A-EC0F-B433-AD1F41F55C7A}"/>
          </ac:grpSpMkLst>
        </pc:grpChg>
        <pc:grpChg chg="del">
          <ac:chgData name="Julia PONT" userId="6ea7fb32-49be-46d9-9d69-f51ddf012212" providerId="ADAL" clId="{2A9E832C-25F6-4F2E-84DD-F34ECE0E3917}" dt="2024-01-26T16:41:56.881" v="622" actId="165"/>
          <ac:grpSpMkLst>
            <pc:docMk/>
            <pc:sldMk cId="1097620525" sldId="2147480307"/>
            <ac:grpSpMk id="15" creationId="{BD17B117-05FB-2314-602F-ABA5B9766B19}"/>
          </ac:grpSpMkLst>
        </pc:grpChg>
        <pc:grpChg chg="del">
          <ac:chgData name="Julia PONT" userId="6ea7fb32-49be-46d9-9d69-f51ddf012212" providerId="ADAL" clId="{2A9E832C-25F6-4F2E-84DD-F34ECE0E3917}" dt="2024-01-26T16:41:56.881" v="622" actId="165"/>
          <ac:grpSpMkLst>
            <pc:docMk/>
            <pc:sldMk cId="1097620525" sldId="2147480307"/>
            <ac:grpSpMk id="16" creationId="{E103CC10-A6A7-9A33-7864-8A7A76424CDB}"/>
          </ac:grpSpMkLst>
        </pc:grpChg>
        <pc:grpChg chg="del mod topLvl">
          <ac:chgData name="Julia PONT" userId="6ea7fb32-49be-46d9-9d69-f51ddf012212" providerId="ADAL" clId="{2A9E832C-25F6-4F2E-84DD-F34ECE0E3917}" dt="2024-01-26T16:42:05.836" v="623" actId="165"/>
          <ac:grpSpMkLst>
            <pc:docMk/>
            <pc:sldMk cId="1097620525" sldId="2147480307"/>
            <ac:grpSpMk id="17" creationId="{3B02F0FC-5B2A-ED1C-4D81-23F7BD3EEA44}"/>
          </ac:grpSpMkLst>
        </pc:grpChg>
        <pc:grpChg chg="del">
          <ac:chgData name="Julia PONT" userId="6ea7fb32-49be-46d9-9d69-f51ddf012212" providerId="ADAL" clId="{2A9E832C-25F6-4F2E-84DD-F34ECE0E3917}" dt="2024-01-26T16:41:56.881" v="622" actId="165"/>
          <ac:grpSpMkLst>
            <pc:docMk/>
            <pc:sldMk cId="1097620525" sldId="2147480307"/>
            <ac:grpSpMk id="20" creationId="{5C943D1A-95E0-5305-4853-662961D148BE}"/>
          </ac:grpSpMkLst>
        </pc:grpChg>
        <pc:grpChg chg="del">
          <ac:chgData name="Julia PONT" userId="6ea7fb32-49be-46d9-9d69-f51ddf012212" providerId="ADAL" clId="{2A9E832C-25F6-4F2E-84DD-F34ECE0E3917}" dt="2024-01-26T16:41:56.881" v="622" actId="165"/>
          <ac:grpSpMkLst>
            <pc:docMk/>
            <pc:sldMk cId="1097620525" sldId="2147480307"/>
            <ac:grpSpMk id="27" creationId="{3323E204-0F0B-F947-C480-611E6BD7732E}"/>
          </ac:grpSpMkLst>
        </pc:grpChg>
        <pc:grpChg chg="del">
          <ac:chgData name="Julia PONT" userId="6ea7fb32-49be-46d9-9d69-f51ddf012212" providerId="ADAL" clId="{2A9E832C-25F6-4F2E-84DD-F34ECE0E3917}" dt="2024-01-26T16:41:56.881" v="622" actId="165"/>
          <ac:grpSpMkLst>
            <pc:docMk/>
            <pc:sldMk cId="1097620525" sldId="2147480307"/>
            <ac:grpSpMk id="35" creationId="{65559D40-C722-5A0B-24DE-F744F3C2E3C9}"/>
          </ac:grpSpMkLst>
        </pc:grpChg>
        <pc:graphicFrameChg chg="add del mod modGraphic">
          <ac:chgData name="Julia PONT" userId="6ea7fb32-49be-46d9-9d69-f51ddf012212" providerId="ADAL" clId="{2A9E832C-25F6-4F2E-84DD-F34ECE0E3917}" dt="2024-01-26T16:59:44.396" v="1543" actId="21"/>
          <ac:graphicFrameMkLst>
            <pc:docMk/>
            <pc:sldMk cId="1097620525" sldId="2147480307"/>
            <ac:graphicFrameMk id="21" creationId="{C6996EF6-F0EB-67E5-AD2E-C7D940C23613}"/>
          </ac:graphicFrameMkLst>
        </pc:graphicFrameChg>
        <pc:picChg chg="mod topLvl">
          <ac:chgData name="Julia PONT" userId="6ea7fb32-49be-46d9-9d69-f51ddf012212" providerId="ADAL" clId="{2A9E832C-25F6-4F2E-84DD-F34ECE0E3917}" dt="2024-01-26T16:43:18.339" v="632" actId="164"/>
          <ac:picMkLst>
            <pc:docMk/>
            <pc:sldMk cId="1097620525" sldId="2147480307"/>
            <ac:picMk id="6" creationId="{BA2E81AC-9F07-04EA-5F37-1F7FA2A01E67}"/>
          </ac:picMkLst>
        </pc:picChg>
        <pc:picChg chg="mod topLvl">
          <ac:chgData name="Julia PONT" userId="6ea7fb32-49be-46d9-9d69-f51ddf012212" providerId="ADAL" clId="{2A9E832C-25F6-4F2E-84DD-F34ECE0E3917}" dt="2024-01-26T16:43:13.406" v="631" actId="164"/>
          <ac:picMkLst>
            <pc:docMk/>
            <pc:sldMk cId="1097620525" sldId="2147480307"/>
            <ac:picMk id="9" creationId="{5904BD4C-6B18-D95B-413D-D7C652B5B9EE}"/>
          </ac:picMkLst>
        </pc:picChg>
        <pc:picChg chg="mod topLvl">
          <ac:chgData name="Julia PONT" userId="6ea7fb32-49be-46d9-9d69-f51ddf012212" providerId="ADAL" clId="{2A9E832C-25F6-4F2E-84DD-F34ECE0E3917}" dt="2024-01-26T16:43:22.433" v="633" actId="164"/>
          <ac:picMkLst>
            <pc:docMk/>
            <pc:sldMk cId="1097620525" sldId="2147480307"/>
            <ac:picMk id="26" creationId="{D5AD588F-5B77-D8D8-9D30-96C8BB2D1731}"/>
          </ac:picMkLst>
        </pc:picChg>
        <pc:picChg chg="mod topLvl">
          <ac:chgData name="Julia PONT" userId="6ea7fb32-49be-46d9-9d69-f51ddf012212" providerId="ADAL" clId="{2A9E832C-25F6-4F2E-84DD-F34ECE0E3917}" dt="2024-01-26T16:43:26.887" v="634" actId="164"/>
          <ac:picMkLst>
            <pc:docMk/>
            <pc:sldMk cId="1097620525" sldId="2147480307"/>
            <ac:picMk id="29" creationId="{A8095A6A-1248-5614-C52C-7A5FEF182EFA}"/>
          </ac:picMkLst>
        </pc:picChg>
        <pc:picChg chg="mod topLvl">
          <ac:chgData name="Julia PONT" userId="6ea7fb32-49be-46d9-9d69-f51ddf012212" providerId="ADAL" clId="{2A9E832C-25F6-4F2E-84DD-F34ECE0E3917}" dt="2024-01-26T16:42:49.542" v="628" actId="164"/>
          <ac:picMkLst>
            <pc:docMk/>
            <pc:sldMk cId="1097620525" sldId="2147480307"/>
            <ac:picMk id="39" creationId="{EDA1B137-74C6-F626-009B-D825BB4A19EF}"/>
          </ac:picMkLst>
        </pc:picChg>
      </pc:sldChg>
      <pc:sldChg chg="addSp delSp modSp add mod">
        <pc:chgData name="Julia PONT" userId="6ea7fb32-49be-46d9-9d69-f51ddf012212" providerId="ADAL" clId="{2A9E832C-25F6-4F2E-84DD-F34ECE0E3917}" dt="2024-02-02T08:38:47.926" v="17950" actId="11"/>
        <pc:sldMkLst>
          <pc:docMk/>
          <pc:sldMk cId="1174410406" sldId="2147480308"/>
        </pc:sldMkLst>
        <pc:spChg chg="add del mod">
          <ac:chgData name="Julia PONT" userId="6ea7fb32-49be-46d9-9d69-f51ddf012212" providerId="ADAL" clId="{2A9E832C-25F6-4F2E-84DD-F34ECE0E3917}" dt="2024-01-29T18:07:23.549" v="3703" actId="478"/>
          <ac:spMkLst>
            <pc:docMk/>
            <pc:sldMk cId="1174410406" sldId="2147480308"/>
            <ac:spMk id="2" creationId="{E66385AE-3A26-55E5-FBB6-A607AF74250C}"/>
          </ac:spMkLst>
        </pc:spChg>
        <pc:spChg chg="mod topLvl">
          <ac:chgData name="Julia PONT" userId="6ea7fb32-49be-46d9-9d69-f51ddf012212" providerId="ADAL" clId="{2A9E832C-25F6-4F2E-84DD-F34ECE0E3917}" dt="2024-02-02T08:37:44.997" v="17938" actId="207"/>
          <ac:spMkLst>
            <pc:docMk/>
            <pc:sldMk cId="1174410406" sldId="2147480308"/>
            <ac:spMk id="3" creationId="{667C8A85-8CD5-181E-1B44-9BED4BC58ECF}"/>
          </ac:spMkLst>
        </pc:spChg>
        <pc:spChg chg="mod topLvl">
          <ac:chgData name="Julia PONT" userId="6ea7fb32-49be-46d9-9d69-f51ddf012212" providerId="ADAL" clId="{2A9E832C-25F6-4F2E-84DD-F34ECE0E3917}" dt="2024-01-26T16:45:42.967" v="661" actId="164"/>
          <ac:spMkLst>
            <pc:docMk/>
            <pc:sldMk cId="1174410406" sldId="2147480308"/>
            <ac:spMk id="5" creationId="{544069F3-8220-51EE-508A-1C07112F822D}"/>
          </ac:spMkLst>
        </pc:spChg>
        <pc:spChg chg="mod">
          <ac:chgData name="Julia PONT" userId="6ea7fb32-49be-46d9-9d69-f51ddf012212" providerId="ADAL" clId="{2A9E832C-25F6-4F2E-84DD-F34ECE0E3917}" dt="2024-01-26T16:44:58.452" v="654" actId="207"/>
          <ac:spMkLst>
            <pc:docMk/>
            <pc:sldMk cId="1174410406" sldId="2147480308"/>
            <ac:spMk id="7" creationId="{8079125D-CFC6-49E2-531A-B3BCD8992476}"/>
          </ac:spMkLst>
        </pc:spChg>
        <pc:spChg chg="mod topLvl">
          <ac:chgData name="Julia PONT" userId="6ea7fb32-49be-46d9-9d69-f51ddf012212" providerId="ADAL" clId="{2A9E832C-25F6-4F2E-84DD-F34ECE0E3917}" dt="2024-01-26T16:45:52.479" v="663" actId="164"/>
          <ac:spMkLst>
            <pc:docMk/>
            <pc:sldMk cId="1174410406" sldId="2147480308"/>
            <ac:spMk id="8" creationId="{DE545888-F0D1-9B72-F95E-9BE644FB71DD}"/>
          </ac:spMkLst>
        </pc:spChg>
        <pc:spChg chg="add mod">
          <ac:chgData name="Julia PONT" userId="6ea7fb32-49be-46d9-9d69-f51ddf012212" providerId="ADAL" clId="{2A9E832C-25F6-4F2E-84DD-F34ECE0E3917}" dt="2024-01-29T18:07:24.025" v="3704"/>
          <ac:spMkLst>
            <pc:docMk/>
            <pc:sldMk cId="1174410406" sldId="2147480308"/>
            <ac:spMk id="10" creationId="{0A1DF6F6-8895-DE6C-C30E-4B01C1043A0F}"/>
          </ac:spMkLst>
        </pc:spChg>
        <pc:spChg chg="add mod">
          <ac:chgData name="Julia PONT" userId="6ea7fb32-49be-46d9-9d69-f51ddf012212" providerId="ADAL" clId="{2A9E832C-25F6-4F2E-84DD-F34ECE0E3917}" dt="2024-02-01T13:28:35.943" v="14155"/>
          <ac:spMkLst>
            <pc:docMk/>
            <pc:sldMk cId="1174410406" sldId="2147480308"/>
            <ac:spMk id="10" creationId="{50A54719-F6D1-6857-4987-65592439BE4F}"/>
          </ac:spMkLst>
        </pc:spChg>
        <pc:spChg chg="mod topLvl">
          <ac:chgData name="Julia PONT" userId="6ea7fb32-49be-46d9-9d69-f51ddf012212" providerId="ADAL" clId="{2A9E832C-25F6-4F2E-84DD-F34ECE0E3917}" dt="2024-02-02T08:37:46.728" v="17939" actId="207"/>
          <ac:spMkLst>
            <pc:docMk/>
            <pc:sldMk cId="1174410406" sldId="2147480308"/>
            <ac:spMk id="18" creationId="{C8231268-C2B2-BE48-01AF-35E343770CEF}"/>
          </ac:spMkLst>
        </pc:spChg>
        <pc:spChg chg="mod topLvl">
          <ac:chgData name="Julia PONT" userId="6ea7fb32-49be-46d9-9d69-f51ddf012212" providerId="ADAL" clId="{2A9E832C-25F6-4F2E-84DD-F34ECE0E3917}" dt="2024-01-26T16:45:33.377" v="660" actId="164"/>
          <ac:spMkLst>
            <pc:docMk/>
            <pc:sldMk cId="1174410406" sldId="2147480308"/>
            <ac:spMk id="19" creationId="{2919C7B7-E893-CF95-29BA-9D5F3B7828C1}"/>
          </ac:spMkLst>
        </pc:spChg>
        <pc:spChg chg="mod">
          <ac:chgData name="Julia PONT" userId="6ea7fb32-49be-46d9-9d69-f51ddf012212" providerId="ADAL" clId="{2A9E832C-25F6-4F2E-84DD-F34ECE0E3917}" dt="2024-02-02T08:38:47.926" v="17950" actId="11"/>
          <ac:spMkLst>
            <pc:docMk/>
            <pc:sldMk cId="1174410406" sldId="2147480308"/>
            <ac:spMk id="25" creationId="{1515E993-6069-6C0D-1BB2-F62EC1A5417F}"/>
          </ac:spMkLst>
        </pc:spChg>
        <pc:spChg chg="mod">
          <ac:chgData name="Julia PONT" userId="6ea7fb32-49be-46d9-9d69-f51ddf012212" providerId="ADAL" clId="{2A9E832C-25F6-4F2E-84DD-F34ECE0E3917}" dt="2024-02-02T08:37:24.338" v="17934"/>
          <ac:spMkLst>
            <pc:docMk/>
            <pc:sldMk cId="1174410406" sldId="2147480308"/>
            <ac:spMk id="30" creationId="{A8A15718-341E-1618-BBFE-8DE79C4D1726}"/>
          </ac:spMkLst>
        </pc:spChg>
        <pc:spChg chg="mod topLvl">
          <ac:chgData name="Julia PONT" userId="6ea7fb32-49be-46d9-9d69-f51ddf012212" providerId="ADAL" clId="{2A9E832C-25F6-4F2E-84DD-F34ECE0E3917}" dt="2024-02-02T08:37:37" v="17936" actId="207"/>
          <ac:spMkLst>
            <pc:docMk/>
            <pc:sldMk cId="1174410406" sldId="2147480308"/>
            <ac:spMk id="32" creationId="{B3495833-9CC2-ED21-6E68-56E657DD98F8}"/>
          </ac:spMkLst>
        </pc:spChg>
        <pc:spChg chg="mod topLvl">
          <ac:chgData name="Julia PONT" userId="6ea7fb32-49be-46d9-9d69-f51ddf012212" providerId="ADAL" clId="{2A9E832C-25F6-4F2E-84DD-F34ECE0E3917}" dt="2024-02-02T08:37:43.261" v="17937" actId="207"/>
          <ac:spMkLst>
            <pc:docMk/>
            <pc:sldMk cId="1174410406" sldId="2147480308"/>
            <ac:spMk id="33" creationId="{7A064286-2ACC-8408-C2B8-83BB75643094}"/>
          </ac:spMkLst>
        </pc:spChg>
        <pc:spChg chg="mod">
          <ac:chgData name="Julia PONT" userId="6ea7fb32-49be-46d9-9d69-f51ddf012212" providerId="ADAL" clId="{2A9E832C-25F6-4F2E-84DD-F34ECE0E3917}" dt="2024-01-31T13:45:59.199" v="7991" actId="12"/>
          <ac:spMkLst>
            <pc:docMk/>
            <pc:sldMk cId="1174410406" sldId="2147480308"/>
            <ac:spMk id="34" creationId="{9650F1C7-7C98-3C61-8C3C-2BBA81E3429C}"/>
          </ac:spMkLst>
        </pc:spChg>
        <pc:spChg chg="mod topLvl">
          <ac:chgData name="Julia PONT" userId="6ea7fb32-49be-46d9-9d69-f51ddf012212" providerId="ADAL" clId="{2A9E832C-25F6-4F2E-84DD-F34ECE0E3917}" dt="2024-01-26T16:45:47.888" v="662" actId="164"/>
          <ac:spMkLst>
            <pc:docMk/>
            <pc:sldMk cId="1174410406" sldId="2147480308"/>
            <ac:spMk id="38" creationId="{B39395E4-28F0-BDD2-0069-AD0984A16A96}"/>
          </ac:spMkLst>
        </pc:spChg>
        <pc:grpChg chg="del">
          <ac:chgData name="Julia PONT" userId="6ea7fb32-49be-46d9-9d69-f51ddf012212" providerId="ADAL" clId="{2A9E832C-25F6-4F2E-84DD-F34ECE0E3917}" dt="2024-01-26T16:44:31.029" v="650" actId="165"/>
          <ac:grpSpMkLst>
            <pc:docMk/>
            <pc:sldMk cId="1174410406" sldId="2147480308"/>
            <ac:grpSpMk id="2" creationId="{EA28810B-0F1A-33FC-557D-04A040D2357B}"/>
          </ac:grpSpMkLst>
        </pc:grpChg>
        <pc:grpChg chg="del">
          <ac:chgData name="Julia PONT" userId="6ea7fb32-49be-46d9-9d69-f51ddf012212" providerId="ADAL" clId="{2A9E832C-25F6-4F2E-84DD-F34ECE0E3917}" dt="2024-01-26T16:44:31.029" v="650" actId="165"/>
          <ac:grpSpMkLst>
            <pc:docMk/>
            <pc:sldMk cId="1174410406" sldId="2147480308"/>
            <ac:grpSpMk id="10" creationId="{15AADAC6-D9A2-7ECC-DBED-296040E229F2}"/>
          </ac:grpSpMkLst>
        </pc:grpChg>
        <pc:grpChg chg="del">
          <ac:chgData name="Julia PONT" userId="6ea7fb32-49be-46d9-9d69-f51ddf012212" providerId="ADAL" clId="{2A9E832C-25F6-4F2E-84DD-F34ECE0E3917}" dt="2024-01-26T16:44:31.029" v="650" actId="165"/>
          <ac:grpSpMkLst>
            <pc:docMk/>
            <pc:sldMk cId="1174410406" sldId="2147480308"/>
            <ac:grpSpMk id="11" creationId="{9C7CABAD-85B9-725B-FC7C-03E6727DD17A}"/>
          </ac:grpSpMkLst>
        </pc:grpChg>
        <pc:grpChg chg="add mod">
          <ac:chgData name="Julia PONT" userId="6ea7fb32-49be-46d9-9d69-f51ddf012212" providerId="ADAL" clId="{2A9E832C-25F6-4F2E-84DD-F34ECE0E3917}" dt="2024-01-26T16:45:33.377" v="660" actId="164"/>
          <ac:grpSpMkLst>
            <pc:docMk/>
            <pc:sldMk cId="1174410406" sldId="2147480308"/>
            <ac:grpSpMk id="12" creationId="{13EEDC31-401C-1294-52D7-6A99D1887501}"/>
          </ac:grpSpMkLst>
        </pc:grpChg>
        <pc:grpChg chg="add mod">
          <ac:chgData name="Julia PONT" userId="6ea7fb32-49be-46d9-9d69-f51ddf012212" providerId="ADAL" clId="{2A9E832C-25F6-4F2E-84DD-F34ECE0E3917}" dt="2024-01-26T16:45:42.967" v="661" actId="164"/>
          <ac:grpSpMkLst>
            <pc:docMk/>
            <pc:sldMk cId="1174410406" sldId="2147480308"/>
            <ac:grpSpMk id="13" creationId="{682A4517-7D9B-394B-F7A0-DA6827440CB0}"/>
          </ac:grpSpMkLst>
        </pc:grpChg>
        <pc:grpChg chg="del">
          <ac:chgData name="Julia PONT" userId="6ea7fb32-49be-46d9-9d69-f51ddf012212" providerId="ADAL" clId="{2A9E832C-25F6-4F2E-84DD-F34ECE0E3917}" dt="2024-01-26T16:44:31.029" v="650" actId="165"/>
          <ac:grpSpMkLst>
            <pc:docMk/>
            <pc:sldMk cId="1174410406" sldId="2147480308"/>
            <ac:grpSpMk id="14" creationId="{E4069771-A32A-EC0F-B433-AD1F41F55C7A}"/>
          </ac:grpSpMkLst>
        </pc:grpChg>
        <pc:grpChg chg="add mod">
          <ac:chgData name="Julia PONT" userId="6ea7fb32-49be-46d9-9d69-f51ddf012212" providerId="ADAL" clId="{2A9E832C-25F6-4F2E-84DD-F34ECE0E3917}" dt="2024-01-26T16:45:47.888" v="662" actId="164"/>
          <ac:grpSpMkLst>
            <pc:docMk/>
            <pc:sldMk cId="1174410406" sldId="2147480308"/>
            <ac:grpSpMk id="15" creationId="{79A4B582-91E7-C401-C90B-99D21C1E8904}"/>
          </ac:grpSpMkLst>
        </pc:grpChg>
        <pc:grpChg chg="add mod">
          <ac:chgData name="Julia PONT" userId="6ea7fb32-49be-46d9-9d69-f51ddf012212" providerId="ADAL" clId="{2A9E832C-25F6-4F2E-84DD-F34ECE0E3917}" dt="2024-01-26T16:45:52.479" v="663" actId="164"/>
          <ac:grpSpMkLst>
            <pc:docMk/>
            <pc:sldMk cId="1174410406" sldId="2147480308"/>
            <ac:grpSpMk id="16" creationId="{E24A5035-662C-044B-71E3-3188C88FED1B}"/>
          </ac:grpSpMkLst>
        </pc:grpChg>
        <pc:graphicFrameChg chg="add del mod">
          <ac:chgData name="Julia PONT" userId="6ea7fb32-49be-46d9-9d69-f51ddf012212" providerId="ADAL" clId="{2A9E832C-25F6-4F2E-84DD-F34ECE0E3917}" dt="2024-01-26T17:08:56.126" v="1959" actId="21"/>
          <ac:graphicFrameMkLst>
            <pc:docMk/>
            <pc:sldMk cId="1174410406" sldId="2147480308"/>
            <ac:graphicFrameMk id="21" creationId="{C6996EF6-F0EB-67E5-AD2E-C7D940C23613}"/>
          </ac:graphicFrameMkLst>
        </pc:graphicFrameChg>
        <pc:graphicFrameChg chg="add del mod">
          <ac:chgData name="Julia PONT" userId="6ea7fb32-49be-46d9-9d69-f51ddf012212" providerId="ADAL" clId="{2A9E832C-25F6-4F2E-84DD-F34ECE0E3917}" dt="2024-01-26T17:10:38.598" v="2180" actId="478"/>
          <ac:graphicFrameMkLst>
            <pc:docMk/>
            <pc:sldMk cId="1174410406" sldId="2147480308"/>
            <ac:graphicFrameMk id="36" creationId="{C6996EF6-F0EB-67E5-AD2E-C7D940C23613}"/>
          </ac:graphicFrameMkLst>
        </pc:graphicFrameChg>
        <pc:picChg chg="mod topLvl">
          <ac:chgData name="Julia PONT" userId="6ea7fb32-49be-46d9-9d69-f51ddf012212" providerId="ADAL" clId="{2A9E832C-25F6-4F2E-84DD-F34ECE0E3917}" dt="2024-01-26T16:45:42.967" v="661" actId="164"/>
          <ac:picMkLst>
            <pc:docMk/>
            <pc:sldMk cId="1174410406" sldId="2147480308"/>
            <ac:picMk id="6" creationId="{BA2E81AC-9F07-04EA-5F37-1F7FA2A01E67}"/>
          </ac:picMkLst>
        </pc:picChg>
        <pc:picChg chg="mod topLvl">
          <ac:chgData name="Julia PONT" userId="6ea7fb32-49be-46d9-9d69-f51ddf012212" providerId="ADAL" clId="{2A9E832C-25F6-4F2E-84DD-F34ECE0E3917}" dt="2024-01-26T16:45:47.888" v="662" actId="164"/>
          <ac:picMkLst>
            <pc:docMk/>
            <pc:sldMk cId="1174410406" sldId="2147480308"/>
            <ac:picMk id="26" creationId="{D5AD588F-5B77-D8D8-9D30-96C8BB2D1731}"/>
          </ac:picMkLst>
        </pc:picChg>
        <pc:picChg chg="mod topLvl">
          <ac:chgData name="Julia PONT" userId="6ea7fb32-49be-46d9-9d69-f51ddf012212" providerId="ADAL" clId="{2A9E832C-25F6-4F2E-84DD-F34ECE0E3917}" dt="2024-01-26T16:45:52.479" v="663" actId="164"/>
          <ac:picMkLst>
            <pc:docMk/>
            <pc:sldMk cId="1174410406" sldId="2147480308"/>
            <ac:picMk id="29" creationId="{A8095A6A-1248-5614-C52C-7A5FEF182EFA}"/>
          </ac:picMkLst>
        </pc:picChg>
        <pc:picChg chg="mod topLvl">
          <ac:chgData name="Julia PONT" userId="6ea7fb32-49be-46d9-9d69-f51ddf012212" providerId="ADAL" clId="{2A9E832C-25F6-4F2E-84DD-F34ECE0E3917}" dt="2024-01-26T16:45:33.377" v="660" actId="164"/>
          <ac:picMkLst>
            <pc:docMk/>
            <pc:sldMk cId="1174410406" sldId="2147480308"/>
            <ac:picMk id="39" creationId="{EDA1B137-74C6-F626-009B-D825BB4A19EF}"/>
          </ac:picMkLst>
        </pc:picChg>
      </pc:sldChg>
      <pc:sldChg chg="addSp delSp modSp mod ord">
        <pc:chgData name="Julia PONT" userId="6ea7fb32-49be-46d9-9d69-f51ddf012212" providerId="ADAL" clId="{2A9E832C-25F6-4F2E-84DD-F34ECE0E3917}" dt="2024-02-02T08:31:41.417" v="17901"/>
        <pc:sldMkLst>
          <pc:docMk/>
          <pc:sldMk cId="4075207573" sldId="2147480309"/>
        </pc:sldMkLst>
        <pc:spChg chg="mod">
          <ac:chgData name="Julia PONT" userId="6ea7fb32-49be-46d9-9d69-f51ddf012212" providerId="ADAL" clId="{2A9E832C-25F6-4F2E-84DD-F34ECE0E3917}" dt="2024-02-01T17:21:26.324" v="17590" actId="255"/>
          <ac:spMkLst>
            <pc:docMk/>
            <pc:sldMk cId="4075207573" sldId="2147480309"/>
            <ac:spMk id="2" creationId="{9D2C2667-C273-4C08-8F92-6889403313BE}"/>
          </ac:spMkLst>
        </pc:spChg>
        <pc:spChg chg="add del mod">
          <ac:chgData name="Julia PONT" userId="6ea7fb32-49be-46d9-9d69-f51ddf012212" providerId="ADAL" clId="{2A9E832C-25F6-4F2E-84DD-F34ECE0E3917}" dt="2024-02-02T08:31:33.793" v="17900" actId="478"/>
          <ac:spMkLst>
            <pc:docMk/>
            <pc:sldMk cId="4075207573" sldId="2147480309"/>
            <ac:spMk id="3" creationId="{C0332F43-C885-A3A9-6D6C-01F6B3BB0BDB}"/>
          </ac:spMkLst>
        </pc:spChg>
        <pc:spChg chg="add del mod">
          <ac:chgData name="Julia PONT" userId="6ea7fb32-49be-46d9-9d69-f51ddf012212" providerId="ADAL" clId="{2A9E832C-25F6-4F2E-84DD-F34ECE0E3917}" dt="2024-02-01T17:20:33.302" v="17581" actId="478"/>
          <ac:spMkLst>
            <pc:docMk/>
            <pc:sldMk cId="4075207573" sldId="2147480309"/>
            <ac:spMk id="5" creationId="{8201A6D1-C7E1-9616-9EC5-67A167FE24F6}"/>
          </ac:spMkLst>
        </pc:spChg>
        <pc:spChg chg="mod">
          <ac:chgData name="Julia PONT" userId="6ea7fb32-49be-46d9-9d69-f51ddf012212" providerId="ADAL" clId="{2A9E832C-25F6-4F2E-84DD-F34ECE0E3917}" dt="2024-02-02T08:31:41.417" v="17901"/>
          <ac:spMkLst>
            <pc:docMk/>
            <pc:sldMk cId="4075207573" sldId="2147480309"/>
            <ac:spMk id="30" creationId="{A8A15718-341E-1618-BBFE-8DE79C4D1726}"/>
          </ac:spMkLst>
        </pc:spChg>
        <pc:spChg chg="mod">
          <ac:chgData name="Julia PONT" userId="6ea7fb32-49be-46d9-9d69-f51ddf012212" providerId="ADAL" clId="{2A9E832C-25F6-4F2E-84DD-F34ECE0E3917}" dt="2024-02-01T17:20:29.948" v="17580" actId="208"/>
          <ac:spMkLst>
            <pc:docMk/>
            <pc:sldMk cId="4075207573" sldId="2147480309"/>
            <ac:spMk id="43" creationId="{CE92218A-460D-A7DF-BAFF-6F33EDDEA9EA}"/>
          </ac:spMkLst>
        </pc:spChg>
      </pc:sldChg>
      <pc:sldChg chg="addSp delSp modSp mod">
        <pc:chgData name="Julia PONT" userId="6ea7fb32-49be-46d9-9d69-f51ddf012212" providerId="ADAL" clId="{2A9E832C-25F6-4F2E-84DD-F34ECE0E3917}" dt="2024-02-02T15:06:23.617" v="20005" actId="478"/>
        <pc:sldMkLst>
          <pc:docMk/>
          <pc:sldMk cId="2065068344" sldId="2147480310"/>
        </pc:sldMkLst>
        <pc:spChg chg="mod">
          <ac:chgData name="Julia PONT" userId="6ea7fb32-49be-46d9-9d69-f51ddf012212" providerId="ADAL" clId="{2A9E832C-25F6-4F2E-84DD-F34ECE0E3917}" dt="2024-02-02T09:18:36.559" v="18397" actId="14100"/>
          <ac:spMkLst>
            <pc:docMk/>
            <pc:sldMk cId="2065068344" sldId="2147480310"/>
            <ac:spMk id="5" creationId="{BB2F53DE-CA86-D804-EE23-B3CF4B0C5E76}"/>
          </ac:spMkLst>
        </pc:spChg>
        <pc:spChg chg="add del mod">
          <ac:chgData name="Julia PONT" userId="6ea7fb32-49be-46d9-9d69-f51ddf012212" providerId="ADAL" clId="{2A9E832C-25F6-4F2E-84DD-F34ECE0E3917}" dt="2024-02-02T09:20:16.544" v="18552" actId="1076"/>
          <ac:spMkLst>
            <pc:docMk/>
            <pc:sldMk cId="2065068344" sldId="2147480310"/>
            <ac:spMk id="11" creationId="{0D3969C1-1754-9C82-D6F6-EA2081A7C97C}"/>
          </ac:spMkLst>
        </pc:spChg>
        <pc:spChg chg="mod">
          <ac:chgData name="Julia PONT" userId="6ea7fb32-49be-46d9-9d69-f51ddf012212" providerId="ADAL" clId="{2A9E832C-25F6-4F2E-84DD-F34ECE0E3917}" dt="2024-02-02T10:28:17.355" v="19109" actId="13926"/>
          <ac:spMkLst>
            <pc:docMk/>
            <pc:sldMk cId="2065068344" sldId="2147480310"/>
            <ac:spMk id="12" creationId="{A69472D7-2493-2CA6-688C-D454739D34D4}"/>
          </ac:spMkLst>
        </pc:spChg>
        <pc:spChg chg="mod">
          <ac:chgData name="Julia PONT" userId="6ea7fb32-49be-46d9-9d69-f51ddf012212" providerId="ADAL" clId="{2A9E832C-25F6-4F2E-84DD-F34ECE0E3917}" dt="2024-02-01T17:21:09.224" v="17587" actId="208"/>
          <ac:spMkLst>
            <pc:docMk/>
            <pc:sldMk cId="2065068344" sldId="2147480310"/>
            <ac:spMk id="13" creationId="{60144A62-D7A0-7B1B-0A70-C0D515E9FA51}"/>
          </ac:spMkLst>
        </pc:spChg>
        <pc:spChg chg="add del mod">
          <ac:chgData name="Julia PONT" userId="6ea7fb32-49be-46d9-9d69-f51ddf012212" providerId="ADAL" clId="{2A9E832C-25F6-4F2E-84DD-F34ECE0E3917}" dt="2024-02-02T09:19:41.284" v="18461" actId="14100"/>
          <ac:spMkLst>
            <pc:docMk/>
            <pc:sldMk cId="2065068344" sldId="2147480310"/>
            <ac:spMk id="15" creationId="{0FBC5C26-9AFF-3C81-E825-1A9E300C8CE3}"/>
          </ac:spMkLst>
        </pc:spChg>
        <pc:spChg chg="mod">
          <ac:chgData name="Julia PONT" userId="6ea7fb32-49be-46d9-9d69-f51ddf012212" providerId="ADAL" clId="{2A9E832C-25F6-4F2E-84DD-F34ECE0E3917}" dt="2024-02-02T08:35:20.498" v="17920"/>
          <ac:spMkLst>
            <pc:docMk/>
            <pc:sldMk cId="2065068344" sldId="2147480310"/>
            <ac:spMk id="30" creationId="{A8A15718-341E-1618-BBFE-8DE79C4D1726}"/>
          </ac:spMkLst>
        </pc:spChg>
        <pc:spChg chg="del mod">
          <ac:chgData name="Julia PONT" userId="6ea7fb32-49be-46d9-9d69-f51ddf012212" providerId="ADAL" clId="{2A9E832C-25F6-4F2E-84DD-F34ECE0E3917}" dt="2024-02-02T15:06:23.617" v="20005" actId="478"/>
          <ac:spMkLst>
            <pc:docMk/>
            <pc:sldMk cId="2065068344" sldId="2147480310"/>
            <ac:spMk id="39" creationId="{D9DE7A75-20EC-4FAC-8EB5-97A55E3BCACF}"/>
          </ac:spMkLst>
        </pc:spChg>
        <pc:spChg chg="add del mod">
          <ac:chgData name="Julia PONT" userId="6ea7fb32-49be-46d9-9d69-f51ddf012212" providerId="ADAL" clId="{2A9E832C-25F6-4F2E-84DD-F34ECE0E3917}" dt="2024-02-02T08:43:26.982" v="17956" actId="478"/>
          <ac:spMkLst>
            <pc:docMk/>
            <pc:sldMk cId="2065068344" sldId="2147480310"/>
            <ac:spMk id="41" creationId="{33766918-1960-28B4-39FE-145F631548B0}"/>
          </ac:spMkLst>
        </pc:spChg>
        <pc:spChg chg="add del mod">
          <ac:chgData name="Julia PONT" userId="6ea7fb32-49be-46d9-9d69-f51ddf012212" providerId="ADAL" clId="{2A9E832C-25F6-4F2E-84DD-F34ECE0E3917}" dt="2024-02-01T17:21:11.484" v="17588" actId="478"/>
          <ac:spMkLst>
            <pc:docMk/>
            <pc:sldMk cId="2065068344" sldId="2147480310"/>
            <ac:spMk id="42" creationId="{2BA3CF13-976E-2F96-E9C7-78BA20E6FD07}"/>
          </ac:spMkLst>
        </pc:spChg>
        <pc:spChg chg="ord">
          <ac:chgData name="Julia PONT" userId="6ea7fb32-49be-46d9-9d69-f51ddf012212" providerId="ADAL" clId="{2A9E832C-25F6-4F2E-84DD-F34ECE0E3917}" dt="2024-02-02T15:06:06.749" v="20004" actId="167"/>
          <ac:spMkLst>
            <pc:docMk/>
            <pc:sldMk cId="2065068344" sldId="2147480310"/>
            <ac:spMk id="50" creationId="{DBD249CB-1B79-62D3-6E21-2EBC4695B0F7}"/>
          </ac:spMkLst>
        </pc:spChg>
        <pc:picChg chg="add del">
          <ac:chgData name="Julia PONT" userId="6ea7fb32-49be-46d9-9d69-f51ddf012212" providerId="ADAL" clId="{2A9E832C-25F6-4F2E-84DD-F34ECE0E3917}" dt="2024-02-02T09:15:44.908" v="18325" actId="478"/>
          <ac:picMkLst>
            <pc:docMk/>
            <pc:sldMk cId="2065068344" sldId="2147480310"/>
            <ac:picMk id="9" creationId="{A9DBFD4D-AEF1-DFBE-46AF-976036DF3530}"/>
          </ac:picMkLst>
        </pc:picChg>
        <pc:picChg chg="add del">
          <ac:chgData name="Julia PONT" userId="6ea7fb32-49be-46d9-9d69-f51ddf012212" providerId="ADAL" clId="{2A9E832C-25F6-4F2E-84DD-F34ECE0E3917}" dt="2024-02-02T09:15:44.908" v="18325" actId="478"/>
          <ac:picMkLst>
            <pc:docMk/>
            <pc:sldMk cId="2065068344" sldId="2147480310"/>
            <ac:picMk id="10" creationId="{3DC76746-1427-8BE2-ED64-CECAFF8416D5}"/>
          </ac:picMkLst>
        </pc:picChg>
        <pc:picChg chg="add del">
          <ac:chgData name="Julia PONT" userId="6ea7fb32-49be-46d9-9d69-f51ddf012212" providerId="ADAL" clId="{2A9E832C-25F6-4F2E-84DD-F34ECE0E3917}" dt="2024-02-02T09:15:44.908" v="18325" actId="478"/>
          <ac:picMkLst>
            <pc:docMk/>
            <pc:sldMk cId="2065068344" sldId="2147480310"/>
            <ac:picMk id="14" creationId="{1D02A0F8-B64F-2B2E-2B75-C80BD17D4583}"/>
          </ac:picMkLst>
        </pc:picChg>
        <pc:picChg chg="mod">
          <ac:chgData name="Julia PONT" userId="6ea7fb32-49be-46d9-9d69-f51ddf012212" providerId="ADAL" clId="{2A9E832C-25F6-4F2E-84DD-F34ECE0E3917}" dt="2024-02-02T08:44:45.309" v="18046" actId="1037"/>
          <ac:picMkLst>
            <pc:docMk/>
            <pc:sldMk cId="2065068344" sldId="2147480310"/>
            <ac:picMk id="23" creationId="{51C0B081-8581-C4FE-8ACB-E45DA04D8D94}"/>
          </ac:picMkLst>
        </pc:picChg>
        <pc:picChg chg="mod">
          <ac:chgData name="Julia PONT" userId="6ea7fb32-49be-46d9-9d69-f51ddf012212" providerId="ADAL" clId="{2A9E832C-25F6-4F2E-84DD-F34ECE0E3917}" dt="2024-02-02T08:44:45.309" v="18046" actId="1037"/>
          <ac:picMkLst>
            <pc:docMk/>
            <pc:sldMk cId="2065068344" sldId="2147480310"/>
            <ac:picMk id="24" creationId="{F938BF94-39E1-583D-F8DA-8B25D51FDA46}"/>
          </ac:picMkLst>
        </pc:picChg>
        <pc:picChg chg="mod">
          <ac:chgData name="Julia PONT" userId="6ea7fb32-49be-46d9-9d69-f51ddf012212" providerId="ADAL" clId="{2A9E832C-25F6-4F2E-84DD-F34ECE0E3917}" dt="2024-02-02T08:44:45.309" v="18046" actId="1037"/>
          <ac:picMkLst>
            <pc:docMk/>
            <pc:sldMk cId="2065068344" sldId="2147480310"/>
            <ac:picMk id="36" creationId="{BA44B6BC-A839-75B2-24CF-F615FB136347}"/>
          </ac:picMkLst>
        </pc:picChg>
        <pc:picChg chg="add mod">
          <ac:chgData name="Julia PONT" userId="6ea7fb32-49be-46d9-9d69-f51ddf012212" providerId="ADAL" clId="{2A9E832C-25F6-4F2E-84DD-F34ECE0E3917}" dt="2024-02-02T09:20:09.990" v="18550" actId="1036"/>
          <ac:picMkLst>
            <pc:docMk/>
            <pc:sldMk cId="2065068344" sldId="2147480310"/>
            <ac:picMk id="42" creationId="{D2A976B5-D609-5470-25B0-D215B30297AB}"/>
          </ac:picMkLst>
        </pc:picChg>
        <pc:picChg chg="add mod">
          <ac:chgData name="Julia PONT" userId="6ea7fb32-49be-46d9-9d69-f51ddf012212" providerId="ADAL" clId="{2A9E832C-25F6-4F2E-84DD-F34ECE0E3917}" dt="2024-02-02T09:19:46.884" v="18475" actId="1038"/>
          <ac:picMkLst>
            <pc:docMk/>
            <pc:sldMk cId="2065068344" sldId="2147480310"/>
            <ac:picMk id="43" creationId="{8C880A42-B27B-14EE-0879-52A852DEB4C5}"/>
          </ac:picMkLst>
        </pc:picChg>
        <pc:picChg chg="add del mod">
          <ac:chgData name="Julia PONT" userId="6ea7fb32-49be-46d9-9d69-f51ddf012212" providerId="ADAL" clId="{2A9E832C-25F6-4F2E-84DD-F34ECE0E3917}" dt="2024-02-02T09:17:57.673" v="18375" actId="478"/>
          <ac:picMkLst>
            <pc:docMk/>
            <pc:sldMk cId="2065068344" sldId="2147480310"/>
            <ac:picMk id="44" creationId="{A3206883-9D1B-21B6-01D6-4D55B610E64C}"/>
          </ac:picMkLst>
        </pc:picChg>
        <pc:picChg chg="add mod">
          <ac:chgData name="Julia PONT" userId="6ea7fb32-49be-46d9-9d69-f51ddf012212" providerId="ADAL" clId="{2A9E832C-25F6-4F2E-84DD-F34ECE0E3917}" dt="2024-02-02T09:20:09.990" v="18550" actId="1036"/>
          <ac:picMkLst>
            <pc:docMk/>
            <pc:sldMk cId="2065068344" sldId="2147480310"/>
            <ac:picMk id="45" creationId="{CAC03E2B-B886-6CE0-5911-A97C66A5E11E}"/>
          </ac:picMkLst>
        </pc:picChg>
        <pc:picChg chg="add mod">
          <ac:chgData name="Julia PONT" userId="6ea7fb32-49be-46d9-9d69-f51ddf012212" providerId="ADAL" clId="{2A9E832C-25F6-4F2E-84DD-F34ECE0E3917}" dt="2024-02-02T09:20:24.978" v="18554" actId="14100"/>
          <ac:picMkLst>
            <pc:docMk/>
            <pc:sldMk cId="2065068344" sldId="2147480310"/>
            <ac:picMk id="46" creationId="{2E06527B-E7E3-8EE2-636F-F2AEB5F926C3}"/>
          </ac:picMkLst>
        </pc:picChg>
        <pc:picChg chg="add mod">
          <ac:chgData name="Julia PONT" userId="6ea7fb32-49be-46d9-9d69-f51ddf012212" providerId="ADAL" clId="{2A9E832C-25F6-4F2E-84DD-F34ECE0E3917}" dt="2024-02-02T09:20:09.990" v="18550" actId="1036"/>
          <ac:picMkLst>
            <pc:docMk/>
            <pc:sldMk cId="2065068344" sldId="2147480310"/>
            <ac:picMk id="47" creationId="{3B4DC75F-5E54-4E08-3897-85B13B0C196A}"/>
          </ac:picMkLst>
        </pc:picChg>
      </pc:sldChg>
      <pc:sldChg chg="addSp delSp modSp mod">
        <pc:chgData name="Julia PONT" userId="6ea7fb32-49be-46d9-9d69-f51ddf012212" providerId="ADAL" clId="{2A9E832C-25F6-4F2E-84DD-F34ECE0E3917}" dt="2024-01-31T17:25:00.220" v="10887" actId="6549"/>
        <pc:sldMkLst>
          <pc:docMk/>
          <pc:sldMk cId="2540365924" sldId="2147480316"/>
        </pc:sldMkLst>
        <pc:spChg chg="mod">
          <ac:chgData name="Julia PONT" userId="6ea7fb32-49be-46d9-9d69-f51ddf012212" providerId="ADAL" clId="{2A9E832C-25F6-4F2E-84DD-F34ECE0E3917}" dt="2024-01-31T15:47:10.033" v="9254" actId="1076"/>
          <ac:spMkLst>
            <pc:docMk/>
            <pc:sldMk cId="2540365924" sldId="2147480316"/>
            <ac:spMk id="3" creationId="{1B0CF0A1-8A11-8462-D143-C7C523CD7DE4}"/>
          </ac:spMkLst>
        </pc:spChg>
        <pc:spChg chg="add del mod">
          <ac:chgData name="Julia PONT" userId="6ea7fb32-49be-46d9-9d69-f51ddf012212" providerId="ADAL" clId="{2A9E832C-25F6-4F2E-84DD-F34ECE0E3917}" dt="2024-01-31T15:59:23.066" v="9274"/>
          <ac:spMkLst>
            <pc:docMk/>
            <pc:sldMk cId="2540365924" sldId="2147480316"/>
            <ac:spMk id="5" creationId="{4EDA172F-A469-7278-20C3-743C155B5458}"/>
          </ac:spMkLst>
        </pc:spChg>
        <pc:spChg chg="add del mod">
          <ac:chgData name="Julia PONT" userId="6ea7fb32-49be-46d9-9d69-f51ddf012212" providerId="ADAL" clId="{2A9E832C-25F6-4F2E-84DD-F34ECE0E3917}" dt="2024-01-31T16:25:28.099" v="9808" actId="478"/>
          <ac:spMkLst>
            <pc:docMk/>
            <pc:sldMk cId="2540365924" sldId="2147480316"/>
            <ac:spMk id="6" creationId="{77CA6586-E364-6686-F5FE-BF02775DA4D6}"/>
          </ac:spMkLst>
        </pc:spChg>
        <pc:spChg chg="mod">
          <ac:chgData name="Julia PONT" userId="6ea7fb32-49be-46d9-9d69-f51ddf012212" providerId="ADAL" clId="{2A9E832C-25F6-4F2E-84DD-F34ECE0E3917}" dt="2024-01-31T16:17:09.689" v="9728" actId="12788"/>
          <ac:spMkLst>
            <pc:docMk/>
            <pc:sldMk cId="2540365924" sldId="2147480316"/>
            <ac:spMk id="9" creationId="{2D6E74EB-6995-4B5E-B9DF-7BA70719DFC9}"/>
          </ac:spMkLst>
        </pc:spChg>
        <pc:spChg chg="mod">
          <ac:chgData name="Julia PONT" userId="6ea7fb32-49be-46d9-9d69-f51ddf012212" providerId="ADAL" clId="{2A9E832C-25F6-4F2E-84DD-F34ECE0E3917}" dt="2024-01-31T16:23:46.669" v="9789" actId="12789"/>
          <ac:spMkLst>
            <pc:docMk/>
            <pc:sldMk cId="2540365924" sldId="2147480316"/>
            <ac:spMk id="12" creationId="{4DF0AD62-E2F6-49EF-8132-C76354BDCB1E}"/>
          </ac:spMkLst>
        </pc:spChg>
        <pc:spChg chg="mod">
          <ac:chgData name="Julia PONT" userId="6ea7fb32-49be-46d9-9d69-f51ddf012212" providerId="ADAL" clId="{2A9E832C-25F6-4F2E-84DD-F34ECE0E3917}" dt="2024-01-31T17:23:47.288" v="10874" actId="20577"/>
          <ac:spMkLst>
            <pc:docMk/>
            <pc:sldMk cId="2540365924" sldId="2147480316"/>
            <ac:spMk id="14" creationId="{3EAEB484-7CEC-42D1-B935-3692E94373B7}"/>
          </ac:spMkLst>
        </pc:spChg>
        <pc:spChg chg="mod">
          <ac:chgData name="Julia PONT" userId="6ea7fb32-49be-46d9-9d69-f51ddf012212" providerId="ADAL" clId="{2A9E832C-25F6-4F2E-84DD-F34ECE0E3917}" dt="2024-01-31T16:17:12.553" v="9729" actId="12788"/>
          <ac:spMkLst>
            <pc:docMk/>
            <pc:sldMk cId="2540365924" sldId="2147480316"/>
            <ac:spMk id="18" creationId="{C20756BF-0A8C-4947-A796-DD565B7C7B26}"/>
          </ac:spMkLst>
        </pc:spChg>
        <pc:spChg chg="mod">
          <ac:chgData name="Julia PONT" userId="6ea7fb32-49be-46d9-9d69-f51ddf012212" providerId="ADAL" clId="{2A9E832C-25F6-4F2E-84DD-F34ECE0E3917}" dt="2024-01-31T16:23:46.669" v="9789" actId="12789"/>
          <ac:spMkLst>
            <pc:docMk/>
            <pc:sldMk cId="2540365924" sldId="2147480316"/>
            <ac:spMk id="20" creationId="{C02A6146-81D8-4A9B-9EB8-2D36F0FD30C0}"/>
          </ac:spMkLst>
        </pc:spChg>
        <pc:spChg chg="mod">
          <ac:chgData name="Julia PONT" userId="6ea7fb32-49be-46d9-9d69-f51ddf012212" providerId="ADAL" clId="{2A9E832C-25F6-4F2E-84DD-F34ECE0E3917}" dt="2024-01-31T17:25:00.220" v="10887" actId="6549"/>
          <ac:spMkLst>
            <pc:docMk/>
            <pc:sldMk cId="2540365924" sldId="2147480316"/>
            <ac:spMk id="21" creationId="{AC45AED6-0FB5-4638-A56D-DBD151792A42}"/>
          </ac:spMkLst>
        </pc:spChg>
        <pc:spChg chg="mod">
          <ac:chgData name="Julia PONT" userId="6ea7fb32-49be-46d9-9d69-f51ddf012212" providerId="ADAL" clId="{2A9E832C-25F6-4F2E-84DD-F34ECE0E3917}" dt="2024-01-31T15:47:21.459" v="9265" actId="1037"/>
          <ac:spMkLst>
            <pc:docMk/>
            <pc:sldMk cId="2540365924" sldId="2147480316"/>
            <ac:spMk id="22" creationId="{C5D2B797-AC8D-40AC-9116-C1E2DF2AD98E}"/>
          </ac:spMkLst>
        </pc:spChg>
      </pc:sldChg>
      <pc:sldChg chg="addSp delSp modSp mod">
        <pc:chgData name="Julia PONT" userId="6ea7fb32-49be-46d9-9d69-f51ddf012212" providerId="ADAL" clId="{2A9E832C-25F6-4F2E-84DD-F34ECE0E3917}" dt="2024-02-01T17:44:10.448" v="17812"/>
        <pc:sldMkLst>
          <pc:docMk/>
          <pc:sldMk cId="2099106951" sldId="2147480317"/>
        </pc:sldMkLst>
        <pc:spChg chg="mod">
          <ac:chgData name="Julia PONT" userId="6ea7fb32-49be-46d9-9d69-f51ddf012212" providerId="ADAL" clId="{2A9E832C-25F6-4F2E-84DD-F34ECE0E3917}" dt="2024-02-01T17:44:10.448" v="17812"/>
          <ac:spMkLst>
            <pc:docMk/>
            <pc:sldMk cId="2099106951" sldId="2147480317"/>
            <ac:spMk id="2" creationId="{79BEB425-9E0E-5DC0-A086-FCE256816139}"/>
          </ac:spMkLst>
        </pc:spChg>
        <pc:spChg chg="mod">
          <ac:chgData name="Julia PONT" userId="6ea7fb32-49be-46d9-9d69-f51ddf012212" providerId="ADAL" clId="{2A9E832C-25F6-4F2E-84DD-F34ECE0E3917}" dt="2024-02-01T17:40:54.104" v="17787" actId="255"/>
          <ac:spMkLst>
            <pc:docMk/>
            <pc:sldMk cId="2099106951" sldId="2147480317"/>
            <ac:spMk id="3" creationId="{D4E38D81-BD1B-CA7C-5594-3ABC758921A4}"/>
          </ac:spMkLst>
        </pc:spChg>
        <pc:spChg chg="add mod">
          <ac:chgData name="Julia PONT" userId="6ea7fb32-49be-46d9-9d69-f51ddf012212" providerId="ADAL" clId="{2A9E832C-25F6-4F2E-84DD-F34ECE0E3917}" dt="2024-01-29T18:00:05.495" v="3573" actId="14100"/>
          <ac:spMkLst>
            <pc:docMk/>
            <pc:sldMk cId="2099106951" sldId="2147480317"/>
            <ac:spMk id="4" creationId="{569ED17C-810C-C96E-EA43-ED3810D06FF6}"/>
          </ac:spMkLst>
        </pc:spChg>
        <pc:spChg chg="add mod">
          <ac:chgData name="Julia PONT" userId="6ea7fb32-49be-46d9-9d69-f51ddf012212" providerId="ADAL" clId="{2A9E832C-25F6-4F2E-84DD-F34ECE0E3917}" dt="2024-02-01T17:39:15.708" v="17722" actId="14100"/>
          <ac:spMkLst>
            <pc:docMk/>
            <pc:sldMk cId="2099106951" sldId="2147480317"/>
            <ac:spMk id="4" creationId="{F04FD7BE-6AEE-6F7D-D07C-530C1A5C71C7}"/>
          </ac:spMkLst>
        </pc:spChg>
        <pc:spChg chg="add mod">
          <ac:chgData name="Julia PONT" userId="6ea7fb32-49be-46d9-9d69-f51ddf012212" providerId="ADAL" clId="{2A9E832C-25F6-4F2E-84DD-F34ECE0E3917}" dt="2024-01-29T18:06:09.517" v="3635" actId="2085"/>
          <ac:spMkLst>
            <pc:docMk/>
            <pc:sldMk cId="2099106951" sldId="2147480317"/>
            <ac:spMk id="5" creationId="{F8925BD4-9B7A-B133-A4B9-39D72B367F63}"/>
          </ac:spMkLst>
        </pc:spChg>
        <pc:spChg chg="mod">
          <ac:chgData name="Julia PONT" userId="6ea7fb32-49be-46d9-9d69-f51ddf012212" providerId="ADAL" clId="{2A9E832C-25F6-4F2E-84DD-F34ECE0E3917}" dt="2024-02-01T17:41:15.599" v="17791" actId="255"/>
          <ac:spMkLst>
            <pc:docMk/>
            <pc:sldMk cId="2099106951" sldId="2147480317"/>
            <ac:spMk id="41" creationId="{7CAAACC4-3B3D-9B2F-87DF-8B270EB1CA14}"/>
          </ac:spMkLst>
        </pc:spChg>
        <pc:spChg chg="mod">
          <ac:chgData name="Julia PONT" userId="6ea7fb32-49be-46d9-9d69-f51ddf012212" providerId="ADAL" clId="{2A9E832C-25F6-4F2E-84DD-F34ECE0E3917}" dt="2024-02-01T17:41:04.205" v="17789" actId="2711"/>
          <ac:spMkLst>
            <pc:docMk/>
            <pc:sldMk cId="2099106951" sldId="2147480317"/>
            <ac:spMk id="42" creationId="{F2EA099A-43EF-C3CA-1F70-C35EA14758FC}"/>
          </ac:spMkLst>
        </pc:spChg>
        <pc:spChg chg="mod">
          <ac:chgData name="Julia PONT" userId="6ea7fb32-49be-46d9-9d69-f51ddf012212" providerId="ADAL" clId="{2A9E832C-25F6-4F2E-84DD-F34ECE0E3917}" dt="2024-02-01T17:41:26.565" v="17793" actId="2711"/>
          <ac:spMkLst>
            <pc:docMk/>
            <pc:sldMk cId="2099106951" sldId="2147480317"/>
            <ac:spMk id="190" creationId="{7228D4CC-A5E2-CD94-0660-BB0FDA6CE920}"/>
          </ac:spMkLst>
        </pc:spChg>
        <pc:spChg chg="mod">
          <ac:chgData name="Julia PONT" userId="6ea7fb32-49be-46d9-9d69-f51ddf012212" providerId="ADAL" clId="{2A9E832C-25F6-4F2E-84DD-F34ECE0E3917}" dt="2024-02-01T17:42:30.047" v="17803" actId="2711"/>
          <ac:spMkLst>
            <pc:docMk/>
            <pc:sldMk cId="2099106951" sldId="2147480317"/>
            <ac:spMk id="201" creationId="{2C4ABB04-EA42-6EC1-0989-4DD327CA2799}"/>
          </ac:spMkLst>
        </pc:spChg>
        <pc:spChg chg="mod">
          <ac:chgData name="Julia PONT" userId="6ea7fb32-49be-46d9-9d69-f51ddf012212" providerId="ADAL" clId="{2A9E832C-25F6-4F2E-84DD-F34ECE0E3917}" dt="2024-02-01T17:43:33.140" v="17811" actId="14100"/>
          <ac:spMkLst>
            <pc:docMk/>
            <pc:sldMk cId="2099106951" sldId="2147480317"/>
            <ac:spMk id="202" creationId="{A8EB5BAF-E527-5ABC-1BD8-172C893635BB}"/>
          </ac:spMkLst>
        </pc:spChg>
        <pc:spChg chg="mod">
          <ac:chgData name="Julia PONT" userId="6ea7fb32-49be-46d9-9d69-f51ddf012212" providerId="ADAL" clId="{2A9E832C-25F6-4F2E-84DD-F34ECE0E3917}" dt="2024-02-01T17:42:59.670" v="17808" actId="179"/>
          <ac:spMkLst>
            <pc:docMk/>
            <pc:sldMk cId="2099106951" sldId="2147480317"/>
            <ac:spMk id="203" creationId="{D113490F-A536-D20A-DBAC-FEFF8816594C}"/>
          </ac:spMkLst>
        </pc:spChg>
        <pc:spChg chg="mod">
          <ac:chgData name="Julia PONT" userId="6ea7fb32-49be-46d9-9d69-f51ddf012212" providerId="ADAL" clId="{2A9E832C-25F6-4F2E-84DD-F34ECE0E3917}" dt="2024-02-01T17:42:30.047" v="17803" actId="2711"/>
          <ac:spMkLst>
            <pc:docMk/>
            <pc:sldMk cId="2099106951" sldId="2147480317"/>
            <ac:spMk id="204" creationId="{44D66E35-4B7E-6762-ED34-1C832269F88C}"/>
          </ac:spMkLst>
        </pc:spChg>
        <pc:picChg chg="add mod">
          <ac:chgData name="Julia PONT" userId="6ea7fb32-49be-46d9-9d69-f51ddf012212" providerId="ADAL" clId="{2A9E832C-25F6-4F2E-84DD-F34ECE0E3917}" dt="2024-02-01T17:39:43.462" v="17772" actId="1076"/>
          <ac:picMkLst>
            <pc:docMk/>
            <pc:sldMk cId="2099106951" sldId="2147480317"/>
            <ac:picMk id="6" creationId="{DB31FE15-AC81-BF4C-1EFA-629E5BA0847F}"/>
          </ac:picMkLst>
        </pc:picChg>
        <pc:picChg chg="del mod">
          <ac:chgData name="Julia PONT" userId="6ea7fb32-49be-46d9-9d69-f51ddf012212" providerId="ADAL" clId="{2A9E832C-25F6-4F2E-84DD-F34ECE0E3917}" dt="2024-02-01T17:39:32.371" v="17727" actId="478"/>
          <ac:picMkLst>
            <pc:docMk/>
            <pc:sldMk cId="2099106951" sldId="2147480317"/>
            <ac:picMk id="218" creationId="{BDE30285-BF5E-1991-D059-C683C814AE1E}"/>
          </ac:picMkLst>
        </pc:picChg>
        <pc:picChg chg="add del mod">
          <ac:chgData name="Julia PONT" userId="6ea7fb32-49be-46d9-9d69-f51ddf012212" providerId="ADAL" clId="{2A9E832C-25F6-4F2E-84DD-F34ECE0E3917}" dt="2024-02-01T17:39:30.805" v="17726" actId="478"/>
          <ac:picMkLst>
            <pc:docMk/>
            <pc:sldMk cId="2099106951" sldId="2147480317"/>
            <ac:picMk id="1026" creationId="{DF7F7002-29B1-81D7-4DF0-EB2DD3A9ABB7}"/>
          </ac:picMkLst>
        </pc:picChg>
      </pc:sldChg>
      <pc:sldChg chg="addSp delSp modSp mod">
        <pc:chgData name="Julia PONT" userId="6ea7fb32-49be-46d9-9d69-f51ddf012212" providerId="ADAL" clId="{2A9E832C-25F6-4F2E-84DD-F34ECE0E3917}" dt="2024-02-02T08:37:06.153" v="17931" actId="208"/>
        <pc:sldMkLst>
          <pc:docMk/>
          <pc:sldMk cId="4077997474" sldId="2147480324"/>
        </pc:sldMkLst>
        <pc:spChg chg="add del mod">
          <ac:chgData name="Julia PONT" userId="6ea7fb32-49be-46d9-9d69-f51ddf012212" providerId="ADAL" clId="{2A9E832C-25F6-4F2E-84DD-F34ECE0E3917}" dt="2024-02-02T08:36:56.634" v="17929" actId="478"/>
          <ac:spMkLst>
            <pc:docMk/>
            <pc:sldMk cId="4077997474" sldId="2147480324"/>
            <ac:spMk id="2" creationId="{C3DF56E0-E269-BF7C-8F18-237D72531417}"/>
          </ac:spMkLst>
        </pc:spChg>
        <pc:spChg chg="mod">
          <ac:chgData name="Julia PONT" userId="6ea7fb32-49be-46d9-9d69-f51ddf012212" providerId="ADAL" clId="{2A9E832C-25F6-4F2E-84DD-F34ECE0E3917}" dt="2024-02-02T08:37:01.542" v="17930" actId="207"/>
          <ac:spMkLst>
            <pc:docMk/>
            <pc:sldMk cId="4077997474" sldId="2147480324"/>
            <ac:spMk id="12" creationId="{A69472D7-2493-2CA6-688C-D454739D34D4}"/>
          </ac:spMkLst>
        </pc:spChg>
        <pc:spChg chg="mod">
          <ac:chgData name="Julia PONT" userId="6ea7fb32-49be-46d9-9d69-f51ddf012212" providerId="ADAL" clId="{2A9E832C-25F6-4F2E-84DD-F34ECE0E3917}" dt="2024-02-02T08:36:54.386" v="17928"/>
          <ac:spMkLst>
            <pc:docMk/>
            <pc:sldMk cId="4077997474" sldId="2147480324"/>
            <ac:spMk id="30" creationId="{A8A15718-341E-1618-BBFE-8DE79C4D1726}"/>
          </ac:spMkLst>
        </pc:spChg>
        <pc:spChg chg="mod">
          <ac:chgData name="Julia PONT" userId="6ea7fb32-49be-46d9-9d69-f51ddf012212" providerId="ADAL" clId="{2A9E832C-25F6-4F2E-84DD-F34ECE0E3917}" dt="2024-02-02T08:37:06.153" v="17931" actId="208"/>
          <ac:spMkLst>
            <pc:docMk/>
            <pc:sldMk cId="4077997474" sldId="2147480324"/>
            <ac:spMk id="41" creationId="{FCC8CA04-A669-EB00-CF2D-BF0B2CFAA0B2}"/>
          </ac:spMkLst>
        </pc:spChg>
      </pc:sldChg>
      <pc:sldChg chg="addSp delSp add del mod">
        <pc:chgData name="Julia PONT" userId="6ea7fb32-49be-46d9-9d69-f51ddf012212" providerId="ADAL" clId="{2A9E832C-25F6-4F2E-84DD-F34ECE0E3917}" dt="2024-01-30T11:03:39.608" v="4087"/>
        <pc:sldMkLst>
          <pc:docMk/>
          <pc:sldMk cId="2259710670" sldId="2147480326"/>
        </pc:sldMkLst>
        <pc:spChg chg="add del">
          <ac:chgData name="Julia PONT" userId="6ea7fb32-49be-46d9-9d69-f51ddf012212" providerId="ADAL" clId="{2A9E832C-25F6-4F2E-84DD-F34ECE0E3917}" dt="2024-01-30T11:03:38.736" v="4086" actId="478"/>
          <ac:spMkLst>
            <pc:docMk/>
            <pc:sldMk cId="2259710670" sldId="2147480326"/>
            <ac:spMk id="2" creationId="{CCD94FC5-18A4-EF42-7CA1-9F5B71F7B78A}"/>
          </ac:spMkLst>
        </pc:spChg>
        <pc:spChg chg="add del">
          <ac:chgData name="Julia PONT" userId="6ea7fb32-49be-46d9-9d69-f51ddf012212" providerId="ADAL" clId="{2A9E832C-25F6-4F2E-84DD-F34ECE0E3917}" dt="2024-01-30T11:03:38.736" v="4086" actId="478"/>
          <ac:spMkLst>
            <pc:docMk/>
            <pc:sldMk cId="2259710670" sldId="2147480326"/>
            <ac:spMk id="4" creationId="{04941EF6-F5F3-90F7-3C50-2E3B80E2914D}"/>
          </ac:spMkLst>
        </pc:spChg>
        <pc:spChg chg="add del">
          <ac:chgData name="Julia PONT" userId="6ea7fb32-49be-46d9-9d69-f51ddf012212" providerId="ADAL" clId="{2A9E832C-25F6-4F2E-84DD-F34ECE0E3917}" dt="2024-01-30T11:03:38.736" v="4086" actId="478"/>
          <ac:spMkLst>
            <pc:docMk/>
            <pc:sldMk cId="2259710670" sldId="2147480326"/>
            <ac:spMk id="15" creationId="{F9BD4AF1-6911-3E8E-E2C6-6D9126E9BA82}"/>
          </ac:spMkLst>
        </pc:spChg>
      </pc:sldChg>
      <pc:sldChg chg="addSp delSp modSp add del mod">
        <pc:chgData name="Julia PONT" userId="6ea7fb32-49be-46d9-9d69-f51ddf012212" providerId="ADAL" clId="{2A9E832C-25F6-4F2E-84DD-F34ECE0E3917}" dt="2024-01-30T13:42:16.957" v="4159" actId="47"/>
        <pc:sldMkLst>
          <pc:docMk/>
          <pc:sldMk cId="3868460334" sldId="2147480326"/>
        </pc:sldMkLst>
        <pc:spChg chg="del">
          <ac:chgData name="Julia PONT" userId="6ea7fb32-49be-46d9-9d69-f51ddf012212" providerId="ADAL" clId="{2A9E832C-25F6-4F2E-84DD-F34ECE0E3917}" dt="2024-01-30T11:04:25.519" v="4089" actId="478"/>
          <ac:spMkLst>
            <pc:docMk/>
            <pc:sldMk cId="3868460334" sldId="2147480326"/>
            <ac:spMk id="6" creationId="{C2AAE23C-5F9F-7991-50E3-6ED2C26155FE}"/>
          </ac:spMkLst>
        </pc:spChg>
        <pc:spChg chg="add mod">
          <ac:chgData name="Julia PONT" userId="6ea7fb32-49be-46d9-9d69-f51ddf012212" providerId="ADAL" clId="{2A9E832C-25F6-4F2E-84DD-F34ECE0E3917}" dt="2024-01-30T11:06:34.069" v="4137" actId="208"/>
          <ac:spMkLst>
            <pc:docMk/>
            <pc:sldMk cId="3868460334" sldId="2147480326"/>
            <ac:spMk id="7" creationId="{E309F1FF-ACB7-7FE7-6FF4-8A6FC0011B65}"/>
          </ac:spMkLst>
        </pc:spChg>
        <pc:spChg chg="mod">
          <ac:chgData name="Julia PONT" userId="6ea7fb32-49be-46d9-9d69-f51ddf012212" providerId="ADAL" clId="{2A9E832C-25F6-4F2E-84DD-F34ECE0E3917}" dt="2024-01-30T11:04:29.145" v="4090" actId="1076"/>
          <ac:spMkLst>
            <pc:docMk/>
            <pc:sldMk cId="3868460334" sldId="2147480326"/>
            <ac:spMk id="8" creationId="{1B086139-18B4-38FE-4B00-980740AACDF7}"/>
          </ac:spMkLst>
        </pc:spChg>
        <pc:spChg chg="add mod">
          <ac:chgData name="Julia PONT" userId="6ea7fb32-49be-46d9-9d69-f51ddf012212" providerId="ADAL" clId="{2A9E832C-25F6-4F2E-84DD-F34ECE0E3917}" dt="2024-01-30T11:06:19.659" v="4134" actId="208"/>
          <ac:spMkLst>
            <pc:docMk/>
            <pc:sldMk cId="3868460334" sldId="2147480326"/>
            <ac:spMk id="12" creationId="{BF8501ED-EE3D-677D-EF23-22AA166F6D73}"/>
          </ac:spMkLst>
        </pc:spChg>
        <pc:spChg chg="add mod">
          <ac:chgData name="Julia PONT" userId="6ea7fb32-49be-46d9-9d69-f51ddf012212" providerId="ADAL" clId="{2A9E832C-25F6-4F2E-84DD-F34ECE0E3917}" dt="2024-01-30T11:06:46.656" v="4141" actId="20577"/>
          <ac:spMkLst>
            <pc:docMk/>
            <pc:sldMk cId="3868460334" sldId="2147480326"/>
            <ac:spMk id="13" creationId="{D8BD8A5B-2136-0A1B-59FF-5F3969C441B3}"/>
          </ac:spMkLst>
        </pc:spChg>
        <pc:spChg chg="add mod">
          <ac:chgData name="Julia PONT" userId="6ea7fb32-49be-46d9-9d69-f51ddf012212" providerId="ADAL" clId="{2A9E832C-25F6-4F2E-84DD-F34ECE0E3917}" dt="2024-01-30T11:08:41.084" v="4152" actId="113"/>
          <ac:spMkLst>
            <pc:docMk/>
            <pc:sldMk cId="3868460334" sldId="2147480326"/>
            <ac:spMk id="14" creationId="{70E71D10-5CF6-8768-C724-4C02CC848225}"/>
          </ac:spMkLst>
        </pc:spChg>
        <pc:spChg chg="add mod">
          <ac:chgData name="Julia PONT" userId="6ea7fb32-49be-46d9-9d69-f51ddf012212" providerId="ADAL" clId="{2A9E832C-25F6-4F2E-84DD-F34ECE0E3917}" dt="2024-01-30T11:08:48.874" v="4154" actId="1076"/>
          <ac:spMkLst>
            <pc:docMk/>
            <pc:sldMk cId="3868460334" sldId="2147480326"/>
            <ac:spMk id="15" creationId="{4C757CDF-B83A-E1D0-554E-FFA260298DE7}"/>
          </ac:spMkLst>
        </pc:spChg>
        <pc:spChg chg="add mod">
          <ac:chgData name="Julia PONT" userId="6ea7fb32-49be-46d9-9d69-f51ddf012212" providerId="ADAL" clId="{2A9E832C-25F6-4F2E-84DD-F34ECE0E3917}" dt="2024-01-30T11:08:56.142" v="4156" actId="1076"/>
          <ac:spMkLst>
            <pc:docMk/>
            <pc:sldMk cId="3868460334" sldId="2147480326"/>
            <ac:spMk id="16" creationId="{F61671C8-98BC-A259-D265-88F17267FE9F}"/>
          </ac:spMkLst>
        </pc:spChg>
        <pc:spChg chg="add mod">
          <ac:chgData name="Julia PONT" userId="6ea7fb32-49be-46d9-9d69-f51ddf012212" providerId="ADAL" clId="{2A9E832C-25F6-4F2E-84DD-F34ECE0E3917}" dt="2024-01-30T11:09:03.184" v="4158" actId="1076"/>
          <ac:spMkLst>
            <pc:docMk/>
            <pc:sldMk cId="3868460334" sldId="2147480326"/>
            <ac:spMk id="17" creationId="{60F6593C-BEBF-6ABF-984C-047081041098}"/>
          </ac:spMkLst>
        </pc:spChg>
        <pc:graphicFrameChg chg="del">
          <ac:chgData name="Julia PONT" userId="6ea7fb32-49be-46d9-9d69-f51ddf012212" providerId="ADAL" clId="{2A9E832C-25F6-4F2E-84DD-F34ECE0E3917}" dt="2024-01-30T11:04:34.484" v="4091" actId="478"/>
          <ac:graphicFrameMkLst>
            <pc:docMk/>
            <pc:sldMk cId="3868460334" sldId="2147480326"/>
            <ac:graphicFrameMk id="4" creationId="{0E2F88A0-CD37-77A7-8DC3-1C3ABDC6F35D}"/>
          </ac:graphicFrameMkLst>
        </pc:graphicFrameChg>
      </pc:sldChg>
      <pc:sldChg chg="addSp delSp modSp mod">
        <pc:chgData name="Julia PONT" userId="6ea7fb32-49be-46d9-9d69-f51ddf012212" providerId="ADAL" clId="{2A9E832C-25F6-4F2E-84DD-F34ECE0E3917}" dt="2024-02-02T13:29:22.939" v="19133" actId="478"/>
        <pc:sldMkLst>
          <pc:docMk/>
          <pc:sldMk cId="3058333471" sldId="2147480328"/>
        </pc:sldMkLst>
        <pc:spChg chg="mod">
          <ac:chgData name="Julia PONT" userId="6ea7fb32-49be-46d9-9d69-f51ddf012212" providerId="ADAL" clId="{2A9E832C-25F6-4F2E-84DD-F34ECE0E3917}" dt="2024-02-01T09:34:08.856" v="12846" actId="1076"/>
          <ac:spMkLst>
            <pc:docMk/>
            <pc:sldMk cId="3058333471" sldId="2147480328"/>
            <ac:spMk id="4" creationId="{EAF9AB6C-200A-7C13-6B57-2F846D17F25B}"/>
          </ac:spMkLst>
        </pc:spChg>
        <pc:spChg chg="mod">
          <ac:chgData name="Julia PONT" userId="6ea7fb32-49be-46d9-9d69-f51ddf012212" providerId="ADAL" clId="{2A9E832C-25F6-4F2E-84DD-F34ECE0E3917}" dt="2024-02-01T07:54:17.489" v="12708" actId="20577"/>
          <ac:spMkLst>
            <pc:docMk/>
            <pc:sldMk cId="3058333471" sldId="2147480328"/>
            <ac:spMk id="8" creationId="{2ACD1FCA-7E7D-E323-E3E9-B5E5B7FEC84F}"/>
          </ac:spMkLst>
        </pc:spChg>
        <pc:spChg chg="del">
          <ac:chgData name="Julia PONT" userId="6ea7fb32-49be-46d9-9d69-f51ddf012212" providerId="ADAL" clId="{2A9E832C-25F6-4F2E-84DD-F34ECE0E3917}" dt="2024-02-02T13:29:19.864" v="19132" actId="478"/>
          <ac:spMkLst>
            <pc:docMk/>
            <pc:sldMk cId="3058333471" sldId="2147480328"/>
            <ac:spMk id="13" creationId="{D544691B-D2F7-96E4-8B99-579CC3929926}"/>
          </ac:spMkLst>
        </pc:spChg>
        <pc:spChg chg="add del mod">
          <ac:chgData name="Julia PONT" userId="6ea7fb32-49be-46d9-9d69-f51ddf012212" providerId="ADAL" clId="{2A9E832C-25F6-4F2E-84DD-F34ECE0E3917}" dt="2024-02-01T08:02:16.673" v="12721" actId="12788"/>
          <ac:spMkLst>
            <pc:docMk/>
            <pc:sldMk cId="3058333471" sldId="2147480328"/>
            <ac:spMk id="14" creationId="{C00A7B63-CF4B-B762-F6B5-E6C7B1118504}"/>
          </ac:spMkLst>
        </pc:spChg>
        <pc:spChg chg="del">
          <ac:chgData name="Julia PONT" userId="6ea7fb32-49be-46d9-9d69-f51ddf012212" providerId="ADAL" clId="{2A9E832C-25F6-4F2E-84DD-F34ECE0E3917}" dt="2024-02-02T13:29:19.864" v="19132" actId="478"/>
          <ac:spMkLst>
            <pc:docMk/>
            <pc:sldMk cId="3058333471" sldId="2147480328"/>
            <ac:spMk id="30" creationId="{0C37DDD6-5B2F-1D65-1DBB-B5A80101A592}"/>
          </ac:spMkLst>
        </pc:spChg>
        <pc:spChg chg="del">
          <ac:chgData name="Julia PONT" userId="6ea7fb32-49be-46d9-9d69-f51ddf012212" providerId="ADAL" clId="{2A9E832C-25F6-4F2E-84DD-F34ECE0E3917}" dt="2024-02-02T13:29:19.864" v="19132" actId="478"/>
          <ac:spMkLst>
            <pc:docMk/>
            <pc:sldMk cId="3058333471" sldId="2147480328"/>
            <ac:spMk id="35" creationId="{B2A41731-C0D3-D60F-5801-7C5E7B42D3A0}"/>
          </ac:spMkLst>
        </pc:spChg>
        <pc:spChg chg="add del mod">
          <ac:chgData name="Julia PONT" userId="6ea7fb32-49be-46d9-9d69-f51ddf012212" providerId="ADAL" clId="{2A9E832C-25F6-4F2E-84DD-F34ECE0E3917}" dt="2024-02-01T08:01:35.027" v="12713" actId="21"/>
          <ac:spMkLst>
            <pc:docMk/>
            <pc:sldMk cId="3058333471" sldId="2147480328"/>
            <ac:spMk id="36" creationId="{5422A303-F729-C5A3-31FD-EBE3B82D91E4}"/>
          </ac:spMkLst>
        </pc:spChg>
        <pc:spChg chg="add mod">
          <ac:chgData name="Julia PONT" userId="6ea7fb32-49be-46d9-9d69-f51ddf012212" providerId="ADAL" clId="{2A9E832C-25F6-4F2E-84DD-F34ECE0E3917}" dt="2024-02-01T08:01:44.055" v="12716"/>
          <ac:spMkLst>
            <pc:docMk/>
            <pc:sldMk cId="3058333471" sldId="2147480328"/>
            <ac:spMk id="37" creationId="{5422A303-F729-C5A3-31FD-EBE3B82D91E4}"/>
          </ac:spMkLst>
        </pc:spChg>
        <pc:spChg chg="del">
          <ac:chgData name="Julia PONT" userId="6ea7fb32-49be-46d9-9d69-f51ddf012212" providerId="ADAL" clId="{2A9E832C-25F6-4F2E-84DD-F34ECE0E3917}" dt="2024-02-02T13:29:19.864" v="19132" actId="478"/>
          <ac:spMkLst>
            <pc:docMk/>
            <pc:sldMk cId="3058333471" sldId="2147480328"/>
            <ac:spMk id="56" creationId="{1C6064CA-49A2-B129-D4B6-9CD2B4F81834}"/>
          </ac:spMkLst>
        </pc:spChg>
        <pc:spChg chg="del">
          <ac:chgData name="Julia PONT" userId="6ea7fb32-49be-46d9-9d69-f51ddf012212" providerId="ADAL" clId="{2A9E832C-25F6-4F2E-84DD-F34ECE0E3917}" dt="2024-02-02T13:29:19.864" v="19132" actId="478"/>
          <ac:spMkLst>
            <pc:docMk/>
            <pc:sldMk cId="3058333471" sldId="2147480328"/>
            <ac:spMk id="64" creationId="{DE2731A9-2371-E186-EA60-6E7C48D410EB}"/>
          </ac:spMkLst>
        </pc:spChg>
        <pc:spChg chg="del">
          <ac:chgData name="Julia PONT" userId="6ea7fb32-49be-46d9-9d69-f51ddf012212" providerId="ADAL" clId="{2A9E832C-25F6-4F2E-84DD-F34ECE0E3917}" dt="2024-02-02T13:29:19.864" v="19132" actId="478"/>
          <ac:spMkLst>
            <pc:docMk/>
            <pc:sldMk cId="3058333471" sldId="2147480328"/>
            <ac:spMk id="65" creationId="{81647EFE-B3CD-3ADD-FF21-B5281D27F73D}"/>
          </ac:spMkLst>
        </pc:spChg>
        <pc:spChg chg="del">
          <ac:chgData name="Julia PONT" userId="6ea7fb32-49be-46d9-9d69-f51ddf012212" providerId="ADAL" clId="{2A9E832C-25F6-4F2E-84DD-F34ECE0E3917}" dt="2024-02-02T13:29:19.864" v="19132" actId="478"/>
          <ac:spMkLst>
            <pc:docMk/>
            <pc:sldMk cId="3058333471" sldId="2147480328"/>
            <ac:spMk id="66" creationId="{E17AD256-AD43-FB46-6DBB-D073F232E20D}"/>
          </ac:spMkLst>
        </pc:spChg>
        <pc:spChg chg="del">
          <ac:chgData name="Julia PONT" userId="6ea7fb32-49be-46d9-9d69-f51ddf012212" providerId="ADAL" clId="{2A9E832C-25F6-4F2E-84DD-F34ECE0E3917}" dt="2024-02-02T13:29:19.864" v="19132" actId="478"/>
          <ac:spMkLst>
            <pc:docMk/>
            <pc:sldMk cId="3058333471" sldId="2147480328"/>
            <ac:spMk id="67" creationId="{7080266A-FEE6-8C75-3BB9-A6E8A4448350}"/>
          </ac:spMkLst>
        </pc:spChg>
        <pc:spChg chg="del">
          <ac:chgData name="Julia PONT" userId="6ea7fb32-49be-46d9-9d69-f51ddf012212" providerId="ADAL" clId="{2A9E832C-25F6-4F2E-84DD-F34ECE0E3917}" dt="2024-02-02T13:29:22.939" v="19133" actId="478"/>
          <ac:spMkLst>
            <pc:docMk/>
            <pc:sldMk cId="3058333471" sldId="2147480328"/>
            <ac:spMk id="68" creationId="{227D53CC-47A3-2347-0FD5-348537FCA4F8}"/>
          </ac:spMkLst>
        </pc:spChg>
        <pc:spChg chg="del">
          <ac:chgData name="Julia PONT" userId="6ea7fb32-49be-46d9-9d69-f51ddf012212" providerId="ADAL" clId="{2A9E832C-25F6-4F2E-84DD-F34ECE0E3917}" dt="2024-02-02T13:29:12.668" v="19131" actId="478"/>
          <ac:spMkLst>
            <pc:docMk/>
            <pc:sldMk cId="3058333471" sldId="2147480328"/>
            <ac:spMk id="70" creationId="{662A894B-6EDF-37C6-2D87-268253FD4F03}"/>
          </ac:spMkLst>
        </pc:spChg>
        <pc:spChg chg="add mod">
          <ac:chgData name="Julia PONT" userId="6ea7fb32-49be-46d9-9d69-f51ddf012212" providerId="ADAL" clId="{2A9E832C-25F6-4F2E-84DD-F34ECE0E3917}" dt="2024-02-01T08:02:16.673" v="12721" actId="12788"/>
          <ac:spMkLst>
            <pc:docMk/>
            <pc:sldMk cId="3058333471" sldId="2147480328"/>
            <ac:spMk id="71" creationId="{BC74EBA1-9E2E-CA18-C777-57BB3E586BF6}"/>
          </ac:spMkLst>
        </pc:spChg>
        <pc:spChg chg="add mod">
          <ac:chgData name="Julia PONT" userId="6ea7fb32-49be-46d9-9d69-f51ddf012212" providerId="ADAL" clId="{2A9E832C-25F6-4F2E-84DD-F34ECE0E3917}" dt="2024-02-01T09:34:10.945" v="12847" actId="20577"/>
          <ac:spMkLst>
            <pc:docMk/>
            <pc:sldMk cId="3058333471" sldId="2147480328"/>
            <ac:spMk id="73" creationId="{6ABFE0D7-0B2A-9CB5-20E5-1171BCFBC1B0}"/>
          </ac:spMkLst>
        </pc:spChg>
        <pc:spChg chg="add del mod">
          <ac:chgData name="Julia PONT" userId="6ea7fb32-49be-46d9-9d69-f51ddf012212" providerId="ADAL" clId="{2A9E832C-25F6-4F2E-84DD-F34ECE0E3917}" dt="2024-02-02T13:29:12.668" v="19131" actId="478"/>
          <ac:spMkLst>
            <pc:docMk/>
            <pc:sldMk cId="3058333471" sldId="2147480328"/>
            <ac:spMk id="83" creationId="{C239288C-3F8B-5FF8-45D9-EDB48F87E700}"/>
          </ac:spMkLst>
        </pc:spChg>
      </pc:sldChg>
      <pc:sldChg chg="add">
        <pc:chgData name="Julia PONT" userId="6ea7fb32-49be-46d9-9d69-f51ddf012212" providerId="ADAL" clId="{2A9E832C-25F6-4F2E-84DD-F34ECE0E3917}" dt="2024-01-30T14:12:49.676" v="4162"/>
        <pc:sldMkLst>
          <pc:docMk/>
          <pc:sldMk cId="238752890" sldId="2147480329"/>
        </pc:sldMkLst>
      </pc:sldChg>
      <pc:sldChg chg="addSp delSp modSp mod modShow">
        <pc:chgData name="Julia PONT" userId="6ea7fb32-49be-46d9-9d69-f51ddf012212" providerId="ADAL" clId="{2A9E832C-25F6-4F2E-84DD-F34ECE0E3917}" dt="2024-02-01T17:46:49.150" v="17819" actId="729"/>
        <pc:sldMkLst>
          <pc:docMk/>
          <pc:sldMk cId="1296099944" sldId="2147480329"/>
        </pc:sldMkLst>
        <pc:spChg chg="del">
          <ac:chgData name="Julia PONT" userId="6ea7fb32-49be-46d9-9d69-f51ddf012212" providerId="ADAL" clId="{2A9E832C-25F6-4F2E-84DD-F34ECE0E3917}" dt="2024-01-31T13:14:16.580" v="7749" actId="478"/>
          <ac:spMkLst>
            <pc:docMk/>
            <pc:sldMk cId="1296099944" sldId="2147480329"/>
            <ac:spMk id="7" creationId="{A1F8B092-9CD0-5DD6-A0A1-297DEFEA9E4F}"/>
          </ac:spMkLst>
        </pc:spChg>
        <pc:spChg chg="mod">
          <ac:chgData name="Julia PONT" userId="6ea7fb32-49be-46d9-9d69-f51ddf012212" providerId="ADAL" clId="{2A9E832C-25F6-4F2E-84DD-F34ECE0E3917}" dt="2024-02-01T13:19:29.020" v="13757" actId="20577"/>
          <ac:spMkLst>
            <pc:docMk/>
            <pc:sldMk cId="1296099944" sldId="2147480329"/>
            <ac:spMk id="11" creationId="{7CFB4294-4C86-813C-1CD8-856733A73AD3}"/>
          </ac:spMkLst>
        </pc:spChg>
        <pc:spChg chg="del mod">
          <ac:chgData name="Julia PONT" userId="6ea7fb32-49be-46d9-9d69-f51ddf012212" providerId="ADAL" clId="{2A9E832C-25F6-4F2E-84DD-F34ECE0E3917}" dt="2024-01-31T13:14:14.228" v="7748" actId="21"/>
          <ac:spMkLst>
            <pc:docMk/>
            <pc:sldMk cId="1296099944" sldId="2147480329"/>
            <ac:spMk id="11" creationId="{BAA3DDC7-5320-E950-E89D-4CD10B5E9099}"/>
          </ac:spMkLst>
        </pc:spChg>
        <pc:spChg chg="mod">
          <ac:chgData name="Julia PONT" userId="6ea7fb32-49be-46d9-9d69-f51ddf012212" providerId="ADAL" clId="{2A9E832C-25F6-4F2E-84DD-F34ECE0E3917}" dt="2024-01-31T13:14:07.926" v="7747" actId="122"/>
          <ac:spMkLst>
            <pc:docMk/>
            <pc:sldMk cId="1296099944" sldId="2147480329"/>
            <ac:spMk id="17" creationId="{1B52987F-16C6-94A2-FA64-00CBDF833CC2}"/>
          </ac:spMkLst>
        </pc:spChg>
        <pc:spChg chg="mod">
          <ac:chgData name="Julia PONT" userId="6ea7fb32-49be-46d9-9d69-f51ddf012212" providerId="ADAL" clId="{2A9E832C-25F6-4F2E-84DD-F34ECE0E3917}" dt="2024-01-31T13:14:25.320" v="7751" actId="12789"/>
          <ac:spMkLst>
            <pc:docMk/>
            <pc:sldMk cId="1296099944" sldId="2147480329"/>
            <ac:spMk id="18" creationId="{A2DB48AD-5169-A000-6CD4-6D9172055D1D}"/>
          </ac:spMkLst>
        </pc:spChg>
        <pc:spChg chg="add mod">
          <ac:chgData name="Julia PONT" userId="6ea7fb32-49be-46d9-9d69-f51ddf012212" providerId="ADAL" clId="{2A9E832C-25F6-4F2E-84DD-F34ECE0E3917}" dt="2024-01-31T13:14:17.191" v="7750"/>
          <ac:spMkLst>
            <pc:docMk/>
            <pc:sldMk cId="1296099944" sldId="2147480329"/>
            <ac:spMk id="25" creationId="{BAA3DDC7-5320-E950-E89D-4CD10B5E9099}"/>
          </ac:spMkLst>
        </pc:spChg>
        <pc:spChg chg="mod">
          <ac:chgData name="Julia PONT" userId="6ea7fb32-49be-46d9-9d69-f51ddf012212" providerId="ADAL" clId="{2A9E832C-25F6-4F2E-84DD-F34ECE0E3917}" dt="2024-01-31T13:14:03.450" v="7746" actId="1037"/>
          <ac:spMkLst>
            <pc:docMk/>
            <pc:sldMk cId="1296099944" sldId="2147480329"/>
            <ac:spMk id="43" creationId="{7F4F9A9F-F886-0090-A007-7FA732BDE9A9}"/>
          </ac:spMkLst>
        </pc:spChg>
        <pc:spChg chg="mod">
          <ac:chgData name="Julia PONT" userId="6ea7fb32-49be-46d9-9d69-f51ddf012212" providerId="ADAL" clId="{2A9E832C-25F6-4F2E-84DD-F34ECE0E3917}" dt="2024-01-31T13:14:03.450" v="7746" actId="1037"/>
          <ac:spMkLst>
            <pc:docMk/>
            <pc:sldMk cId="1296099944" sldId="2147480329"/>
            <ac:spMk id="47" creationId="{8DC4D8BC-2F8E-8979-5ECB-0A80B0E1848B}"/>
          </ac:spMkLst>
        </pc:spChg>
        <pc:spChg chg="mod">
          <ac:chgData name="Julia PONT" userId="6ea7fb32-49be-46d9-9d69-f51ddf012212" providerId="ADAL" clId="{2A9E832C-25F6-4F2E-84DD-F34ECE0E3917}" dt="2024-01-31T13:21:39.882" v="7972" actId="20577"/>
          <ac:spMkLst>
            <pc:docMk/>
            <pc:sldMk cId="1296099944" sldId="2147480329"/>
            <ac:spMk id="48" creationId="{5328F06F-BEAF-D222-0EC6-922BE30DED0D}"/>
          </ac:spMkLst>
        </pc:spChg>
      </pc:sldChg>
      <pc:sldChg chg="addSp delSp modSp mod modShow">
        <pc:chgData name="Julia PONT" userId="6ea7fb32-49be-46d9-9d69-f51ddf012212" providerId="ADAL" clId="{2A9E832C-25F6-4F2E-84DD-F34ECE0E3917}" dt="2024-02-01T17:46:49.150" v="17819" actId="729"/>
        <pc:sldMkLst>
          <pc:docMk/>
          <pc:sldMk cId="429385748" sldId="2147480330"/>
        </pc:sldMkLst>
        <pc:spChg chg="del">
          <ac:chgData name="Julia PONT" userId="6ea7fb32-49be-46d9-9d69-f51ddf012212" providerId="ADAL" clId="{2A9E832C-25F6-4F2E-84DD-F34ECE0E3917}" dt="2024-01-31T15:08:05.586" v="8501" actId="478"/>
          <ac:spMkLst>
            <pc:docMk/>
            <pc:sldMk cId="429385748" sldId="2147480330"/>
            <ac:spMk id="20" creationId="{3943277C-F67A-08B7-FF20-0733C8093222}"/>
          </ac:spMkLst>
        </pc:spChg>
        <pc:spChg chg="del">
          <ac:chgData name="Julia PONT" userId="6ea7fb32-49be-46d9-9d69-f51ddf012212" providerId="ADAL" clId="{2A9E832C-25F6-4F2E-84DD-F34ECE0E3917}" dt="2024-01-31T15:08:02.956" v="8500" actId="21"/>
          <ac:spMkLst>
            <pc:docMk/>
            <pc:sldMk cId="429385748" sldId="2147480330"/>
            <ac:spMk id="30" creationId="{014C8605-E6B4-CFCF-E189-34981B4466C3}"/>
          </ac:spMkLst>
        </pc:spChg>
        <pc:spChg chg="add mod">
          <ac:chgData name="Julia PONT" userId="6ea7fb32-49be-46d9-9d69-f51ddf012212" providerId="ADAL" clId="{2A9E832C-25F6-4F2E-84DD-F34ECE0E3917}" dt="2024-01-31T15:08:06.232" v="8502"/>
          <ac:spMkLst>
            <pc:docMk/>
            <pc:sldMk cId="429385748" sldId="2147480330"/>
            <ac:spMk id="32" creationId="{014C8605-E6B4-CFCF-E189-34981B4466C3}"/>
          </ac:spMkLst>
        </pc:spChg>
      </pc:sldChg>
      <pc:sldChg chg="modSp mod">
        <pc:chgData name="Julia PONT" userId="6ea7fb32-49be-46d9-9d69-f51ddf012212" providerId="ADAL" clId="{2A9E832C-25F6-4F2E-84DD-F34ECE0E3917}" dt="2024-02-02T10:19:39.617" v="18768" actId="404"/>
        <pc:sldMkLst>
          <pc:docMk/>
          <pc:sldMk cId="1704792734" sldId="2147480331"/>
        </pc:sldMkLst>
        <pc:spChg chg="mod">
          <ac:chgData name="Julia PONT" userId="6ea7fb32-49be-46d9-9d69-f51ddf012212" providerId="ADAL" clId="{2A9E832C-25F6-4F2E-84DD-F34ECE0E3917}" dt="2024-02-02T08:28:19.922" v="17882"/>
          <ac:spMkLst>
            <pc:docMk/>
            <pc:sldMk cId="1704792734" sldId="2147480331"/>
            <ac:spMk id="2" creationId="{A2D57B31-7B0D-92C3-B33F-D94DC4725E53}"/>
          </ac:spMkLst>
        </pc:spChg>
        <pc:spChg chg="mod">
          <ac:chgData name="Julia PONT" userId="6ea7fb32-49be-46d9-9d69-f51ddf012212" providerId="ADAL" clId="{2A9E832C-25F6-4F2E-84DD-F34ECE0E3917}" dt="2024-02-02T08:28:02.895" v="17881" actId="404"/>
          <ac:spMkLst>
            <pc:docMk/>
            <pc:sldMk cId="1704792734" sldId="2147480331"/>
            <ac:spMk id="7" creationId="{C0D635D1-975D-CDD3-DF63-DDFB742D8DB1}"/>
          </ac:spMkLst>
        </pc:spChg>
        <pc:spChg chg="mod">
          <ac:chgData name="Julia PONT" userId="6ea7fb32-49be-46d9-9d69-f51ddf012212" providerId="ADAL" clId="{2A9E832C-25F6-4F2E-84DD-F34ECE0E3917}" dt="2024-02-02T10:19:39.617" v="18768" actId="404"/>
          <ac:spMkLst>
            <pc:docMk/>
            <pc:sldMk cId="1704792734" sldId="2147480331"/>
            <ac:spMk id="8" creationId="{2658D537-B85B-7715-3703-4CEA410D17DB}"/>
          </ac:spMkLst>
        </pc:spChg>
        <pc:spChg chg="mod">
          <ac:chgData name="Julia PONT" userId="6ea7fb32-49be-46d9-9d69-f51ddf012212" providerId="ADAL" clId="{2A9E832C-25F6-4F2E-84DD-F34ECE0E3917}" dt="2024-02-02T08:28:02.895" v="17881" actId="404"/>
          <ac:spMkLst>
            <pc:docMk/>
            <pc:sldMk cId="1704792734" sldId="2147480331"/>
            <ac:spMk id="9" creationId="{2F9A9040-8D13-4A5F-406B-235B96F14581}"/>
          </ac:spMkLst>
        </pc:spChg>
        <pc:spChg chg="mod">
          <ac:chgData name="Julia PONT" userId="6ea7fb32-49be-46d9-9d69-f51ddf012212" providerId="ADAL" clId="{2A9E832C-25F6-4F2E-84DD-F34ECE0E3917}" dt="2024-02-02T08:28:02.895" v="17881" actId="404"/>
          <ac:spMkLst>
            <pc:docMk/>
            <pc:sldMk cId="1704792734" sldId="2147480331"/>
            <ac:spMk id="10" creationId="{5B767A9A-BEAD-99D4-28BC-3B230B544CD6}"/>
          </ac:spMkLst>
        </pc:spChg>
        <pc:spChg chg="mod">
          <ac:chgData name="Julia PONT" userId="6ea7fb32-49be-46d9-9d69-f51ddf012212" providerId="ADAL" clId="{2A9E832C-25F6-4F2E-84DD-F34ECE0E3917}" dt="2024-02-02T08:28:02.895" v="17881" actId="404"/>
          <ac:spMkLst>
            <pc:docMk/>
            <pc:sldMk cId="1704792734" sldId="2147480331"/>
            <ac:spMk id="11" creationId="{90F7C32B-FBE5-1286-85DF-0A409395BBDE}"/>
          </ac:spMkLst>
        </pc:spChg>
        <pc:spChg chg="mod">
          <ac:chgData name="Julia PONT" userId="6ea7fb32-49be-46d9-9d69-f51ddf012212" providerId="ADAL" clId="{2A9E832C-25F6-4F2E-84DD-F34ECE0E3917}" dt="2024-02-02T08:28:02.895" v="17881" actId="404"/>
          <ac:spMkLst>
            <pc:docMk/>
            <pc:sldMk cId="1704792734" sldId="2147480331"/>
            <ac:spMk id="12" creationId="{FCFA250D-5B65-A1C5-69BD-58C9062DEDF6}"/>
          </ac:spMkLst>
        </pc:spChg>
        <pc:spChg chg="mod">
          <ac:chgData name="Julia PONT" userId="6ea7fb32-49be-46d9-9d69-f51ddf012212" providerId="ADAL" clId="{2A9E832C-25F6-4F2E-84DD-F34ECE0E3917}" dt="2024-02-02T08:28:02.895" v="17881" actId="404"/>
          <ac:spMkLst>
            <pc:docMk/>
            <pc:sldMk cId="1704792734" sldId="2147480331"/>
            <ac:spMk id="13" creationId="{6414D3B7-D2DD-BDC7-A8B5-142AB4528379}"/>
          </ac:spMkLst>
        </pc:spChg>
        <pc:spChg chg="mod">
          <ac:chgData name="Julia PONT" userId="6ea7fb32-49be-46d9-9d69-f51ddf012212" providerId="ADAL" clId="{2A9E832C-25F6-4F2E-84DD-F34ECE0E3917}" dt="2024-02-02T08:28:02.895" v="17881" actId="404"/>
          <ac:spMkLst>
            <pc:docMk/>
            <pc:sldMk cId="1704792734" sldId="2147480331"/>
            <ac:spMk id="14" creationId="{79DEBB1C-A2D5-25C2-B1FB-740A1A2E6F47}"/>
          </ac:spMkLst>
        </pc:spChg>
        <pc:spChg chg="mod">
          <ac:chgData name="Julia PONT" userId="6ea7fb32-49be-46d9-9d69-f51ddf012212" providerId="ADAL" clId="{2A9E832C-25F6-4F2E-84DD-F34ECE0E3917}" dt="2024-02-02T08:28:02.895" v="17881" actId="404"/>
          <ac:spMkLst>
            <pc:docMk/>
            <pc:sldMk cId="1704792734" sldId="2147480331"/>
            <ac:spMk id="15" creationId="{5A1329A8-6F60-C9C3-5E39-A13D2EC76CE3}"/>
          </ac:spMkLst>
        </pc:spChg>
        <pc:spChg chg="mod">
          <ac:chgData name="Julia PONT" userId="6ea7fb32-49be-46d9-9d69-f51ddf012212" providerId="ADAL" clId="{2A9E832C-25F6-4F2E-84DD-F34ECE0E3917}" dt="2024-02-02T08:28:02.895" v="17881" actId="404"/>
          <ac:spMkLst>
            <pc:docMk/>
            <pc:sldMk cId="1704792734" sldId="2147480331"/>
            <ac:spMk id="16" creationId="{C4637428-3174-4A3E-7BD6-E1E52594472E}"/>
          </ac:spMkLst>
        </pc:spChg>
        <pc:spChg chg="mod">
          <ac:chgData name="Julia PONT" userId="6ea7fb32-49be-46d9-9d69-f51ddf012212" providerId="ADAL" clId="{2A9E832C-25F6-4F2E-84DD-F34ECE0E3917}" dt="2024-02-02T08:28:02.895" v="17881" actId="404"/>
          <ac:spMkLst>
            <pc:docMk/>
            <pc:sldMk cId="1704792734" sldId="2147480331"/>
            <ac:spMk id="17" creationId="{C78804CD-DE30-6511-DE0B-23188EA98E12}"/>
          </ac:spMkLst>
        </pc:spChg>
        <pc:spChg chg="mod">
          <ac:chgData name="Julia PONT" userId="6ea7fb32-49be-46d9-9d69-f51ddf012212" providerId="ADAL" clId="{2A9E832C-25F6-4F2E-84DD-F34ECE0E3917}" dt="2024-02-02T08:28:02.895" v="17881" actId="404"/>
          <ac:spMkLst>
            <pc:docMk/>
            <pc:sldMk cId="1704792734" sldId="2147480331"/>
            <ac:spMk id="18" creationId="{FA6A2FC4-2315-7E54-5747-154BECA55AAF}"/>
          </ac:spMkLst>
        </pc:spChg>
        <pc:spChg chg="mod">
          <ac:chgData name="Julia PONT" userId="6ea7fb32-49be-46d9-9d69-f51ddf012212" providerId="ADAL" clId="{2A9E832C-25F6-4F2E-84DD-F34ECE0E3917}" dt="2024-02-02T08:28:02.895" v="17881" actId="404"/>
          <ac:spMkLst>
            <pc:docMk/>
            <pc:sldMk cId="1704792734" sldId="2147480331"/>
            <ac:spMk id="19" creationId="{F10FBF75-CD7F-3B1E-BCBF-69E2DFDEF136}"/>
          </ac:spMkLst>
        </pc:spChg>
        <pc:spChg chg="mod">
          <ac:chgData name="Julia PONT" userId="6ea7fb32-49be-46d9-9d69-f51ddf012212" providerId="ADAL" clId="{2A9E832C-25F6-4F2E-84DD-F34ECE0E3917}" dt="2024-02-02T08:28:02.895" v="17881" actId="404"/>
          <ac:spMkLst>
            <pc:docMk/>
            <pc:sldMk cId="1704792734" sldId="2147480331"/>
            <ac:spMk id="20" creationId="{A7144061-CC12-81C0-FA8B-9FA94C621A06}"/>
          </ac:spMkLst>
        </pc:spChg>
        <pc:spChg chg="mod">
          <ac:chgData name="Julia PONT" userId="6ea7fb32-49be-46d9-9d69-f51ddf012212" providerId="ADAL" clId="{2A9E832C-25F6-4F2E-84DD-F34ECE0E3917}" dt="2024-02-02T08:28:02.895" v="17881" actId="404"/>
          <ac:spMkLst>
            <pc:docMk/>
            <pc:sldMk cId="1704792734" sldId="2147480331"/>
            <ac:spMk id="21" creationId="{7A36680B-6E77-1CAE-95FC-45CF4F49C36E}"/>
          </ac:spMkLst>
        </pc:spChg>
        <pc:spChg chg="mod">
          <ac:chgData name="Julia PONT" userId="6ea7fb32-49be-46d9-9d69-f51ddf012212" providerId="ADAL" clId="{2A9E832C-25F6-4F2E-84DD-F34ECE0E3917}" dt="2024-02-02T08:28:02.895" v="17881" actId="404"/>
          <ac:spMkLst>
            <pc:docMk/>
            <pc:sldMk cId="1704792734" sldId="2147480331"/>
            <ac:spMk id="22" creationId="{DC347001-A07D-4C36-36D4-4F7C774F54EA}"/>
          </ac:spMkLst>
        </pc:spChg>
        <pc:spChg chg="mod">
          <ac:chgData name="Julia PONT" userId="6ea7fb32-49be-46d9-9d69-f51ddf012212" providerId="ADAL" clId="{2A9E832C-25F6-4F2E-84DD-F34ECE0E3917}" dt="2024-02-02T08:28:02.895" v="17881" actId="404"/>
          <ac:spMkLst>
            <pc:docMk/>
            <pc:sldMk cId="1704792734" sldId="2147480331"/>
            <ac:spMk id="23" creationId="{EF204365-F7CA-EB1D-00FA-C023A74FE9EA}"/>
          </ac:spMkLst>
        </pc:spChg>
        <pc:spChg chg="mod">
          <ac:chgData name="Julia PONT" userId="6ea7fb32-49be-46d9-9d69-f51ddf012212" providerId="ADAL" clId="{2A9E832C-25F6-4F2E-84DD-F34ECE0E3917}" dt="2024-02-02T08:28:02.895" v="17881" actId="404"/>
          <ac:spMkLst>
            <pc:docMk/>
            <pc:sldMk cId="1704792734" sldId="2147480331"/>
            <ac:spMk id="24" creationId="{BCF6E7EC-0B87-5F17-9B44-F3FB68CF4070}"/>
          </ac:spMkLst>
        </pc:spChg>
        <pc:spChg chg="mod">
          <ac:chgData name="Julia PONT" userId="6ea7fb32-49be-46d9-9d69-f51ddf012212" providerId="ADAL" clId="{2A9E832C-25F6-4F2E-84DD-F34ECE0E3917}" dt="2024-02-02T08:28:02.895" v="17881" actId="404"/>
          <ac:spMkLst>
            <pc:docMk/>
            <pc:sldMk cId="1704792734" sldId="2147480331"/>
            <ac:spMk id="28" creationId="{A08E85E2-8DBD-C721-05DF-34C27C536CCE}"/>
          </ac:spMkLst>
        </pc:spChg>
        <pc:spChg chg="mod">
          <ac:chgData name="Julia PONT" userId="6ea7fb32-49be-46d9-9d69-f51ddf012212" providerId="ADAL" clId="{2A9E832C-25F6-4F2E-84DD-F34ECE0E3917}" dt="2024-02-02T08:28:02.895" v="17881" actId="404"/>
          <ac:spMkLst>
            <pc:docMk/>
            <pc:sldMk cId="1704792734" sldId="2147480331"/>
            <ac:spMk id="29" creationId="{FB7B6FF7-552D-A240-BE68-FC4B8D230960}"/>
          </ac:spMkLst>
        </pc:spChg>
        <pc:spChg chg="mod">
          <ac:chgData name="Julia PONT" userId="6ea7fb32-49be-46d9-9d69-f51ddf012212" providerId="ADAL" clId="{2A9E832C-25F6-4F2E-84DD-F34ECE0E3917}" dt="2024-02-02T08:28:02.895" v="17881" actId="404"/>
          <ac:spMkLst>
            <pc:docMk/>
            <pc:sldMk cId="1704792734" sldId="2147480331"/>
            <ac:spMk id="30" creationId="{3CBD92E3-F7A5-8073-FADC-5C10785237B7}"/>
          </ac:spMkLst>
        </pc:spChg>
        <pc:spChg chg="mod">
          <ac:chgData name="Julia PONT" userId="6ea7fb32-49be-46d9-9d69-f51ddf012212" providerId="ADAL" clId="{2A9E832C-25F6-4F2E-84DD-F34ECE0E3917}" dt="2024-02-02T08:28:02.895" v="17881" actId="404"/>
          <ac:spMkLst>
            <pc:docMk/>
            <pc:sldMk cId="1704792734" sldId="2147480331"/>
            <ac:spMk id="32" creationId="{5E212476-D8E2-E191-A43D-5536980C27BA}"/>
          </ac:spMkLst>
        </pc:spChg>
        <pc:spChg chg="mod">
          <ac:chgData name="Julia PONT" userId="6ea7fb32-49be-46d9-9d69-f51ddf012212" providerId="ADAL" clId="{2A9E832C-25F6-4F2E-84DD-F34ECE0E3917}" dt="2024-02-02T08:28:02.895" v="17881" actId="404"/>
          <ac:spMkLst>
            <pc:docMk/>
            <pc:sldMk cId="1704792734" sldId="2147480331"/>
            <ac:spMk id="33" creationId="{8154191D-733C-77D0-EF65-2FCDD5767F31}"/>
          </ac:spMkLst>
        </pc:spChg>
        <pc:spChg chg="mod">
          <ac:chgData name="Julia PONT" userId="6ea7fb32-49be-46d9-9d69-f51ddf012212" providerId="ADAL" clId="{2A9E832C-25F6-4F2E-84DD-F34ECE0E3917}" dt="2024-02-02T08:28:02.895" v="17881" actId="404"/>
          <ac:spMkLst>
            <pc:docMk/>
            <pc:sldMk cId="1704792734" sldId="2147480331"/>
            <ac:spMk id="34" creationId="{5CBCF09F-38E5-08B7-AF21-8CD9E01F957D}"/>
          </ac:spMkLst>
        </pc:spChg>
        <pc:spChg chg="mod">
          <ac:chgData name="Julia PONT" userId="6ea7fb32-49be-46d9-9d69-f51ddf012212" providerId="ADAL" clId="{2A9E832C-25F6-4F2E-84DD-F34ECE0E3917}" dt="2024-02-02T10:19:36.302" v="18766" actId="404"/>
          <ac:spMkLst>
            <pc:docMk/>
            <pc:sldMk cId="1704792734" sldId="2147480331"/>
            <ac:spMk id="35" creationId="{F5E26136-F2C2-6B6C-DCC1-0CA3A2E5C3DF}"/>
          </ac:spMkLst>
        </pc:spChg>
        <pc:spChg chg="mod">
          <ac:chgData name="Julia PONT" userId="6ea7fb32-49be-46d9-9d69-f51ddf012212" providerId="ADAL" clId="{2A9E832C-25F6-4F2E-84DD-F34ECE0E3917}" dt="2024-02-02T08:28:02.895" v="17881" actId="404"/>
          <ac:spMkLst>
            <pc:docMk/>
            <pc:sldMk cId="1704792734" sldId="2147480331"/>
            <ac:spMk id="36" creationId="{0BF855AC-212E-39C9-E480-D8EC69A466D8}"/>
          </ac:spMkLst>
        </pc:spChg>
        <pc:spChg chg="mod">
          <ac:chgData name="Julia PONT" userId="6ea7fb32-49be-46d9-9d69-f51ddf012212" providerId="ADAL" clId="{2A9E832C-25F6-4F2E-84DD-F34ECE0E3917}" dt="2024-02-02T08:28:02.895" v="17881" actId="404"/>
          <ac:spMkLst>
            <pc:docMk/>
            <pc:sldMk cId="1704792734" sldId="2147480331"/>
            <ac:spMk id="37" creationId="{E9472DAE-ED5E-3F82-09AD-4C2A68453682}"/>
          </ac:spMkLst>
        </pc:spChg>
        <pc:spChg chg="mod">
          <ac:chgData name="Julia PONT" userId="6ea7fb32-49be-46d9-9d69-f51ddf012212" providerId="ADAL" clId="{2A9E832C-25F6-4F2E-84DD-F34ECE0E3917}" dt="2024-02-02T08:28:02.895" v="17881" actId="404"/>
          <ac:spMkLst>
            <pc:docMk/>
            <pc:sldMk cId="1704792734" sldId="2147480331"/>
            <ac:spMk id="38" creationId="{7B2A25EF-2411-3311-4265-E85A1397784F}"/>
          </ac:spMkLst>
        </pc:spChg>
        <pc:spChg chg="mod">
          <ac:chgData name="Julia PONT" userId="6ea7fb32-49be-46d9-9d69-f51ddf012212" providerId="ADAL" clId="{2A9E832C-25F6-4F2E-84DD-F34ECE0E3917}" dt="2024-02-02T08:28:02.895" v="17881" actId="404"/>
          <ac:spMkLst>
            <pc:docMk/>
            <pc:sldMk cId="1704792734" sldId="2147480331"/>
            <ac:spMk id="41" creationId="{F6F3CD67-0CC4-A801-8BCD-C7B300930DF5}"/>
          </ac:spMkLst>
        </pc:spChg>
        <pc:spChg chg="mod">
          <ac:chgData name="Julia PONT" userId="6ea7fb32-49be-46d9-9d69-f51ddf012212" providerId="ADAL" clId="{2A9E832C-25F6-4F2E-84DD-F34ECE0E3917}" dt="2024-02-02T08:28:02.895" v="17881" actId="404"/>
          <ac:spMkLst>
            <pc:docMk/>
            <pc:sldMk cId="1704792734" sldId="2147480331"/>
            <ac:spMk id="42" creationId="{1F83EA59-2C1A-1BCE-75F2-AA35F5AEC879}"/>
          </ac:spMkLst>
        </pc:spChg>
        <pc:spChg chg="mod">
          <ac:chgData name="Julia PONT" userId="6ea7fb32-49be-46d9-9d69-f51ddf012212" providerId="ADAL" clId="{2A9E832C-25F6-4F2E-84DD-F34ECE0E3917}" dt="2024-02-02T08:28:02.895" v="17881" actId="404"/>
          <ac:spMkLst>
            <pc:docMk/>
            <pc:sldMk cId="1704792734" sldId="2147480331"/>
            <ac:spMk id="44" creationId="{0DA24D1E-FAC7-DE03-1B4E-D4B48772BD69}"/>
          </ac:spMkLst>
        </pc:spChg>
        <pc:spChg chg="mod">
          <ac:chgData name="Julia PONT" userId="6ea7fb32-49be-46d9-9d69-f51ddf012212" providerId="ADAL" clId="{2A9E832C-25F6-4F2E-84DD-F34ECE0E3917}" dt="2024-02-02T08:28:02.895" v="17881" actId="404"/>
          <ac:spMkLst>
            <pc:docMk/>
            <pc:sldMk cId="1704792734" sldId="2147480331"/>
            <ac:spMk id="48" creationId="{FCAA275D-D07A-3A01-CDD3-2AC87AB916E5}"/>
          </ac:spMkLst>
        </pc:spChg>
        <pc:spChg chg="mod">
          <ac:chgData name="Julia PONT" userId="6ea7fb32-49be-46d9-9d69-f51ddf012212" providerId="ADAL" clId="{2A9E832C-25F6-4F2E-84DD-F34ECE0E3917}" dt="2024-02-02T08:28:02.895" v="17881" actId="404"/>
          <ac:spMkLst>
            <pc:docMk/>
            <pc:sldMk cId="1704792734" sldId="2147480331"/>
            <ac:spMk id="51" creationId="{A692BA76-726A-428B-0119-AB4F1F19ECF4}"/>
          </ac:spMkLst>
        </pc:spChg>
        <pc:spChg chg="mod">
          <ac:chgData name="Julia PONT" userId="6ea7fb32-49be-46d9-9d69-f51ddf012212" providerId="ADAL" clId="{2A9E832C-25F6-4F2E-84DD-F34ECE0E3917}" dt="2024-02-02T08:28:02.895" v="17881" actId="404"/>
          <ac:spMkLst>
            <pc:docMk/>
            <pc:sldMk cId="1704792734" sldId="2147480331"/>
            <ac:spMk id="52" creationId="{88996335-8D07-FFCA-587C-A3E5DD46D0BF}"/>
          </ac:spMkLst>
        </pc:spChg>
        <pc:spChg chg="mod">
          <ac:chgData name="Julia PONT" userId="6ea7fb32-49be-46d9-9d69-f51ddf012212" providerId="ADAL" clId="{2A9E832C-25F6-4F2E-84DD-F34ECE0E3917}" dt="2024-02-02T08:28:02.895" v="17881" actId="404"/>
          <ac:spMkLst>
            <pc:docMk/>
            <pc:sldMk cId="1704792734" sldId="2147480331"/>
            <ac:spMk id="53" creationId="{1E5161C6-FD31-AE6B-4777-1B88B54BDB15}"/>
          </ac:spMkLst>
        </pc:spChg>
        <pc:spChg chg="mod">
          <ac:chgData name="Julia PONT" userId="6ea7fb32-49be-46d9-9d69-f51ddf012212" providerId="ADAL" clId="{2A9E832C-25F6-4F2E-84DD-F34ECE0E3917}" dt="2024-02-02T08:28:02.895" v="17881" actId="404"/>
          <ac:spMkLst>
            <pc:docMk/>
            <pc:sldMk cId="1704792734" sldId="2147480331"/>
            <ac:spMk id="54" creationId="{E32F397C-D771-EAE0-9563-AC19A2F61626}"/>
          </ac:spMkLst>
        </pc:spChg>
        <pc:spChg chg="mod">
          <ac:chgData name="Julia PONT" userId="6ea7fb32-49be-46d9-9d69-f51ddf012212" providerId="ADAL" clId="{2A9E832C-25F6-4F2E-84DD-F34ECE0E3917}" dt="2024-02-02T08:28:02.895" v="17881" actId="404"/>
          <ac:spMkLst>
            <pc:docMk/>
            <pc:sldMk cId="1704792734" sldId="2147480331"/>
            <ac:spMk id="57" creationId="{09644C5B-4AA9-9720-DA9D-3B4A7BB73172}"/>
          </ac:spMkLst>
        </pc:spChg>
        <pc:spChg chg="mod">
          <ac:chgData name="Julia PONT" userId="6ea7fb32-49be-46d9-9d69-f51ddf012212" providerId="ADAL" clId="{2A9E832C-25F6-4F2E-84DD-F34ECE0E3917}" dt="2024-02-02T08:28:02.895" v="17881" actId="404"/>
          <ac:spMkLst>
            <pc:docMk/>
            <pc:sldMk cId="1704792734" sldId="2147480331"/>
            <ac:spMk id="58" creationId="{E3EBBDA7-C5AF-5C05-ABA7-F8FB0BEDB564}"/>
          </ac:spMkLst>
        </pc:spChg>
        <pc:spChg chg="mod">
          <ac:chgData name="Julia PONT" userId="6ea7fb32-49be-46d9-9d69-f51ddf012212" providerId="ADAL" clId="{2A9E832C-25F6-4F2E-84DD-F34ECE0E3917}" dt="2024-02-02T08:28:02.895" v="17881" actId="404"/>
          <ac:spMkLst>
            <pc:docMk/>
            <pc:sldMk cId="1704792734" sldId="2147480331"/>
            <ac:spMk id="67" creationId="{87A386C9-AF95-4268-5660-C0FB8B61BFF0}"/>
          </ac:spMkLst>
        </pc:spChg>
        <pc:spChg chg="mod">
          <ac:chgData name="Julia PONT" userId="6ea7fb32-49be-46d9-9d69-f51ddf012212" providerId="ADAL" clId="{2A9E832C-25F6-4F2E-84DD-F34ECE0E3917}" dt="2024-02-02T08:28:02.895" v="17881" actId="404"/>
          <ac:spMkLst>
            <pc:docMk/>
            <pc:sldMk cId="1704792734" sldId="2147480331"/>
            <ac:spMk id="69" creationId="{8E1D112B-6D92-7827-FEB7-50258B673604}"/>
          </ac:spMkLst>
        </pc:spChg>
      </pc:sldChg>
      <pc:sldChg chg="addSp delSp modSp mod">
        <pc:chgData name="Julia PONT" userId="6ea7fb32-49be-46d9-9d69-f51ddf012212" providerId="ADAL" clId="{2A9E832C-25F6-4F2E-84DD-F34ECE0E3917}" dt="2024-02-02T09:41:53.664" v="18753" actId="165"/>
        <pc:sldMkLst>
          <pc:docMk/>
          <pc:sldMk cId="3670225089" sldId="2147480333"/>
        </pc:sldMkLst>
        <pc:spChg chg="add mod topLvl">
          <ac:chgData name="Julia PONT" userId="6ea7fb32-49be-46d9-9d69-f51ddf012212" providerId="ADAL" clId="{2A9E832C-25F6-4F2E-84DD-F34ECE0E3917}" dt="2024-02-02T09:41:53.664" v="18753" actId="165"/>
          <ac:spMkLst>
            <pc:docMk/>
            <pc:sldMk cId="3670225089" sldId="2147480333"/>
            <ac:spMk id="2" creationId="{43DFF4CD-4562-09CE-3D1A-F9443AB78791}"/>
          </ac:spMkLst>
        </pc:spChg>
        <pc:spChg chg="add mod topLvl">
          <ac:chgData name="Julia PONT" userId="6ea7fb32-49be-46d9-9d69-f51ddf012212" providerId="ADAL" clId="{2A9E832C-25F6-4F2E-84DD-F34ECE0E3917}" dt="2024-02-02T09:41:53.664" v="18753" actId="165"/>
          <ac:spMkLst>
            <pc:docMk/>
            <pc:sldMk cId="3670225089" sldId="2147480333"/>
            <ac:spMk id="3" creationId="{E4E2061E-9990-9FE5-0D57-8F31A4143A90}"/>
          </ac:spMkLst>
        </pc:spChg>
        <pc:spChg chg="add del mod">
          <ac:chgData name="Julia PONT" userId="6ea7fb32-49be-46d9-9d69-f51ddf012212" providerId="ADAL" clId="{2A9E832C-25F6-4F2E-84DD-F34ECE0E3917}" dt="2024-02-01T14:59:19.328" v="15844" actId="478"/>
          <ac:spMkLst>
            <pc:docMk/>
            <pc:sldMk cId="3670225089" sldId="2147480333"/>
            <ac:spMk id="5" creationId="{0A0CF385-5A53-A319-6CD3-C0E7D978C220}"/>
          </ac:spMkLst>
        </pc:spChg>
        <pc:spChg chg="mod">
          <ac:chgData name="Julia PONT" userId="6ea7fb32-49be-46d9-9d69-f51ddf012212" providerId="ADAL" clId="{2A9E832C-25F6-4F2E-84DD-F34ECE0E3917}" dt="2024-02-02T09:31:51.866" v="18652" actId="207"/>
          <ac:spMkLst>
            <pc:docMk/>
            <pc:sldMk cId="3670225089" sldId="2147480333"/>
            <ac:spMk id="5" creationId="{AC7880CC-651F-F6C0-089E-8DE72D33A13C}"/>
          </ac:spMkLst>
        </pc:spChg>
        <pc:spChg chg="add mod">
          <ac:chgData name="Julia PONT" userId="6ea7fb32-49be-46d9-9d69-f51ddf012212" providerId="ADAL" clId="{2A9E832C-25F6-4F2E-84DD-F34ECE0E3917}" dt="2024-02-02T08:39:09.965" v="17954" actId="1076"/>
          <ac:spMkLst>
            <pc:docMk/>
            <pc:sldMk cId="3670225089" sldId="2147480333"/>
            <ac:spMk id="6" creationId="{7B4D0DCC-626E-4847-84C4-C8287A56AC08}"/>
          </ac:spMkLst>
        </pc:spChg>
        <pc:spChg chg="add del mod">
          <ac:chgData name="Julia PONT" userId="6ea7fb32-49be-46d9-9d69-f51ddf012212" providerId="ADAL" clId="{2A9E832C-25F6-4F2E-84DD-F34ECE0E3917}" dt="2024-02-02T09:41:23.649" v="18723" actId="478"/>
          <ac:spMkLst>
            <pc:docMk/>
            <pc:sldMk cId="3670225089" sldId="2147480333"/>
            <ac:spMk id="8" creationId="{3B104751-3CC6-0561-3542-6C230501D6C2}"/>
          </ac:spMkLst>
        </pc:spChg>
        <pc:spChg chg="mod">
          <ac:chgData name="Julia PONT" userId="6ea7fb32-49be-46d9-9d69-f51ddf012212" providerId="ADAL" clId="{2A9E832C-25F6-4F2E-84DD-F34ECE0E3917}" dt="2024-02-02T09:31:46.472" v="18651" actId="208"/>
          <ac:spMkLst>
            <pc:docMk/>
            <pc:sldMk cId="3670225089" sldId="2147480333"/>
            <ac:spMk id="9" creationId="{1321CE61-B65D-D9E6-FB92-61161E4BBC53}"/>
          </ac:spMkLst>
        </pc:spChg>
        <pc:spChg chg="mod">
          <ac:chgData name="Julia PONT" userId="6ea7fb32-49be-46d9-9d69-f51ddf012212" providerId="ADAL" clId="{2A9E832C-25F6-4F2E-84DD-F34ECE0E3917}" dt="2024-02-02T08:38:53.531" v="17951" actId="207"/>
          <ac:spMkLst>
            <pc:docMk/>
            <pc:sldMk cId="3670225089" sldId="2147480333"/>
            <ac:spMk id="12" creationId="{A69472D7-2493-2CA6-688C-D454739D34D4}"/>
          </ac:spMkLst>
        </pc:spChg>
        <pc:spChg chg="mod">
          <ac:chgData name="Julia PONT" userId="6ea7fb32-49be-46d9-9d69-f51ddf012212" providerId="ADAL" clId="{2A9E832C-25F6-4F2E-84DD-F34ECE0E3917}" dt="2024-02-02T08:39:07.364" v="17953"/>
          <ac:spMkLst>
            <pc:docMk/>
            <pc:sldMk cId="3670225089" sldId="2147480333"/>
            <ac:spMk id="30" creationId="{A8A15718-341E-1618-BBFE-8DE79C4D1726}"/>
          </ac:spMkLst>
        </pc:spChg>
        <pc:spChg chg="mod">
          <ac:chgData name="Julia PONT" userId="6ea7fb32-49be-46d9-9d69-f51ddf012212" providerId="ADAL" clId="{2A9E832C-25F6-4F2E-84DD-F34ECE0E3917}" dt="2024-02-02T08:38:56.712" v="17952" actId="208"/>
          <ac:spMkLst>
            <pc:docMk/>
            <pc:sldMk cId="3670225089" sldId="2147480333"/>
            <ac:spMk id="39" creationId="{39B9476E-CE55-189C-6043-17DFA697A5A0}"/>
          </ac:spMkLst>
        </pc:spChg>
        <pc:grpChg chg="add del mod">
          <ac:chgData name="Julia PONT" userId="6ea7fb32-49be-46d9-9d69-f51ddf012212" providerId="ADAL" clId="{2A9E832C-25F6-4F2E-84DD-F34ECE0E3917}" dt="2024-02-01T17:13:22.409" v="17561" actId="165"/>
          <ac:grpSpMkLst>
            <pc:docMk/>
            <pc:sldMk cId="3670225089" sldId="2147480333"/>
            <ac:grpSpMk id="9" creationId="{E3A20F7B-3287-7BAF-8A6A-60747DF4C154}"/>
          </ac:grpSpMkLst>
        </pc:grpChg>
        <pc:grpChg chg="add del mod">
          <ac:chgData name="Julia PONT" userId="6ea7fb32-49be-46d9-9d69-f51ddf012212" providerId="ADAL" clId="{2A9E832C-25F6-4F2E-84DD-F34ECE0E3917}" dt="2024-02-02T09:39:39.180" v="18705" actId="165"/>
          <ac:grpSpMkLst>
            <pc:docMk/>
            <pc:sldMk cId="3670225089" sldId="2147480333"/>
            <ac:grpSpMk id="14" creationId="{0FBDCDB9-CBAE-49AB-C3C6-1958CD3DD2EB}"/>
          </ac:grpSpMkLst>
        </pc:grpChg>
        <pc:grpChg chg="add del mod">
          <ac:chgData name="Julia PONT" userId="6ea7fb32-49be-46d9-9d69-f51ddf012212" providerId="ADAL" clId="{2A9E832C-25F6-4F2E-84DD-F34ECE0E3917}" dt="2024-02-02T09:40:53.921" v="18718" actId="165"/>
          <ac:grpSpMkLst>
            <pc:docMk/>
            <pc:sldMk cId="3670225089" sldId="2147480333"/>
            <ac:grpSpMk id="16" creationId="{EBD7D6C8-09AD-5EA2-5E7A-4198227E652B}"/>
          </ac:grpSpMkLst>
        </pc:grpChg>
        <pc:grpChg chg="add del mod">
          <ac:chgData name="Julia PONT" userId="6ea7fb32-49be-46d9-9d69-f51ddf012212" providerId="ADAL" clId="{2A9E832C-25F6-4F2E-84DD-F34ECE0E3917}" dt="2024-02-02T09:41:05.041" v="18722" actId="165"/>
          <ac:grpSpMkLst>
            <pc:docMk/>
            <pc:sldMk cId="3670225089" sldId="2147480333"/>
            <ac:grpSpMk id="17" creationId="{EED93EA0-ECDB-577D-3B20-E7193DF7C873}"/>
          </ac:grpSpMkLst>
        </pc:grpChg>
        <pc:grpChg chg="add del mod">
          <ac:chgData name="Julia PONT" userId="6ea7fb32-49be-46d9-9d69-f51ddf012212" providerId="ADAL" clId="{2A9E832C-25F6-4F2E-84DD-F34ECE0E3917}" dt="2024-02-02T09:41:53.664" v="18753" actId="165"/>
          <ac:grpSpMkLst>
            <pc:docMk/>
            <pc:sldMk cId="3670225089" sldId="2147480333"/>
            <ac:grpSpMk id="18" creationId="{3267F854-4D04-495E-7BA1-3873D799AD4D}"/>
          </ac:grpSpMkLst>
        </pc:grpChg>
        <pc:grpChg chg="add del mod">
          <ac:chgData name="Julia PONT" userId="6ea7fb32-49be-46d9-9d69-f51ddf012212" providerId="ADAL" clId="{2A9E832C-25F6-4F2E-84DD-F34ECE0E3917}" dt="2024-02-02T09:41:53.664" v="18753" actId="165"/>
          <ac:grpSpMkLst>
            <pc:docMk/>
            <pc:sldMk cId="3670225089" sldId="2147480333"/>
            <ac:grpSpMk id="19" creationId="{28DE3CC0-0A64-2F10-27BC-694A2D3E03AC}"/>
          </ac:grpSpMkLst>
        </pc:grpChg>
        <pc:picChg chg="add mod ord topLvl">
          <ac:chgData name="Julia PONT" userId="6ea7fb32-49be-46d9-9d69-f51ddf012212" providerId="ADAL" clId="{2A9E832C-25F6-4F2E-84DD-F34ECE0E3917}" dt="2024-02-02T09:41:53.664" v="18753" actId="165"/>
          <ac:picMkLst>
            <pc:docMk/>
            <pc:sldMk cId="3670225089" sldId="2147480333"/>
            <ac:picMk id="4" creationId="{3F9D5E9E-4AA1-699A-54FB-4EC60A8E8D8B}"/>
          </ac:picMkLst>
        </pc:picChg>
        <pc:picChg chg="add del mod">
          <ac:chgData name="Julia PONT" userId="6ea7fb32-49be-46d9-9d69-f51ddf012212" providerId="ADAL" clId="{2A9E832C-25F6-4F2E-84DD-F34ECE0E3917}" dt="2024-02-01T17:08:05.507" v="17428" actId="21"/>
          <ac:picMkLst>
            <pc:docMk/>
            <pc:sldMk cId="3670225089" sldId="2147480333"/>
            <ac:picMk id="5" creationId="{16359410-AA8D-827D-EBFD-F752A9D6CE03}"/>
          </ac:picMkLst>
        </pc:picChg>
        <pc:picChg chg="add del mod">
          <ac:chgData name="Julia PONT" userId="6ea7fb32-49be-46d9-9d69-f51ddf012212" providerId="ADAL" clId="{2A9E832C-25F6-4F2E-84DD-F34ECE0E3917}" dt="2024-02-02T09:41:23.649" v="18723" actId="478"/>
          <ac:picMkLst>
            <pc:docMk/>
            <pc:sldMk cId="3670225089" sldId="2147480333"/>
            <ac:picMk id="7" creationId="{16359410-AA8D-827D-EBFD-F752A9D6CE03}"/>
          </ac:picMkLst>
        </pc:picChg>
        <pc:picChg chg="add mod topLvl">
          <ac:chgData name="Julia PONT" userId="6ea7fb32-49be-46d9-9d69-f51ddf012212" providerId="ADAL" clId="{2A9E832C-25F6-4F2E-84DD-F34ECE0E3917}" dt="2024-02-02T09:41:53.664" v="18753" actId="165"/>
          <ac:picMkLst>
            <pc:docMk/>
            <pc:sldMk cId="3670225089" sldId="2147480333"/>
            <ac:picMk id="10" creationId="{76EC65D6-4717-958B-EFBB-2B050B3628AD}"/>
          </ac:picMkLst>
        </pc:picChg>
        <pc:picChg chg="add mod topLvl">
          <ac:chgData name="Julia PONT" userId="6ea7fb32-49be-46d9-9d69-f51ddf012212" providerId="ADAL" clId="{2A9E832C-25F6-4F2E-84DD-F34ECE0E3917}" dt="2024-02-02T09:41:53.664" v="18753" actId="165"/>
          <ac:picMkLst>
            <pc:docMk/>
            <pc:sldMk cId="3670225089" sldId="2147480333"/>
            <ac:picMk id="11" creationId="{5CE3F4A0-87BD-DF3E-40EB-6F074AEE419F}"/>
          </ac:picMkLst>
        </pc:picChg>
        <pc:picChg chg="add mod topLvl">
          <ac:chgData name="Julia PONT" userId="6ea7fb32-49be-46d9-9d69-f51ddf012212" providerId="ADAL" clId="{2A9E832C-25F6-4F2E-84DD-F34ECE0E3917}" dt="2024-02-02T09:41:53.664" v="18753" actId="165"/>
          <ac:picMkLst>
            <pc:docMk/>
            <pc:sldMk cId="3670225089" sldId="2147480333"/>
            <ac:picMk id="13" creationId="{FB25BB29-C01D-B907-15B6-6CC3A4DFF784}"/>
          </ac:picMkLst>
        </pc:picChg>
        <pc:picChg chg="add mod topLvl">
          <ac:chgData name="Julia PONT" userId="6ea7fb32-49be-46d9-9d69-f51ddf012212" providerId="ADAL" clId="{2A9E832C-25F6-4F2E-84DD-F34ECE0E3917}" dt="2024-02-02T09:41:53.664" v="18753" actId="165"/>
          <ac:picMkLst>
            <pc:docMk/>
            <pc:sldMk cId="3670225089" sldId="2147480333"/>
            <ac:picMk id="15" creationId="{CC110D12-1BF3-92D5-5CF1-72614E064EA6}"/>
          </ac:picMkLst>
        </pc:picChg>
        <pc:picChg chg="add del mod">
          <ac:chgData name="Julia PONT" userId="6ea7fb32-49be-46d9-9d69-f51ddf012212" providerId="ADAL" clId="{2A9E832C-25F6-4F2E-84DD-F34ECE0E3917}" dt="2024-02-01T17:38:57.161" v="17705" actId="21"/>
          <ac:picMkLst>
            <pc:docMk/>
            <pc:sldMk cId="3670225089" sldId="2147480333"/>
            <ac:picMk id="1026" creationId="{DF7F7002-29B1-81D7-4DF0-EB2DD3A9ABB7}"/>
          </ac:picMkLst>
        </pc:picChg>
      </pc:sldChg>
      <pc:sldChg chg="addSp delSp modSp add mod">
        <pc:chgData name="Julia PONT" userId="6ea7fb32-49be-46d9-9d69-f51ddf012212" providerId="ADAL" clId="{2A9E832C-25F6-4F2E-84DD-F34ECE0E3917}" dt="2024-01-31T14:09:17.177" v="8037" actId="313"/>
        <pc:sldMkLst>
          <pc:docMk/>
          <pc:sldMk cId="560279385" sldId="2147480334"/>
        </pc:sldMkLst>
        <pc:spChg chg="del">
          <ac:chgData name="Julia PONT" userId="6ea7fb32-49be-46d9-9d69-f51ddf012212" providerId="ADAL" clId="{2A9E832C-25F6-4F2E-84DD-F34ECE0E3917}" dt="2024-01-31T13:01:50.667" v="7473" actId="478"/>
          <ac:spMkLst>
            <pc:docMk/>
            <pc:sldMk cId="560279385" sldId="2147480334"/>
            <ac:spMk id="3" creationId="{26676C7D-29AC-B36D-DBCB-C0D3FB20ED1B}"/>
          </ac:spMkLst>
        </pc:spChg>
        <pc:spChg chg="del">
          <ac:chgData name="Julia PONT" userId="6ea7fb32-49be-46d9-9d69-f51ddf012212" providerId="ADAL" clId="{2A9E832C-25F6-4F2E-84DD-F34ECE0E3917}" dt="2024-01-31T13:01:55.474" v="7474" actId="478"/>
          <ac:spMkLst>
            <pc:docMk/>
            <pc:sldMk cId="560279385" sldId="2147480334"/>
            <ac:spMk id="5" creationId="{C4B99422-86BB-BDCD-BA3A-AD76E53DED57}"/>
          </ac:spMkLst>
        </pc:spChg>
        <pc:spChg chg="mod">
          <ac:chgData name="Julia PONT" userId="6ea7fb32-49be-46d9-9d69-f51ddf012212" providerId="ADAL" clId="{2A9E832C-25F6-4F2E-84DD-F34ECE0E3917}" dt="2024-01-31T13:05:22.428" v="7544" actId="408"/>
          <ac:spMkLst>
            <pc:docMk/>
            <pc:sldMk cId="560279385" sldId="2147480334"/>
            <ac:spMk id="7" creationId="{1DCD2507-E28D-4DD4-7F86-B1352FD28452}"/>
          </ac:spMkLst>
        </pc:spChg>
        <pc:spChg chg="mod">
          <ac:chgData name="Julia PONT" userId="6ea7fb32-49be-46d9-9d69-f51ddf012212" providerId="ADAL" clId="{2A9E832C-25F6-4F2E-84DD-F34ECE0E3917}" dt="2024-01-31T13:04:46.107" v="7537" actId="14100"/>
          <ac:spMkLst>
            <pc:docMk/>
            <pc:sldMk cId="560279385" sldId="2147480334"/>
            <ac:spMk id="8" creationId="{81540782-9568-A02D-4346-F37386AB1C7C}"/>
          </ac:spMkLst>
        </pc:spChg>
        <pc:spChg chg="del">
          <ac:chgData name="Julia PONT" userId="6ea7fb32-49be-46d9-9d69-f51ddf012212" providerId="ADAL" clId="{2A9E832C-25F6-4F2E-84DD-F34ECE0E3917}" dt="2024-01-31T13:01:55.474" v="7474" actId="478"/>
          <ac:spMkLst>
            <pc:docMk/>
            <pc:sldMk cId="560279385" sldId="2147480334"/>
            <ac:spMk id="9" creationId="{36A022D6-6BF4-D41C-6288-2EDB63CEE8B5}"/>
          </ac:spMkLst>
        </pc:spChg>
        <pc:spChg chg="del mod">
          <ac:chgData name="Julia PONT" userId="6ea7fb32-49be-46d9-9d69-f51ddf012212" providerId="ADAL" clId="{2A9E832C-25F6-4F2E-84DD-F34ECE0E3917}" dt="2024-01-31T13:04:37.278" v="7533"/>
          <ac:spMkLst>
            <pc:docMk/>
            <pc:sldMk cId="560279385" sldId="2147480334"/>
            <ac:spMk id="14" creationId="{D55445F8-D054-7A4E-7244-4FD9D82F3735}"/>
          </ac:spMkLst>
        </pc:spChg>
        <pc:spChg chg="mod">
          <ac:chgData name="Julia PONT" userId="6ea7fb32-49be-46d9-9d69-f51ddf012212" providerId="ADAL" clId="{2A9E832C-25F6-4F2E-84DD-F34ECE0E3917}" dt="2024-01-31T13:05:22.428" v="7544" actId="408"/>
          <ac:spMkLst>
            <pc:docMk/>
            <pc:sldMk cId="560279385" sldId="2147480334"/>
            <ac:spMk id="16" creationId="{97B414EA-9B0E-564B-68BD-F44C69409C8C}"/>
          </ac:spMkLst>
        </pc:spChg>
        <pc:spChg chg="mod topLvl">
          <ac:chgData name="Julia PONT" userId="6ea7fb32-49be-46d9-9d69-f51ddf012212" providerId="ADAL" clId="{2A9E832C-25F6-4F2E-84DD-F34ECE0E3917}" dt="2024-01-31T13:07:00.112" v="7669" actId="1037"/>
          <ac:spMkLst>
            <pc:docMk/>
            <pc:sldMk cId="560279385" sldId="2147480334"/>
            <ac:spMk id="18" creationId="{4064F7DA-4BA7-06E4-650F-39CC9A0D792C}"/>
          </ac:spMkLst>
        </pc:spChg>
        <pc:spChg chg="mod">
          <ac:chgData name="Julia PONT" userId="6ea7fb32-49be-46d9-9d69-f51ddf012212" providerId="ADAL" clId="{2A9E832C-25F6-4F2E-84DD-F34ECE0E3917}" dt="2024-01-31T13:06:49.858" v="7622" actId="1038"/>
          <ac:spMkLst>
            <pc:docMk/>
            <pc:sldMk cId="560279385" sldId="2147480334"/>
            <ac:spMk id="20" creationId="{4CC07D93-D3B1-A07D-A64F-D14B739DB146}"/>
          </ac:spMkLst>
        </pc:spChg>
        <pc:spChg chg="mod topLvl">
          <ac:chgData name="Julia PONT" userId="6ea7fb32-49be-46d9-9d69-f51ddf012212" providerId="ADAL" clId="{2A9E832C-25F6-4F2E-84DD-F34ECE0E3917}" dt="2024-01-31T13:07:00.112" v="7669" actId="1037"/>
          <ac:spMkLst>
            <pc:docMk/>
            <pc:sldMk cId="560279385" sldId="2147480334"/>
            <ac:spMk id="22" creationId="{1389C256-4FD5-C59D-F882-884C7E7BEB51}"/>
          </ac:spMkLst>
        </pc:spChg>
        <pc:spChg chg="mod">
          <ac:chgData name="Julia PONT" userId="6ea7fb32-49be-46d9-9d69-f51ddf012212" providerId="ADAL" clId="{2A9E832C-25F6-4F2E-84DD-F34ECE0E3917}" dt="2024-01-31T13:06:49.858" v="7622" actId="1038"/>
          <ac:spMkLst>
            <pc:docMk/>
            <pc:sldMk cId="560279385" sldId="2147480334"/>
            <ac:spMk id="24" creationId="{869A629E-6478-990A-ACED-8000BE5A7019}"/>
          </ac:spMkLst>
        </pc:spChg>
        <pc:spChg chg="mod topLvl">
          <ac:chgData name="Julia PONT" userId="6ea7fb32-49be-46d9-9d69-f51ddf012212" providerId="ADAL" clId="{2A9E832C-25F6-4F2E-84DD-F34ECE0E3917}" dt="2024-01-31T13:07:00.112" v="7669" actId="1037"/>
          <ac:spMkLst>
            <pc:docMk/>
            <pc:sldMk cId="560279385" sldId="2147480334"/>
            <ac:spMk id="30" creationId="{04C2A2DB-C3E5-1109-A978-313956AD8A29}"/>
          </ac:spMkLst>
        </pc:spChg>
        <pc:spChg chg="mod">
          <ac:chgData name="Julia PONT" userId="6ea7fb32-49be-46d9-9d69-f51ddf012212" providerId="ADAL" clId="{2A9E832C-25F6-4F2E-84DD-F34ECE0E3917}" dt="2024-01-31T13:06:49.858" v="7622" actId="1038"/>
          <ac:spMkLst>
            <pc:docMk/>
            <pc:sldMk cId="560279385" sldId="2147480334"/>
            <ac:spMk id="32" creationId="{5057183C-1A1B-7D64-2C7C-FE9B72ABA234}"/>
          </ac:spMkLst>
        </pc:spChg>
        <pc:spChg chg="del">
          <ac:chgData name="Julia PONT" userId="6ea7fb32-49be-46d9-9d69-f51ddf012212" providerId="ADAL" clId="{2A9E832C-25F6-4F2E-84DD-F34ECE0E3917}" dt="2024-01-31T13:02:02.095" v="7477" actId="478"/>
          <ac:spMkLst>
            <pc:docMk/>
            <pc:sldMk cId="560279385" sldId="2147480334"/>
            <ac:spMk id="34" creationId="{B644158F-D8FF-8990-B395-35FC508ECE2C}"/>
          </ac:spMkLst>
        </pc:spChg>
        <pc:spChg chg="del mod">
          <ac:chgData name="Julia PONT" userId="6ea7fb32-49be-46d9-9d69-f51ddf012212" providerId="ADAL" clId="{2A9E832C-25F6-4F2E-84DD-F34ECE0E3917}" dt="2024-01-31T13:03:12.614" v="7503"/>
          <ac:spMkLst>
            <pc:docMk/>
            <pc:sldMk cId="560279385" sldId="2147480334"/>
            <ac:spMk id="35" creationId="{749B3CBF-1A40-A67E-6F63-A25B070E2E32}"/>
          </ac:spMkLst>
        </pc:spChg>
        <pc:spChg chg="mod">
          <ac:chgData name="Julia PONT" userId="6ea7fb32-49be-46d9-9d69-f51ddf012212" providerId="ADAL" clId="{2A9E832C-25F6-4F2E-84DD-F34ECE0E3917}" dt="2024-01-31T13:05:30.383" v="7545" actId="555"/>
          <ac:spMkLst>
            <pc:docMk/>
            <pc:sldMk cId="560279385" sldId="2147480334"/>
            <ac:spMk id="47" creationId="{79B62BFD-1D61-4DDC-33B0-5371BCB81369}"/>
          </ac:spMkLst>
        </pc:spChg>
        <pc:spChg chg="del">
          <ac:chgData name="Julia PONT" userId="6ea7fb32-49be-46d9-9d69-f51ddf012212" providerId="ADAL" clId="{2A9E832C-25F6-4F2E-84DD-F34ECE0E3917}" dt="2024-01-31T13:01:57.155" v="7475" actId="478"/>
          <ac:spMkLst>
            <pc:docMk/>
            <pc:sldMk cId="560279385" sldId="2147480334"/>
            <ac:spMk id="49" creationId="{8059D718-E49A-AE78-B984-BE1F477C0D07}"/>
          </ac:spMkLst>
        </pc:spChg>
        <pc:spChg chg="del">
          <ac:chgData name="Julia PONT" userId="6ea7fb32-49be-46d9-9d69-f51ddf012212" providerId="ADAL" clId="{2A9E832C-25F6-4F2E-84DD-F34ECE0E3917}" dt="2024-01-31T13:01:55.474" v="7474" actId="478"/>
          <ac:spMkLst>
            <pc:docMk/>
            <pc:sldMk cId="560279385" sldId="2147480334"/>
            <ac:spMk id="50" creationId="{EDCBD7D8-94F9-6077-6ECD-0E516F9D3210}"/>
          </ac:spMkLst>
        </pc:spChg>
        <pc:spChg chg="del">
          <ac:chgData name="Julia PONT" userId="6ea7fb32-49be-46d9-9d69-f51ddf012212" providerId="ADAL" clId="{2A9E832C-25F6-4F2E-84DD-F34ECE0E3917}" dt="2024-01-31T13:04:37.270" v="7531" actId="478"/>
          <ac:spMkLst>
            <pc:docMk/>
            <pc:sldMk cId="560279385" sldId="2147480334"/>
            <ac:spMk id="51" creationId="{82FF8A00-A6F7-7115-16ED-A03D40AE57C5}"/>
          </ac:spMkLst>
        </pc:spChg>
        <pc:spChg chg="del">
          <ac:chgData name="Julia PONT" userId="6ea7fb32-49be-46d9-9d69-f51ddf012212" providerId="ADAL" clId="{2A9E832C-25F6-4F2E-84DD-F34ECE0E3917}" dt="2024-01-31T13:01:50.667" v="7473" actId="478"/>
          <ac:spMkLst>
            <pc:docMk/>
            <pc:sldMk cId="560279385" sldId="2147480334"/>
            <ac:spMk id="52" creationId="{F1B92457-E39B-91AD-1B36-60336AB9B90D}"/>
          </ac:spMkLst>
        </pc:spChg>
        <pc:spChg chg="add mod">
          <ac:chgData name="Julia PONT" userId="6ea7fb32-49be-46d9-9d69-f51ddf012212" providerId="ADAL" clId="{2A9E832C-25F6-4F2E-84DD-F34ECE0E3917}" dt="2024-01-31T13:05:22.428" v="7544" actId="408"/>
          <ac:spMkLst>
            <pc:docMk/>
            <pc:sldMk cId="560279385" sldId="2147480334"/>
            <ac:spMk id="53" creationId="{2300CB76-FD91-8CA0-0A72-1225A04C77E4}"/>
          </ac:spMkLst>
        </pc:spChg>
        <pc:spChg chg="del mod">
          <ac:chgData name="Julia PONT" userId="6ea7fb32-49be-46d9-9d69-f51ddf012212" providerId="ADAL" clId="{2A9E832C-25F6-4F2E-84DD-F34ECE0E3917}" dt="2024-01-31T13:04:37.278" v="7535"/>
          <ac:spMkLst>
            <pc:docMk/>
            <pc:sldMk cId="560279385" sldId="2147480334"/>
            <ac:spMk id="54" creationId="{129FE5A6-9E50-FCC7-BF71-9AE4B57DF2EC}"/>
          </ac:spMkLst>
        </pc:spChg>
        <pc:spChg chg="add mod ord">
          <ac:chgData name="Julia PONT" userId="6ea7fb32-49be-46d9-9d69-f51ddf012212" providerId="ADAL" clId="{2A9E832C-25F6-4F2E-84DD-F34ECE0E3917}" dt="2024-01-31T13:05:22.428" v="7544" actId="408"/>
          <ac:spMkLst>
            <pc:docMk/>
            <pc:sldMk cId="560279385" sldId="2147480334"/>
            <ac:spMk id="58" creationId="{78CE811F-937A-60E2-ABD2-4F980E1DAF49}"/>
          </ac:spMkLst>
        </pc:spChg>
        <pc:spChg chg="add mod">
          <ac:chgData name="Julia PONT" userId="6ea7fb32-49be-46d9-9d69-f51ddf012212" providerId="ADAL" clId="{2A9E832C-25F6-4F2E-84DD-F34ECE0E3917}" dt="2024-01-31T14:09:17.177" v="8037" actId="313"/>
          <ac:spMkLst>
            <pc:docMk/>
            <pc:sldMk cId="560279385" sldId="2147480334"/>
            <ac:spMk id="84" creationId="{A8559F82-EE19-3F3B-64CB-95BE206700B2}"/>
          </ac:spMkLst>
        </pc:spChg>
        <pc:grpChg chg="mod">
          <ac:chgData name="Julia PONT" userId="6ea7fb32-49be-46d9-9d69-f51ddf012212" providerId="ADAL" clId="{2A9E832C-25F6-4F2E-84DD-F34ECE0E3917}" dt="2024-01-31T13:05:22.428" v="7544" actId="408"/>
          <ac:grpSpMkLst>
            <pc:docMk/>
            <pc:sldMk cId="560279385" sldId="2147480334"/>
            <ac:grpSpMk id="15" creationId="{F75100F6-639D-8630-D379-2C65BFD24E79}"/>
          </ac:grpSpMkLst>
        </pc:grpChg>
        <pc:grpChg chg="mod topLvl">
          <ac:chgData name="Julia PONT" userId="6ea7fb32-49be-46d9-9d69-f51ddf012212" providerId="ADAL" clId="{2A9E832C-25F6-4F2E-84DD-F34ECE0E3917}" dt="2024-01-31T13:06:49.858" v="7622" actId="1038"/>
          <ac:grpSpMkLst>
            <pc:docMk/>
            <pc:sldMk cId="560279385" sldId="2147480334"/>
            <ac:grpSpMk id="19" creationId="{DAF63C85-5DE6-EB64-B9EE-386A346C4864}"/>
          </ac:grpSpMkLst>
        </pc:grpChg>
        <pc:grpChg chg="mod topLvl">
          <ac:chgData name="Julia PONT" userId="6ea7fb32-49be-46d9-9d69-f51ddf012212" providerId="ADAL" clId="{2A9E832C-25F6-4F2E-84DD-F34ECE0E3917}" dt="2024-01-31T13:06:49.858" v="7622" actId="1038"/>
          <ac:grpSpMkLst>
            <pc:docMk/>
            <pc:sldMk cId="560279385" sldId="2147480334"/>
            <ac:grpSpMk id="23" creationId="{80B82DB5-12EA-9344-DF31-BB4FDE4E91D6}"/>
          </ac:grpSpMkLst>
        </pc:grpChg>
        <pc:grpChg chg="mod">
          <ac:chgData name="Julia PONT" userId="6ea7fb32-49be-46d9-9d69-f51ddf012212" providerId="ADAL" clId="{2A9E832C-25F6-4F2E-84DD-F34ECE0E3917}" dt="2024-01-31T13:06:49.858" v="7622" actId="1038"/>
          <ac:grpSpMkLst>
            <pc:docMk/>
            <pc:sldMk cId="560279385" sldId="2147480334"/>
            <ac:grpSpMk id="25" creationId="{1567ACCE-15AD-234E-D061-4450508DD571}"/>
          </ac:grpSpMkLst>
        </pc:grpChg>
        <pc:grpChg chg="mod topLvl">
          <ac:chgData name="Julia PONT" userId="6ea7fb32-49be-46d9-9d69-f51ddf012212" providerId="ADAL" clId="{2A9E832C-25F6-4F2E-84DD-F34ECE0E3917}" dt="2024-01-31T13:06:49.858" v="7622" actId="1038"/>
          <ac:grpSpMkLst>
            <pc:docMk/>
            <pc:sldMk cId="560279385" sldId="2147480334"/>
            <ac:grpSpMk id="31" creationId="{D4C5A504-E2E2-2D22-F17A-49115B474A41}"/>
          </ac:grpSpMkLst>
        </pc:grpChg>
        <pc:grpChg chg="mod">
          <ac:chgData name="Julia PONT" userId="6ea7fb32-49be-46d9-9d69-f51ddf012212" providerId="ADAL" clId="{2A9E832C-25F6-4F2E-84DD-F34ECE0E3917}" dt="2024-01-31T13:05:40.236" v="7547" actId="555"/>
          <ac:grpSpMkLst>
            <pc:docMk/>
            <pc:sldMk cId="560279385" sldId="2147480334"/>
            <ac:grpSpMk id="43" creationId="{22F8B4A5-115B-2435-08C5-5EEF5168E5FA}"/>
          </ac:grpSpMkLst>
        </pc:grpChg>
        <pc:grpChg chg="mod">
          <ac:chgData name="Julia PONT" userId="6ea7fb32-49be-46d9-9d69-f51ddf012212" providerId="ADAL" clId="{2A9E832C-25F6-4F2E-84DD-F34ECE0E3917}" dt="2024-01-31T13:05:30.383" v="7545" actId="555"/>
          <ac:grpSpMkLst>
            <pc:docMk/>
            <pc:sldMk cId="560279385" sldId="2147480334"/>
            <ac:grpSpMk id="46" creationId="{82223E24-4144-CA87-AB17-4B463D0B2265}"/>
          </ac:grpSpMkLst>
        </pc:grpChg>
        <pc:grpChg chg="del">
          <ac:chgData name="Julia PONT" userId="6ea7fb32-49be-46d9-9d69-f51ddf012212" providerId="ADAL" clId="{2A9E832C-25F6-4F2E-84DD-F34ECE0E3917}" dt="2024-01-31T13:04:55.842" v="7538" actId="165"/>
          <ac:grpSpMkLst>
            <pc:docMk/>
            <pc:sldMk cId="560279385" sldId="2147480334"/>
            <ac:grpSpMk id="55" creationId="{9371EED2-912D-2464-F297-2EC32D5C46D8}"/>
          </ac:grpSpMkLst>
        </pc:grpChg>
        <pc:grpChg chg="del">
          <ac:chgData name="Julia PONT" userId="6ea7fb32-49be-46d9-9d69-f51ddf012212" providerId="ADAL" clId="{2A9E832C-25F6-4F2E-84DD-F34ECE0E3917}" dt="2024-01-31T13:04:55.842" v="7538" actId="165"/>
          <ac:grpSpMkLst>
            <pc:docMk/>
            <pc:sldMk cId="560279385" sldId="2147480334"/>
            <ac:grpSpMk id="56" creationId="{1B1FBE2C-8C16-51E5-8814-1C93EDC229C0}"/>
          </ac:grpSpMkLst>
        </pc:grpChg>
        <pc:grpChg chg="del">
          <ac:chgData name="Julia PONT" userId="6ea7fb32-49be-46d9-9d69-f51ddf012212" providerId="ADAL" clId="{2A9E832C-25F6-4F2E-84DD-F34ECE0E3917}" dt="2024-01-31T13:04:55.842" v="7538" actId="165"/>
          <ac:grpSpMkLst>
            <pc:docMk/>
            <pc:sldMk cId="560279385" sldId="2147480334"/>
            <ac:grpSpMk id="57" creationId="{993DEF1C-848E-2C68-F4FD-AFC2BFE8130D}"/>
          </ac:grpSpMkLst>
        </pc:grpChg>
        <pc:grpChg chg="add mod">
          <ac:chgData name="Julia PONT" userId="6ea7fb32-49be-46d9-9d69-f51ddf012212" providerId="ADAL" clId="{2A9E832C-25F6-4F2E-84DD-F34ECE0E3917}" dt="2024-01-31T13:10:05.593" v="7707" actId="166"/>
          <ac:grpSpMkLst>
            <pc:docMk/>
            <pc:sldMk cId="560279385" sldId="2147480334"/>
            <ac:grpSpMk id="59" creationId="{CD36F777-4E7D-FC48-700E-46A91DC006A7}"/>
          </ac:grpSpMkLst>
        </pc:grpChg>
        <pc:grpChg chg="add del mod">
          <ac:chgData name="Julia PONT" userId="6ea7fb32-49be-46d9-9d69-f51ddf012212" providerId="ADAL" clId="{2A9E832C-25F6-4F2E-84DD-F34ECE0E3917}" dt="2024-01-31T13:06:45.154" v="7584" actId="165"/>
          <ac:grpSpMkLst>
            <pc:docMk/>
            <pc:sldMk cId="560279385" sldId="2147480334"/>
            <ac:grpSpMk id="60" creationId="{2F1951C3-F53A-5587-9E14-07EC22243179}"/>
          </ac:grpSpMkLst>
        </pc:grpChg>
        <pc:grpChg chg="add del mod">
          <ac:chgData name="Julia PONT" userId="6ea7fb32-49be-46d9-9d69-f51ddf012212" providerId="ADAL" clId="{2A9E832C-25F6-4F2E-84DD-F34ECE0E3917}" dt="2024-01-31T13:06:45.154" v="7584" actId="165"/>
          <ac:grpSpMkLst>
            <pc:docMk/>
            <pc:sldMk cId="560279385" sldId="2147480334"/>
            <ac:grpSpMk id="61" creationId="{457ACA13-1E57-FAB9-3B6C-9AD094427496}"/>
          </ac:grpSpMkLst>
        </pc:grpChg>
        <pc:grpChg chg="add del mod">
          <ac:chgData name="Julia PONT" userId="6ea7fb32-49be-46d9-9d69-f51ddf012212" providerId="ADAL" clId="{2A9E832C-25F6-4F2E-84DD-F34ECE0E3917}" dt="2024-01-31T13:06:45.154" v="7584" actId="165"/>
          <ac:grpSpMkLst>
            <pc:docMk/>
            <pc:sldMk cId="560279385" sldId="2147480334"/>
            <ac:grpSpMk id="62" creationId="{4B53B507-A357-A35A-97E3-9B58926F145A}"/>
          </ac:grpSpMkLst>
        </pc:grpChg>
        <pc:picChg chg="mod">
          <ac:chgData name="Julia PONT" userId="6ea7fb32-49be-46d9-9d69-f51ddf012212" providerId="ADAL" clId="{2A9E832C-25F6-4F2E-84DD-F34ECE0E3917}" dt="2024-01-31T13:05:22.428" v="7544" actId="408"/>
          <ac:picMkLst>
            <pc:docMk/>
            <pc:sldMk cId="560279385" sldId="2147480334"/>
            <ac:picMk id="17" creationId="{2F0451F4-ADA0-8910-4828-D32003743B37}"/>
          </ac:picMkLst>
        </pc:picChg>
        <pc:picChg chg="mod">
          <ac:chgData name="Julia PONT" userId="6ea7fb32-49be-46d9-9d69-f51ddf012212" providerId="ADAL" clId="{2A9E832C-25F6-4F2E-84DD-F34ECE0E3917}" dt="2024-01-31T13:06:49.858" v="7622" actId="1038"/>
          <ac:picMkLst>
            <pc:docMk/>
            <pc:sldMk cId="560279385" sldId="2147480334"/>
            <ac:picMk id="21" creationId="{99F39D91-3123-E96E-CBC2-406DA2D9A5EB}"/>
          </ac:picMkLst>
        </pc:picChg>
        <pc:picChg chg="mod">
          <ac:chgData name="Julia PONT" userId="6ea7fb32-49be-46d9-9d69-f51ddf012212" providerId="ADAL" clId="{2A9E832C-25F6-4F2E-84DD-F34ECE0E3917}" dt="2024-01-31T13:06:49.858" v="7622" actId="1038"/>
          <ac:picMkLst>
            <pc:docMk/>
            <pc:sldMk cId="560279385" sldId="2147480334"/>
            <ac:picMk id="26" creationId="{9E645DDB-146E-EA6C-117E-D0663F189561}"/>
          </ac:picMkLst>
        </pc:picChg>
        <pc:picChg chg="mod">
          <ac:chgData name="Julia PONT" userId="6ea7fb32-49be-46d9-9d69-f51ddf012212" providerId="ADAL" clId="{2A9E832C-25F6-4F2E-84DD-F34ECE0E3917}" dt="2024-01-31T13:06:49.858" v="7622" actId="1038"/>
          <ac:picMkLst>
            <pc:docMk/>
            <pc:sldMk cId="560279385" sldId="2147480334"/>
            <ac:picMk id="27" creationId="{AB3410B1-DE62-2A7D-D856-1964471F17AF}"/>
          </ac:picMkLst>
        </pc:picChg>
        <pc:picChg chg="mod">
          <ac:chgData name="Julia PONT" userId="6ea7fb32-49be-46d9-9d69-f51ddf012212" providerId="ADAL" clId="{2A9E832C-25F6-4F2E-84DD-F34ECE0E3917}" dt="2024-01-31T13:06:49.858" v="7622" actId="1038"/>
          <ac:picMkLst>
            <pc:docMk/>
            <pc:sldMk cId="560279385" sldId="2147480334"/>
            <ac:picMk id="28" creationId="{C0B06534-392A-C05D-0CFF-D772D5CD9CAE}"/>
          </ac:picMkLst>
        </pc:picChg>
        <pc:picChg chg="mod">
          <ac:chgData name="Julia PONT" userId="6ea7fb32-49be-46d9-9d69-f51ddf012212" providerId="ADAL" clId="{2A9E832C-25F6-4F2E-84DD-F34ECE0E3917}" dt="2024-01-31T13:06:49.858" v="7622" actId="1038"/>
          <ac:picMkLst>
            <pc:docMk/>
            <pc:sldMk cId="560279385" sldId="2147480334"/>
            <ac:picMk id="29" creationId="{10BD364A-648C-14F4-3768-64EED584DB5D}"/>
          </ac:picMkLst>
        </pc:picChg>
        <pc:picChg chg="mod">
          <ac:chgData name="Julia PONT" userId="6ea7fb32-49be-46d9-9d69-f51ddf012212" providerId="ADAL" clId="{2A9E832C-25F6-4F2E-84DD-F34ECE0E3917}" dt="2024-01-31T13:06:49.858" v="7622" actId="1038"/>
          <ac:picMkLst>
            <pc:docMk/>
            <pc:sldMk cId="560279385" sldId="2147480334"/>
            <ac:picMk id="33" creationId="{A359EC7F-D421-8986-1962-0130B5546441}"/>
          </ac:picMkLst>
        </pc:picChg>
        <pc:picChg chg="mod">
          <ac:chgData name="Julia PONT" userId="6ea7fb32-49be-46d9-9d69-f51ddf012212" providerId="ADAL" clId="{2A9E832C-25F6-4F2E-84DD-F34ECE0E3917}" dt="2024-01-31T13:05:30.383" v="7545" actId="555"/>
          <ac:picMkLst>
            <pc:docMk/>
            <pc:sldMk cId="560279385" sldId="2147480334"/>
            <ac:picMk id="48" creationId="{67E5E287-742F-4A4C-7682-92642AA5F843}"/>
          </ac:picMkLst>
        </pc:picChg>
        <pc:cxnChg chg="del">
          <ac:chgData name="Julia PONT" userId="6ea7fb32-49be-46d9-9d69-f51ddf012212" providerId="ADAL" clId="{2A9E832C-25F6-4F2E-84DD-F34ECE0E3917}" dt="2024-01-31T13:02:00.288" v="7476" actId="478"/>
          <ac:cxnSpMkLst>
            <pc:docMk/>
            <pc:sldMk cId="560279385" sldId="2147480334"/>
            <ac:cxnSpMk id="4" creationId="{7E6164A0-2D3C-A29C-548C-25091F73E61B}"/>
          </ac:cxnSpMkLst>
        </pc:cxnChg>
        <pc:cxnChg chg="del mod">
          <ac:chgData name="Julia PONT" userId="6ea7fb32-49be-46d9-9d69-f51ddf012212" providerId="ADAL" clId="{2A9E832C-25F6-4F2E-84DD-F34ECE0E3917}" dt="2024-01-31T13:02:00.288" v="7476" actId="478"/>
          <ac:cxnSpMkLst>
            <pc:docMk/>
            <pc:sldMk cId="560279385" sldId="2147480334"/>
            <ac:cxnSpMk id="6" creationId="{5B72B735-73C5-0D8F-28DE-6A6BF15B89F2}"/>
          </ac:cxnSpMkLst>
        </pc:cxnChg>
        <pc:cxnChg chg="del">
          <ac:chgData name="Julia PONT" userId="6ea7fb32-49be-46d9-9d69-f51ddf012212" providerId="ADAL" clId="{2A9E832C-25F6-4F2E-84DD-F34ECE0E3917}" dt="2024-01-31T13:02:00.288" v="7476" actId="478"/>
          <ac:cxnSpMkLst>
            <pc:docMk/>
            <pc:sldMk cId="560279385" sldId="2147480334"/>
            <ac:cxnSpMk id="10" creationId="{78C22478-0170-F40C-198B-BEEC74E9BC86}"/>
          </ac:cxnSpMkLst>
        </pc:cxnChg>
        <pc:cxnChg chg="add mod">
          <ac:chgData name="Julia PONT" userId="6ea7fb32-49be-46d9-9d69-f51ddf012212" providerId="ADAL" clId="{2A9E832C-25F6-4F2E-84DD-F34ECE0E3917}" dt="2024-01-31T13:09:40.865" v="7703" actId="208"/>
          <ac:cxnSpMkLst>
            <pc:docMk/>
            <pc:sldMk cId="560279385" sldId="2147480334"/>
            <ac:cxnSpMk id="64" creationId="{0D1A46D2-E1CF-988F-AEEF-552DC103B9D1}"/>
          </ac:cxnSpMkLst>
        </pc:cxnChg>
        <pc:cxnChg chg="add mod">
          <ac:chgData name="Julia PONT" userId="6ea7fb32-49be-46d9-9d69-f51ddf012212" providerId="ADAL" clId="{2A9E832C-25F6-4F2E-84DD-F34ECE0E3917}" dt="2024-01-31T13:09:46.201" v="7704" actId="208"/>
          <ac:cxnSpMkLst>
            <pc:docMk/>
            <pc:sldMk cId="560279385" sldId="2147480334"/>
            <ac:cxnSpMk id="66" creationId="{812098B3-AFC8-26ED-4D21-55090E21C4CA}"/>
          </ac:cxnSpMkLst>
        </pc:cxnChg>
        <pc:cxnChg chg="add mod">
          <ac:chgData name="Julia PONT" userId="6ea7fb32-49be-46d9-9d69-f51ddf012212" providerId="ADAL" clId="{2A9E832C-25F6-4F2E-84DD-F34ECE0E3917}" dt="2024-01-31T13:09:54.389" v="7706" actId="208"/>
          <ac:cxnSpMkLst>
            <pc:docMk/>
            <pc:sldMk cId="560279385" sldId="2147480334"/>
            <ac:cxnSpMk id="69" creationId="{2C92EF11-C4E1-9C92-245A-FEB34D51EE06}"/>
          </ac:cxnSpMkLst>
        </pc:cxnChg>
        <pc:cxnChg chg="add mod">
          <ac:chgData name="Julia PONT" userId="6ea7fb32-49be-46d9-9d69-f51ddf012212" providerId="ADAL" clId="{2A9E832C-25F6-4F2E-84DD-F34ECE0E3917}" dt="2024-01-31T13:09:07.337" v="7697" actId="1582"/>
          <ac:cxnSpMkLst>
            <pc:docMk/>
            <pc:sldMk cId="560279385" sldId="2147480334"/>
            <ac:cxnSpMk id="72" creationId="{A54A858B-8547-B04F-7AA3-F26EBF5372C2}"/>
          </ac:cxnSpMkLst>
        </pc:cxnChg>
        <pc:cxnChg chg="add mod">
          <ac:chgData name="Julia PONT" userId="6ea7fb32-49be-46d9-9d69-f51ddf012212" providerId="ADAL" clId="{2A9E832C-25F6-4F2E-84DD-F34ECE0E3917}" dt="2024-01-31T13:09:30.016" v="7701" actId="208"/>
          <ac:cxnSpMkLst>
            <pc:docMk/>
            <pc:sldMk cId="560279385" sldId="2147480334"/>
            <ac:cxnSpMk id="76" creationId="{66C3B9C5-F132-267B-12A6-DA35B5F4C2E4}"/>
          </ac:cxnSpMkLst>
        </pc:cxnChg>
        <pc:cxnChg chg="add mod">
          <ac:chgData name="Julia PONT" userId="6ea7fb32-49be-46d9-9d69-f51ddf012212" providerId="ADAL" clId="{2A9E832C-25F6-4F2E-84DD-F34ECE0E3917}" dt="2024-01-31T13:09:33.512" v="7702" actId="14100"/>
          <ac:cxnSpMkLst>
            <pc:docMk/>
            <pc:sldMk cId="560279385" sldId="2147480334"/>
            <ac:cxnSpMk id="79" creationId="{12380018-9EB2-046B-9C48-FB063D4BD062}"/>
          </ac:cxnSpMkLst>
        </pc:cxnChg>
      </pc:sldChg>
      <pc:sldChg chg="addSp delSp modSp mod">
        <pc:chgData name="Julia PONT" userId="6ea7fb32-49be-46d9-9d69-f51ddf012212" providerId="ADAL" clId="{2A9E832C-25F6-4F2E-84DD-F34ECE0E3917}" dt="2024-02-02T14:34:52.931" v="19585" actId="948"/>
        <pc:sldMkLst>
          <pc:docMk/>
          <pc:sldMk cId="3444909878" sldId="2147480344"/>
        </pc:sldMkLst>
        <pc:spChg chg="mod">
          <ac:chgData name="Julia PONT" userId="6ea7fb32-49be-46d9-9d69-f51ddf012212" providerId="ADAL" clId="{2A9E832C-25F6-4F2E-84DD-F34ECE0E3917}" dt="2024-02-02T14:13:18.395" v="19329" actId="403"/>
          <ac:spMkLst>
            <pc:docMk/>
            <pc:sldMk cId="3444909878" sldId="2147480344"/>
            <ac:spMk id="2" creationId="{06AF64C0-132E-B313-A81E-E87E7D447EBD}"/>
          </ac:spMkLst>
        </pc:spChg>
        <pc:spChg chg="mod">
          <ac:chgData name="Julia PONT" userId="6ea7fb32-49be-46d9-9d69-f51ddf012212" providerId="ADAL" clId="{2A9E832C-25F6-4F2E-84DD-F34ECE0E3917}" dt="2024-02-02T14:11:06.864" v="19323" actId="2711"/>
          <ac:spMkLst>
            <pc:docMk/>
            <pc:sldMk cId="3444909878" sldId="2147480344"/>
            <ac:spMk id="3" creationId="{AF7B4F25-6666-55C3-1103-AFD1986FBD0D}"/>
          </ac:spMkLst>
        </pc:spChg>
        <pc:graphicFrameChg chg="mod modGraphic">
          <ac:chgData name="Julia PONT" userId="6ea7fb32-49be-46d9-9d69-f51ddf012212" providerId="ADAL" clId="{2A9E832C-25F6-4F2E-84DD-F34ECE0E3917}" dt="2024-02-02T14:34:52.931" v="19585" actId="948"/>
          <ac:graphicFrameMkLst>
            <pc:docMk/>
            <pc:sldMk cId="3444909878" sldId="2147480344"/>
            <ac:graphicFrameMk id="4" creationId="{866FF552-3425-9461-A6AC-2608AD703414}"/>
          </ac:graphicFrameMkLst>
        </pc:graphicFrameChg>
        <pc:graphicFrameChg chg="mod modGraphic">
          <ac:chgData name="Julia PONT" userId="6ea7fb32-49be-46d9-9d69-f51ddf012212" providerId="ADAL" clId="{2A9E832C-25F6-4F2E-84DD-F34ECE0E3917}" dt="2024-02-02T14:15:53.349" v="19360" actId="2711"/>
          <ac:graphicFrameMkLst>
            <pc:docMk/>
            <pc:sldMk cId="3444909878" sldId="2147480344"/>
            <ac:graphicFrameMk id="5" creationId="{9B826BB9-A900-21A6-F3B2-D05910D927FB}"/>
          </ac:graphicFrameMkLst>
        </pc:graphicFrameChg>
        <pc:graphicFrameChg chg="add del mod">
          <ac:chgData name="Julia PONT" userId="6ea7fb32-49be-46d9-9d69-f51ddf012212" providerId="ADAL" clId="{2A9E832C-25F6-4F2E-84DD-F34ECE0E3917}" dt="2024-01-31T15:13:11.897" v="8553" actId="478"/>
          <ac:graphicFrameMkLst>
            <pc:docMk/>
            <pc:sldMk cId="3444909878" sldId="2147480344"/>
            <ac:graphicFrameMk id="26" creationId="{C08DF25F-9F7F-680E-F7A3-DC22AFFD5C45}"/>
          </ac:graphicFrameMkLst>
        </pc:graphicFrameChg>
        <pc:picChg chg="mod">
          <ac:chgData name="Julia PONT" userId="6ea7fb32-49be-46d9-9d69-f51ddf012212" providerId="ADAL" clId="{2A9E832C-25F6-4F2E-84DD-F34ECE0E3917}" dt="2024-01-31T15:13:33.309" v="8603" actId="1035"/>
          <ac:picMkLst>
            <pc:docMk/>
            <pc:sldMk cId="3444909878" sldId="2147480344"/>
            <ac:picMk id="16" creationId="{EA41296D-85AA-C907-462A-8966361B1DB0}"/>
          </ac:picMkLst>
        </pc:picChg>
        <pc:picChg chg="mod">
          <ac:chgData name="Julia PONT" userId="6ea7fb32-49be-46d9-9d69-f51ddf012212" providerId="ADAL" clId="{2A9E832C-25F6-4F2E-84DD-F34ECE0E3917}" dt="2024-01-31T15:13:37.484" v="8610" actId="1036"/>
          <ac:picMkLst>
            <pc:docMk/>
            <pc:sldMk cId="3444909878" sldId="2147480344"/>
            <ac:picMk id="17" creationId="{E16F1F40-9EE1-2626-2B0D-F351210A21D9}"/>
          </ac:picMkLst>
        </pc:picChg>
        <pc:picChg chg="mod">
          <ac:chgData name="Julia PONT" userId="6ea7fb32-49be-46d9-9d69-f51ddf012212" providerId="ADAL" clId="{2A9E832C-25F6-4F2E-84DD-F34ECE0E3917}" dt="2024-01-31T15:13:35.708" v="8607" actId="1036"/>
          <ac:picMkLst>
            <pc:docMk/>
            <pc:sldMk cId="3444909878" sldId="2147480344"/>
            <ac:picMk id="25" creationId="{950E68E2-6860-FEA8-B69E-8580F74F3B4A}"/>
          </ac:picMkLst>
        </pc:picChg>
      </pc:sldChg>
      <pc:sldChg chg="addSp delSp modSp mod">
        <pc:chgData name="Julia PONT" userId="6ea7fb32-49be-46d9-9d69-f51ddf012212" providerId="ADAL" clId="{2A9E832C-25F6-4F2E-84DD-F34ECE0E3917}" dt="2024-02-02T08:36:34.461" v="17922" actId="478"/>
        <pc:sldMkLst>
          <pc:docMk/>
          <pc:sldMk cId="3321415146" sldId="2147482331"/>
        </pc:sldMkLst>
        <pc:spChg chg="add del mod">
          <ac:chgData name="Julia PONT" userId="6ea7fb32-49be-46d9-9d69-f51ddf012212" providerId="ADAL" clId="{2A9E832C-25F6-4F2E-84DD-F34ECE0E3917}" dt="2024-02-02T08:36:34.461" v="17922" actId="478"/>
          <ac:spMkLst>
            <pc:docMk/>
            <pc:sldMk cId="3321415146" sldId="2147482331"/>
            <ac:spMk id="2" creationId="{B22C8AEB-47A3-384E-4EB2-2729EA906276}"/>
          </ac:spMkLst>
        </pc:spChg>
        <pc:spChg chg="mod">
          <ac:chgData name="Julia PONT" userId="6ea7fb32-49be-46d9-9d69-f51ddf012212" providerId="ADAL" clId="{2A9E832C-25F6-4F2E-84DD-F34ECE0E3917}" dt="2024-02-01T17:22:02.137" v="17594" actId="207"/>
          <ac:spMkLst>
            <pc:docMk/>
            <pc:sldMk cId="3321415146" sldId="2147482331"/>
            <ac:spMk id="12" creationId="{A69472D7-2493-2CA6-688C-D454739D34D4}"/>
          </ac:spMkLst>
        </pc:spChg>
        <pc:spChg chg="mod">
          <ac:chgData name="Julia PONT" userId="6ea7fb32-49be-46d9-9d69-f51ddf012212" providerId="ADAL" clId="{2A9E832C-25F6-4F2E-84DD-F34ECE0E3917}" dt="2024-02-01T17:21:51.822" v="17593" actId="208"/>
          <ac:spMkLst>
            <pc:docMk/>
            <pc:sldMk cId="3321415146" sldId="2147482331"/>
            <ac:spMk id="13" creationId="{60144A62-D7A0-7B1B-0A70-C0D515E9FA51}"/>
          </ac:spMkLst>
        </pc:spChg>
        <pc:spChg chg="mod">
          <ac:chgData name="Julia PONT" userId="6ea7fb32-49be-46d9-9d69-f51ddf012212" providerId="ADAL" clId="{2A9E832C-25F6-4F2E-84DD-F34ECE0E3917}" dt="2024-02-02T08:36:31.484" v="17921"/>
          <ac:spMkLst>
            <pc:docMk/>
            <pc:sldMk cId="3321415146" sldId="2147482331"/>
            <ac:spMk id="30" creationId="{A8A15718-341E-1618-BBFE-8DE79C4D1726}"/>
          </ac:spMkLst>
        </pc:spChg>
        <pc:spChg chg="mod">
          <ac:chgData name="Julia PONT" userId="6ea7fb32-49be-46d9-9d69-f51ddf012212" providerId="ADAL" clId="{2A9E832C-25F6-4F2E-84DD-F34ECE0E3917}" dt="2024-02-01T17:22:43.069" v="17596" actId="404"/>
          <ac:spMkLst>
            <pc:docMk/>
            <pc:sldMk cId="3321415146" sldId="2147482331"/>
            <ac:spMk id="41" creationId="{91B6A13E-3269-4257-3B1F-192758E6E957}"/>
          </ac:spMkLst>
        </pc:spChg>
      </pc:sldChg>
      <pc:sldChg chg="addSp delSp modSp add del mod">
        <pc:chgData name="Julia PONT" userId="6ea7fb32-49be-46d9-9d69-f51ddf012212" providerId="ADAL" clId="{2A9E832C-25F6-4F2E-84DD-F34ECE0E3917}" dt="2024-02-01T13:59:51.239" v="14167" actId="47"/>
        <pc:sldMkLst>
          <pc:docMk/>
          <pc:sldMk cId="1749439792" sldId="2147482332"/>
        </pc:sldMkLst>
        <pc:spChg chg="add del mod">
          <ac:chgData name="Julia PONT" userId="6ea7fb32-49be-46d9-9d69-f51ddf012212" providerId="ADAL" clId="{2A9E832C-25F6-4F2E-84DD-F34ECE0E3917}" dt="2024-01-31T18:05:47.542" v="11454" actId="478"/>
          <ac:spMkLst>
            <pc:docMk/>
            <pc:sldMk cId="1749439792" sldId="2147482332"/>
            <ac:spMk id="2" creationId="{6FB9B80D-EE45-3681-DB4F-049D2E3DB537}"/>
          </ac:spMkLst>
        </pc:spChg>
        <pc:spChg chg="mod">
          <ac:chgData name="Julia PONT" userId="6ea7fb32-49be-46d9-9d69-f51ddf012212" providerId="ADAL" clId="{2A9E832C-25F6-4F2E-84DD-F34ECE0E3917}" dt="2024-02-01T11:03:12.983" v="13413" actId="1076"/>
          <ac:spMkLst>
            <pc:docMk/>
            <pc:sldMk cId="1749439792" sldId="2147482332"/>
            <ac:spMk id="2" creationId="{B05852EE-3DA8-0BD2-90C0-B36E9A24CEC1}"/>
          </ac:spMkLst>
        </pc:spChg>
        <pc:spChg chg="add mod">
          <ac:chgData name="Julia PONT" userId="6ea7fb32-49be-46d9-9d69-f51ddf012212" providerId="ADAL" clId="{2A9E832C-25F6-4F2E-84DD-F34ECE0E3917}" dt="2024-02-01T08:11:33.823" v="12731" actId="1076"/>
          <ac:spMkLst>
            <pc:docMk/>
            <pc:sldMk cId="1749439792" sldId="2147482332"/>
            <ac:spMk id="2" creationId="{DA43990B-74CD-2B64-FDC8-F1CDFB8F9279}"/>
          </ac:spMkLst>
        </pc:spChg>
        <pc:spChg chg="del">
          <ac:chgData name="Julia PONT" userId="6ea7fb32-49be-46d9-9d69-f51ddf012212" providerId="ADAL" clId="{2A9E832C-25F6-4F2E-84DD-F34ECE0E3917}" dt="2024-01-31T15:17:04.825" v="8712" actId="478"/>
          <ac:spMkLst>
            <pc:docMk/>
            <pc:sldMk cId="1749439792" sldId="2147482332"/>
            <ac:spMk id="7" creationId="{BA0994D2-306C-59F1-FF7E-1718B67000A1}"/>
          </ac:spMkLst>
        </pc:spChg>
        <pc:spChg chg="del">
          <ac:chgData name="Julia PONT" userId="6ea7fb32-49be-46d9-9d69-f51ddf012212" providerId="ADAL" clId="{2A9E832C-25F6-4F2E-84DD-F34ECE0E3917}" dt="2024-02-01T08:11:35.951" v="12732" actId="478"/>
          <ac:spMkLst>
            <pc:docMk/>
            <pc:sldMk cId="1749439792" sldId="2147482332"/>
            <ac:spMk id="7" creationId="{DA43990B-74CD-2B64-FDC8-F1CDFB8F9279}"/>
          </ac:spMkLst>
        </pc:spChg>
        <pc:spChg chg="add mod">
          <ac:chgData name="Julia PONT" userId="6ea7fb32-49be-46d9-9d69-f51ddf012212" providerId="ADAL" clId="{2A9E832C-25F6-4F2E-84DD-F34ECE0E3917}" dt="2024-01-31T18:07:14.897" v="11542" actId="179"/>
          <ac:spMkLst>
            <pc:docMk/>
            <pc:sldMk cId="1749439792" sldId="2147482332"/>
            <ac:spMk id="9" creationId="{79A5CC45-074C-5E7A-4182-632F53CCF956}"/>
          </ac:spMkLst>
        </pc:spChg>
        <pc:spChg chg="del mod">
          <ac:chgData name="Julia PONT" userId="6ea7fb32-49be-46d9-9d69-f51ddf012212" providerId="ADAL" clId="{2A9E832C-25F6-4F2E-84DD-F34ECE0E3917}" dt="2024-01-31T15:25:59.620" v="8972"/>
          <ac:spMkLst>
            <pc:docMk/>
            <pc:sldMk cId="1749439792" sldId="2147482332"/>
            <ac:spMk id="11" creationId="{3A34B5B6-79AD-B6E0-8FA7-0C20F47D79D3}"/>
          </ac:spMkLst>
        </pc:spChg>
        <pc:spChg chg="del mod topLvl">
          <ac:chgData name="Julia PONT" userId="6ea7fb32-49be-46d9-9d69-f51ddf012212" providerId="ADAL" clId="{2A9E832C-25F6-4F2E-84DD-F34ECE0E3917}" dt="2024-02-01T10:37:51.270" v="13208" actId="478"/>
          <ac:spMkLst>
            <pc:docMk/>
            <pc:sldMk cId="1749439792" sldId="2147482332"/>
            <ac:spMk id="12" creationId="{A83C8ABF-DDD7-697A-2199-AFA13CEA9AE8}"/>
          </ac:spMkLst>
        </pc:spChg>
        <pc:spChg chg="mod">
          <ac:chgData name="Julia PONT" userId="6ea7fb32-49be-46d9-9d69-f51ddf012212" providerId="ADAL" clId="{2A9E832C-25F6-4F2E-84DD-F34ECE0E3917}" dt="2024-02-01T11:04:05.109" v="13479" actId="1076"/>
          <ac:spMkLst>
            <pc:docMk/>
            <pc:sldMk cId="1749439792" sldId="2147482332"/>
            <ac:spMk id="16" creationId="{732B1FB7-307F-F9A2-4E9C-D1FD9F6D65BE}"/>
          </ac:spMkLst>
        </pc:spChg>
        <pc:spChg chg="add mod">
          <ac:chgData name="Julia PONT" userId="6ea7fb32-49be-46d9-9d69-f51ddf012212" providerId="ADAL" clId="{2A9E832C-25F6-4F2E-84DD-F34ECE0E3917}" dt="2024-01-31T18:03:53.048" v="11431" actId="165"/>
          <ac:spMkLst>
            <pc:docMk/>
            <pc:sldMk cId="1749439792" sldId="2147482332"/>
            <ac:spMk id="19" creationId="{6E42C3DE-37A7-78B6-7F94-B4426D3BA1CF}"/>
          </ac:spMkLst>
        </pc:spChg>
        <pc:spChg chg="add mod">
          <ac:chgData name="Julia PONT" userId="6ea7fb32-49be-46d9-9d69-f51ddf012212" providerId="ADAL" clId="{2A9E832C-25F6-4F2E-84DD-F34ECE0E3917}" dt="2024-02-01T13:27:47.991" v="14121" actId="20577"/>
          <ac:spMkLst>
            <pc:docMk/>
            <pc:sldMk cId="1749439792" sldId="2147482332"/>
            <ac:spMk id="22" creationId="{8CC9181B-6A33-D48E-6DC9-0609B671E8CC}"/>
          </ac:spMkLst>
        </pc:spChg>
        <pc:spChg chg="add mod">
          <ac:chgData name="Julia PONT" userId="6ea7fb32-49be-46d9-9d69-f51ddf012212" providerId="ADAL" clId="{2A9E832C-25F6-4F2E-84DD-F34ECE0E3917}" dt="2024-02-01T11:04:02.172" v="13478" actId="1076"/>
          <ac:spMkLst>
            <pc:docMk/>
            <pc:sldMk cId="1749439792" sldId="2147482332"/>
            <ac:spMk id="23" creationId="{911F82C6-F3A2-104F-4025-EAEFDF38344A}"/>
          </ac:spMkLst>
        </pc:spChg>
        <pc:spChg chg="add mod">
          <ac:chgData name="Julia PONT" userId="6ea7fb32-49be-46d9-9d69-f51ddf012212" providerId="ADAL" clId="{2A9E832C-25F6-4F2E-84DD-F34ECE0E3917}" dt="2024-02-01T13:24:12.249" v="13857" actId="14100"/>
          <ac:spMkLst>
            <pc:docMk/>
            <pc:sldMk cId="1749439792" sldId="2147482332"/>
            <ac:spMk id="26" creationId="{1CF8BB51-E249-CA15-F9D0-B5EF03CCAD54}"/>
          </ac:spMkLst>
        </pc:spChg>
        <pc:spChg chg="add mod">
          <ac:chgData name="Julia PONT" userId="6ea7fb32-49be-46d9-9d69-f51ddf012212" providerId="ADAL" clId="{2A9E832C-25F6-4F2E-84DD-F34ECE0E3917}" dt="2024-02-01T13:24:21.470" v="13901" actId="1037"/>
          <ac:spMkLst>
            <pc:docMk/>
            <pc:sldMk cId="1749439792" sldId="2147482332"/>
            <ac:spMk id="27" creationId="{6FCAB145-1184-935E-DDE2-60EA12C7D1BF}"/>
          </ac:spMkLst>
        </pc:spChg>
        <pc:spChg chg="mod">
          <ac:chgData name="Julia PONT" userId="6ea7fb32-49be-46d9-9d69-f51ddf012212" providerId="ADAL" clId="{2A9E832C-25F6-4F2E-84DD-F34ECE0E3917}" dt="2024-02-01T10:37:56.951" v="13209"/>
          <ac:spMkLst>
            <pc:docMk/>
            <pc:sldMk cId="1749439792" sldId="2147482332"/>
            <ac:spMk id="30" creationId="{05BE587F-BBFE-8A7C-99F2-176242346718}"/>
          </ac:spMkLst>
        </pc:spChg>
        <pc:spChg chg="add del mod">
          <ac:chgData name="Julia PONT" userId="6ea7fb32-49be-46d9-9d69-f51ddf012212" providerId="ADAL" clId="{2A9E832C-25F6-4F2E-84DD-F34ECE0E3917}" dt="2024-01-31T15:43:03.135" v="9253" actId="478"/>
          <ac:spMkLst>
            <pc:docMk/>
            <pc:sldMk cId="1749439792" sldId="2147482332"/>
            <ac:spMk id="30" creationId="{BA0994D2-306C-59F1-FF7E-1718B67000A1}"/>
          </ac:spMkLst>
        </pc:spChg>
        <pc:spChg chg="mod">
          <ac:chgData name="Julia PONT" userId="6ea7fb32-49be-46d9-9d69-f51ddf012212" providerId="ADAL" clId="{2A9E832C-25F6-4F2E-84DD-F34ECE0E3917}" dt="2024-02-01T10:37:56.951" v="13209"/>
          <ac:spMkLst>
            <pc:docMk/>
            <pc:sldMk cId="1749439792" sldId="2147482332"/>
            <ac:spMk id="32" creationId="{63FF3B0F-BA1E-24E1-4429-1886EB251904}"/>
          </ac:spMkLst>
        </pc:spChg>
        <pc:spChg chg="add mod">
          <ac:chgData name="Julia PONT" userId="6ea7fb32-49be-46d9-9d69-f51ddf012212" providerId="ADAL" clId="{2A9E832C-25F6-4F2E-84DD-F34ECE0E3917}" dt="2024-02-01T10:37:56.951" v="13209"/>
          <ac:spMkLst>
            <pc:docMk/>
            <pc:sldMk cId="1749439792" sldId="2147482332"/>
            <ac:spMk id="33" creationId="{F428912E-3F0E-0B08-38EB-F1668A3B9A3A}"/>
          </ac:spMkLst>
        </pc:spChg>
        <pc:spChg chg="add mod">
          <ac:chgData name="Julia PONT" userId="6ea7fb32-49be-46d9-9d69-f51ddf012212" providerId="ADAL" clId="{2A9E832C-25F6-4F2E-84DD-F34ECE0E3917}" dt="2024-02-01T13:24:21.470" v="13901" actId="1037"/>
          <ac:spMkLst>
            <pc:docMk/>
            <pc:sldMk cId="1749439792" sldId="2147482332"/>
            <ac:spMk id="34" creationId="{164EDB30-E1B5-58C6-01F0-A899601D3137}"/>
          </ac:spMkLst>
        </pc:spChg>
        <pc:spChg chg="add mod">
          <ac:chgData name="Julia PONT" userId="6ea7fb32-49be-46d9-9d69-f51ddf012212" providerId="ADAL" clId="{2A9E832C-25F6-4F2E-84DD-F34ECE0E3917}" dt="2024-02-01T10:38:44.130" v="13225" actId="1076"/>
          <ac:spMkLst>
            <pc:docMk/>
            <pc:sldMk cId="1749439792" sldId="2147482332"/>
            <ac:spMk id="35" creationId="{9AB12F5A-4C69-98BF-F86E-69AE11828E38}"/>
          </ac:spMkLst>
        </pc:spChg>
        <pc:spChg chg="add mod">
          <ac:chgData name="Julia PONT" userId="6ea7fb32-49be-46d9-9d69-f51ddf012212" providerId="ADAL" clId="{2A9E832C-25F6-4F2E-84DD-F34ECE0E3917}" dt="2024-02-01T10:37:56.951" v="13209"/>
          <ac:spMkLst>
            <pc:docMk/>
            <pc:sldMk cId="1749439792" sldId="2147482332"/>
            <ac:spMk id="36" creationId="{F33BEA4A-00D8-1EFB-CFE8-BF18B3BF6FF4}"/>
          </ac:spMkLst>
        </pc:spChg>
        <pc:spChg chg="add mod">
          <ac:chgData name="Julia PONT" userId="6ea7fb32-49be-46d9-9d69-f51ddf012212" providerId="ADAL" clId="{2A9E832C-25F6-4F2E-84DD-F34ECE0E3917}" dt="2024-02-01T10:37:56.951" v="13209"/>
          <ac:spMkLst>
            <pc:docMk/>
            <pc:sldMk cId="1749439792" sldId="2147482332"/>
            <ac:spMk id="37" creationId="{D395A6C2-D6F2-7937-F298-0B73BD048C50}"/>
          </ac:spMkLst>
        </pc:spChg>
        <pc:spChg chg="add mod">
          <ac:chgData name="Julia PONT" userId="6ea7fb32-49be-46d9-9d69-f51ddf012212" providerId="ADAL" clId="{2A9E832C-25F6-4F2E-84DD-F34ECE0E3917}" dt="2024-02-01T10:38:48.675" v="13226" actId="1076"/>
          <ac:spMkLst>
            <pc:docMk/>
            <pc:sldMk cId="1749439792" sldId="2147482332"/>
            <ac:spMk id="38" creationId="{A8168757-E3FB-9332-9940-6F7890F1E836}"/>
          </ac:spMkLst>
        </pc:spChg>
        <pc:spChg chg="mod">
          <ac:chgData name="Julia PONT" userId="6ea7fb32-49be-46d9-9d69-f51ddf012212" providerId="ADAL" clId="{2A9E832C-25F6-4F2E-84DD-F34ECE0E3917}" dt="2024-02-01T10:37:56.951" v="13209"/>
          <ac:spMkLst>
            <pc:docMk/>
            <pc:sldMk cId="1749439792" sldId="2147482332"/>
            <ac:spMk id="40" creationId="{9986A560-E650-EE9D-6196-309D4DE175DD}"/>
          </ac:spMkLst>
        </pc:spChg>
        <pc:spChg chg="mod">
          <ac:chgData name="Julia PONT" userId="6ea7fb32-49be-46d9-9d69-f51ddf012212" providerId="ADAL" clId="{2A9E832C-25F6-4F2E-84DD-F34ECE0E3917}" dt="2024-02-01T10:37:56.951" v="13209"/>
          <ac:spMkLst>
            <pc:docMk/>
            <pc:sldMk cId="1749439792" sldId="2147482332"/>
            <ac:spMk id="41" creationId="{AD93EC57-5FBE-8BE0-2F74-DDEDEE67EDB1}"/>
          </ac:spMkLst>
        </pc:spChg>
        <pc:spChg chg="mod">
          <ac:chgData name="Julia PONT" userId="6ea7fb32-49be-46d9-9d69-f51ddf012212" providerId="ADAL" clId="{2A9E832C-25F6-4F2E-84DD-F34ECE0E3917}" dt="2024-02-01T10:37:56.951" v="13209"/>
          <ac:spMkLst>
            <pc:docMk/>
            <pc:sldMk cId="1749439792" sldId="2147482332"/>
            <ac:spMk id="43" creationId="{7BD05D67-D6B7-5078-BC46-216E1726C850}"/>
          </ac:spMkLst>
        </pc:spChg>
        <pc:spChg chg="mod">
          <ac:chgData name="Julia PONT" userId="6ea7fb32-49be-46d9-9d69-f51ddf012212" providerId="ADAL" clId="{2A9E832C-25F6-4F2E-84DD-F34ECE0E3917}" dt="2024-02-01T10:37:56.951" v="13209"/>
          <ac:spMkLst>
            <pc:docMk/>
            <pc:sldMk cId="1749439792" sldId="2147482332"/>
            <ac:spMk id="44" creationId="{E6F0C18D-60F7-6988-D68A-898D291C5FC5}"/>
          </ac:spMkLst>
        </pc:spChg>
        <pc:spChg chg="mod">
          <ac:chgData name="Julia PONT" userId="6ea7fb32-49be-46d9-9d69-f51ddf012212" providerId="ADAL" clId="{2A9E832C-25F6-4F2E-84DD-F34ECE0E3917}" dt="2024-02-01T10:37:56.951" v="13209"/>
          <ac:spMkLst>
            <pc:docMk/>
            <pc:sldMk cId="1749439792" sldId="2147482332"/>
            <ac:spMk id="46" creationId="{3CCE59A5-E850-8443-9DFA-8C42A2C06508}"/>
          </ac:spMkLst>
        </pc:spChg>
        <pc:spChg chg="mod">
          <ac:chgData name="Julia PONT" userId="6ea7fb32-49be-46d9-9d69-f51ddf012212" providerId="ADAL" clId="{2A9E832C-25F6-4F2E-84DD-F34ECE0E3917}" dt="2024-02-01T10:37:56.951" v="13209"/>
          <ac:spMkLst>
            <pc:docMk/>
            <pc:sldMk cId="1749439792" sldId="2147482332"/>
            <ac:spMk id="47" creationId="{6AD2873D-2C63-27FA-C6DB-67F3ADF7B383}"/>
          </ac:spMkLst>
        </pc:spChg>
        <pc:spChg chg="add mod">
          <ac:chgData name="Julia PONT" userId="6ea7fb32-49be-46d9-9d69-f51ddf012212" providerId="ADAL" clId="{2A9E832C-25F6-4F2E-84DD-F34ECE0E3917}" dt="2024-02-01T10:38:38.632" v="13224" actId="404"/>
          <ac:spMkLst>
            <pc:docMk/>
            <pc:sldMk cId="1749439792" sldId="2147482332"/>
            <ac:spMk id="48" creationId="{DD89DF2C-D5B3-3517-D1F8-E334D4485F88}"/>
          </ac:spMkLst>
        </pc:spChg>
        <pc:spChg chg="add mod">
          <ac:chgData name="Julia PONT" userId="6ea7fb32-49be-46d9-9d69-f51ddf012212" providerId="ADAL" clId="{2A9E832C-25F6-4F2E-84DD-F34ECE0E3917}" dt="2024-02-01T10:37:56.951" v="13209"/>
          <ac:spMkLst>
            <pc:docMk/>
            <pc:sldMk cId="1749439792" sldId="2147482332"/>
            <ac:spMk id="51" creationId="{70119D87-3B0A-D6B4-6938-2F6C323DD1E4}"/>
          </ac:spMkLst>
        </pc:spChg>
        <pc:spChg chg="add mod">
          <ac:chgData name="Julia PONT" userId="6ea7fb32-49be-46d9-9d69-f51ddf012212" providerId="ADAL" clId="{2A9E832C-25F6-4F2E-84DD-F34ECE0E3917}" dt="2024-02-01T10:38:31.548" v="13222" actId="403"/>
          <ac:spMkLst>
            <pc:docMk/>
            <pc:sldMk cId="1749439792" sldId="2147482332"/>
            <ac:spMk id="52" creationId="{2CEBE2D2-85F6-414A-69E2-0FAD077B2605}"/>
          </ac:spMkLst>
        </pc:spChg>
        <pc:spChg chg="add mod">
          <ac:chgData name="Julia PONT" userId="6ea7fb32-49be-46d9-9d69-f51ddf012212" providerId="ADAL" clId="{2A9E832C-25F6-4F2E-84DD-F34ECE0E3917}" dt="2024-02-01T10:37:56.951" v="13209"/>
          <ac:spMkLst>
            <pc:docMk/>
            <pc:sldMk cId="1749439792" sldId="2147482332"/>
            <ac:spMk id="56" creationId="{7F7F453F-D13D-2B81-153C-1D06777C8B3C}"/>
          </ac:spMkLst>
        </pc:spChg>
        <pc:spChg chg="add mod">
          <ac:chgData name="Julia PONT" userId="6ea7fb32-49be-46d9-9d69-f51ddf012212" providerId="ADAL" clId="{2A9E832C-25F6-4F2E-84DD-F34ECE0E3917}" dt="2024-02-01T13:23:55.210" v="13856" actId="1038"/>
          <ac:spMkLst>
            <pc:docMk/>
            <pc:sldMk cId="1749439792" sldId="2147482332"/>
            <ac:spMk id="57" creationId="{02B9B7D1-608D-F8C7-967E-029E1FB2BDFA}"/>
          </ac:spMkLst>
        </pc:spChg>
        <pc:spChg chg="add mod">
          <ac:chgData name="Julia PONT" userId="6ea7fb32-49be-46d9-9d69-f51ddf012212" providerId="ADAL" clId="{2A9E832C-25F6-4F2E-84DD-F34ECE0E3917}" dt="2024-02-01T11:01:18.827" v="13389" actId="14100"/>
          <ac:spMkLst>
            <pc:docMk/>
            <pc:sldMk cId="1749439792" sldId="2147482332"/>
            <ac:spMk id="58" creationId="{7BC65B48-1CAB-2E6A-24C8-65478FBA12A1}"/>
          </ac:spMkLst>
        </pc:spChg>
        <pc:spChg chg="add del mod">
          <ac:chgData name="Julia PONT" userId="6ea7fb32-49be-46d9-9d69-f51ddf012212" providerId="ADAL" clId="{2A9E832C-25F6-4F2E-84DD-F34ECE0E3917}" dt="2024-02-01T13:59:45.036" v="14165" actId="21"/>
          <ac:spMkLst>
            <pc:docMk/>
            <pc:sldMk cId="1749439792" sldId="2147482332"/>
            <ac:spMk id="59" creationId="{16AACACA-9A86-F0A2-15A3-B8D4251600DA}"/>
          </ac:spMkLst>
        </pc:spChg>
        <pc:spChg chg="del mod">
          <ac:chgData name="Julia PONT" userId="6ea7fb32-49be-46d9-9d69-f51ddf012212" providerId="ADAL" clId="{2A9E832C-25F6-4F2E-84DD-F34ECE0E3917}" dt="2024-02-01T10:37:51.270" v="13208" actId="478"/>
          <ac:spMkLst>
            <pc:docMk/>
            <pc:sldMk cId="1749439792" sldId="2147482332"/>
            <ac:spMk id="61" creationId="{BAFE1263-F1D6-235F-5041-3D98880E1116}"/>
          </ac:spMkLst>
        </pc:spChg>
        <pc:spChg chg="del mod">
          <ac:chgData name="Julia PONT" userId="6ea7fb32-49be-46d9-9d69-f51ddf012212" providerId="ADAL" clId="{2A9E832C-25F6-4F2E-84DD-F34ECE0E3917}" dt="2024-01-31T15:24:05.259" v="8921"/>
          <ac:spMkLst>
            <pc:docMk/>
            <pc:sldMk cId="1749439792" sldId="2147482332"/>
            <ac:spMk id="147459" creationId="{30626864-3501-6CF6-A8F4-E2F1014AD7B4}"/>
          </ac:spMkLst>
        </pc:spChg>
        <pc:spChg chg="mod">
          <ac:chgData name="Julia PONT" userId="6ea7fb32-49be-46d9-9d69-f51ddf012212" providerId="ADAL" clId="{2A9E832C-25F6-4F2E-84DD-F34ECE0E3917}" dt="2024-01-31T18:03:53.048" v="11431" actId="165"/>
          <ac:spMkLst>
            <pc:docMk/>
            <pc:sldMk cId="1749439792" sldId="2147482332"/>
            <ac:spMk id="147540" creationId="{E58E55E3-C1A7-FD26-FE0C-A8EEFD9C14BE}"/>
          </ac:spMkLst>
        </pc:spChg>
        <pc:spChg chg="mod topLvl">
          <ac:chgData name="Julia PONT" userId="6ea7fb32-49be-46d9-9d69-f51ddf012212" providerId="ADAL" clId="{2A9E832C-25F6-4F2E-84DD-F34ECE0E3917}" dt="2024-01-31T18:03:53.048" v="11431" actId="165"/>
          <ac:spMkLst>
            <pc:docMk/>
            <pc:sldMk cId="1749439792" sldId="2147482332"/>
            <ac:spMk id="147541" creationId="{592BA6DC-F9F0-7386-A755-2A44C0355710}"/>
          </ac:spMkLst>
        </pc:spChg>
        <pc:spChg chg="mod topLvl">
          <ac:chgData name="Julia PONT" userId="6ea7fb32-49be-46d9-9d69-f51ddf012212" providerId="ADAL" clId="{2A9E832C-25F6-4F2E-84DD-F34ECE0E3917}" dt="2024-01-31T18:03:57.659" v="11432" actId="165"/>
          <ac:spMkLst>
            <pc:docMk/>
            <pc:sldMk cId="1749439792" sldId="2147482332"/>
            <ac:spMk id="147547" creationId="{A3200E5C-81B7-3077-DB01-17C86535DC19}"/>
          </ac:spMkLst>
        </pc:spChg>
        <pc:spChg chg="mod topLvl">
          <ac:chgData name="Julia PONT" userId="6ea7fb32-49be-46d9-9d69-f51ddf012212" providerId="ADAL" clId="{2A9E832C-25F6-4F2E-84DD-F34ECE0E3917}" dt="2024-01-31T18:03:57.659" v="11432" actId="165"/>
          <ac:spMkLst>
            <pc:docMk/>
            <pc:sldMk cId="1749439792" sldId="2147482332"/>
            <ac:spMk id="147548" creationId="{3F1F1B5D-3DFF-482D-A234-DA98BC7273C5}"/>
          </ac:spMkLst>
        </pc:spChg>
        <pc:spChg chg="mod topLvl">
          <ac:chgData name="Julia PONT" userId="6ea7fb32-49be-46d9-9d69-f51ddf012212" providerId="ADAL" clId="{2A9E832C-25F6-4F2E-84DD-F34ECE0E3917}" dt="2024-01-31T18:04:48.116" v="11443" actId="164"/>
          <ac:spMkLst>
            <pc:docMk/>
            <pc:sldMk cId="1749439792" sldId="2147482332"/>
            <ac:spMk id="147553" creationId="{B3E39BD3-E7B9-17B6-E759-01503F024DB5}"/>
          </ac:spMkLst>
        </pc:spChg>
        <pc:spChg chg="mod topLvl">
          <ac:chgData name="Julia PONT" userId="6ea7fb32-49be-46d9-9d69-f51ddf012212" providerId="ADAL" clId="{2A9E832C-25F6-4F2E-84DD-F34ECE0E3917}" dt="2024-01-31T18:04:48.116" v="11443" actId="164"/>
          <ac:spMkLst>
            <pc:docMk/>
            <pc:sldMk cId="1749439792" sldId="2147482332"/>
            <ac:spMk id="147554" creationId="{D602B80C-43F6-BD1B-BD22-34578939365B}"/>
          </ac:spMkLst>
        </pc:spChg>
        <pc:spChg chg="mod">
          <ac:chgData name="Julia PONT" userId="6ea7fb32-49be-46d9-9d69-f51ddf012212" providerId="ADAL" clId="{2A9E832C-25F6-4F2E-84DD-F34ECE0E3917}" dt="2024-01-31T18:06:12.841" v="11483" actId="14100"/>
          <ac:spMkLst>
            <pc:docMk/>
            <pc:sldMk cId="1749439792" sldId="2147482332"/>
            <ac:spMk id="147562" creationId="{C82C3D6D-A135-A75D-8FFC-B52764058278}"/>
          </ac:spMkLst>
        </pc:spChg>
        <pc:spChg chg="del mod">
          <ac:chgData name="Julia PONT" userId="6ea7fb32-49be-46d9-9d69-f51ddf012212" providerId="ADAL" clId="{2A9E832C-25F6-4F2E-84DD-F34ECE0E3917}" dt="2024-01-31T15:24:31.401" v="8937"/>
          <ac:spMkLst>
            <pc:docMk/>
            <pc:sldMk cId="1749439792" sldId="2147482332"/>
            <ac:spMk id="147563" creationId="{1F3FAAD1-DCA4-243A-1A1F-D29060B909C5}"/>
          </ac:spMkLst>
        </pc:spChg>
        <pc:spChg chg="mod">
          <ac:chgData name="Julia PONT" userId="6ea7fb32-49be-46d9-9d69-f51ddf012212" providerId="ADAL" clId="{2A9E832C-25F6-4F2E-84DD-F34ECE0E3917}" dt="2024-01-31T18:03:53.048" v="11431" actId="165"/>
          <ac:spMkLst>
            <pc:docMk/>
            <pc:sldMk cId="1749439792" sldId="2147482332"/>
            <ac:spMk id="147564" creationId="{F71C50DF-0079-5E2C-DD1C-BC888E76587E}"/>
          </ac:spMkLst>
        </pc:spChg>
        <pc:spChg chg="mod topLvl">
          <ac:chgData name="Julia PONT" userId="6ea7fb32-49be-46d9-9d69-f51ddf012212" providerId="ADAL" clId="{2A9E832C-25F6-4F2E-84DD-F34ECE0E3917}" dt="2024-01-31T18:03:57.659" v="11432" actId="165"/>
          <ac:spMkLst>
            <pc:docMk/>
            <pc:sldMk cId="1749439792" sldId="2147482332"/>
            <ac:spMk id="147565" creationId="{21D43843-204F-6568-0C84-B7A61A840B5F}"/>
          </ac:spMkLst>
        </pc:spChg>
        <pc:spChg chg="mod topLvl">
          <ac:chgData name="Julia PONT" userId="6ea7fb32-49be-46d9-9d69-f51ddf012212" providerId="ADAL" clId="{2A9E832C-25F6-4F2E-84DD-F34ECE0E3917}" dt="2024-01-31T18:04:48.116" v="11443" actId="164"/>
          <ac:spMkLst>
            <pc:docMk/>
            <pc:sldMk cId="1749439792" sldId="2147482332"/>
            <ac:spMk id="147566" creationId="{3F90F432-3BF0-77BE-2F7A-8484744BD460}"/>
          </ac:spMkLst>
        </pc:spChg>
        <pc:spChg chg="del mod">
          <ac:chgData name="Julia PONT" userId="6ea7fb32-49be-46d9-9d69-f51ddf012212" providerId="ADAL" clId="{2A9E832C-25F6-4F2E-84DD-F34ECE0E3917}" dt="2024-01-31T15:23:26.887" v="8907" actId="478"/>
          <ac:spMkLst>
            <pc:docMk/>
            <pc:sldMk cId="1749439792" sldId="2147482332"/>
            <ac:spMk id="147567" creationId="{71F8496D-D229-AAC9-A3F1-14A064A8D8F4}"/>
          </ac:spMkLst>
        </pc:spChg>
        <pc:spChg chg="mod">
          <ac:chgData name="Julia PONT" userId="6ea7fb32-49be-46d9-9d69-f51ddf012212" providerId="ADAL" clId="{2A9E832C-25F6-4F2E-84DD-F34ECE0E3917}" dt="2024-01-31T18:05:35.532" v="11452" actId="207"/>
          <ac:spMkLst>
            <pc:docMk/>
            <pc:sldMk cId="1749439792" sldId="2147482332"/>
            <ac:spMk id="147568" creationId="{661FE3E9-347E-6FB0-5339-E457C54BB9B7}"/>
          </ac:spMkLst>
        </pc:spChg>
        <pc:spChg chg="mod">
          <ac:chgData name="Julia PONT" userId="6ea7fb32-49be-46d9-9d69-f51ddf012212" providerId="ADAL" clId="{2A9E832C-25F6-4F2E-84DD-F34ECE0E3917}" dt="2024-01-31T18:03:53.048" v="11431" actId="165"/>
          <ac:spMkLst>
            <pc:docMk/>
            <pc:sldMk cId="1749439792" sldId="2147482332"/>
            <ac:spMk id="147574" creationId="{43103BF9-E177-F0FD-5794-834D72762F3A}"/>
          </ac:spMkLst>
        </pc:spChg>
        <pc:grpChg chg="mod topLvl">
          <ac:chgData name="Julia PONT" userId="6ea7fb32-49be-46d9-9d69-f51ddf012212" providerId="ADAL" clId="{2A9E832C-25F6-4F2E-84DD-F34ECE0E3917}" dt="2024-01-31T18:03:53.048" v="11431" actId="165"/>
          <ac:grpSpMkLst>
            <pc:docMk/>
            <pc:sldMk cId="1749439792" sldId="2147482332"/>
            <ac:grpSpMk id="4" creationId="{19B36A26-2206-0EC1-9726-07A22EA559A0}"/>
          </ac:grpSpMkLst>
        </pc:grpChg>
        <pc:grpChg chg="del mod topLvl">
          <ac:chgData name="Julia PONT" userId="6ea7fb32-49be-46d9-9d69-f51ddf012212" providerId="ADAL" clId="{2A9E832C-25F6-4F2E-84DD-F34ECE0E3917}" dt="2024-01-31T15:20:54.361" v="8833" actId="165"/>
          <ac:grpSpMkLst>
            <pc:docMk/>
            <pc:sldMk cId="1749439792" sldId="2147482332"/>
            <ac:grpSpMk id="9" creationId="{2EA4C5E7-D1CB-38D3-B312-D865137B3C83}"/>
          </ac:grpSpMkLst>
        </pc:grpChg>
        <pc:grpChg chg="add del mod topLvl">
          <ac:chgData name="Julia PONT" userId="6ea7fb32-49be-46d9-9d69-f51ddf012212" providerId="ADAL" clId="{2A9E832C-25F6-4F2E-84DD-F34ECE0E3917}" dt="2024-02-01T10:37:51.270" v="13208" actId="478"/>
          <ac:grpSpMkLst>
            <pc:docMk/>
            <pc:sldMk cId="1749439792" sldId="2147482332"/>
            <ac:grpSpMk id="11" creationId="{E75FA6B8-1677-5D11-88E1-6EEE860FAA77}"/>
          </ac:grpSpMkLst>
        </pc:grpChg>
        <pc:grpChg chg="del mod topLvl">
          <ac:chgData name="Julia PONT" userId="6ea7fb32-49be-46d9-9d69-f51ddf012212" providerId="ADAL" clId="{2A9E832C-25F6-4F2E-84DD-F34ECE0E3917}" dt="2024-01-31T15:20:54.361" v="8833" actId="165"/>
          <ac:grpSpMkLst>
            <pc:docMk/>
            <pc:sldMk cId="1749439792" sldId="2147482332"/>
            <ac:grpSpMk id="13" creationId="{991AC134-9E24-D9EE-9E41-B8B28296CAAD}"/>
          </ac:grpSpMkLst>
        </pc:grpChg>
        <pc:grpChg chg="add mod">
          <ac:chgData name="Julia PONT" userId="6ea7fb32-49be-46d9-9d69-f51ddf012212" providerId="ADAL" clId="{2A9E832C-25F6-4F2E-84DD-F34ECE0E3917}" dt="2024-01-31T18:05:54.033" v="11455" actId="164"/>
          <ac:grpSpMkLst>
            <pc:docMk/>
            <pc:sldMk cId="1749439792" sldId="2147482332"/>
            <ac:grpSpMk id="13" creationId="{C04AC79C-D1C1-A1C9-0A8D-6BD3FFE6A010}"/>
          </ac:grpSpMkLst>
        </pc:grpChg>
        <pc:grpChg chg="mod topLvl">
          <ac:chgData name="Julia PONT" userId="6ea7fb32-49be-46d9-9d69-f51ddf012212" providerId="ADAL" clId="{2A9E832C-25F6-4F2E-84DD-F34ECE0E3917}" dt="2024-01-31T18:03:53.048" v="11431" actId="165"/>
          <ac:grpSpMkLst>
            <pc:docMk/>
            <pc:sldMk cId="1749439792" sldId="2147482332"/>
            <ac:grpSpMk id="15" creationId="{B1DAFB44-1507-EB2F-368B-6EB754736692}"/>
          </ac:grpSpMkLst>
        </pc:grpChg>
        <pc:grpChg chg="del mod topLvl">
          <ac:chgData name="Julia PONT" userId="6ea7fb32-49be-46d9-9d69-f51ddf012212" providerId="ADAL" clId="{2A9E832C-25F6-4F2E-84DD-F34ECE0E3917}" dt="2024-01-31T15:20:54.361" v="8833" actId="165"/>
          <ac:grpSpMkLst>
            <pc:docMk/>
            <pc:sldMk cId="1749439792" sldId="2147482332"/>
            <ac:grpSpMk id="16" creationId="{F4447484-E2A0-ACEE-28C7-614EB73EDC5D}"/>
          </ac:grpSpMkLst>
        </pc:grpChg>
        <pc:grpChg chg="add mod">
          <ac:chgData name="Julia PONT" userId="6ea7fb32-49be-46d9-9d69-f51ddf012212" providerId="ADAL" clId="{2A9E832C-25F6-4F2E-84DD-F34ECE0E3917}" dt="2024-01-31T18:04:36.894" v="11442" actId="164"/>
          <ac:grpSpMkLst>
            <pc:docMk/>
            <pc:sldMk cId="1749439792" sldId="2147482332"/>
            <ac:grpSpMk id="16" creationId="{FAA7C7FE-75B5-BC14-B491-102220DCA511}"/>
          </ac:grpSpMkLst>
        </pc:grpChg>
        <pc:grpChg chg="add mod">
          <ac:chgData name="Julia PONT" userId="6ea7fb32-49be-46d9-9d69-f51ddf012212" providerId="ADAL" clId="{2A9E832C-25F6-4F2E-84DD-F34ECE0E3917}" dt="2024-01-31T18:05:54.033" v="11455" actId="164"/>
          <ac:grpSpMkLst>
            <pc:docMk/>
            <pc:sldMk cId="1749439792" sldId="2147482332"/>
            <ac:grpSpMk id="17" creationId="{6A4C8934-D1AA-42EF-1736-F8473315675E}"/>
          </ac:grpSpMkLst>
        </pc:grpChg>
        <pc:grpChg chg="add del mod">
          <ac:chgData name="Julia PONT" userId="6ea7fb32-49be-46d9-9d69-f51ddf012212" providerId="ADAL" clId="{2A9E832C-25F6-4F2E-84DD-F34ECE0E3917}" dt="2024-01-31T15:18:10.782" v="8723" actId="165"/>
          <ac:grpSpMkLst>
            <pc:docMk/>
            <pc:sldMk cId="1749439792" sldId="2147482332"/>
            <ac:grpSpMk id="17" creationId="{D1837140-3822-BB9A-9778-414756EB2A76}"/>
          </ac:grpSpMkLst>
        </pc:grpChg>
        <pc:grpChg chg="add del mod">
          <ac:chgData name="Julia PONT" userId="6ea7fb32-49be-46d9-9d69-f51ddf012212" providerId="ADAL" clId="{2A9E832C-25F6-4F2E-84DD-F34ECE0E3917}" dt="2024-02-01T10:37:51.270" v="13208" actId="478"/>
          <ac:grpSpMkLst>
            <pc:docMk/>
            <pc:sldMk cId="1749439792" sldId="2147482332"/>
            <ac:grpSpMk id="18" creationId="{12F79CEF-6387-B719-3CD5-AC5EBF3525D3}"/>
          </ac:grpSpMkLst>
        </pc:grpChg>
        <pc:grpChg chg="add mod topLvl">
          <ac:chgData name="Julia PONT" userId="6ea7fb32-49be-46d9-9d69-f51ddf012212" providerId="ADAL" clId="{2A9E832C-25F6-4F2E-84DD-F34ECE0E3917}" dt="2024-01-31T18:05:54.033" v="11455" actId="164"/>
          <ac:grpSpMkLst>
            <pc:docMk/>
            <pc:sldMk cId="1749439792" sldId="2147482332"/>
            <ac:grpSpMk id="20" creationId="{CF89151A-F73E-B866-8E46-7D9FE6148ECE}"/>
          </ac:grpSpMkLst>
        </pc:grpChg>
        <pc:grpChg chg="add mod">
          <ac:chgData name="Julia PONT" userId="6ea7fb32-49be-46d9-9d69-f51ddf012212" providerId="ADAL" clId="{2A9E832C-25F6-4F2E-84DD-F34ECE0E3917}" dt="2024-01-31T18:03:57.659" v="11432" actId="165"/>
          <ac:grpSpMkLst>
            <pc:docMk/>
            <pc:sldMk cId="1749439792" sldId="2147482332"/>
            <ac:grpSpMk id="21" creationId="{D175729B-F46F-9F32-2A4C-B830F1B85386}"/>
          </ac:grpSpMkLst>
        </pc:grpChg>
        <pc:grpChg chg="add del mod topLvl">
          <ac:chgData name="Julia PONT" userId="6ea7fb32-49be-46d9-9d69-f51ddf012212" providerId="ADAL" clId="{2A9E832C-25F6-4F2E-84DD-F34ECE0E3917}" dt="2024-01-31T18:04:07.573" v="11437" actId="165"/>
          <ac:grpSpMkLst>
            <pc:docMk/>
            <pc:sldMk cId="1749439792" sldId="2147482332"/>
            <ac:grpSpMk id="22" creationId="{344B8B43-CE3A-4B75-4AB3-692E6C451FF6}"/>
          </ac:grpSpMkLst>
        </pc:grpChg>
        <pc:grpChg chg="add del mod topLvl">
          <ac:chgData name="Julia PONT" userId="6ea7fb32-49be-46d9-9d69-f51ddf012212" providerId="ADAL" clId="{2A9E832C-25F6-4F2E-84DD-F34ECE0E3917}" dt="2024-01-31T18:03:57.659" v="11432" actId="165"/>
          <ac:grpSpMkLst>
            <pc:docMk/>
            <pc:sldMk cId="1749439792" sldId="2147482332"/>
            <ac:grpSpMk id="23" creationId="{F438DF9F-ADCB-A526-944D-B1518B60FEFC}"/>
          </ac:grpSpMkLst>
        </pc:grpChg>
        <pc:grpChg chg="add mod topLvl">
          <ac:chgData name="Julia PONT" userId="6ea7fb32-49be-46d9-9d69-f51ddf012212" providerId="ADAL" clId="{2A9E832C-25F6-4F2E-84DD-F34ECE0E3917}" dt="2024-01-31T18:05:54.033" v="11455" actId="164"/>
          <ac:grpSpMkLst>
            <pc:docMk/>
            <pc:sldMk cId="1749439792" sldId="2147482332"/>
            <ac:grpSpMk id="24" creationId="{E1FEAC41-0BD7-C290-2C37-7DA32A3AC8E1}"/>
          </ac:grpSpMkLst>
        </pc:grpChg>
        <pc:grpChg chg="add mod topLvl">
          <ac:chgData name="Julia PONT" userId="6ea7fb32-49be-46d9-9d69-f51ddf012212" providerId="ADAL" clId="{2A9E832C-25F6-4F2E-84DD-F34ECE0E3917}" dt="2024-01-31T18:04:20.352" v="11439" actId="164"/>
          <ac:grpSpMkLst>
            <pc:docMk/>
            <pc:sldMk cId="1749439792" sldId="2147482332"/>
            <ac:grpSpMk id="25" creationId="{D1CEA2B2-496F-73FE-7918-D2C57C41ABF1}"/>
          </ac:grpSpMkLst>
        </pc:grpChg>
        <pc:grpChg chg="add del mod topLvl">
          <ac:chgData name="Julia PONT" userId="6ea7fb32-49be-46d9-9d69-f51ddf012212" providerId="ADAL" clId="{2A9E832C-25F6-4F2E-84DD-F34ECE0E3917}" dt="2024-01-31T18:03:57.659" v="11432" actId="165"/>
          <ac:grpSpMkLst>
            <pc:docMk/>
            <pc:sldMk cId="1749439792" sldId="2147482332"/>
            <ac:grpSpMk id="26" creationId="{C9581DB5-4F71-A084-BDC4-750C363ADE73}"/>
          </ac:grpSpMkLst>
        </pc:grpChg>
        <pc:grpChg chg="add del mod topLvl">
          <ac:chgData name="Julia PONT" userId="6ea7fb32-49be-46d9-9d69-f51ddf012212" providerId="ADAL" clId="{2A9E832C-25F6-4F2E-84DD-F34ECE0E3917}" dt="2024-01-31T18:03:53.048" v="11431" actId="165"/>
          <ac:grpSpMkLst>
            <pc:docMk/>
            <pc:sldMk cId="1749439792" sldId="2147482332"/>
            <ac:grpSpMk id="27" creationId="{A9D04B7C-CE23-2D37-326C-29F70430C063}"/>
          </ac:grpSpMkLst>
        </pc:grpChg>
        <pc:grpChg chg="add del mod topLvl">
          <ac:chgData name="Julia PONT" userId="6ea7fb32-49be-46d9-9d69-f51ddf012212" providerId="ADAL" clId="{2A9E832C-25F6-4F2E-84DD-F34ECE0E3917}" dt="2024-02-01T10:37:51.270" v="13208" actId="478"/>
          <ac:grpSpMkLst>
            <pc:docMk/>
            <pc:sldMk cId="1749439792" sldId="2147482332"/>
            <ac:grpSpMk id="28" creationId="{FD8BD64F-C7E0-1D01-C86A-0F3AF236D78A}"/>
          </ac:grpSpMkLst>
        </pc:grpChg>
        <pc:grpChg chg="add mod">
          <ac:chgData name="Julia PONT" userId="6ea7fb32-49be-46d9-9d69-f51ddf012212" providerId="ADAL" clId="{2A9E832C-25F6-4F2E-84DD-F34ECE0E3917}" dt="2024-02-01T13:23:48.552" v="13845" actId="1038"/>
          <ac:grpSpMkLst>
            <pc:docMk/>
            <pc:sldMk cId="1749439792" sldId="2147482332"/>
            <ac:grpSpMk id="29" creationId="{029768C1-8B0F-04AB-36EE-D225152E7EA4}"/>
          </ac:grpSpMkLst>
        </pc:grpChg>
        <pc:grpChg chg="add del mod">
          <ac:chgData name="Julia PONT" userId="6ea7fb32-49be-46d9-9d69-f51ddf012212" providerId="ADAL" clId="{2A9E832C-25F6-4F2E-84DD-F34ECE0E3917}" dt="2024-01-31T15:31:11.320" v="9030" actId="165"/>
          <ac:grpSpMkLst>
            <pc:docMk/>
            <pc:sldMk cId="1749439792" sldId="2147482332"/>
            <ac:grpSpMk id="29" creationId="{5F1270D5-623D-7294-F837-58D44F8E308A}"/>
          </ac:grpSpMkLst>
        </pc:grpChg>
        <pc:grpChg chg="add del mod">
          <ac:chgData name="Julia PONT" userId="6ea7fb32-49be-46d9-9d69-f51ddf012212" providerId="ADAL" clId="{2A9E832C-25F6-4F2E-84DD-F34ECE0E3917}" dt="2024-01-31T18:08:17.345" v="11551" actId="478"/>
          <ac:grpSpMkLst>
            <pc:docMk/>
            <pc:sldMk cId="1749439792" sldId="2147482332"/>
            <ac:grpSpMk id="32" creationId="{289789F3-C4B1-4B41-AF46-9F09717D0A3B}"/>
          </ac:grpSpMkLst>
        </pc:grpChg>
        <pc:grpChg chg="add mod">
          <ac:chgData name="Julia PONT" userId="6ea7fb32-49be-46d9-9d69-f51ddf012212" providerId="ADAL" clId="{2A9E832C-25F6-4F2E-84DD-F34ECE0E3917}" dt="2024-02-01T10:37:56.951" v="13209"/>
          <ac:grpSpMkLst>
            <pc:docMk/>
            <pc:sldMk cId="1749439792" sldId="2147482332"/>
            <ac:grpSpMk id="39" creationId="{0114C19F-804B-1F22-A2BB-ACC51B1B6C7A}"/>
          </ac:grpSpMkLst>
        </pc:grpChg>
        <pc:grpChg chg="add mod">
          <ac:chgData name="Julia PONT" userId="6ea7fb32-49be-46d9-9d69-f51ddf012212" providerId="ADAL" clId="{2A9E832C-25F6-4F2E-84DD-F34ECE0E3917}" dt="2024-02-01T10:37:56.951" v="13209"/>
          <ac:grpSpMkLst>
            <pc:docMk/>
            <pc:sldMk cId="1749439792" sldId="2147482332"/>
            <ac:grpSpMk id="42" creationId="{F0D3DFBE-9A33-E25E-052F-704FACD8027E}"/>
          </ac:grpSpMkLst>
        </pc:grpChg>
        <pc:grpChg chg="add mod">
          <ac:chgData name="Julia PONT" userId="6ea7fb32-49be-46d9-9d69-f51ddf012212" providerId="ADAL" clId="{2A9E832C-25F6-4F2E-84DD-F34ECE0E3917}" dt="2024-02-01T10:37:56.951" v="13209"/>
          <ac:grpSpMkLst>
            <pc:docMk/>
            <pc:sldMk cId="1749439792" sldId="2147482332"/>
            <ac:grpSpMk id="45" creationId="{251F7E79-28B5-FD3B-2685-FD376B307520}"/>
          </ac:grpSpMkLst>
        </pc:grpChg>
        <pc:picChg chg="mod">
          <ac:chgData name="Julia PONT" userId="6ea7fb32-49be-46d9-9d69-f51ddf012212" providerId="ADAL" clId="{2A9E832C-25F6-4F2E-84DD-F34ECE0E3917}" dt="2024-01-31T18:03:53.048" v="11431" actId="165"/>
          <ac:picMkLst>
            <pc:docMk/>
            <pc:sldMk cId="1749439792" sldId="2147482332"/>
            <ac:picMk id="5" creationId="{BF2C2483-0F64-8D54-3096-C0202507FE4E}"/>
          </ac:picMkLst>
        </pc:picChg>
        <pc:picChg chg="mod ord topLvl">
          <ac:chgData name="Julia PONT" userId="6ea7fb32-49be-46d9-9d69-f51ddf012212" providerId="ADAL" clId="{2A9E832C-25F6-4F2E-84DD-F34ECE0E3917}" dt="2024-01-31T18:04:48.116" v="11443" actId="164"/>
          <ac:picMkLst>
            <pc:docMk/>
            <pc:sldMk cId="1749439792" sldId="2147482332"/>
            <ac:picMk id="6" creationId="{90F4EE91-EB82-2E1F-A7F0-64A01724D1B8}"/>
          </ac:picMkLst>
        </pc:picChg>
        <pc:picChg chg="mod topLvl">
          <ac:chgData name="Julia PONT" userId="6ea7fb32-49be-46d9-9d69-f51ddf012212" providerId="ADAL" clId="{2A9E832C-25F6-4F2E-84DD-F34ECE0E3917}" dt="2024-01-31T18:04:20.352" v="11439" actId="164"/>
          <ac:picMkLst>
            <pc:docMk/>
            <pc:sldMk cId="1749439792" sldId="2147482332"/>
            <ac:picMk id="8" creationId="{3747CEAF-1D5E-3435-542F-5067DFDC08DD}"/>
          </ac:picMkLst>
        </pc:picChg>
        <pc:picChg chg="mod">
          <ac:chgData name="Julia PONT" userId="6ea7fb32-49be-46d9-9d69-f51ddf012212" providerId="ADAL" clId="{2A9E832C-25F6-4F2E-84DD-F34ECE0E3917}" dt="2024-01-31T18:03:53.048" v="11431" actId="165"/>
          <ac:picMkLst>
            <pc:docMk/>
            <pc:sldMk cId="1749439792" sldId="2147482332"/>
            <ac:picMk id="10" creationId="{AA5C4BAA-DF0D-6B30-60A9-1F711F36D081}"/>
          </ac:picMkLst>
        </pc:picChg>
        <pc:picChg chg="mod">
          <ac:chgData name="Julia PONT" userId="6ea7fb32-49be-46d9-9d69-f51ddf012212" providerId="ADAL" clId="{2A9E832C-25F6-4F2E-84DD-F34ECE0E3917}" dt="2024-01-31T18:00:42.107" v="11380" actId="1076"/>
          <ac:picMkLst>
            <pc:docMk/>
            <pc:sldMk cId="1749439792" sldId="2147482332"/>
            <ac:picMk id="14" creationId="{FDB594E9-6AE5-99B7-5F9D-97DD99766828}"/>
          </ac:picMkLst>
        </pc:picChg>
        <pc:picChg chg="add mod">
          <ac:chgData name="Julia PONT" userId="6ea7fb32-49be-46d9-9d69-f51ddf012212" providerId="ADAL" clId="{2A9E832C-25F6-4F2E-84DD-F34ECE0E3917}" dt="2024-01-31T15:41:49.293" v="9246" actId="1076"/>
          <ac:picMkLst>
            <pc:docMk/>
            <pc:sldMk cId="1749439792" sldId="2147482332"/>
            <ac:picMk id="31" creationId="{B2CD63DB-459D-3E7C-63AB-398DC5A3F212}"/>
          </ac:picMkLst>
        </pc:picChg>
        <pc:picChg chg="add mod">
          <ac:chgData name="Julia PONT" userId="6ea7fb32-49be-46d9-9d69-f51ddf012212" providerId="ADAL" clId="{2A9E832C-25F6-4F2E-84DD-F34ECE0E3917}" dt="2024-02-01T10:37:56.951" v="13209"/>
          <ac:picMkLst>
            <pc:docMk/>
            <pc:sldMk cId="1749439792" sldId="2147482332"/>
            <ac:picMk id="49" creationId="{BEF9C79F-5197-785C-F683-D9813291C7E8}"/>
          </ac:picMkLst>
        </pc:picChg>
        <pc:picChg chg="add mod">
          <ac:chgData name="Julia PONT" userId="6ea7fb32-49be-46d9-9d69-f51ddf012212" providerId="ADAL" clId="{2A9E832C-25F6-4F2E-84DD-F34ECE0E3917}" dt="2024-02-01T13:23:48.552" v="13845" actId="1038"/>
          <ac:picMkLst>
            <pc:docMk/>
            <pc:sldMk cId="1749439792" sldId="2147482332"/>
            <ac:picMk id="50" creationId="{CAC9E7F8-A617-E909-D0F5-D883AA144C46}"/>
          </ac:picMkLst>
        </pc:picChg>
        <pc:picChg chg="add mod">
          <ac:chgData name="Julia PONT" userId="6ea7fb32-49be-46d9-9d69-f51ddf012212" providerId="ADAL" clId="{2A9E832C-25F6-4F2E-84DD-F34ECE0E3917}" dt="2024-02-01T10:37:56.951" v="13209"/>
          <ac:picMkLst>
            <pc:docMk/>
            <pc:sldMk cId="1749439792" sldId="2147482332"/>
            <ac:picMk id="53" creationId="{E58C1BA2-966A-077D-BE9F-7EAC273AC4BC}"/>
          </ac:picMkLst>
        </pc:picChg>
        <pc:picChg chg="add mod">
          <ac:chgData name="Julia PONT" userId="6ea7fb32-49be-46d9-9d69-f51ddf012212" providerId="ADAL" clId="{2A9E832C-25F6-4F2E-84DD-F34ECE0E3917}" dt="2024-02-01T10:37:56.951" v="13209"/>
          <ac:picMkLst>
            <pc:docMk/>
            <pc:sldMk cId="1749439792" sldId="2147482332"/>
            <ac:picMk id="54" creationId="{9CDD6486-493E-A135-8272-C94038A8A563}"/>
          </ac:picMkLst>
        </pc:picChg>
        <pc:picChg chg="add mod">
          <ac:chgData name="Julia PONT" userId="6ea7fb32-49be-46d9-9d69-f51ddf012212" providerId="ADAL" clId="{2A9E832C-25F6-4F2E-84DD-F34ECE0E3917}" dt="2024-02-01T10:37:56.951" v="13209"/>
          <ac:picMkLst>
            <pc:docMk/>
            <pc:sldMk cId="1749439792" sldId="2147482332"/>
            <ac:picMk id="55" creationId="{52D26BE5-4A26-6C04-78AB-38FAEA9FE4B6}"/>
          </ac:picMkLst>
        </pc:picChg>
        <pc:cxnChg chg="add del mod topLvl">
          <ac:chgData name="Julia PONT" userId="6ea7fb32-49be-46d9-9d69-f51ddf012212" providerId="ADAL" clId="{2A9E832C-25F6-4F2E-84DD-F34ECE0E3917}" dt="2024-01-31T18:08:17.345" v="11551" actId="478"/>
          <ac:cxnSpMkLst>
            <pc:docMk/>
            <pc:sldMk cId="1749439792" sldId="2147482332"/>
            <ac:cxnSpMk id="30" creationId="{C856B9FB-AAE3-A236-05FF-C047E523B036}"/>
          </ac:cxnSpMkLst>
        </pc:cxnChg>
        <pc:cxnChg chg="add del mod">
          <ac:chgData name="Julia PONT" userId="6ea7fb32-49be-46d9-9d69-f51ddf012212" providerId="ADAL" clId="{2A9E832C-25F6-4F2E-84DD-F34ECE0E3917}" dt="2024-01-31T18:08:22.985" v="11552" actId="478"/>
          <ac:cxnSpMkLst>
            <pc:docMk/>
            <pc:sldMk cId="1749439792" sldId="2147482332"/>
            <ac:cxnSpMk id="33" creationId="{92F9C72A-A45B-535C-848B-8830BED95709}"/>
          </ac:cxnSpMkLst>
        </pc:cxnChg>
      </pc:sldChg>
      <pc:sldChg chg="addSp modSp mod">
        <pc:chgData name="Julia PONT" userId="6ea7fb32-49be-46d9-9d69-f51ddf012212" providerId="ADAL" clId="{2A9E832C-25F6-4F2E-84DD-F34ECE0E3917}" dt="2024-02-01T09:30:33.126" v="12833" actId="207"/>
        <pc:sldMkLst>
          <pc:docMk/>
          <pc:sldMk cId="2655133361" sldId="2147482333"/>
        </pc:sldMkLst>
        <pc:spChg chg="add mod">
          <ac:chgData name="Julia PONT" userId="6ea7fb32-49be-46d9-9d69-f51ddf012212" providerId="ADAL" clId="{2A9E832C-25F6-4F2E-84DD-F34ECE0E3917}" dt="2024-02-01T09:30:33.126" v="12833" actId="207"/>
          <ac:spMkLst>
            <pc:docMk/>
            <pc:sldMk cId="2655133361" sldId="2147482333"/>
            <ac:spMk id="4" creationId="{8A6A1460-29A4-2187-A9F1-10D771F4FC14}"/>
          </ac:spMkLst>
        </pc:spChg>
      </pc:sldChg>
      <pc:sldChg chg="addSp modSp">
        <pc:chgData name="Julia PONT" userId="6ea7fb32-49be-46d9-9d69-f51ddf012212" providerId="ADAL" clId="{2A9E832C-25F6-4F2E-84DD-F34ECE0E3917}" dt="2024-02-01T09:31:05.291" v="12837"/>
        <pc:sldMkLst>
          <pc:docMk/>
          <pc:sldMk cId="2591449438" sldId="2147482334"/>
        </pc:sldMkLst>
        <pc:spChg chg="add mod">
          <ac:chgData name="Julia PONT" userId="6ea7fb32-49be-46d9-9d69-f51ddf012212" providerId="ADAL" clId="{2A9E832C-25F6-4F2E-84DD-F34ECE0E3917}" dt="2024-02-01T09:31:05.291" v="12837"/>
          <ac:spMkLst>
            <pc:docMk/>
            <pc:sldMk cId="2591449438" sldId="2147482334"/>
            <ac:spMk id="10" creationId="{5640F30A-E0C6-24BB-1FDB-50FD89324CC1}"/>
          </ac:spMkLst>
        </pc:spChg>
      </pc:sldChg>
      <pc:sldChg chg="addSp modSp mod modNotesTx">
        <pc:chgData name="Julia PONT" userId="6ea7fb32-49be-46d9-9d69-f51ddf012212" providerId="ADAL" clId="{2A9E832C-25F6-4F2E-84DD-F34ECE0E3917}" dt="2024-02-01T09:30:56.049" v="12834"/>
        <pc:sldMkLst>
          <pc:docMk/>
          <pc:sldMk cId="3375436117" sldId="2147482335"/>
        </pc:sldMkLst>
        <pc:spChg chg="mod">
          <ac:chgData name="Julia PONT" userId="6ea7fb32-49be-46d9-9d69-f51ddf012212" providerId="ADAL" clId="{2A9E832C-25F6-4F2E-84DD-F34ECE0E3917}" dt="2024-02-01T07:44:05.651" v="12607"/>
          <ac:spMkLst>
            <pc:docMk/>
            <pc:sldMk cId="3375436117" sldId="2147482335"/>
            <ac:spMk id="6" creationId="{0942EEF4-9BF1-4B40-0856-882B0F2FE1ED}"/>
          </ac:spMkLst>
        </pc:spChg>
        <pc:spChg chg="add mod">
          <ac:chgData name="Julia PONT" userId="6ea7fb32-49be-46d9-9d69-f51ddf012212" providerId="ADAL" clId="{2A9E832C-25F6-4F2E-84DD-F34ECE0E3917}" dt="2024-02-01T09:30:56.049" v="12834"/>
          <ac:spMkLst>
            <pc:docMk/>
            <pc:sldMk cId="3375436117" sldId="2147482335"/>
            <ac:spMk id="8" creationId="{CDA986A9-2535-D10C-1E00-7B806AED3BFB}"/>
          </ac:spMkLst>
        </pc:spChg>
      </pc:sldChg>
      <pc:sldChg chg="addSp modSp">
        <pc:chgData name="Julia PONT" userId="6ea7fb32-49be-46d9-9d69-f51ddf012212" providerId="ADAL" clId="{2A9E832C-25F6-4F2E-84DD-F34ECE0E3917}" dt="2024-02-01T09:30:59.858" v="12835"/>
        <pc:sldMkLst>
          <pc:docMk/>
          <pc:sldMk cId="3766662707" sldId="2147482336"/>
        </pc:sldMkLst>
        <pc:spChg chg="add mod">
          <ac:chgData name="Julia PONT" userId="6ea7fb32-49be-46d9-9d69-f51ddf012212" providerId="ADAL" clId="{2A9E832C-25F6-4F2E-84DD-F34ECE0E3917}" dt="2024-02-01T09:30:59.858" v="12835"/>
          <ac:spMkLst>
            <pc:docMk/>
            <pc:sldMk cId="3766662707" sldId="2147482336"/>
            <ac:spMk id="6" creationId="{7DB8105E-C1F8-5D16-A1AA-4D7C00FCC195}"/>
          </ac:spMkLst>
        </pc:spChg>
      </pc:sldChg>
      <pc:sldChg chg="addSp modSp">
        <pc:chgData name="Julia PONT" userId="6ea7fb32-49be-46d9-9d69-f51ddf012212" providerId="ADAL" clId="{2A9E832C-25F6-4F2E-84DD-F34ECE0E3917}" dt="2024-02-01T09:31:02.466" v="12836"/>
        <pc:sldMkLst>
          <pc:docMk/>
          <pc:sldMk cId="3741534490" sldId="2147482337"/>
        </pc:sldMkLst>
        <pc:spChg chg="add mod">
          <ac:chgData name="Julia PONT" userId="6ea7fb32-49be-46d9-9d69-f51ddf012212" providerId="ADAL" clId="{2A9E832C-25F6-4F2E-84DD-F34ECE0E3917}" dt="2024-02-01T09:31:02.466" v="12836"/>
          <ac:spMkLst>
            <pc:docMk/>
            <pc:sldMk cId="3741534490" sldId="2147482337"/>
            <ac:spMk id="4" creationId="{CA40462A-53E0-19A6-2D07-559FB27361CE}"/>
          </ac:spMkLst>
        </pc:spChg>
      </pc:sldChg>
      <pc:sldChg chg="addSp modSp add mod">
        <pc:chgData name="Julia PONT" userId="6ea7fb32-49be-46d9-9d69-f51ddf012212" providerId="ADAL" clId="{2A9E832C-25F6-4F2E-84DD-F34ECE0E3917}" dt="2024-01-31T16:18:51.739" v="9768" actId="20577"/>
        <pc:sldMkLst>
          <pc:docMk/>
          <pc:sldMk cId="3751655113" sldId="2147482341"/>
        </pc:sldMkLst>
        <pc:spChg chg="add mod">
          <ac:chgData name="Julia PONT" userId="6ea7fb32-49be-46d9-9d69-f51ddf012212" providerId="ADAL" clId="{2A9E832C-25F6-4F2E-84DD-F34ECE0E3917}" dt="2024-01-31T16:18:51.739" v="9768" actId="20577"/>
          <ac:spMkLst>
            <pc:docMk/>
            <pc:sldMk cId="3751655113" sldId="2147482341"/>
            <ac:spMk id="3" creationId="{F605A502-3749-EC54-DF20-0DB13E030912}"/>
          </ac:spMkLst>
        </pc:spChg>
      </pc:sldChg>
      <pc:sldChg chg="addSp delSp modSp add mod modShow">
        <pc:chgData name="Julia PONT" userId="6ea7fb32-49be-46d9-9d69-f51ddf012212" providerId="ADAL" clId="{2A9E832C-25F6-4F2E-84DD-F34ECE0E3917}" dt="2024-02-02T09:22:34.008" v="18647"/>
        <pc:sldMkLst>
          <pc:docMk/>
          <pc:sldMk cId="1912479424" sldId="2147482345"/>
        </pc:sldMkLst>
        <pc:spChg chg="add mod">
          <ac:chgData name="Julia PONT" userId="6ea7fb32-49be-46d9-9d69-f51ddf012212" providerId="ADAL" clId="{2A9E832C-25F6-4F2E-84DD-F34ECE0E3917}" dt="2024-02-02T08:56:40.146" v="18076" actId="20577"/>
          <ac:spMkLst>
            <pc:docMk/>
            <pc:sldMk cId="1912479424" sldId="2147482345"/>
            <ac:spMk id="6" creationId="{261D2F33-97A7-6024-B1CF-B5E9D535A7AB}"/>
          </ac:spMkLst>
        </pc:spChg>
        <pc:spChg chg="add del mod">
          <ac:chgData name="Julia PONT" userId="6ea7fb32-49be-46d9-9d69-f51ddf012212" providerId="ADAL" clId="{2A9E832C-25F6-4F2E-84DD-F34ECE0E3917}" dt="2024-02-01T17:15:55.643" v="17562" actId="478"/>
          <ac:spMkLst>
            <pc:docMk/>
            <pc:sldMk cId="1912479424" sldId="2147482345"/>
            <ac:spMk id="7" creationId="{7FFF65DC-B63B-2FCB-4AF3-2409D3A3649C}"/>
          </ac:spMkLst>
        </pc:spChg>
        <pc:spChg chg="add del mod">
          <ac:chgData name="Julia PONT" userId="6ea7fb32-49be-46d9-9d69-f51ddf012212" providerId="ADAL" clId="{2A9E832C-25F6-4F2E-84DD-F34ECE0E3917}" dt="2024-01-31T18:37:52.446" v="12286" actId="478"/>
          <ac:spMkLst>
            <pc:docMk/>
            <pc:sldMk cId="1912479424" sldId="2147482345"/>
            <ac:spMk id="7" creationId="{BB4BE48F-C99D-7FF6-A885-570B78A1933C}"/>
          </ac:spMkLst>
        </pc:spChg>
        <pc:spChg chg="add mod">
          <ac:chgData name="Julia PONT" userId="6ea7fb32-49be-46d9-9d69-f51ddf012212" providerId="ADAL" clId="{2A9E832C-25F6-4F2E-84DD-F34ECE0E3917}" dt="2024-02-02T08:56:18.185" v="18070" actId="313"/>
          <ac:spMkLst>
            <pc:docMk/>
            <pc:sldMk cId="1912479424" sldId="2147482345"/>
            <ac:spMk id="8" creationId="{2B992DF8-C996-F80F-0BA6-E746F90B3101}"/>
          </ac:spMkLst>
        </pc:spChg>
        <pc:spChg chg="add mod">
          <ac:chgData name="Julia PONT" userId="6ea7fb32-49be-46d9-9d69-f51ddf012212" providerId="ADAL" clId="{2A9E832C-25F6-4F2E-84DD-F34ECE0E3917}" dt="2024-02-01T17:23:02.715" v="17598" actId="207"/>
          <ac:spMkLst>
            <pc:docMk/>
            <pc:sldMk cId="1912479424" sldId="2147482345"/>
            <ac:spMk id="9" creationId="{7B3FC0BA-1A5E-8D10-77A7-FEA1E2B44D8D}"/>
          </ac:spMkLst>
        </pc:spChg>
        <pc:spChg chg="add mod">
          <ac:chgData name="Julia PONT" userId="6ea7fb32-49be-46d9-9d69-f51ddf012212" providerId="ADAL" clId="{2A9E832C-25F6-4F2E-84DD-F34ECE0E3917}" dt="2024-02-02T09:12:03.880" v="18214" actId="12788"/>
          <ac:spMkLst>
            <pc:docMk/>
            <pc:sldMk cId="1912479424" sldId="2147482345"/>
            <ac:spMk id="10" creationId="{37CDA918-2617-0CB0-C4E5-9C9FB8BE215C}"/>
          </ac:spMkLst>
        </pc:spChg>
        <pc:spChg chg="mod">
          <ac:chgData name="Julia PONT" userId="6ea7fb32-49be-46d9-9d69-f51ddf012212" providerId="ADAL" clId="{2A9E832C-25F6-4F2E-84DD-F34ECE0E3917}" dt="2024-02-01T17:23:00.532" v="17597" actId="207"/>
          <ac:spMkLst>
            <pc:docMk/>
            <pc:sldMk cId="1912479424" sldId="2147482345"/>
            <ac:spMk id="12" creationId="{A69472D7-2493-2CA6-688C-D454739D34D4}"/>
          </ac:spMkLst>
        </pc:spChg>
        <pc:spChg chg="mod">
          <ac:chgData name="Julia PONT" userId="6ea7fb32-49be-46d9-9d69-f51ddf012212" providerId="ADAL" clId="{2A9E832C-25F6-4F2E-84DD-F34ECE0E3917}" dt="2024-02-02T09:10:56.994" v="18199" actId="208"/>
          <ac:spMkLst>
            <pc:docMk/>
            <pc:sldMk cId="1912479424" sldId="2147482345"/>
            <ac:spMk id="13" creationId="{60144A62-D7A0-7B1B-0A70-C0D515E9FA51}"/>
          </ac:spMkLst>
        </pc:spChg>
        <pc:spChg chg="add mod">
          <ac:chgData name="Julia PONT" userId="6ea7fb32-49be-46d9-9d69-f51ddf012212" providerId="ADAL" clId="{2A9E832C-25F6-4F2E-84DD-F34ECE0E3917}" dt="2024-02-02T09:21:17.744" v="18643" actId="20577"/>
          <ac:spMkLst>
            <pc:docMk/>
            <pc:sldMk cId="1912479424" sldId="2147482345"/>
            <ac:spMk id="14" creationId="{612A0D63-23F7-B5C4-00F9-83EB285D4218}"/>
          </ac:spMkLst>
        </pc:spChg>
        <pc:spChg chg="add del mod">
          <ac:chgData name="Julia PONT" userId="6ea7fb32-49be-46d9-9d69-f51ddf012212" providerId="ADAL" clId="{2A9E832C-25F6-4F2E-84DD-F34ECE0E3917}" dt="2024-02-02T08:37:12.370" v="17932" actId="478"/>
          <ac:spMkLst>
            <pc:docMk/>
            <pc:sldMk cId="1912479424" sldId="2147482345"/>
            <ac:spMk id="15" creationId="{2F00CFB8-19AB-99ED-A7E5-3C12D9F252E4}"/>
          </ac:spMkLst>
        </pc:spChg>
        <pc:spChg chg="add del mod ord">
          <ac:chgData name="Julia PONT" userId="6ea7fb32-49be-46d9-9d69-f51ddf012212" providerId="ADAL" clId="{2A9E832C-25F6-4F2E-84DD-F34ECE0E3917}" dt="2024-02-01T17:34:09.657" v="17683" actId="478"/>
          <ac:spMkLst>
            <pc:docMk/>
            <pc:sldMk cId="1912479424" sldId="2147482345"/>
            <ac:spMk id="19" creationId="{35066B64-90B0-20C3-84E4-D6B6327D9FF8}"/>
          </ac:spMkLst>
        </pc:spChg>
        <pc:spChg chg="add del mod">
          <ac:chgData name="Julia PONT" userId="6ea7fb32-49be-46d9-9d69-f51ddf012212" providerId="ADAL" clId="{2A9E832C-25F6-4F2E-84DD-F34ECE0E3917}" dt="2024-02-01T17:35:18.769" v="17701" actId="478"/>
          <ac:spMkLst>
            <pc:docMk/>
            <pc:sldMk cId="1912479424" sldId="2147482345"/>
            <ac:spMk id="20" creationId="{739E28F9-D469-AB29-F6F6-6D11930447B5}"/>
          </ac:spMkLst>
        </pc:spChg>
        <pc:spChg chg="add mod">
          <ac:chgData name="Julia PONT" userId="6ea7fb32-49be-46d9-9d69-f51ddf012212" providerId="ADAL" clId="{2A9E832C-25F6-4F2E-84DD-F34ECE0E3917}" dt="2024-02-02T09:12:03.880" v="18214" actId="12788"/>
          <ac:spMkLst>
            <pc:docMk/>
            <pc:sldMk cId="1912479424" sldId="2147482345"/>
            <ac:spMk id="20" creationId="{9DD179F3-6416-E893-F1C0-67C2BC31DDBD}"/>
          </ac:spMkLst>
        </pc:spChg>
        <pc:spChg chg="add mod">
          <ac:chgData name="Julia PONT" userId="6ea7fb32-49be-46d9-9d69-f51ddf012212" providerId="ADAL" clId="{2A9E832C-25F6-4F2E-84DD-F34ECE0E3917}" dt="2024-02-02T09:12:28.876" v="18310" actId="20577"/>
          <ac:spMkLst>
            <pc:docMk/>
            <pc:sldMk cId="1912479424" sldId="2147482345"/>
            <ac:spMk id="21" creationId="{804E9816-9BF2-A7B4-8587-F69142FC4244}"/>
          </ac:spMkLst>
        </pc:spChg>
        <pc:spChg chg="mod">
          <ac:chgData name="Julia PONT" userId="6ea7fb32-49be-46d9-9d69-f51ddf012212" providerId="ADAL" clId="{2A9E832C-25F6-4F2E-84DD-F34ECE0E3917}" dt="2024-02-02T09:22:34.008" v="18647"/>
          <ac:spMkLst>
            <pc:docMk/>
            <pc:sldMk cId="1912479424" sldId="2147482345"/>
            <ac:spMk id="30" creationId="{A8A15718-341E-1618-BBFE-8DE79C4D1726}"/>
          </ac:spMkLst>
        </pc:spChg>
        <pc:spChg chg="del">
          <ac:chgData name="Julia PONT" userId="6ea7fb32-49be-46d9-9d69-f51ddf012212" providerId="ADAL" clId="{2A9E832C-25F6-4F2E-84DD-F34ECE0E3917}" dt="2024-01-31T18:32:08.491" v="11883" actId="478"/>
          <ac:spMkLst>
            <pc:docMk/>
            <pc:sldMk cId="1912479424" sldId="2147482345"/>
            <ac:spMk id="39" creationId="{35C5A787-FD08-71EA-88EE-850203439C2B}"/>
          </ac:spMkLst>
        </pc:spChg>
        <pc:spChg chg="del">
          <ac:chgData name="Julia PONT" userId="6ea7fb32-49be-46d9-9d69-f51ddf012212" providerId="ADAL" clId="{2A9E832C-25F6-4F2E-84DD-F34ECE0E3917}" dt="2024-01-31T18:32:05.956" v="11882" actId="478"/>
          <ac:spMkLst>
            <pc:docMk/>
            <pc:sldMk cId="1912479424" sldId="2147482345"/>
            <ac:spMk id="41" creationId="{91B6A13E-3269-4257-3B1F-192758E6E957}"/>
          </ac:spMkLst>
        </pc:spChg>
        <pc:spChg chg="del">
          <ac:chgData name="Julia PONT" userId="6ea7fb32-49be-46d9-9d69-f51ddf012212" providerId="ADAL" clId="{2A9E832C-25F6-4F2E-84DD-F34ECE0E3917}" dt="2024-01-31T18:32:08.491" v="11883" actId="478"/>
          <ac:spMkLst>
            <pc:docMk/>
            <pc:sldMk cId="1912479424" sldId="2147482345"/>
            <ac:spMk id="42" creationId="{BBB7655A-24C6-3BC7-54D6-D19397F7EA53}"/>
          </ac:spMkLst>
        </pc:spChg>
        <pc:spChg chg="del">
          <ac:chgData name="Julia PONT" userId="6ea7fb32-49be-46d9-9d69-f51ddf012212" providerId="ADAL" clId="{2A9E832C-25F6-4F2E-84DD-F34ECE0E3917}" dt="2024-01-31T18:32:10.831" v="11884" actId="478"/>
          <ac:spMkLst>
            <pc:docMk/>
            <pc:sldMk cId="1912479424" sldId="2147482345"/>
            <ac:spMk id="44" creationId="{E78E13E7-F18F-A6EA-74DD-C56F18EAEB30}"/>
          </ac:spMkLst>
        </pc:spChg>
        <pc:spChg chg="del">
          <ac:chgData name="Julia PONT" userId="6ea7fb32-49be-46d9-9d69-f51ddf012212" providerId="ADAL" clId="{2A9E832C-25F6-4F2E-84DD-F34ECE0E3917}" dt="2024-01-31T18:32:08.491" v="11883" actId="478"/>
          <ac:spMkLst>
            <pc:docMk/>
            <pc:sldMk cId="1912479424" sldId="2147482345"/>
            <ac:spMk id="46" creationId="{7F37E21E-D0EB-3114-9EF2-9A243DD7C81B}"/>
          </ac:spMkLst>
        </pc:spChg>
        <pc:spChg chg="del">
          <ac:chgData name="Julia PONT" userId="6ea7fb32-49be-46d9-9d69-f51ddf012212" providerId="ADAL" clId="{2A9E832C-25F6-4F2E-84DD-F34ECE0E3917}" dt="2024-01-31T18:32:10.831" v="11884" actId="478"/>
          <ac:spMkLst>
            <pc:docMk/>
            <pc:sldMk cId="1912479424" sldId="2147482345"/>
            <ac:spMk id="47" creationId="{7A54174B-6B3B-8268-8663-13305BFB4CC7}"/>
          </ac:spMkLst>
        </pc:spChg>
        <pc:spChg chg="del">
          <ac:chgData name="Julia PONT" userId="6ea7fb32-49be-46d9-9d69-f51ddf012212" providerId="ADAL" clId="{2A9E832C-25F6-4F2E-84DD-F34ECE0E3917}" dt="2024-01-31T18:32:10.831" v="11884" actId="478"/>
          <ac:spMkLst>
            <pc:docMk/>
            <pc:sldMk cId="1912479424" sldId="2147482345"/>
            <ac:spMk id="49" creationId="{93F976D5-AB33-923D-D3DD-7480CC48ADCB}"/>
          </ac:spMkLst>
        </pc:spChg>
        <pc:picChg chg="add mod">
          <ac:chgData name="Julia PONT" userId="6ea7fb32-49be-46d9-9d69-f51ddf012212" providerId="ADAL" clId="{2A9E832C-25F6-4F2E-84DD-F34ECE0E3917}" dt="2024-02-02T08:57:19.888" v="18092" actId="465"/>
          <ac:picMkLst>
            <pc:docMk/>
            <pc:sldMk cId="1912479424" sldId="2147482345"/>
            <ac:picMk id="2" creationId="{447CA3C1-6C3E-F0B4-9C5F-EC0059F1AC66}"/>
          </ac:picMkLst>
        </pc:picChg>
        <pc:picChg chg="add mod">
          <ac:chgData name="Julia PONT" userId="6ea7fb32-49be-46d9-9d69-f51ddf012212" providerId="ADAL" clId="{2A9E832C-25F6-4F2E-84DD-F34ECE0E3917}" dt="2024-02-02T09:12:54.968" v="18312" actId="1076"/>
          <ac:picMkLst>
            <pc:docMk/>
            <pc:sldMk cId="1912479424" sldId="2147482345"/>
            <ac:picMk id="3" creationId="{793D5A63-7289-EB47-C56F-74347D34F299}"/>
          </ac:picMkLst>
        </pc:picChg>
        <pc:picChg chg="add mod">
          <ac:chgData name="Julia PONT" userId="6ea7fb32-49be-46d9-9d69-f51ddf012212" providerId="ADAL" clId="{2A9E832C-25F6-4F2E-84DD-F34ECE0E3917}" dt="2024-02-02T09:12:32.319" v="18311" actId="1076"/>
          <ac:picMkLst>
            <pc:docMk/>
            <pc:sldMk cId="1912479424" sldId="2147482345"/>
            <ac:picMk id="4" creationId="{E3F36E5E-C439-ABB9-E885-BFA4EA173FEE}"/>
          </ac:picMkLst>
        </pc:picChg>
        <pc:picChg chg="add mod">
          <ac:chgData name="Julia PONT" userId="6ea7fb32-49be-46d9-9d69-f51ddf012212" providerId="ADAL" clId="{2A9E832C-25F6-4F2E-84DD-F34ECE0E3917}" dt="2024-01-31T18:34:24.906" v="11979" actId="1076"/>
          <ac:picMkLst>
            <pc:docMk/>
            <pc:sldMk cId="1912479424" sldId="2147482345"/>
            <ac:picMk id="5" creationId="{E80F2387-6D1E-0E6A-D9CE-DA2EF7A04A57}"/>
          </ac:picMkLst>
        </pc:picChg>
        <pc:picChg chg="add mod ord">
          <ac:chgData name="Julia PONT" userId="6ea7fb32-49be-46d9-9d69-f51ddf012212" providerId="ADAL" clId="{2A9E832C-25F6-4F2E-84DD-F34ECE0E3917}" dt="2024-02-02T08:57:26.507" v="18093" actId="14861"/>
          <ac:picMkLst>
            <pc:docMk/>
            <pc:sldMk cId="1912479424" sldId="2147482345"/>
            <ac:picMk id="7" creationId="{24E78740-83F7-181D-047B-3996A655285F}"/>
          </ac:picMkLst>
        </pc:picChg>
        <pc:picChg chg="add del mod">
          <ac:chgData name="Julia PONT" userId="6ea7fb32-49be-46d9-9d69-f51ddf012212" providerId="ADAL" clId="{2A9E832C-25F6-4F2E-84DD-F34ECE0E3917}" dt="2024-02-02T09:06:08.016" v="18102" actId="478"/>
          <ac:picMkLst>
            <pc:docMk/>
            <pc:sldMk cId="1912479424" sldId="2147482345"/>
            <ac:picMk id="11" creationId="{1D3A6AA9-BE1E-4D40-E761-6DAB81F53B8C}"/>
          </ac:picMkLst>
        </pc:picChg>
        <pc:picChg chg="add del mod">
          <ac:chgData name="Julia PONT" userId="6ea7fb32-49be-46d9-9d69-f51ddf012212" providerId="ADAL" clId="{2A9E832C-25F6-4F2E-84DD-F34ECE0E3917}" dt="2024-02-01T17:33:44.163" v="17677" actId="478"/>
          <ac:picMkLst>
            <pc:docMk/>
            <pc:sldMk cId="1912479424" sldId="2147482345"/>
            <ac:picMk id="11" creationId="{9EB60D89-740C-D5D9-8499-798B0EAADCD2}"/>
          </ac:picMkLst>
        </pc:picChg>
        <pc:picChg chg="add mod">
          <ac:chgData name="Julia PONT" userId="6ea7fb32-49be-46d9-9d69-f51ddf012212" providerId="ADAL" clId="{2A9E832C-25F6-4F2E-84DD-F34ECE0E3917}" dt="2024-02-02T08:57:19.888" v="18092" actId="465"/>
          <ac:picMkLst>
            <pc:docMk/>
            <pc:sldMk cId="1912479424" sldId="2147482345"/>
            <ac:picMk id="17" creationId="{0C61C650-F84A-FFE5-1E57-ECAA472FB976}"/>
          </ac:picMkLst>
        </pc:picChg>
        <pc:picChg chg="add del mod">
          <ac:chgData name="Julia PONT" userId="6ea7fb32-49be-46d9-9d69-f51ddf012212" providerId="ADAL" clId="{2A9E832C-25F6-4F2E-84DD-F34ECE0E3917}" dt="2024-02-01T15:58:15.521" v="16275" actId="478"/>
          <ac:picMkLst>
            <pc:docMk/>
            <pc:sldMk cId="1912479424" sldId="2147482345"/>
            <ac:picMk id="18" creationId="{6A76E9F3-39D0-ACA7-263F-4C8CFD568FA8}"/>
          </ac:picMkLst>
        </pc:picChg>
        <pc:picChg chg="add mod modCrop">
          <ac:chgData name="Julia PONT" userId="6ea7fb32-49be-46d9-9d69-f51ddf012212" providerId="ADAL" clId="{2A9E832C-25F6-4F2E-84DD-F34ECE0E3917}" dt="2024-02-02T09:11:42.085" v="18210" actId="14100"/>
          <ac:picMkLst>
            <pc:docMk/>
            <pc:sldMk cId="1912479424" sldId="2147482345"/>
            <ac:picMk id="19" creationId="{6CF42D52-454A-3FB8-9D70-74668F3319C9}"/>
          </ac:picMkLst>
        </pc:picChg>
        <pc:picChg chg="del">
          <ac:chgData name="Julia PONT" userId="6ea7fb32-49be-46d9-9d69-f51ddf012212" providerId="ADAL" clId="{2A9E832C-25F6-4F2E-84DD-F34ECE0E3917}" dt="2024-01-31T18:32:05.956" v="11882" actId="478"/>
          <ac:picMkLst>
            <pc:docMk/>
            <pc:sldMk cId="1912479424" sldId="2147482345"/>
            <ac:picMk id="43" creationId="{E54A17BC-EB4A-3E55-CB9B-94DBEF5FC3DC}"/>
          </ac:picMkLst>
        </pc:picChg>
        <pc:picChg chg="del">
          <ac:chgData name="Julia PONT" userId="6ea7fb32-49be-46d9-9d69-f51ddf012212" providerId="ADAL" clId="{2A9E832C-25F6-4F2E-84DD-F34ECE0E3917}" dt="2024-01-31T18:32:05.956" v="11882" actId="478"/>
          <ac:picMkLst>
            <pc:docMk/>
            <pc:sldMk cId="1912479424" sldId="2147482345"/>
            <ac:picMk id="45" creationId="{89F7B679-CF07-D1B2-37C0-6976B945EDCF}"/>
          </ac:picMkLst>
        </pc:picChg>
        <pc:picChg chg="del">
          <ac:chgData name="Julia PONT" userId="6ea7fb32-49be-46d9-9d69-f51ddf012212" providerId="ADAL" clId="{2A9E832C-25F6-4F2E-84DD-F34ECE0E3917}" dt="2024-01-31T18:32:05.956" v="11882" actId="478"/>
          <ac:picMkLst>
            <pc:docMk/>
            <pc:sldMk cId="1912479424" sldId="2147482345"/>
            <ac:picMk id="48" creationId="{79E4158B-2CE2-51DE-29B8-C953A374EDF9}"/>
          </ac:picMkLst>
        </pc:picChg>
        <pc:picChg chg="del">
          <ac:chgData name="Julia PONT" userId="6ea7fb32-49be-46d9-9d69-f51ddf012212" providerId="ADAL" clId="{2A9E832C-25F6-4F2E-84DD-F34ECE0E3917}" dt="2024-01-31T18:32:05.956" v="11882" actId="478"/>
          <ac:picMkLst>
            <pc:docMk/>
            <pc:sldMk cId="1912479424" sldId="2147482345"/>
            <ac:picMk id="50" creationId="{5CA2EF6D-F87D-3C84-45C7-6BF7B06F66B7}"/>
          </ac:picMkLst>
        </pc:picChg>
        <pc:cxnChg chg="add mod">
          <ac:chgData name="Julia PONT" userId="6ea7fb32-49be-46d9-9d69-f51ddf012212" providerId="ADAL" clId="{2A9E832C-25F6-4F2E-84DD-F34ECE0E3917}" dt="2024-02-02T08:56:31.657" v="18073"/>
          <ac:cxnSpMkLst>
            <pc:docMk/>
            <pc:sldMk cId="1912479424" sldId="2147482345"/>
            <ac:cxnSpMk id="16" creationId="{267AB312-5F7B-6411-032F-C261AE94231A}"/>
          </ac:cxnSpMkLst>
        </pc:cxnChg>
      </pc:sldChg>
      <pc:sldChg chg="addSp modSp mod">
        <pc:chgData name="Julia PONT" userId="6ea7fb32-49be-46d9-9d69-f51ddf012212" providerId="ADAL" clId="{2A9E832C-25F6-4F2E-84DD-F34ECE0E3917}" dt="2024-02-02T15:03:53.283" v="19987" actId="1036"/>
        <pc:sldMkLst>
          <pc:docMk/>
          <pc:sldMk cId="2124704795" sldId="2147482347"/>
        </pc:sldMkLst>
        <pc:spChg chg="mod">
          <ac:chgData name="Julia PONT" userId="6ea7fb32-49be-46d9-9d69-f51ddf012212" providerId="ADAL" clId="{2A9E832C-25F6-4F2E-84DD-F34ECE0E3917}" dt="2024-02-02T15:00:56.333" v="19817" actId="1036"/>
          <ac:spMkLst>
            <pc:docMk/>
            <pc:sldMk cId="2124704795" sldId="2147482347"/>
            <ac:spMk id="3" creationId="{E748E0B5-C195-AC33-310F-0A8386CC23A9}"/>
          </ac:spMkLst>
        </pc:spChg>
        <pc:spChg chg="mod">
          <ac:chgData name="Julia PONT" userId="6ea7fb32-49be-46d9-9d69-f51ddf012212" providerId="ADAL" clId="{2A9E832C-25F6-4F2E-84DD-F34ECE0E3917}" dt="2024-02-02T15:00:52.303" v="19814" actId="403"/>
          <ac:spMkLst>
            <pc:docMk/>
            <pc:sldMk cId="2124704795" sldId="2147482347"/>
            <ac:spMk id="19" creationId="{BBC93055-643A-4775-93A0-1BD0C9CA9394}"/>
          </ac:spMkLst>
        </pc:spChg>
        <pc:grpChg chg="add mod">
          <ac:chgData name="Julia PONT" userId="6ea7fb32-49be-46d9-9d69-f51ddf012212" providerId="ADAL" clId="{2A9E832C-25F6-4F2E-84DD-F34ECE0E3917}" dt="2024-02-02T15:03:02.528" v="19872" actId="1035"/>
          <ac:grpSpMkLst>
            <pc:docMk/>
            <pc:sldMk cId="2124704795" sldId="2147482347"/>
            <ac:grpSpMk id="12" creationId="{52631E91-5D60-9460-745A-BE14A15332E3}"/>
          </ac:grpSpMkLst>
        </pc:grpChg>
        <pc:grpChg chg="add mod">
          <ac:chgData name="Julia PONT" userId="6ea7fb32-49be-46d9-9d69-f51ddf012212" providerId="ADAL" clId="{2A9E832C-25F6-4F2E-84DD-F34ECE0E3917}" dt="2024-02-02T15:03:08.743" v="19874" actId="1076"/>
          <ac:grpSpMkLst>
            <pc:docMk/>
            <pc:sldMk cId="2124704795" sldId="2147482347"/>
            <ac:grpSpMk id="20" creationId="{9BC1B3BE-43A8-6131-8F17-271C97D0D414}"/>
          </ac:grpSpMkLst>
        </pc:grpChg>
        <pc:grpChg chg="add mod">
          <ac:chgData name="Julia PONT" userId="6ea7fb32-49be-46d9-9d69-f51ddf012212" providerId="ADAL" clId="{2A9E832C-25F6-4F2E-84DD-F34ECE0E3917}" dt="2024-02-02T15:03:13.963" v="19876" actId="1076"/>
          <ac:grpSpMkLst>
            <pc:docMk/>
            <pc:sldMk cId="2124704795" sldId="2147482347"/>
            <ac:grpSpMk id="25" creationId="{E301386F-7154-92AF-48C8-0556D50277CA}"/>
          </ac:grpSpMkLst>
        </pc:grpChg>
        <pc:grpChg chg="add mod">
          <ac:chgData name="Julia PONT" userId="6ea7fb32-49be-46d9-9d69-f51ddf012212" providerId="ADAL" clId="{2A9E832C-25F6-4F2E-84DD-F34ECE0E3917}" dt="2024-02-02T15:03:19.626" v="19878" actId="1076"/>
          <ac:grpSpMkLst>
            <pc:docMk/>
            <pc:sldMk cId="2124704795" sldId="2147482347"/>
            <ac:grpSpMk id="28" creationId="{B65846D7-B137-900B-C426-B4602223DA8D}"/>
          </ac:grpSpMkLst>
        </pc:grpChg>
        <pc:graphicFrameChg chg="mod modGraphic">
          <ac:chgData name="Julia PONT" userId="6ea7fb32-49be-46d9-9d69-f51ddf012212" providerId="ADAL" clId="{2A9E832C-25F6-4F2E-84DD-F34ECE0E3917}" dt="2024-02-02T15:03:26.695" v="19879"/>
          <ac:graphicFrameMkLst>
            <pc:docMk/>
            <pc:sldMk cId="2124704795" sldId="2147482347"/>
            <ac:graphicFrameMk id="4" creationId="{9770B5C9-789A-450B-BEFE-7FE09605F540}"/>
          </ac:graphicFrameMkLst>
        </pc:graphicFrameChg>
        <pc:graphicFrameChg chg="modGraphic">
          <ac:chgData name="Julia PONT" userId="6ea7fb32-49be-46d9-9d69-f51ddf012212" providerId="ADAL" clId="{2A9E832C-25F6-4F2E-84DD-F34ECE0E3917}" dt="2024-02-02T15:01:54.007" v="19828" actId="207"/>
          <ac:graphicFrameMkLst>
            <pc:docMk/>
            <pc:sldMk cId="2124704795" sldId="2147482347"/>
            <ac:graphicFrameMk id="21" creationId="{187B67DD-4F81-4889-A8FC-7A0CDB82050E}"/>
          </ac:graphicFrameMkLst>
        </pc:graphicFrameChg>
        <pc:picChg chg="mod">
          <ac:chgData name="Julia PONT" userId="6ea7fb32-49be-46d9-9d69-f51ddf012212" providerId="ADAL" clId="{2A9E832C-25F6-4F2E-84DD-F34ECE0E3917}" dt="2024-02-02T15:03:38.524" v="19907" actId="1035"/>
          <ac:picMkLst>
            <pc:docMk/>
            <pc:sldMk cId="2124704795" sldId="2147482347"/>
            <ac:picMk id="2" creationId="{4E12CBAB-424D-480A-6D54-1FF8E366BA7C}"/>
          </ac:picMkLst>
        </pc:picChg>
        <pc:picChg chg="mod">
          <ac:chgData name="Julia PONT" userId="6ea7fb32-49be-46d9-9d69-f51ddf012212" providerId="ADAL" clId="{2A9E832C-25F6-4F2E-84DD-F34ECE0E3917}" dt="2024-02-02T15:03:43.720" v="19935" actId="1035"/>
          <ac:picMkLst>
            <pc:docMk/>
            <pc:sldMk cId="2124704795" sldId="2147482347"/>
            <ac:picMk id="7" creationId="{9A0AFC1C-7BD0-D98F-9168-A5BC94F22245}"/>
          </ac:picMkLst>
        </pc:picChg>
        <pc:picChg chg="mod">
          <ac:chgData name="Julia PONT" userId="6ea7fb32-49be-46d9-9d69-f51ddf012212" providerId="ADAL" clId="{2A9E832C-25F6-4F2E-84DD-F34ECE0E3917}" dt="2024-02-02T15:03:48.638" v="19964" actId="1035"/>
          <ac:picMkLst>
            <pc:docMk/>
            <pc:sldMk cId="2124704795" sldId="2147482347"/>
            <ac:picMk id="9" creationId="{D1729B3F-A3BA-C13B-3B2D-109F6BB9DFEF}"/>
          </ac:picMkLst>
        </pc:picChg>
        <pc:picChg chg="mod">
          <ac:chgData name="Julia PONT" userId="6ea7fb32-49be-46d9-9d69-f51ddf012212" providerId="ADAL" clId="{2A9E832C-25F6-4F2E-84DD-F34ECE0E3917}" dt="2024-02-02T15:02:48.135" v="19838"/>
          <ac:picMkLst>
            <pc:docMk/>
            <pc:sldMk cId="2124704795" sldId="2147482347"/>
            <ac:picMk id="13" creationId="{18FF6491-16C7-76BB-AABC-5EBF0E5B3214}"/>
          </ac:picMkLst>
        </pc:picChg>
        <pc:picChg chg="mod">
          <ac:chgData name="Julia PONT" userId="6ea7fb32-49be-46d9-9d69-f51ddf012212" providerId="ADAL" clId="{2A9E832C-25F6-4F2E-84DD-F34ECE0E3917}" dt="2024-02-02T15:02:59.270" v="19867" actId="1037"/>
          <ac:picMkLst>
            <pc:docMk/>
            <pc:sldMk cId="2124704795" sldId="2147482347"/>
            <ac:picMk id="14" creationId="{76D75EDD-3944-E10F-6D5C-D5AD51548BC3}"/>
          </ac:picMkLst>
        </pc:picChg>
        <pc:picChg chg="mod">
          <ac:chgData name="Julia PONT" userId="6ea7fb32-49be-46d9-9d69-f51ddf012212" providerId="ADAL" clId="{2A9E832C-25F6-4F2E-84DD-F34ECE0E3917}" dt="2024-02-02T15:03:04.320" v="19873"/>
          <ac:picMkLst>
            <pc:docMk/>
            <pc:sldMk cId="2124704795" sldId="2147482347"/>
            <ac:picMk id="23" creationId="{4B0EC740-BAB6-80F6-2049-BDB1F556A5C7}"/>
          </ac:picMkLst>
        </pc:picChg>
        <pc:picChg chg="mod">
          <ac:chgData name="Julia PONT" userId="6ea7fb32-49be-46d9-9d69-f51ddf012212" providerId="ADAL" clId="{2A9E832C-25F6-4F2E-84DD-F34ECE0E3917}" dt="2024-02-02T15:03:04.320" v="19873"/>
          <ac:picMkLst>
            <pc:docMk/>
            <pc:sldMk cId="2124704795" sldId="2147482347"/>
            <ac:picMk id="24" creationId="{40074F63-41F3-CE9D-8152-5DC40D2AFD6C}"/>
          </ac:picMkLst>
        </pc:picChg>
        <pc:picChg chg="mod">
          <ac:chgData name="Julia PONT" userId="6ea7fb32-49be-46d9-9d69-f51ddf012212" providerId="ADAL" clId="{2A9E832C-25F6-4F2E-84DD-F34ECE0E3917}" dt="2024-02-02T15:03:10.971" v="19875"/>
          <ac:picMkLst>
            <pc:docMk/>
            <pc:sldMk cId="2124704795" sldId="2147482347"/>
            <ac:picMk id="26" creationId="{CCA1F33E-5480-CB6C-8E1D-665D9541F1C5}"/>
          </ac:picMkLst>
        </pc:picChg>
        <pc:picChg chg="mod">
          <ac:chgData name="Julia PONT" userId="6ea7fb32-49be-46d9-9d69-f51ddf012212" providerId="ADAL" clId="{2A9E832C-25F6-4F2E-84DD-F34ECE0E3917}" dt="2024-02-02T15:03:10.971" v="19875"/>
          <ac:picMkLst>
            <pc:docMk/>
            <pc:sldMk cId="2124704795" sldId="2147482347"/>
            <ac:picMk id="27" creationId="{FBA8D883-CAF3-5077-72BA-B14DBF3DAB3E}"/>
          </ac:picMkLst>
        </pc:picChg>
        <pc:picChg chg="mod">
          <ac:chgData name="Julia PONT" userId="6ea7fb32-49be-46d9-9d69-f51ddf012212" providerId="ADAL" clId="{2A9E832C-25F6-4F2E-84DD-F34ECE0E3917}" dt="2024-02-02T15:03:14.755" v="19877"/>
          <ac:picMkLst>
            <pc:docMk/>
            <pc:sldMk cId="2124704795" sldId="2147482347"/>
            <ac:picMk id="29" creationId="{93B0E445-6A68-B86F-D9D4-B11317313717}"/>
          </ac:picMkLst>
        </pc:picChg>
        <pc:picChg chg="mod">
          <ac:chgData name="Julia PONT" userId="6ea7fb32-49be-46d9-9d69-f51ddf012212" providerId="ADAL" clId="{2A9E832C-25F6-4F2E-84DD-F34ECE0E3917}" dt="2024-02-02T15:03:14.755" v="19877"/>
          <ac:picMkLst>
            <pc:docMk/>
            <pc:sldMk cId="2124704795" sldId="2147482347"/>
            <ac:picMk id="30" creationId="{AF13418A-665A-D1E2-0F8C-A98FCA6763D9}"/>
          </ac:picMkLst>
        </pc:picChg>
        <pc:picChg chg="mod">
          <ac:chgData name="Julia PONT" userId="6ea7fb32-49be-46d9-9d69-f51ddf012212" providerId="ADAL" clId="{2A9E832C-25F6-4F2E-84DD-F34ECE0E3917}" dt="2024-02-02T15:03:53.283" v="19987" actId="1036"/>
          <ac:picMkLst>
            <pc:docMk/>
            <pc:sldMk cId="2124704795" sldId="2147482347"/>
            <ac:picMk id="46083" creationId="{D5359D95-FF97-4EB3-8C65-2EB2B28C4DD8}"/>
          </ac:picMkLst>
        </pc:picChg>
      </pc:sldChg>
      <pc:sldChg chg="modSp add mod ord">
        <pc:chgData name="Julia PONT" userId="6ea7fb32-49be-46d9-9d69-f51ddf012212" providerId="ADAL" clId="{2A9E832C-25F6-4F2E-84DD-F34ECE0E3917}" dt="2024-02-01T10:10:00.866" v="13068"/>
        <pc:sldMkLst>
          <pc:docMk/>
          <pc:sldMk cId="2072986446" sldId="2147482348"/>
        </pc:sldMkLst>
        <pc:spChg chg="mod">
          <ac:chgData name="Julia PONT" userId="6ea7fb32-49be-46d9-9d69-f51ddf012212" providerId="ADAL" clId="{2A9E832C-25F6-4F2E-84DD-F34ECE0E3917}" dt="2024-02-01T10:09:57.850" v="13066" actId="20577"/>
          <ac:spMkLst>
            <pc:docMk/>
            <pc:sldMk cId="2072986446" sldId="2147482348"/>
            <ac:spMk id="22" creationId="{8CC9181B-6A33-D48E-6DC9-0609B671E8CC}"/>
          </ac:spMkLst>
        </pc:spChg>
      </pc:sldChg>
      <pc:sldChg chg="mod modShow">
        <pc:chgData name="Julia PONT" userId="6ea7fb32-49be-46d9-9d69-f51ddf012212" providerId="ADAL" clId="{2A9E832C-25F6-4F2E-84DD-F34ECE0E3917}" dt="2024-02-01T17:46:49.150" v="17819" actId="729"/>
        <pc:sldMkLst>
          <pc:docMk/>
          <pc:sldMk cId="2764221416" sldId="2147482354"/>
        </pc:sldMkLst>
      </pc:sldChg>
      <pc:sldChg chg="addSp modSp mod">
        <pc:chgData name="Julia PONT" userId="6ea7fb32-49be-46d9-9d69-f51ddf012212" providerId="ADAL" clId="{2A9E832C-25F6-4F2E-84DD-F34ECE0E3917}" dt="2024-02-01T13:11:36.827" v="13609" actId="1076"/>
        <pc:sldMkLst>
          <pc:docMk/>
          <pc:sldMk cId="3762552109" sldId="2147482363"/>
        </pc:sldMkLst>
        <pc:spChg chg="add mod">
          <ac:chgData name="Julia PONT" userId="6ea7fb32-49be-46d9-9d69-f51ddf012212" providerId="ADAL" clId="{2A9E832C-25F6-4F2E-84DD-F34ECE0E3917}" dt="2024-02-01T13:09:21.745" v="13544" actId="14100"/>
          <ac:spMkLst>
            <pc:docMk/>
            <pc:sldMk cId="3762552109" sldId="2147482363"/>
            <ac:spMk id="2" creationId="{CCF984CA-623C-56CD-1F6E-F5784298A33B}"/>
          </ac:spMkLst>
        </pc:spChg>
        <pc:spChg chg="add mod">
          <ac:chgData name="Julia PONT" userId="6ea7fb32-49be-46d9-9d69-f51ddf012212" providerId="ADAL" clId="{2A9E832C-25F6-4F2E-84DD-F34ECE0E3917}" dt="2024-02-01T13:09:31.627" v="13558" actId="20577"/>
          <ac:spMkLst>
            <pc:docMk/>
            <pc:sldMk cId="3762552109" sldId="2147482363"/>
            <ac:spMk id="8" creationId="{3D7D97AC-9016-CD00-7979-46E44512FCC7}"/>
          </ac:spMkLst>
        </pc:spChg>
        <pc:spChg chg="add mod">
          <ac:chgData name="Julia PONT" userId="6ea7fb32-49be-46d9-9d69-f51ddf012212" providerId="ADAL" clId="{2A9E832C-25F6-4F2E-84DD-F34ECE0E3917}" dt="2024-02-01T13:10:27.639" v="13579" actId="20577"/>
          <ac:spMkLst>
            <pc:docMk/>
            <pc:sldMk cId="3762552109" sldId="2147482363"/>
            <ac:spMk id="9" creationId="{12D109AA-91C4-F5D5-123D-2F5FEB863406}"/>
          </ac:spMkLst>
        </pc:spChg>
        <pc:spChg chg="add mod">
          <ac:chgData name="Julia PONT" userId="6ea7fb32-49be-46d9-9d69-f51ddf012212" providerId="ADAL" clId="{2A9E832C-25F6-4F2E-84DD-F34ECE0E3917}" dt="2024-02-01T13:10:56.564" v="13600" actId="20577"/>
          <ac:spMkLst>
            <pc:docMk/>
            <pc:sldMk cId="3762552109" sldId="2147482363"/>
            <ac:spMk id="10" creationId="{C962B813-BD72-DB3D-FF80-C349D67077F1}"/>
          </ac:spMkLst>
        </pc:spChg>
        <pc:spChg chg="add mod">
          <ac:chgData name="Julia PONT" userId="6ea7fb32-49be-46d9-9d69-f51ddf012212" providerId="ADAL" clId="{2A9E832C-25F6-4F2E-84DD-F34ECE0E3917}" dt="2024-02-01T13:11:36.827" v="13609" actId="1076"/>
          <ac:spMkLst>
            <pc:docMk/>
            <pc:sldMk cId="3762552109" sldId="2147482363"/>
            <ac:spMk id="12" creationId="{1DDEBFF8-E408-1589-A1BF-DD7E28122C29}"/>
          </ac:spMkLst>
        </pc:spChg>
      </pc:sldChg>
      <pc:sldChg chg="addSp delSp modSp add mod ord">
        <pc:chgData name="Julia PONT" userId="6ea7fb32-49be-46d9-9d69-f51ddf012212" providerId="ADAL" clId="{2A9E832C-25F6-4F2E-84DD-F34ECE0E3917}" dt="2024-02-01T16:30:07.397" v="16576"/>
        <pc:sldMkLst>
          <pc:docMk/>
          <pc:sldMk cId="3465374032" sldId="2147482364"/>
        </pc:sldMkLst>
        <pc:spChg chg="mod">
          <ac:chgData name="Julia PONT" userId="6ea7fb32-49be-46d9-9d69-f51ddf012212" providerId="ADAL" clId="{2A9E832C-25F6-4F2E-84DD-F34ECE0E3917}" dt="2024-02-01T15:56:25.948" v="16245"/>
          <ac:spMkLst>
            <pc:docMk/>
            <pc:sldMk cId="3465374032" sldId="2147482364"/>
            <ac:spMk id="2" creationId="{3B68E42E-736E-7A1E-FBC6-2932F0A30E44}"/>
          </ac:spMkLst>
        </pc:spChg>
        <pc:spChg chg="add del mod">
          <ac:chgData name="Julia PONT" userId="6ea7fb32-49be-46d9-9d69-f51ddf012212" providerId="ADAL" clId="{2A9E832C-25F6-4F2E-84DD-F34ECE0E3917}" dt="2024-02-01T14:07:35.150" v="14315"/>
          <ac:spMkLst>
            <pc:docMk/>
            <pc:sldMk cId="3465374032" sldId="2147482364"/>
            <ac:spMk id="3" creationId="{12678E93-2072-4440-5611-C5836AD08874}"/>
          </ac:spMkLst>
        </pc:spChg>
        <pc:spChg chg="add mod">
          <ac:chgData name="Julia PONT" userId="6ea7fb32-49be-46d9-9d69-f51ddf012212" providerId="ADAL" clId="{2A9E832C-25F6-4F2E-84DD-F34ECE0E3917}" dt="2024-02-01T15:56:46.289" v="16262" actId="20577"/>
          <ac:spMkLst>
            <pc:docMk/>
            <pc:sldMk cId="3465374032" sldId="2147482364"/>
            <ac:spMk id="3" creationId="{B1B24C9D-9603-AA0B-6993-447195A6C731}"/>
          </ac:spMkLst>
        </pc:spChg>
        <pc:spChg chg="mod">
          <ac:chgData name="Julia PONT" userId="6ea7fb32-49be-46d9-9d69-f51ddf012212" providerId="ADAL" clId="{2A9E832C-25F6-4F2E-84DD-F34ECE0E3917}" dt="2024-02-01T14:27:50.363" v="14850" actId="6549"/>
          <ac:spMkLst>
            <pc:docMk/>
            <pc:sldMk cId="3465374032" sldId="2147482364"/>
            <ac:spMk id="4" creationId="{37791C29-4200-B519-D3A9-65E73EB37376}"/>
          </ac:spMkLst>
        </pc:spChg>
        <pc:spChg chg="add mod">
          <ac:chgData name="Julia PONT" userId="6ea7fb32-49be-46d9-9d69-f51ddf012212" providerId="ADAL" clId="{2A9E832C-25F6-4F2E-84DD-F34ECE0E3917}" dt="2024-02-01T14:32:04.010" v="14939" actId="14861"/>
          <ac:spMkLst>
            <pc:docMk/>
            <pc:sldMk cId="3465374032" sldId="2147482364"/>
            <ac:spMk id="5" creationId="{C38FDF97-3747-3B60-73A3-E8D5E04D51D7}"/>
          </ac:spMkLst>
        </pc:spChg>
        <pc:spChg chg="mod">
          <ac:chgData name="Julia PONT" userId="6ea7fb32-49be-46d9-9d69-f51ddf012212" providerId="ADAL" clId="{2A9E832C-25F6-4F2E-84DD-F34ECE0E3917}" dt="2024-02-01T14:31:29.997" v="14935" actId="14100"/>
          <ac:spMkLst>
            <pc:docMk/>
            <pc:sldMk cId="3465374032" sldId="2147482364"/>
            <ac:spMk id="7" creationId="{D39E3C7C-036D-41E9-9B0B-F89FD133BE07}"/>
          </ac:spMkLst>
        </pc:spChg>
        <pc:spChg chg="mod">
          <ac:chgData name="Julia PONT" userId="6ea7fb32-49be-46d9-9d69-f51ddf012212" providerId="ADAL" clId="{2A9E832C-25F6-4F2E-84DD-F34ECE0E3917}" dt="2024-02-01T14:30:58.188" v="14932" actId="14100"/>
          <ac:spMkLst>
            <pc:docMk/>
            <pc:sldMk cId="3465374032" sldId="2147482364"/>
            <ac:spMk id="8" creationId="{7C19A3EB-FB8A-E434-208C-0E1E994092C1}"/>
          </ac:spMkLst>
        </pc:spChg>
        <pc:spChg chg="mod">
          <ac:chgData name="Julia PONT" userId="6ea7fb32-49be-46d9-9d69-f51ddf012212" providerId="ADAL" clId="{2A9E832C-25F6-4F2E-84DD-F34ECE0E3917}" dt="2024-02-01T14:55:43.198" v="15840" actId="1038"/>
          <ac:spMkLst>
            <pc:docMk/>
            <pc:sldMk cId="3465374032" sldId="2147482364"/>
            <ac:spMk id="10" creationId="{9DFB28B0-3CC5-D6C4-25E0-D4CCFEB38222}"/>
          </ac:spMkLst>
        </pc:spChg>
        <pc:spChg chg="mod">
          <ac:chgData name="Julia PONT" userId="6ea7fb32-49be-46d9-9d69-f51ddf012212" providerId="ADAL" clId="{2A9E832C-25F6-4F2E-84DD-F34ECE0E3917}" dt="2024-02-01T14:55:43.198" v="15840" actId="1038"/>
          <ac:spMkLst>
            <pc:docMk/>
            <pc:sldMk cId="3465374032" sldId="2147482364"/>
            <ac:spMk id="12" creationId="{D9E2DE16-8B4B-DB77-0CFC-FE3977C2DD02}"/>
          </ac:spMkLst>
        </pc:spChg>
        <pc:spChg chg="mod">
          <ac:chgData name="Julia PONT" userId="6ea7fb32-49be-46d9-9d69-f51ddf012212" providerId="ADAL" clId="{2A9E832C-25F6-4F2E-84DD-F34ECE0E3917}" dt="2024-02-01T14:55:43.198" v="15840" actId="1038"/>
          <ac:spMkLst>
            <pc:docMk/>
            <pc:sldMk cId="3465374032" sldId="2147482364"/>
            <ac:spMk id="13" creationId="{C2914CB3-2DBC-F354-81FF-1F0F7AA53186}"/>
          </ac:spMkLst>
        </pc:spChg>
        <pc:spChg chg="mod">
          <ac:chgData name="Julia PONT" userId="6ea7fb32-49be-46d9-9d69-f51ddf012212" providerId="ADAL" clId="{2A9E832C-25F6-4F2E-84DD-F34ECE0E3917}" dt="2024-02-01T14:55:43.198" v="15840" actId="1038"/>
          <ac:spMkLst>
            <pc:docMk/>
            <pc:sldMk cId="3465374032" sldId="2147482364"/>
            <ac:spMk id="14" creationId="{190C9FC7-2A2C-4C75-D8B9-2446F9CF0A55}"/>
          </ac:spMkLst>
        </pc:spChg>
        <pc:spChg chg="mod">
          <ac:chgData name="Julia PONT" userId="6ea7fb32-49be-46d9-9d69-f51ddf012212" providerId="ADAL" clId="{2A9E832C-25F6-4F2E-84DD-F34ECE0E3917}" dt="2024-02-01T14:55:43.198" v="15840" actId="1038"/>
          <ac:spMkLst>
            <pc:docMk/>
            <pc:sldMk cId="3465374032" sldId="2147482364"/>
            <ac:spMk id="15" creationId="{78E6CB55-5E1D-9E6A-818E-BEAB387C7D79}"/>
          </ac:spMkLst>
        </pc:spChg>
        <pc:spChg chg="mod">
          <ac:chgData name="Julia PONT" userId="6ea7fb32-49be-46d9-9d69-f51ddf012212" providerId="ADAL" clId="{2A9E832C-25F6-4F2E-84DD-F34ECE0E3917}" dt="2024-02-01T14:55:43.198" v="15840" actId="1038"/>
          <ac:spMkLst>
            <pc:docMk/>
            <pc:sldMk cId="3465374032" sldId="2147482364"/>
            <ac:spMk id="17" creationId="{E21D0531-348B-B44B-52A4-BB0A9DC2EF36}"/>
          </ac:spMkLst>
        </pc:spChg>
        <pc:spChg chg="mod">
          <ac:chgData name="Julia PONT" userId="6ea7fb32-49be-46d9-9d69-f51ddf012212" providerId="ADAL" clId="{2A9E832C-25F6-4F2E-84DD-F34ECE0E3917}" dt="2024-02-01T14:55:43.198" v="15840" actId="1038"/>
          <ac:spMkLst>
            <pc:docMk/>
            <pc:sldMk cId="3465374032" sldId="2147482364"/>
            <ac:spMk id="18" creationId="{60D7B37A-E2C1-5065-054B-9686428E5097}"/>
          </ac:spMkLst>
        </pc:spChg>
        <pc:spChg chg="mod">
          <ac:chgData name="Julia PONT" userId="6ea7fb32-49be-46d9-9d69-f51ddf012212" providerId="ADAL" clId="{2A9E832C-25F6-4F2E-84DD-F34ECE0E3917}" dt="2024-02-01T14:55:43.198" v="15840" actId="1038"/>
          <ac:spMkLst>
            <pc:docMk/>
            <pc:sldMk cId="3465374032" sldId="2147482364"/>
            <ac:spMk id="20" creationId="{9CDFF9A3-5DB2-E57C-C788-928C71D11BBD}"/>
          </ac:spMkLst>
        </pc:spChg>
        <pc:spChg chg="mod">
          <ac:chgData name="Julia PONT" userId="6ea7fb32-49be-46d9-9d69-f51ddf012212" providerId="ADAL" clId="{2A9E832C-25F6-4F2E-84DD-F34ECE0E3917}" dt="2024-02-01T14:55:43.198" v="15840" actId="1038"/>
          <ac:spMkLst>
            <pc:docMk/>
            <pc:sldMk cId="3465374032" sldId="2147482364"/>
            <ac:spMk id="22" creationId="{DB47CC2B-2A25-B365-4FA3-B42D674527AB}"/>
          </ac:spMkLst>
        </pc:spChg>
        <pc:spChg chg="mod">
          <ac:chgData name="Julia PONT" userId="6ea7fb32-49be-46d9-9d69-f51ddf012212" providerId="ADAL" clId="{2A9E832C-25F6-4F2E-84DD-F34ECE0E3917}" dt="2024-02-01T14:55:43.198" v="15840" actId="1038"/>
          <ac:spMkLst>
            <pc:docMk/>
            <pc:sldMk cId="3465374032" sldId="2147482364"/>
            <ac:spMk id="23" creationId="{D64DEE3A-C0C3-1319-55EF-79F2D50F95B1}"/>
          </ac:spMkLst>
        </pc:spChg>
        <pc:spChg chg="mod topLvl">
          <ac:chgData name="Julia PONT" userId="6ea7fb32-49be-46d9-9d69-f51ddf012212" providerId="ADAL" clId="{2A9E832C-25F6-4F2E-84DD-F34ECE0E3917}" dt="2024-02-01T14:55:43.198" v="15840" actId="1038"/>
          <ac:spMkLst>
            <pc:docMk/>
            <pc:sldMk cId="3465374032" sldId="2147482364"/>
            <ac:spMk id="25" creationId="{77957A4E-EC9D-65F8-F4E8-4FB0A831E163}"/>
          </ac:spMkLst>
        </pc:spChg>
        <pc:spChg chg="mod">
          <ac:chgData name="Julia PONT" userId="6ea7fb32-49be-46d9-9d69-f51ddf012212" providerId="ADAL" clId="{2A9E832C-25F6-4F2E-84DD-F34ECE0E3917}" dt="2024-02-01T14:55:43.198" v="15840" actId="1038"/>
          <ac:spMkLst>
            <pc:docMk/>
            <pc:sldMk cId="3465374032" sldId="2147482364"/>
            <ac:spMk id="27" creationId="{8BC00808-10C1-F8A8-4014-D112D5558344}"/>
          </ac:spMkLst>
        </pc:spChg>
        <pc:spChg chg="mod">
          <ac:chgData name="Julia PONT" userId="6ea7fb32-49be-46d9-9d69-f51ddf012212" providerId="ADAL" clId="{2A9E832C-25F6-4F2E-84DD-F34ECE0E3917}" dt="2024-02-01T14:55:43.198" v="15840" actId="1038"/>
          <ac:spMkLst>
            <pc:docMk/>
            <pc:sldMk cId="3465374032" sldId="2147482364"/>
            <ac:spMk id="28" creationId="{DD2F1B7E-BA39-B270-B0C8-417365B53B8A}"/>
          </ac:spMkLst>
        </pc:spChg>
        <pc:spChg chg="mod">
          <ac:chgData name="Julia PONT" userId="6ea7fb32-49be-46d9-9d69-f51ddf012212" providerId="ADAL" clId="{2A9E832C-25F6-4F2E-84DD-F34ECE0E3917}" dt="2024-02-01T14:55:43.198" v="15840" actId="1038"/>
          <ac:spMkLst>
            <pc:docMk/>
            <pc:sldMk cId="3465374032" sldId="2147482364"/>
            <ac:spMk id="29" creationId="{F27DAF12-BF2A-4378-27B6-44AA07020126}"/>
          </ac:spMkLst>
        </pc:spChg>
        <pc:spChg chg="mod topLvl">
          <ac:chgData name="Julia PONT" userId="6ea7fb32-49be-46d9-9d69-f51ddf012212" providerId="ADAL" clId="{2A9E832C-25F6-4F2E-84DD-F34ECE0E3917}" dt="2024-02-01T14:55:43.198" v="15840" actId="1038"/>
          <ac:spMkLst>
            <pc:docMk/>
            <pc:sldMk cId="3465374032" sldId="2147482364"/>
            <ac:spMk id="30" creationId="{0962B402-C341-6FAE-CCAB-68B00BAB4363}"/>
          </ac:spMkLst>
        </pc:spChg>
        <pc:spChg chg="mod topLvl">
          <ac:chgData name="Julia PONT" userId="6ea7fb32-49be-46d9-9d69-f51ddf012212" providerId="ADAL" clId="{2A9E832C-25F6-4F2E-84DD-F34ECE0E3917}" dt="2024-02-01T14:55:43.198" v="15840" actId="1038"/>
          <ac:spMkLst>
            <pc:docMk/>
            <pc:sldMk cId="3465374032" sldId="2147482364"/>
            <ac:spMk id="31" creationId="{907877DA-B8AC-6315-0CFB-B379DEBF2EDF}"/>
          </ac:spMkLst>
        </pc:spChg>
        <pc:spChg chg="mod topLvl">
          <ac:chgData name="Julia PONT" userId="6ea7fb32-49be-46d9-9d69-f51ddf012212" providerId="ADAL" clId="{2A9E832C-25F6-4F2E-84DD-F34ECE0E3917}" dt="2024-02-01T14:55:43.198" v="15840" actId="1038"/>
          <ac:spMkLst>
            <pc:docMk/>
            <pc:sldMk cId="3465374032" sldId="2147482364"/>
            <ac:spMk id="32" creationId="{2A0ECAAA-D70E-775F-B242-2912A3BCFBC1}"/>
          </ac:spMkLst>
        </pc:spChg>
        <pc:spChg chg="mod topLvl">
          <ac:chgData name="Julia PONT" userId="6ea7fb32-49be-46d9-9d69-f51ddf012212" providerId="ADAL" clId="{2A9E832C-25F6-4F2E-84DD-F34ECE0E3917}" dt="2024-02-01T14:55:43.198" v="15840" actId="1038"/>
          <ac:spMkLst>
            <pc:docMk/>
            <pc:sldMk cId="3465374032" sldId="2147482364"/>
            <ac:spMk id="33" creationId="{0739FABB-25BF-B66E-45D2-BC26FDD7028F}"/>
          </ac:spMkLst>
        </pc:spChg>
        <pc:spChg chg="mod">
          <ac:chgData name="Julia PONT" userId="6ea7fb32-49be-46d9-9d69-f51ddf012212" providerId="ADAL" clId="{2A9E832C-25F6-4F2E-84DD-F34ECE0E3917}" dt="2024-02-01T15:19:39.621" v="16043" actId="207"/>
          <ac:spMkLst>
            <pc:docMk/>
            <pc:sldMk cId="3465374032" sldId="2147482364"/>
            <ac:spMk id="34" creationId="{809AC073-4534-E8C4-359B-5A8D3F7962DB}"/>
          </ac:spMkLst>
        </pc:spChg>
        <pc:spChg chg="mod">
          <ac:chgData name="Julia PONT" userId="6ea7fb32-49be-46d9-9d69-f51ddf012212" providerId="ADAL" clId="{2A9E832C-25F6-4F2E-84DD-F34ECE0E3917}" dt="2024-02-01T15:19:39.621" v="16043" actId="207"/>
          <ac:spMkLst>
            <pc:docMk/>
            <pc:sldMk cId="3465374032" sldId="2147482364"/>
            <ac:spMk id="36" creationId="{DD3CE0EB-4326-C51E-2B37-5536700EC24D}"/>
          </ac:spMkLst>
        </pc:spChg>
        <pc:spChg chg="mod">
          <ac:chgData name="Julia PONT" userId="6ea7fb32-49be-46d9-9d69-f51ddf012212" providerId="ADAL" clId="{2A9E832C-25F6-4F2E-84DD-F34ECE0E3917}" dt="2024-02-01T15:20:07.544" v="16046" actId="207"/>
          <ac:spMkLst>
            <pc:docMk/>
            <pc:sldMk cId="3465374032" sldId="2147482364"/>
            <ac:spMk id="38" creationId="{EFDC0631-94A8-13B0-F79E-B68238108860}"/>
          </ac:spMkLst>
        </pc:spChg>
        <pc:spChg chg="mod">
          <ac:chgData name="Julia PONT" userId="6ea7fb32-49be-46d9-9d69-f51ddf012212" providerId="ADAL" clId="{2A9E832C-25F6-4F2E-84DD-F34ECE0E3917}" dt="2024-02-01T15:20:07.544" v="16046" actId="207"/>
          <ac:spMkLst>
            <pc:docMk/>
            <pc:sldMk cId="3465374032" sldId="2147482364"/>
            <ac:spMk id="40" creationId="{4CB9F329-7F57-CE25-0D7C-0F6F4B6820A0}"/>
          </ac:spMkLst>
        </pc:spChg>
        <pc:spChg chg="mod">
          <ac:chgData name="Julia PONT" userId="6ea7fb32-49be-46d9-9d69-f51ddf012212" providerId="ADAL" clId="{2A9E832C-25F6-4F2E-84DD-F34ECE0E3917}" dt="2024-02-01T15:20:07.544" v="16046" actId="207"/>
          <ac:spMkLst>
            <pc:docMk/>
            <pc:sldMk cId="3465374032" sldId="2147482364"/>
            <ac:spMk id="41" creationId="{1A19A625-D4D6-E388-08EE-3C3EEA3CFDEC}"/>
          </ac:spMkLst>
        </pc:spChg>
        <pc:spChg chg="mod">
          <ac:chgData name="Julia PONT" userId="6ea7fb32-49be-46d9-9d69-f51ddf012212" providerId="ADAL" clId="{2A9E832C-25F6-4F2E-84DD-F34ECE0E3917}" dt="2024-02-01T15:19:39.621" v="16043" actId="207"/>
          <ac:spMkLst>
            <pc:docMk/>
            <pc:sldMk cId="3465374032" sldId="2147482364"/>
            <ac:spMk id="42" creationId="{F87B811E-8B1E-9B29-55A7-FCE2A7610A54}"/>
          </ac:spMkLst>
        </pc:spChg>
        <pc:spChg chg="mod">
          <ac:chgData name="Julia PONT" userId="6ea7fb32-49be-46d9-9d69-f51ddf012212" providerId="ADAL" clId="{2A9E832C-25F6-4F2E-84DD-F34ECE0E3917}" dt="2024-02-01T15:20:07.544" v="16046" actId="207"/>
          <ac:spMkLst>
            <pc:docMk/>
            <pc:sldMk cId="3465374032" sldId="2147482364"/>
            <ac:spMk id="44" creationId="{086EC9FA-CD82-C349-9867-C2CFBA9CDAC1}"/>
          </ac:spMkLst>
        </pc:spChg>
        <pc:spChg chg="mod">
          <ac:chgData name="Julia PONT" userId="6ea7fb32-49be-46d9-9d69-f51ddf012212" providerId="ADAL" clId="{2A9E832C-25F6-4F2E-84DD-F34ECE0E3917}" dt="2024-02-01T15:20:07.544" v="16046" actId="207"/>
          <ac:spMkLst>
            <pc:docMk/>
            <pc:sldMk cId="3465374032" sldId="2147482364"/>
            <ac:spMk id="45" creationId="{E392A34E-1220-79C0-979B-B06F080A8FD5}"/>
          </ac:spMkLst>
        </pc:spChg>
        <pc:spChg chg="mod">
          <ac:chgData name="Julia PONT" userId="6ea7fb32-49be-46d9-9d69-f51ddf012212" providerId="ADAL" clId="{2A9E832C-25F6-4F2E-84DD-F34ECE0E3917}" dt="2024-02-01T15:20:07.544" v="16046" actId="207"/>
          <ac:spMkLst>
            <pc:docMk/>
            <pc:sldMk cId="3465374032" sldId="2147482364"/>
            <ac:spMk id="47" creationId="{7C2C944A-ACD3-2C3F-D050-B49F98F81DC8}"/>
          </ac:spMkLst>
        </pc:spChg>
        <pc:spChg chg="mod">
          <ac:chgData name="Julia PONT" userId="6ea7fb32-49be-46d9-9d69-f51ddf012212" providerId="ADAL" clId="{2A9E832C-25F6-4F2E-84DD-F34ECE0E3917}" dt="2024-02-01T15:20:07.544" v="16046" actId="207"/>
          <ac:spMkLst>
            <pc:docMk/>
            <pc:sldMk cId="3465374032" sldId="2147482364"/>
            <ac:spMk id="49" creationId="{B80487FF-BAA5-3979-B3C8-7438995399D7}"/>
          </ac:spMkLst>
        </pc:spChg>
        <pc:spChg chg="mod">
          <ac:chgData name="Julia PONT" userId="6ea7fb32-49be-46d9-9d69-f51ddf012212" providerId="ADAL" clId="{2A9E832C-25F6-4F2E-84DD-F34ECE0E3917}" dt="2024-02-01T14:55:43.198" v="15840" actId="1038"/>
          <ac:spMkLst>
            <pc:docMk/>
            <pc:sldMk cId="3465374032" sldId="2147482364"/>
            <ac:spMk id="51" creationId="{A7E03E88-E3F3-616B-BFC0-C5E82F19EFE8}"/>
          </ac:spMkLst>
        </pc:spChg>
        <pc:spChg chg="mod">
          <ac:chgData name="Julia PONT" userId="6ea7fb32-49be-46d9-9d69-f51ddf012212" providerId="ADAL" clId="{2A9E832C-25F6-4F2E-84DD-F34ECE0E3917}" dt="2024-02-01T14:28:23.678" v="14857" actId="6549"/>
          <ac:spMkLst>
            <pc:docMk/>
            <pc:sldMk cId="3465374032" sldId="2147482364"/>
            <ac:spMk id="53" creationId="{8208571D-1A72-23BA-DEB9-BB162141B72C}"/>
          </ac:spMkLst>
        </pc:spChg>
        <pc:spChg chg="mod">
          <ac:chgData name="Julia PONT" userId="6ea7fb32-49be-46d9-9d69-f51ddf012212" providerId="ADAL" clId="{2A9E832C-25F6-4F2E-84DD-F34ECE0E3917}" dt="2024-02-01T14:09:35.108" v="14404" actId="20577"/>
          <ac:spMkLst>
            <pc:docMk/>
            <pc:sldMk cId="3465374032" sldId="2147482364"/>
            <ac:spMk id="54" creationId="{59B8C6CA-7898-B447-D2EE-3E8AE0615646}"/>
          </ac:spMkLst>
        </pc:spChg>
        <pc:spChg chg="mod topLvl">
          <ac:chgData name="Julia PONT" userId="6ea7fb32-49be-46d9-9d69-f51ddf012212" providerId="ADAL" clId="{2A9E832C-25F6-4F2E-84DD-F34ECE0E3917}" dt="2024-02-01T14:55:43.198" v="15840" actId="1038"/>
          <ac:spMkLst>
            <pc:docMk/>
            <pc:sldMk cId="3465374032" sldId="2147482364"/>
            <ac:spMk id="56" creationId="{6244A080-F6C0-D5A7-FF59-398E5E9AE31D}"/>
          </ac:spMkLst>
        </pc:spChg>
        <pc:spChg chg="del mod">
          <ac:chgData name="Julia PONT" userId="6ea7fb32-49be-46d9-9d69-f51ddf012212" providerId="ADAL" clId="{2A9E832C-25F6-4F2E-84DD-F34ECE0E3917}" dt="2024-02-01T14:12:05.979" v="14494" actId="478"/>
          <ac:spMkLst>
            <pc:docMk/>
            <pc:sldMk cId="3465374032" sldId="2147482364"/>
            <ac:spMk id="57" creationId="{7D2E0C91-B998-9ECD-3C34-9A87D5F07435}"/>
          </ac:spMkLst>
        </pc:spChg>
        <pc:spChg chg="del mod">
          <ac:chgData name="Julia PONT" userId="6ea7fb32-49be-46d9-9d69-f51ddf012212" providerId="ADAL" clId="{2A9E832C-25F6-4F2E-84DD-F34ECE0E3917}" dt="2024-02-01T14:12:03.493" v="14493" actId="478"/>
          <ac:spMkLst>
            <pc:docMk/>
            <pc:sldMk cId="3465374032" sldId="2147482364"/>
            <ac:spMk id="58" creationId="{0E4D1E0B-45A0-3773-A741-743190F67B98}"/>
          </ac:spMkLst>
        </pc:spChg>
        <pc:spChg chg="del mod">
          <ac:chgData name="Julia PONT" userId="6ea7fb32-49be-46d9-9d69-f51ddf012212" providerId="ADAL" clId="{2A9E832C-25F6-4F2E-84DD-F34ECE0E3917}" dt="2024-02-01T14:12:03.493" v="14493" actId="478"/>
          <ac:spMkLst>
            <pc:docMk/>
            <pc:sldMk cId="3465374032" sldId="2147482364"/>
            <ac:spMk id="59" creationId="{DFDA49D5-D491-574A-28D3-AA5AFFFC3978}"/>
          </ac:spMkLst>
        </pc:spChg>
        <pc:spChg chg="del mod">
          <ac:chgData name="Julia PONT" userId="6ea7fb32-49be-46d9-9d69-f51ddf012212" providerId="ADAL" clId="{2A9E832C-25F6-4F2E-84DD-F34ECE0E3917}" dt="2024-02-01T14:12:03.493" v="14493" actId="478"/>
          <ac:spMkLst>
            <pc:docMk/>
            <pc:sldMk cId="3465374032" sldId="2147482364"/>
            <ac:spMk id="60" creationId="{5E78432A-BCE5-A569-1BA5-819BE170A141}"/>
          </ac:spMkLst>
        </pc:spChg>
        <pc:spChg chg="del mod">
          <ac:chgData name="Julia PONT" userId="6ea7fb32-49be-46d9-9d69-f51ddf012212" providerId="ADAL" clId="{2A9E832C-25F6-4F2E-84DD-F34ECE0E3917}" dt="2024-02-01T14:12:03.493" v="14493" actId="478"/>
          <ac:spMkLst>
            <pc:docMk/>
            <pc:sldMk cId="3465374032" sldId="2147482364"/>
            <ac:spMk id="61" creationId="{9B3B0CCA-406C-F4F8-5188-DF32B28E0A57}"/>
          </ac:spMkLst>
        </pc:spChg>
        <pc:spChg chg="del mod">
          <ac:chgData name="Julia PONT" userId="6ea7fb32-49be-46d9-9d69-f51ddf012212" providerId="ADAL" clId="{2A9E832C-25F6-4F2E-84DD-F34ECE0E3917}" dt="2024-02-01T14:12:03.493" v="14493" actId="478"/>
          <ac:spMkLst>
            <pc:docMk/>
            <pc:sldMk cId="3465374032" sldId="2147482364"/>
            <ac:spMk id="62" creationId="{315D70FB-3BE5-AA43-7BC1-3A0C3303CC8C}"/>
          </ac:spMkLst>
        </pc:spChg>
        <pc:spChg chg="del mod">
          <ac:chgData name="Julia PONT" userId="6ea7fb32-49be-46d9-9d69-f51ddf012212" providerId="ADAL" clId="{2A9E832C-25F6-4F2E-84DD-F34ECE0E3917}" dt="2024-02-01T14:07:01.768" v="14313" actId="478"/>
          <ac:spMkLst>
            <pc:docMk/>
            <pc:sldMk cId="3465374032" sldId="2147482364"/>
            <ac:spMk id="67" creationId="{F2370F75-0309-AB14-DEBD-642D9B401FAE}"/>
          </ac:spMkLst>
        </pc:spChg>
        <pc:spChg chg="del mod ord">
          <ac:chgData name="Julia PONT" userId="6ea7fb32-49be-46d9-9d69-f51ddf012212" providerId="ADAL" clId="{2A9E832C-25F6-4F2E-84DD-F34ECE0E3917}" dt="2024-02-01T14:07:35.150" v="14315"/>
          <ac:spMkLst>
            <pc:docMk/>
            <pc:sldMk cId="3465374032" sldId="2147482364"/>
            <ac:spMk id="68" creationId="{22B736E7-D4B8-43CA-D5E2-2FDE35A38F43}"/>
          </ac:spMkLst>
        </pc:spChg>
        <pc:spChg chg="del mod">
          <ac:chgData name="Julia PONT" userId="6ea7fb32-49be-46d9-9d69-f51ddf012212" providerId="ADAL" clId="{2A9E832C-25F6-4F2E-84DD-F34ECE0E3917}" dt="2024-02-01T14:40:34.374" v="15288" actId="478"/>
          <ac:spMkLst>
            <pc:docMk/>
            <pc:sldMk cId="3465374032" sldId="2147482364"/>
            <ac:spMk id="69" creationId="{102111AE-B7CC-A38C-642E-085AA6D93779}"/>
          </ac:spMkLst>
        </pc:spChg>
        <pc:spChg chg="del mod">
          <ac:chgData name="Julia PONT" userId="6ea7fb32-49be-46d9-9d69-f51ddf012212" providerId="ADAL" clId="{2A9E832C-25F6-4F2E-84DD-F34ECE0E3917}" dt="2024-02-01T14:40:32.811" v="15287" actId="478"/>
          <ac:spMkLst>
            <pc:docMk/>
            <pc:sldMk cId="3465374032" sldId="2147482364"/>
            <ac:spMk id="70" creationId="{92C9ABB4-B2C7-736E-E793-97AC310D41AD}"/>
          </ac:spMkLst>
        </pc:spChg>
        <pc:spChg chg="mod">
          <ac:chgData name="Julia PONT" userId="6ea7fb32-49be-46d9-9d69-f51ddf012212" providerId="ADAL" clId="{2A9E832C-25F6-4F2E-84DD-F34ECE0E3917}" dt="2024-02-01T14:29:47.294" v="14920" actId="6549"/>
          <ac:spMkLst>
            <pc:docMk/>
            <pc:sldMk cId="3465374032" sldId="2147482364"/>
            <ac:spMk id="71" creationId="{4AD5F7BB-1E0B-2F4D-7469-0987D37ECA3B}"/>
          </ac:spMkLst>
        </pc:spChg>
        <pc:spChg chg="mod">
          <ac:chgData name="Julia PONT" userId="6ea7fb32-49be-46d9-9d69-f51ddf012212" providerId="ADAL" clId="{2A9E832C-25F6-4F2E-84DD-F34ECE0E3917}" dt="2024-02-01T14:10:45.067" v="14467" actId="20577"/>
          <ac:spMkLst>
            <pc:docMk/>
            <pc:sldMk cId="3465374032" sldId="2147482364"/>
            <ac:spMk id="72" creationId="{FFF3D550-6AFC-13B5-6B1A-628E0AF96918}"/>
          </ac:spMkLst>
        </pc:spChg>
        <pc:spChg chg="mod">
          <ac:chgData name="Julia PONT" userId="6ea7fb32-49be-46d9-9d69-f51ddf012212" providerId="ADAL" clId="{2A9E832C-25F6-4F2E-84DD-F34ECE0E3917}" dt="2024-02-01T14:30:07.223" v="14926" actId="6549"/>
          <ac:spMkLst>
            <pc:docMk/>
            <pc:sldMk cId="3465374032" sldId="2147482364"/>
            <ac:spMk id="74" creationId="{F0574490-EFBE-9831-EB26-60BA22BF5E67}"/>
          </ac:spMkLst>
        </pc:spChg>
        <pc:spChg chg="mod">
          <ac:chgData name="Julia PONT" userId="6ea7fb32-49be-46d9-9d69-f51ddf012212" providerId="ADAL" clId="{2A9E832C-25F6-4F2E-84DD-F34ECE0E3917}" dt="2024-02-01T14:24:13.561" v="14766" actId="20577"/>
          <ac:spMkLst>
            <pc:docMk/>
            <pc:sldMk cId="3465374032" sldId="2147482364"/>
            <ac:spMk id="75" creationId="{EA48B215-F1D6-119C-AAFA-1EC16C5B3646}"/>
          </ac:spMkLst>
        </pc:spChg>
        <pc:spChg chg="mod">
          <ac:chgData name="Julia PONT" userId="6ea7fb32-49be-46d9-9d69-f51ddf012212" providerId="ADAL" clId="{2A9E832C-25F6-4F2E-84DD-F34ECE0E3917}" dt="2024-02-01T14:44:31.435" v="15397" actId="1035"/>
          <ac:spMkLst>
            <pc:docMk/>
            <pc:sldMk cId="3465374032" sldId="2147482364"/>
            <ac:spMk id="90" creationId="{5088D74A-31DB-7850-551C-85E62264BBC3}"/>
          </ac:spMkLst>
        </pc:spChg>
        <pc:spChg chg="mod">
          <ac:chgData name="Julia PONT" userId="6ea7fb32-49be-46d9-9d69-f51ddf012212" providerId="ADAL" clId="{2A9E832C-25F6-4F2E-84DD-F34ECE0E3917}" dt="2024-02-01T14:55:43.198" v="15840" actId="1038"/>
          <ac:spMkLst>
            <pc:docMk/>
            <pc:sldMk cId="3465374032" sldId="2147482364"/>
            <ac:spMk id="93" creationId="{E68B604F-328C-D3E1-7AF3-AB31AE1ABB16}"/>
          </ac:spMkLst>
        </pc:spChg>
        <pc:spChg chg="add mod ord">
          <ac:chgData name="Julia PONT" userId="6ea7fb32-49be-46d9-9d69-f51ddf012212" providerId="ADAL" clId="{2A9E832C-25F6-4F2E-84DD-F34ECE0E3917}" dt="2024-02-01T14:55:43.198" v="15840" actId="1038"/>
          <ac:spMkLst>
            <pc:docMk/>
            <pc:sldMk cId="3465374032" sldId="2147482364"/>
            <ac:spMk id="97" creationId="{16817D63-2FD5-1C60-C2BE-428CB3E44517}"/>
          </ac:spMkLst>
        </pc:spChg>
        <pc:spChg chg="add del mod topLvl">
          <ac:chgData name="Julia PONT" userId="6ea7fb32-49be-46d9-9d69-f51ddf012212" providerId="ADAL" clId="{2A9E832C-25F6-4F2E-84DD-F34ECE0E3917}" dt="2024-02-01T14:54:07.726" v="15784" actId="478"/>
          <ac:spMkLst>
            <pc:docMk/>
            <pc:sldMk cId="3465374032" sldId="2147482364"/>
            <ac:spMk id="99" creationId="{E943FA7F-9BA4-3459-6C9D-71851B6DCE03}"/>
          </ac:spMkLst>
        </pc:spChg>
        <pc:spChg chg="add del mod topLvl">
          <ac:chgData name="Julia PONT" userId="6ea7fb32-49be-46d9-9d69-f51ddf012212" providerId="ADAL" clId="{2A9E832C-25F6-4F2E-84DD-F34ECE0E3917}" dt="2024-02-01T14:54:12.081" v="15785" actId="478"/>
          <ac:spMkLst>
            <pc:docMk/>
            <pc:sldMk cId="3465374032" sldId="2147482364"/>
            <ac:spMk id="100" creationId="{8F72E921-94D0-FEE4-09AE-78C5D5340A41}"/>
          </ac:spMkLst>
        </pc:spChg>
        <pc:spChg chg="add del mod topLvl">
          <ac:chgData name="Julia PONT" userId="6ea7fb32-49be-46d9-9d69-f51ddf012212" providerId="ADAL" clId="{2A9E832C-25F6-4F2E-84DD-F34ECE0E3917}" dt="2024-02-01T14:54:29.936" v="15790" actId="478"/>
          <ac:spMkLst>
            <pc:docMk/>
            <pc:sldMk cId="3465374032" sldId="2147482364"/>
            <ac:spMk id="101" creationId="{9B2C735D-228A-A963-0D91-DDBD851381BA}"/>
          </ac:spMkLst>
        </pc:spChg>
        <pc:spChg chg="add del mod topLvl">
          <ac:chgData name="Julia PONT" userId="6ea7fb32-49be-46d9-9d69-f51ddf012212" providerId="ADAL" clId="{2A9E832C-25F6-4F2E-84DD-F34ECE0E3917}" dt="2024-02-01T14:54:19.344" v="15788" actId="478"/>
          <ac:spMkLst>
            <pc:docMk/>
            <pc:sldMk cId="3465374032" sldId="2147482364"/>
            <ac:spMk id="102" creationId="{A2BD4C93-7E2D-8FAE-5462-257C2D64E132}"/>
          </ac:spMkLst>
        </pc:spChg>
        <pc:spChg chg="add del mod">
          <ac:chgData name="Julia PONT" userId="6ea7fb32-49be-46d9-9d69-f51ddf012212" providerId="ADAL" clId="{2A9E832C-25F6-4F2E-84DD-F34ECE0E3917}" dt="2024-02-01T14:53:18.266" v="15744" actId="478"/>
          <ac:spMkLst>
            <pc:docMk/>
            <pc:sldMk cId="3465374032" sldId="2147482364"/>
            <ac:spMk id="112" creationId="{3BF39453-6814-3579-D7FE-19FC9BD3A2E8}"/>
          </ac:spMkLst>
        </pc:spChg>
        <pc:spChg chg="add del mod">
          <ac:chgData name="Julia PONT" userId="6ea7fb32-49be-46d9-9d69-f51ddf012212" providerId="ADAL" clId="{2A9E832C-25F6-4F2E-84DD-F34ECE0E3917}" dt="2024-02-01T14:54:03.439" v="15782" actId="478"/>
          <ac:spMkLst>
            <pc:docMk/>
            <pc:sldMk cId="3465374032" sldId="2147482364"/>
            <ac:spMk id="113" creationId="{67646E68-CC6C-D65B-05AC-6A365EF1907F}"/>
          </ac:spMkLst>
        </pc:spChg>
        <pc:spChg chg="add mod">
          <ac:chgData name="Julia PONT" userId="6ea7fb32-49be-46d9-9d69-f51ddf012212" providerId="ADAL" clId="{2A9E832C-25F6-4F2E-84DD-F34ECE0E3917}" dt="2024-02-01T14:55:43.198" v="15840" actId="1038"/>
          <ac:spMkLst>
            <pc:docMk/>
            <pc:sldMk cId="3465374032" sldId="2147482364"/>
            <ac:spMk id="131" creationId="{E2E136C7-230B-4AFA-8D84-688FF44D1844}"/>
          </ac:spMkLst>
        </pc:spChg>
        <pc:spChg chg="add mod ord">
          <ac:chgData name="Julia PONT" userId="6ea7fb32-49be-46d9-9d69-f51ddf012212" providerId="ADAL" clId="{2A9E832C-25F6-4F2E-84DD-F34ECE0E3917}" dt="2024-02-01T14:55:43.198" v="15840" actId="1038"/>
          <ac:spMkLst>
            <pc:docMk/>
            <pc:sldMk cId="3465374032" sldId="2147482364"/>
            <ac:spMk id="132" creationId="{78C9977A-4178-2D5A-852F-A517D8C0BAD5}"/>
          </ac:spMkLst>
        </pc:spChg>
        <pc:spChg chg="add mod">
          <ac:chgData name="Julia PONT" userId="6ea7fb32-49be-46d9-9d69-f51ddf012212" providerId="ADAL" clId="{2A9E832C-25F6-4F2E-84DD-F34ECE0E3917}" dt="2024-02-01T14:55:43.198" v="15840" actId="1038"/>
          <ac:spMkLst>
            <pc:docMk/>
            <pc:sldMk cId="3465374032" sldId="2147482364"/>
            <ac:spMk id="137" creationId="{87C5F78C-251D-7328-7D27-40DFBBC8689A}"/>
          </ac:spMkLst>
        </pc:spChg>
        <pc:spChg chg="mod">
          <ac:chgData name="Julia PONT" userId="6ea7fb32-49be-46d9-9d69-f51ddf012212" providerId="ADAL" clId="{2A9E832C-25F6-4F2E-84DD-F34ECE0E3917}" dt="2024-02-01T14:55:43.198" v="15840" actId="1038"/>
          <ac:spMkLst>
            <pc:docMk/>
            <pc:sldMk cId="3465374032" sldId="2147482364"/>
            <ac:spMk id="143" creationId="{05B50D40-636B-EE89-121B-C418E8089BAA}"/>
          </ac:spMkLst>
        </pc:spChg>
        <pc:spChg chg="mod">
          <ac:chgData name="Julia PONT" userId="6ea7fb32-49be-46d9-9d69-f51ddf012212" providerId="ADAL" clId="{2A9E832C-25F6-4F2E-84DD-F34ECE0E3917}" dt="2024-02-01T14:55:43.198" v="15840" actId="1038"/>
          <ac:spMkLst>
            <pc:docMk/>
            <pc:sldMk cId="3465374032" sldId="2147482364"/>
            <ac:spMk id="150" creationId="{87DBCA60-87AD-684B-7142-D70DE3490C07}"/>
          </ac:spMkLst>
        </pc:spChg>
        <pc:spChg chg="add del mod">
          <ac:chgData name="Julia PONT" userId="6ea7fb32-49be-46d9-9d69-f51ddf012212" providerId="ADAL" clId="{2A9E832C-25F6-4F2E-84DD-F34ECE0E3917}" dt="2024-02-01T14:45:17.571" v="15402" actId="478"/>
          <ac:spMkLst>
            <pc:docMk/>
            <pc:sldMk cId="3465374032" sldId="2147482364"/>
            <ac:spMk id="159" creationId="{E19EFB78-7BB4-5310-A4CC-5C342D3CC46D}"/>
          </ac:spMkLst>
        </pc:spChg>
        <pc:spChg chg="add del mod">
          <ac:chgData name="Julia PONT" userId="6ea7fb32-49be-46d9-9d69-f51ddf012212" providerId="ADAL" clId="{2A9E832C-25F6-4F2E-84DD-F34ECE0E3917}" dt="2024-02-01T14:47:55.790" v="15468" actId="478"/>
          <ac:spMkLst>
            <pc:docMk/>
            <pc:sldMk cId="3465374032" sldId="2147482364"/>
            <ac:spMk id="160" creationId="{7771C4E5-05A8-0321-4BD5-5743ECC6CA6B}"/>
          </ac:spMkLst>
        </pc:spChg>
        <pc:spChg chg="add mod">
          <ac:chgData name="Julia PONT" userId="6ea7fb32-49be-46d9-9d69-f51ddf012212" providerId="ADAL" clId="{2A9E832C-25F6-4F2E-84DD-F34ECE0E3917}" dt="2024-02-01T14:56:34.449" v="15841" actId="14100"/>
          <ac:spMkLst>
            <pc:docMk/>
            <pc:sldMk cId="3465374032" sldId="2147482364"/>
            <ac:spMk id="161" creationId="{FA6F73E7-F83D-8CB4-7D4B-43DFA30C8B6F}"/>
          </ac:spMkLst>
        </pc:spChg>
        <pc:spChg chg="add mod">
          <ac:chgData name="Julia PONT" userId="6ea7fb32-49be-46d9-9d69-f51ddf012212" providerId="ADAL" clId="{2A9E832C-25F6-4F2E-84DD-F34ECE0E3917}" dt="2024-02-01T14:55:43.198" v="15840" actId="1038"/>
          <ac:spMkLst>
            <pc:docMk/>
            <pc:sldMk cId="3465374032" sldId="2147482364"/>
            <ac:spMk id="162" creationId="{F4EDECF4-B60E-8D6B-279E-010D6314EB80}"/>
          </ac:spMkLst>
        </pc:spChg>
        <pc:spChg chg="add mod ord">
          <ac:chgData name="Julia PONT" userId="6ea7fb32-49be-46d9-9d69-f51ddf012212" providerId="ADAL" clId="{2A9E832C-25F6-4F2E-84DD-F34ECE0E3917}" dt="2024-02-01T14:55:43.198" v="15840" actId="1038"/>
          <ac:spMkLst>
            <pc:docMk/>
            <pc:sldMk cId="3465374032" sldId="2147482364"/>
            <ac:spMk id="163" creationId="{0B588E8D-BEA9-FBA2-F88A-A890BAD9C557}"/>
          </ac:spMkLst>
        </pc:spChg>
        <pc:spChg chg="add mod">
          <ac:chgData name="Julia PONT" userId="6ea7fb32-49be-46d9-9d69-f51ddf012212" providerId="ADAL" clId="{2A9E832C-25F6-4F2E-84DD-F34ECE0E3917}" dt="2024-02-01T14:55:43.198" v="15840" actId="1038"/>
          <ac:spMkLst>
            <pc:docMk/>
            <pc:sldMk cId="3465374032" sldId="2147482364"/>
            <ac:spMk id="164" creationId="{9C55E818-16FD-DA9C-A5B6-DA254181215D}"/>
          </ac:spMkLst>
        </pc:spChg>
        <pc:grpChg chg="mod">
          <ac:chgData name="Julia PONT" userId="6ea7fb32-49be-46d9-9d69-f51ddf012212" providerId="ADAL" clId="{2A9E832C-25F6-4F2E-84DD-F34ECE0E3917}" dt="2024-02-01T14:55:43.198" v="15840" actId="1038"/>
          <ac:grpSpMkLst>
            <pc:docMk/>
            <pc:sldMk cId="3465374032" sldId="2147482364"/>
            <ac:grpSpMk id="9" creationId="{A28BA754-DA3D-5892-ECF1-F11660243432}"/>
          </ac:grpSpMkLst>
        </pc:grpChg>
        <pc:grpChg chg="mod">
          <ac:chgData name="Julia PONT" userId="6ea7fb32-49be-46d9-9d69-f51ddf012212" providerId="ADAL" clId="{2A9E832C-25F6-4F2E-84DD-F34ECE0E3917}" dt="2024-02-01T14:55:43.198" v="15840" actId="1038"/>
          <ac:grpSpMkLst>
            <pc:docMk/>
            <pc:sldMk cId="3465374032" sldId="2147482364"/>
            <ac:grpSpMk id="11" creationId="{068D7451-F782-0CBD-1682-13D56648F8A4}"/>
          </ac:grpSpMkLst>
        </pc:grpChg>
        <pc:grpChg chg="mod">
          <ac:chgData name="Julia PONT" userId="6ea7fb32-49be-46d9-9d69-f51ddf012212" providerId="ADAL" clId="{2A9E832C-25F6-4F2E-84DD-F34ECE0E3917}" dt="2024-02-01T14:55:43.198" v="15840" actId="1038"/>
          <ac:grpSpMkLst>
            <pc:docMk/>
            <pc:sldMk cId="3465374032" sldId="2147482364"/>
            <ac:grpSpMk id="16" creationId="{11DA308A-227A-1A8C-A9C7-056CA7D78BD0}"/>
          </ac:grpSpMkLst>
        </pc:grpChg>
        <pc:grpChg chg="mod">
          <ac:chgData name="Julia PONT" userId="6ea7fb32-49be-46d9-9d69-f51ddf012212" providerId="ADAL" clId="{2A9E832C-25F6-4F2E-84DD-F34ECE0E3917}" dt="2024-02-01T14:55:43.198" v="15840" actId="1038"/>
          <ac:grpSpMkLst>
            <pc:docMk/>
            <pc:sldMk cId="3465374032" sldId="2147482364"/>
            <ac:grpSpMk id="19" creationId="{4C57D22B-696F-BBAB-B5DC-8C5BAA10293D}"/>
          </ac:grpSpMkLst>
        </pc:grpChg>
        <pc:grpChg chg="mod">
          <ac:chgData name="Julia PONT" userId="6ea7fb32-49be-46d9-9d69-f51ddf012212" providerId="ADAL" clId="{2A9E832C-25F6-4F2E-84DD-F34ECE0E3917}" dt="2024-02-01T14:55:43.198" v="15840" actId="1038"/>
          <ac:grpSpMkLst>
            <pc:docMk/>
            <pc:sldMk cId="3465374032" sldId="2147482364"/>
            <ac:grpSpMk id="21" creationId="{893460F1-D960-D984-468A-397D18AC44DB}"/>
          </ac:grpSpMkLst>
        </pc:grpChg>
        <pc:grpChg chg="del mod">
          <ac:chgData name="Julia PONT" userId="6ea7fb32-49be-46d9-9d69-f51ddf012212" providerId="ADAL" clId="{2A9E832C-25F6-4F2E-84DD-F34ECE0E3917}" dt="2024-02-01T14:42:09.665" v="15319" actId="165"/>
          <ac:grpSpMkLst>
            <pc:docMk/>
            <pc:sldMk cId="3465374032" sldId="2147482364"/>
            <ac:grpSpMk id="24" creationId="{88954DAD-2713-9070-DE64-5CFDA56FA7A5}"/>
          </ac:grpSpMkLst>
        </pc:grpChg>
        <pc:grpChg chg="mod topLvl">
          <ac:chgData name="Julia PONT" userId="6ea7fb32-49be-46d9-9d69-f51ddf012212" providerId="ADAL" clId="{2A9E832C-25F6-4F2E-84DD-F34ECE0E3917}" dt="2024-02-01T14:55:43.198" v="15840" actId="1038"/>
          <ac:grpSpMkLst>
            <pc:docMk/>
            <pc:sldMk cId="3465374032" sldId="2147482364"/>
            <ac:grpSpMk id="26" creationId="{27DE2AE8-220F-BB17-3D86-0ACFAEBA0B26}"/>
          </ac:grpSpMkLst>
        </pc:grpChg>
        <pc:grpChg chg="add del mod">
          <ac:chgData name="Julia PONT" userId="6ea7fb32-49be-46d9-9d69-f51ddf012212" providerId="ADAL" clId="{2A9E832C-25F6-4F2E-84DD-F34ECE0E3917}" dt="2024-02-01T14:40:24.156" v="15284" actId="478"/>
          <ac:grpSpMkLst>
            <pc:docMk/>
            <pc:sldMk cId="3465374032" sldId="2147482364"/>
            <ac:grpSpMk id="50" creationId="{6483B445-06EF-1801-E59C-D518C6306057}"/>
          </ac:grpSpMkLst>
        </pc:grpChg>
        <pc:grpChg chg="add del mod">
          <ac:chgData name="Julia PONT" userId="6ea7fb32-49be-46d9-9d69-f51ddf012212" providerId="ADAL" clId="{2A9E832C-25F6-4F2E-84DD-F34ECE0E3917}" dt="2024-02-01T14:39:03.019" v="15165" actId="478"/>
          <ac:grpSpMkLst>
            <pc:docMk/>
            <pc:sldMk cId="3465374032" sldId="2147482364"/>
            <ac:grpSpMk id="52" creationId="{8F66DCF8-92D1-4D2B-9E1D-ABA6A256FB73}"/>
          </ac:grpSpMkLst>
        </pc:grpChg>
        <pc:grpChg chg="add del mod">
          <ac:chgData name="Julia PONT" userId="6ea7fb32-49be-46d9-9d69-f51ddf012212" providerId="ADAL" clId="{2A9E832C-25F6-4F2E-84DD-F34ECE0E3917}" dt="2024-02-01T14:39:09.045" v="15167" actId="478"/>
          <ac:grpSpMkLst>
            <pc:docMk/>
            <pc:sldMk cId="3465374032" sldId="2147482364"/>
            <ac:grpSpMk id="55" creationId="{9B74C49C-5CC7-2DA7-DF80-F4DF58C81E50}"/>
          </ac:grpSpMkLst>
        </pc:grpChg>
        <pc:grpChg chg="add del mod">
          <ac:chgData name="Julia PONT" userId="6ea7fb32-49be-46d9-9d69-f51ddf012212" providerId="ADAL" clId="{2A9E832C-25F6-4F2E-84DD-F34ECE0E3917}" dt="2024-02-01T14:39:15.518" v="15168" actId="478"/>
          <ac:grpSpMkLst>
            <pc:docMk/>
            <pc:sldMk cId="3465374032" sldId="2147482364"/>
            <ac:grpSpMk id="73" creationId="{33BDD44B-8E73-D910-D63E-6EFFFE0F0448}"/>
          </ac:grpSpMkLst>
        </pc:grpChg>
        <pc:grpChg chg="add del mod">
          <ac:chgData name="Julia PONT" userId="6ea7fb32-49be-46d9-9d69-f51ddf012212" providerId="ADAL" clId="{2A9E832C-25F6-4F2E-84DD-F34ECE0E3917}" dt="2024-02-01T14:39:04.539" v="15166" actId="478"/>
          <ac:grpSpMkLst>
            <pc:docMk/>
            <pc:sldMk cId="3465374032" sldId="2147482364"/>
            <ac:grpSpMk id="85" creationId="{C6E1BAE7-F97C-7D3D-BA7F-DAD52F8A8989}"/>
          </ac:grpSpMkLst>
        </pc:grpChg>
        <pc:grpChg chg="mod">
          <ac:chgData name="Julia PONT" userId="6ea7fb32-49be-46d9-9d69-f51ddf012212" providerId="ADAL" clId="{2A9E832C-25F6-4F2E-84DD-F34ECE0E3917}" dt="2024-02-01T14:48:17.410" v="15485" actId="555"/>
          <ac:grpSpMkLst>
            <pc:docMk/>
            <pc:sldMk cId="3465374032" sldId="2147482364"/>
            <ac:grpSpMk id="92" creationId="{6E800482-1185-B823-1BD1-41191DB2D5F9}"/>
          </ac:grpSpMkLst>
        </pc:grpChg>
        <pc:grpChg chg="add mod topLvl">
          <ac:chgData name="Julia PONT" userId="6ea7fb32-49be-46d9-9d69-f51ddf012212" providerId="ADAL" clId="{2A9E832C-25F6-4F2E-84DD-F34ECE0E3917}" dt="2024-02-01T14:55:43.198" v="15840" actId="1038"/>
          <ac:grpSpMkLst>
            <pc:docMk/>
            <pc:sldMk cId="3465374032" sldId="2147482364"/>
            <ac:grpSpMk id="94" creationId="{726B8469-C806-08B1-5AC0-FD61C7E4A89C}"/>
          </ac:grpSpMkLst>
        </pc:grpChg>
        <pc:grpChg chg="add del mod">
          <ac:chgData name="Julia PONT" userId="6ea7fb32-49be-46d9-9d69-f51ddf012212" providerId="ADAL" clId="{2A9E832C-25F6-4F2E-84DD-F34ECE0E3917}" dt="2024-02-01T14:54:12.081" v="15785" actId="478"/>
          <ac:grpSpMkLst>
            <pc:docMk/>
            <pc:sldMk cId="3465374032" sldId="2147482364"/>
            <ac:grpSpMk id="103" creationId="{96441AB4-D71C-4828-508E-394AF7E29633}"/>
          </ac:grpSpMkLst>
        </pc:grpChg>
        <pc:grpChg chg="add del mod">
          <ac:chgData name="Julia PONT" userId="6ea7fb32-49be-46d9-9d69-f51ddf012212" providerId="ADAL" clId="{2A9E832C-25F6-4F2E-84DD-F34ECE0E3917}" dt="2024-02-01T14:54:07.726" v="15784" actId="478"/>
          <ac:grpSpMkLst>
            <pc:docMk/>
            <pc:sldMk cId="3465374032" sldId="2147482364"/>
            <ac:grpSpMk id="104" creationId="{FD2F4D07-68E7-38D5-A3BF-E9C6A2C949AA}"/>
          </ac:grpSpMkLst>
        </pc:grpChg>
        <pc:grpChg chg="add del mod">
          <ac:chgData name="Julia PONT" userId="6ea7fb32-49be-46d9-9d69-f51ddf012212" providerId="ADAL" clId="{2A9E832C-25F6-4F2E-84DD-F34ECE0E3917}" dt="2024-02-01T14:54:19.344" v="15788" actId="478"/>
          <ac:grpSpMkLst>
            <pc:docMk/>
            <pc:sldMk cId="3465374032" sldId="2147482364"/>
            <ac:grpSpMk id="105" creationId="{991A69EE-2995-580C-B8AB-BD6636BF3B42}"/>
          </ac:grpSpMkLst>
        </pc:grpChg>
        <pc:grpChg chg="add del mod ord">
          <ac:chgData name="Julia PONT" userId="6ea7fb32-49be-46d9-9d69-f51ddf012212" providerId="ADAL" clId="{2A9E832C-25F6-4F2E-84DD-F34ECE0E3917}" dt="2024-02-01T14:23:21.392" v="14703" actId="165"/>
          <ac:grpSpMkLst>
            <pc:docMk/>
            <pc:sldMk cId="3465374032" sldId="2147482364"/>
            <ac:grpSpMk id="106" creationId="{50FF0A14-ED62-5E5A-2806-AA22628D9FB4}"/>
          </ac:grpSpMkLst>
        </pc:grpChg>
        <pc:grpChg chg="add del mod">
          <ac:chgData name="Julia PONT" userId="6ea7fb32-49be-46d9-9d69-f51ddf012212" providerId="ADAL" clId="{2A9E832C-25F6-4F2E-84DD-F34ECE0E3917}" dt="2024-02-01T14:54:29.936" v="15790" actId="478"/>
          <ac:grpSpMkLst>
            <pc:docMk/>
            <pc:sldMk cId="3465374032" sldId="2147482364"/>
            <ac:grpSpMk id="107" creationId="{240932A9-7A4E-977B-0EAA-71076B2DB7C5}"/>
          </ac:grpSpMkLst>
        </pc:grpChg>
        <pc:grpChg chg="add del mod">
          <ac:chgData name="Julia PONT" userId="6ea7fb32-49be-46d9-9d69-f51ddf012212" providerId="ADAL" clId="{2A9E832C-25F6-4F2E-84DD-F34ECE0E3917}" dt="2024-02-01T14:31:52.595" v="14938" actId="478"/>
          <ac:grpSpMkLst>
            <pc:docMk/>
            <pc:sldMk cId="3465374032" sldId="2147482364"/>
            <ac:grpSpMk id="115" creationId="{38FD7C31-8B3E-CC17-2F08-74871AEFE17D}"/>
          </ac:grpSpMkLst>
        </pc:grpChg>
        <pc:grpChg chg="add del mod">
          <ac:chgData name="Julia PONT" userId="6ea7fb32-49be-46d9-9d69-f51ddf012212" providerId="ADAL" clId="{2A9E832C-25F6-4F2E-84DD-F34ECE0E3917}" dt="2024-02-01T14:39:09.045" v="15167" actId="478"/>
          <ac:grpSpMkLst>
            <pc:docMk/>
            <pc:sldMk cId="3465374032" sldId="2147482364"/>
            <ac:grpSpMk id="120" creationId="{BD65F001-F411-65C4-3FFF-9F4780988046}"/>
          </ac:grpSpMkLst>
        </pc:grpChg>
        <pc:grpChg chg="add del mod">
          <ac:chgData name="Julia PONT" userId="6ea7fb32-49be-46d9-9d69-f51ddf012212" providerId="ADAL" clId="{2A9E832C-25F6-4F2E-84DD-F34ECE0E3917}" dt="2024-02-01T14:39:15.518" v="15168" actId="478"/>
          <ac:grpSpMkLst>
            <pc:docMk/>
            <pc:sldMk cId="3465374032" sldId="2147482364"/>
            <ac:grpSpMk id="125" creationId="{C08997B9-FADF-64C7-5465-EA5C094267AA}"/>
          </ac:grpSpMkLst>
        </pc:grpChg>
        <pc:grpChg chg="add mod ord">
          <ac:chgData name="Julia PONT" userId="6ea7fb32-49be-46d9-9d69-f51ddf012212" providerId="ADAL" clId="{2A9E832C-25F6-4F2E-84DD-F34ECE0E3917}" dt="2024-02-01T14:55:43.198" v="15840" actId="1038"/>
          <ac:grpSpMkLst>
            <pc:docMk/>
            <pc:sldMk cId="3465374032" sldId="2147482364"/>
            <ac:grpSpMk id="128" creationId="{11012E2E-816A-1F6E-807D-431B1E7E846C}"/>
          </ac:grpSpMkLst>
        </pc:grpChg>
        <pc:grpChg chg="add mod">
          <ac:chgData name="Julia PONT" userId="6ea7fb32-49be-46d9-9d69-f51ddf012212" providerId="ADAL" clId="{2A9E832C-25F6-4F2E-84DD-F34ECE0E3917}" dt="2024-02-01T14:55:43.198" v="15840" actId="1038"/>
          <ac:grpSpMkLst>
            <pc:docMk/>
            <pc:sldMk cId="3465374032" sldId="2147482364"/>
            <ac:grpSpMk id="134" creationId="{70132B8B-330C-C306-423C-61A9E66057B5}"/>
          </ac:grpSpMkLst>
        </pc:grpChg>
        <pc:grpChg chg="add mod">
          <ac:chgData name="Julia PONT" userId="6ea7fb32-49be-46d9-9d69-f51ddf012212" providerId="ADAL" clId="{2A9E832C-25F6-4F2E-84DD-F34ECE0E3917}" dt="2024-02-01T14:55:43.198" v="15840" actId="1038"/>
          <ac:grpSpMkLst>
            <pc:docMk/>
            <pc:sldMk cId="3465374032" sldId="2147482364"/>
            <ac:grpSpMk id="139" creationId="{9223C920-88FD-D0E3-3CCD-0BB04E4B8168}"/>
          </ac:grpSpMkLst>
        </pc:grpChg>
        <pc:grpChg chg="add mod">
          <ac:chgData name="Julia PONT" userId="6ea7fb32-49be-46d9-9d69-f51ddf012212" providerId="ADAL" clId="{2A9E832C-25F6-4F2E-84DD-F34ECE0E3917}" dt="2024-02-01T14:55:43.198" v="15840" actId="1038"/>
          <ac:grpSpMkLst>
            <pc:docMk/>
            <pc:sldMk cId="3465374032" sldId="2147482364"/>
            <ac:grpSpMk id="140" creationId="{B8E17D34-94E2-CB52-DD9E-AC9C58945A37}"/>
          </ac:grpSpMkLst>
        </pc:grpChg>
        <pc:grpChg chg="add mod">
          <ac:chgData name="Julia PONT" userId="6ea7fb32-49be-46d9-9d69-f51ddf012212" providerId="ADAL" clId="{2A9E832C-25F6-4F2E-84DD-F34ECE0E3917}" dt="2024-02-01T14:55:43.198" v="15840" actId="1038"/>
          <ac:grpSpMkLst>
            <pc:docMk/>
            <pc:sldMk cId="3465374032" sldId="2147482364"/>
            <ac:grpSpMk id="141" creationId="{CFCDABBA-D73F-017E-913C-32E18D18EBC0}"/>
          </ac:grpSpMkLst>
        </pc:grpChg>
        <pc:grpChg chg="add mod">
          <ac:chgData name="Julia PONT" userId="6ea7fb32-49be-46d9-9d69-f51ddf012212" providerId="ADAL" clId="{2A9E832C-25F6-4F2E-84DD-F34ECE0E3917}" dt="2024-02-01T14:55:43.198" v="15840" actId="1038"/>
          <ac:grpSpMkLst>
            <pc:docMk/>
            <pc:sldMk cId="3465374032" sldId="2147482364"/>
            <ac:grpSpMk id="142" creationId="{179BC284-6F0C-6949-9C2E-D7ECB9EB482D}"/>
          </ac:grpSpMkLst>
        </pc:grpChg>
        <pc:grpChg chg="mod">
          <ac:chgData name="Julia PONT" userId="6ea7fb32-49be-46d9-9d69-f51ddf012212" providerId="ADAL" clId="{2A9E832C-25F6-4F2E-84DD-F34ECE0E3917}" dt="2024-02-01T14:55:43.198" v="15840" actId="1038"/>
          <ac:grpSpMkLst>
            <pc:docMk/>
            <pc:sldMk cId="3465374032" sldId="2147482364"/>
            <ac:grpSpMk id="144" creationId="{FC82BDDE-84D2-DE55-825A-8DF1D2E12B65}"/>
          </ac:grpSpMkLst>
        </pc:grpChg>
        <pc:grpChg chg="add mod">
          <ac:chgData name="Julia PONT" userId="6ea7fb32-49be-46d9-9d69-f51ddf012212" providerId="ADAL" clId="{2A9E832C-25F6-4F2E-84DD-F34ECE0E3917}" dt="2024-02-01T14:55:43.198" v="15840" actId="1038"/>
          <ac:grpSpMkLst>
            <pc:docMk/>
            <pc:sldMk cId="3465374032" sldId="2147482364"/>
            <ac:grpSpMk id="149" creationId="{214344D7-6E92-FC00-3557-B8C10984AEEC}"/>
          </ac:grpSpMkLst>
        </pc:grpChg>
        <pc:grpChg chg="mod">
          <ac:chgData name="Julia PONT" userId="6ea7fb32-49be-46d9-9d69-f51ddf012212" providerId="ADAL" clId="{2A9E832C-25F6-4F2E-84DD-F34ECE0E3917}" dt="2024-02-01T14:55:43.198" v="15840" actId="1038"/>
          <ac:grpSpMkLst>
            <pc:docMk/>
            <pc:sldMk cId="3465374032" sldId="2147482364"/>
            <ac:grpSpMk id="151" creationId="{672D32D1-72FC-C071-4B53-29718610CFFB}"/>
          </ac:grpSpMkLst>
        </pc:grpChg>
        <pc:grpChg chg="add del mod">
          <ac:chgData name="Julia PONT" userId="6ea7fb32-49be-46d9-9d69-f51ddf012212" providerId="ADAL" clId="{2A9E832C-25F6-4F2E-84DD-F34ECE0E3917}" dt="2024-02-01T14:42:09.665" v="15319" actId="165"/>
          <ac:grpSpMkLst>
            <pc:docMk/>
            <pc:sldMk cId="3465374032" sldId="2147482364"/>
            <ac:grpSpMk id="156" creationId="{EBF4DD5E-7EEB-6FD5-ECE9-537352A3AE73}"/>
          </ac:grpSpMkLst>
        </pc:grpChg>
        <pc:grpChg chg="add mod">
          <ac:chgData name="Julia PONT" userId="6ea7fb32-49be-46d9-9d69-f51ddf012212" providerId="ADAL" clId="{2A9E832C-25F6-4F2E-84DD-F34ECE0E3917}" dt="2024-02-01T14:55:43.198" v="15840" actId="1038"/>
          <ac:grpSpMkLst>
            <pc:docMk/>
            <pc:sldMk cId="3465374032" sldId="2147482364"/>
            <ac:grpSpMk id="157" creationId="{4FEE12E7-B373-B557-9E81-EAA9EEB9614C}"/>
          </ac:grpSpMkLst>
        </pc:grpChg>
        <pc:picChg chg="mod">
          <ac:chgData name="Julia PONT" userId="6ea7fb32-49be-46d9-9d69-f51ddf012212" providerId="ADAL" clId="{2A9E832C-25F6-4F2E-84DD-F34ECE0E3917}" dt="2024-02-01T14:55:43.198" v="15840" actId="1038"/>
          <ac:picMkLst>
            <pc:docMk/>
            <pc:sldMk cId="3465374032" sldId="2147482364"/>
            <ac:picMk id="35" creationId="{631646A3-A603-9616-FAF3-9B9C7D1B871A}"/>
          </ac:picMkLst>
        </pc:picChg>
        <pc:picChg chg="mod">
          <ac:chgData name="Julia PONT" userId="6ea7fb32-49be-46d9-9d69-f51ddf012212" providerId="ADAL" clId="{2A9E832C-25F6-4F2E-84DD-F34ECE0E3917}" dt="2024-02-01T14:55:43.198" v="15840" actId="1038"/>
          <ac:picMkLst>
            <pc:docMk/>
            <pc:sldMk cId="3465374032" sldId="2147482364"/>
            <ac:picMk id="37" creationId="{8FAD8B4C-030F-F6CD-6E7B-43D211E3BFC3}"/>
          </ac:picMkLst>
        </pc:picChg>
        <pc:picChg chg="mod">
          <ac:chgData name="Julia PONT" userId="6ea7fb32-49be-46d9-9d69-f51ddf012212" providerId="ADAL" clId="{2A9E832C-25F6-4F2E-84DD-F34ECE0E3917}" dt="2024-02-01T14:55:43.198" v="15840" actId="1038"/>
          <ac:picMkLst>
            <pc:docMk/>
            <pc:sldMk cId="3465374032" sldId="2147482364"/>
            <ac:picMk id="39" creationId="{DB615E3C-5BE9-7205-A9D0-C24D59030613}"/>
          </ac:picMkLst>
        </pc:picChg>
        <pc:picChg chg="mod">
          <ac:chgData name="Julia PONT" userId="6ea7fb32-49be-46d9-9d69-f51ddf012212" providerId="ADAL" clId="{2A9E832C-25F6-4F2E-84DD-F34ECE0E3917}" dt="2024-02-01T14:55:43.198" v="15840" actId="1038"/>
          <ac:picMkLst>
            <pc:docMk/>
            <pc:sldMk cId="3465374032" sldId="2147482364"/>
            <ac:picMk id="43" creationId="{D59127CE-C7B4-BA2C-4767-DF2A3B8BD225}"/>
          </ac:picMkLst>
        </pc:picChg>
        <pc:picChg chg="mod">
          <ac:chgData name="Julia PONT" userId="6ea7fb32-49be-46d9-9d69-f51ddf012212" providerId="ADAL" clId="{2A9E832C-25F6-4F2E-84DD-F34ECE0E3917}" dt="2024-02-01T14:55:43.198" v="15840" actId="1038"/>
          <ac:picMkLst>
            <pc:docMk/>
            <pc:sldMk cId="3465374032" sldId="2147482364"/>
            <ac:picMk id="46" creationId="{6EBD83C9-F1E1-1097-793A-7AEEBABFF207}"/>
          </ac:picMkLst>
        </pc:picChg>
        <pc:picChg chg="mod">
          <ac:chgData name="Julia PONT" userId="6ea7fb32-49be-46d9-9d69-f51ddf012212" providerId="ADAL" clId="{2A9E832C-25F6-4F2E-84DD-F34ECE0E3917}" dt="2024-02-01T14:55:43.198" v="15840" actId="1038"/>
          <ac:picMkLst>
            <pc:docMk/>
            <pc:sldMk cId="3465374032" sldId="2147482364"/>
            <ac:picMk id="48" creationId="{D87BB791-4817-FB5B-2613-2434C3DDF49E}"/>
          </ac:picMkLst>
        </pc:picChg>
        <pc:picChg chg="mod">
          <ac:chgData name="Julia PONT" userId="6ea7fb32-49be-46d9-9d69-f51ddf012212" providerId="ADAL" clId="{2A9E832C-25F6-4F2E-84DD-F34ECE0E3917}" dt="2024-02-01T14:55:43.198" v="15840" actId="1038"/>
          <ac:picMkLst>
            <pc:docMk/>
            <pc:sldMk cId="3465374032" sldId="2147482364"/>
            <ac:picMk id="63" creationId="{9E37A9B8-A7FA-3472-B3FE-BE806A25996D}"/>
          </ac:picMkLst>
        </pc:picChg>
        <pc:picChg chg="del mod">
          <ac:chgData name="Julia PONT" userId="6ea7fb32-49be-46d9-9d69-f51ddf012212" providerId="ADAL" clId="{2A9E832C-25F6-4F2E-84DD-F34ECE0E3917}" dt="2024-02-01T14:12:03.493" v="14493" actId="478"/>
          <ac:picMkLst>
            <pc:docMk/>
            <pc:sldMk cId="3465374032" sldId="2147482364"/>
            <ac:picMk id="64" creationId="{E7C73E9A-D55F-3BA7-538E-3C9AE21EF10C}"/>
          </ac:picMkLst>
        </pc:picChg>
        <pc:picChg chg="mod">
          <ac:chgData name="Julia PONT" userId="6ea7fb32-49be-46d9-9d69-f51ddf012212" providerId="ADAL" clId="{2A9E832C-25F6-4F2E-84DD-F34ECE0E3917}" dt="2024-02-01T14:55:43.198" v="15840" actId="1038"/>
          <ac:picMkLst>
            <pc:docMk/>
            <pc:sldMk cId="3465374032" sldId="2147482364"/>
            <ac:picMk id="65" creationId="{B884B673-1785-D289-C42A-B541934C64EB}"/>
          </ac:picMkLst>
        </pc:picChg>
        <pc:picChg chg="mod ord">
          <ac:chgData name="Julia PONT" userId="6ea7fb32-49be-46d9-9d69-f51ddf012212" providerId="ADAL" clId="{2A9E832C-25F6-4F2E-84DD-F34ECE0E3917}" dt="2024-02-01T14:55:43.198" v="15840" actId="1038"/>
          <ac:picMkLst>
            <pc:docMk/>
            <pc:sldMk cId="3465374032" sldId="2147482364"/>
            <ac:picMk id="66" creationId="{DF98F457-ECDF-B19F-E458-262BD2214EF0}"/>
          </ac:picMkLst>
        </pc:picChg>
        <pc:picChg chg="add del mod">
          <ac:chgData name="Julia PONT" userId="6ea7fb32-49be-46d9-9d69-f51ddf012212" providerId="ADAL" clId="{2A9E832C-25F6-4F2E-84DD-F34ECE0E3917}" dt="2024-02-01T14:39:09.045" v="15167" actId="478"/>
          <ac:picMkLst>
            <pc:docMk/>
            <pc:sldMk cId="3465374032" sldId="2147482364"/>
            <ac:picMk id="77" creationId="{550C8060-F042-493B-5B09-E1D0599A7749}"/>
          </ac:picMkLst>
        </pc:picChg>
        <pc:picChg chg="add mod ord">
          <ac:chgData name="Julia PONT" userId="6ea7fb32-49be-46d9-9d69-f51ddf012212" providerId="ADAL" clId="{2A9E832C-25F6-4F2E-84DD-F34ECE0E3917}" dt="2024-02-01T14:55:43.198" v="15840" actId="1038"/>
          <ac:picMkLst>
            <pc:docMk/>
            <pc:sldMk cId="3465374032" sldId="2147482364"/>
            <ac:picMk id="79" creationId="{AAE7FB26-3082-F66B-CE56-4CE4866B1B18}"/>
          </ac:picMkLst>
        </pc:picChg>
        <pc:picChg chg="add mod modCrop">
          <ac:chgData name="Julia PONT" userId="6ea7fb32-49be-46d9-9d69-f51ddf012212" providerId="ADAL" clId="{2A9E832C-25F6-4F2E-84DD-F34ECE0E3917}" dt="2024-02-01T14:29:11.440" v="14914" actId="1037"/>
          <ac:picMkLst>
            <pc:docMk/>
            <pc:sldMk cId="3465374032" sldId="2147482364"/>
            <ac:picMk id="81" creationId="{16776D5A-F3A5-1179-6ADF-263D0573639A}"/>
          </ac:picMkLst>
        </pc:picChg>
        <pc:picChg chg="add mod topLvl">
          <ac:chgData name="Julia PONT" userId="6ea7fb32-49be-46d9-9d69-f51ddf012212" providerId="ADAL" clId="{2A9E832C-25F6-4F2E-84DD-F34ECE0E3917}" dt="2024-02-01T14:55:43.198" v="15840" actId="1038"/>
          <ac:picMkLst>
            <pc:docMk/>
            <pc:sldMk cId="3465374032" sldId="2147482364"/>
            <ac:picMk id="83" creationId="{BAAE3A21-7983-7474-245B-761576455D1C}"/>
          </ac:picMkLst>
        </pc:picChg>
        <pc:picChg chg="add mod modCrop">
          <ac:chgData name="Julia PONT" userId="6ea7fb32-49be-46d9-9d69-f51ddf012212" providerId="ADAL" clId="{2A9E832C-25F6-4F2E-84DD-F34ECE0E3917}" dt="2024-02-01T14:29:20.366" v="14915" actId="732"/>
          <ac:picMkLst>
            <pc:docMk/>
            <pc:sldMk cId="3465374032" sldId="2147482364"/>
            <ac:picMk id="84" creationId="{0B00CBFA-4E12-F90E-E864-5B0FB08118F2}"/>
          </ac:picMkLst>
        </pc:picChg>
        <pc:picChg chg="add mod topLvl">
          <ac:chgData name="Julia PONT" userId="6ea7fb32-49be-46d9-9d69-f51ddf012212" providerId="ADAL" clId="{2A9E832C-25F6-4F2E-84DD-F34ECE0E3917}" dt="2024-02-01T14:55:43.198" v="15840" actId="1038"/>
          <ac:picMkLst>
            <pc:docMk/>
            <pc:sldMk cId="3465374032" sldId="2147482364"/>
            <ac:picMk id="86" creationId="{3583B20B-E534-8599-8010-6CCC5320E9C6}"/>
          </ac:picMkLst>
        </pc:picChg>
        <pc:picChg chg="add mod topLvl">
          <ac:chgData name="Julia PONT" userId="6ea7fb32-49be-46d9-9d69-f51ddf012212" providerId="ADAL" clId="{2A9E832C-25F6-4F2E-84DD-F34ECE0E3917}" dt="2024-02-01T14:55:43.198" v="15840" actId="1038"/>
          <ac:picMkLst>
            <pc:docMk/>
            <pc:sldMk cId="3465374032" sldId="2147482364"/>
            <ac:picMk id="87" creationId="{F0D9A70F-80B4-B4D3-B940-1CD674B5A39B}"/>
          </ac:picMkLst>
        </pc:picChg>
        <pc:picChg chg="add mod ord">
          <ac:chgData name="Julia PONT" userId="6ea7fb32-49be-46d9-9d69-f51ddf012212" providerId="ADAL" clId="{2A9E832C-25F6-4F2E-84DD-F34ECE0E3917}" dt="2024-02-01T14:55:43.198" v="15840" actId="1038"/>
          <ac:picMkLst>
            <pc:docMk/>
            <pc:sldMk cId="3465374032" sldId="2147482364"/>
            <ac:picMk id="89" creationId="{73B0248E-92F2-551E-92EE-59930ED62551}"/>
          </ac:picMkLst>
        </pc:picChg>
        <pc:picChg chg="mod">
          <ac:chgData name="Julia PONT" userId="6ea7fb32-49be-46d9-9d69-f51ddf012212" providerId="ADAL" clId="{2A9E832C-25F6-4F2E-84DD-F34ECE0E3917}" dt="2024-02-01T14:55:43.198" v="15840" actId="1038"/>
          <ac:picMkLst>
            <pc:docMk/>
            <pc:sldMk cId="3465374032" sldId="2147482364"/>
            <ac:picMk id="95" creationId="{6B305342-243F-6A5F-B204-9BA0F355846F}"/>
          </ac:picMkLst>
        </pc:picChg>
        <pc:picChg chg="mod">
          <ac:chgData name="Julia PONT" userId="6ea7fb32-49be-46d9-9d69-f51ddf012212" providerId="ADAL" clId="{2A9E832C-25F6-4F2E-84DD-F34ECE0E3917}" dt="2024-02-01T14:55:43.198" v="15840" actId="1038"/>
          <ac:picMkLst>
            <pc:docMk/>
            <pc:sldMk cId="3465374032" sldId="2147482364"/>
            <ac:picMk id="96" creationId="{51D3B0BF-BB99-AA05-0E36-61E67DBE5EF3}"/>
          </ac:picMkLst>
        </pc:picChg>
        <pc:picChg chg="add mod">
          <ac:chgData name="Julia PONT" userId="6ea7fb32-49be-46d9-9d69-f51ddf012212" providerId="ADAL" clId="{2A9E832C-25F6-4F2E-84DD-F34ECE0E3917}" dt="2024-02-01T14:55:43.198" v="15840" actId="1038"/>
          <ac:picMkLst>
            <pc:docMk/>
            <pc:sldMk cId="3465374032" sldId="2147482364"/>
            <ac:picMk id="109" creationId="{DF3BA1CB-E075-B98E-2AB4-0D8CFB8ABDC0}"/>
          </ac:picMkLst>
        </pc:picChg>
        <pc:picChg chg="add mod">
          <ac:chgData name="Julia PONT" userId="6ea7fb32-49be-46d9-9d69-f51ddf012212" providerId="ADAL" clId="{2A9E832C-25F6-4F2E-84DD-F34ECE0E3917}" dt="2024-02-01T14:55:43.198" v="15840" actId="1038"/>
          <ac:picMkLst>
            <pc:docMk/>
            <pc:sldMk cId="3465374032" sldId="2147482364"/>
            <ac:picMk id="111" creationId="{6392CF50-F8E5-0995-F7A8-9D964399DB15}"/>
          </ac:picMkLst>
        </pc:picChg>
        <pc:picChg chg="add mod ord">
          <ac:chgData name="Julia PONT" userId="6ea7fb32-49be-46d9-9d69-f51ddf012212" providerId="ADAL" clId="{2A9E832C-25F6-4F2E-84DD-F34ECE0E3917}" dt="2024-02-01T14:55:43.198" v="15840" actId="1038"/>
          <ac:picMkLst>
            <pc:docMk/>
            <pc:sldMk cId="3465374032" sldId="2147482364"/>
            <ac:picMk id="114" creationId="{A99DDA29-7681-02BE-CDDC-0184B84DD0FF}"/>
          </ac:picMkLst>
        </pc:picChg>
        <pc:picChg chg="mod">
          <ac:chgData name="Julia PONT" userId="6ea7fb32-49be-46d9-9d69-f51ddf012212" providerId="ADAL" clId="{2A9E832C-25F6-4F2E-84DD-F34ECE0E3917}" dt="2024-02-01T14:28:11.465" v="14853"/>
          <ac:picMkLst>
            <pc:docMk/>
            <pc:sldMk cId="3465374032" sldId="2147482364"/>
            <ac:picMk id="116" creationId="{CCD84AFB-C020-C096-3934-57CCCA18BB1C}"/>
          </ac:picMkLst>
        </pc:picChg>
        <pc:picChg chg="mod">
          <ac:chgData name="Julia PONT" userId="6ea7fb32-49be-46d9-9d69-f51ddf012212" providerId="ADAL" clId="{2A9E832C-25F6-4F2E-84DD-F34ECE0E3917}" dt="2024-02-01T14:28:11.465" v="14853"/>
          <ac:picMkLst>
            <pc:docMk/>
            <pc:sldMk cId="3465374032" sldId="2147482364"/>
            <ac:picMk id="117" creationId="{6044DB6C-DDA5-3D04-46DF-C9980FEC4CF2}"/>
          </ac:picMkLst>
        </pc:picChg>
        <pc:picChg chg="add mod ord">
          <ac:chgData name="Julia PONT" userId="6ea7fb32-49be-46d9-9d69-f51ddf012212" providerId="ADAL" clId="{2A9E832C-25F6-4F2E-84DD-F34ECE0E3917}" dt="2024-02-01T14:55:43.198" v="15840" actId="1038"/>
          <ac:picMkLst>
            <pc:docMk/>
            <pc:sldMk cId="3465374032" sldId="2147482364"/>
            <ac:picMk id="118" creationId="{00A66F60-157B-516D-BCAA-0F8D36A95573}"/>
          </ac:picMkLst>
        </pc:picChg>
        <pc:picChg chg="add del mod">
          <ac:chgData name="Julia PONT" userId="6ea7fb32-49be-46d9-9d69-f51ddf012212" providerId="ADAL" clId="{2A9E832C-25F6-4F2E-84DD-F34ECE0E3917}" dt="2024-02-01T14:39:09.045" v="15167" actId="478"/>
          <ac:picMkLst>
            <pc:docMk/>
            <pc:sldMk cId="3465374032" sldId="2147482364"/>
            <ac:picMk id="119" creationId="{B2647263-AB03-A0CA-22F3-E53B36135D5F}"/>
          </ac:picMkLst>
        </pc:picChg>
        <pc:picChg chg="mod">
          <ac:chgData name="Julia PONT" userId="6ea7fb32-49be-46d9-9d69-f51ddf012212" providerId="ADAL" clId="{2A9E832C-25F6-4F2E-84DD-F34ECE0E3917}" dt="2024-02-01T14:30:02.121" v="14924"/>
          <ac:picMkLst>
            <pc:docMk/>
            <pc:sldMk cId="3465374032" sldId="2147482364"/>
            <ac:picMk id="121" creationId="{093D4488-D0F9-9600-8129-A72124943A2B}"/>
          </ac:picMkLst>
        </pc:picChg>
        <pc:picChg chg="mod">
          <ac:chgData name="Julia PONT" userId="6ea7fb32-49be-46d9-9d69-f51ddf012212" providerId="ADAL" clId="{2A9E832C-25F6-4F2E-84DD-F34ECE0E3917}" dt="2024-02-01T14:30:02.121" v="14924"/>
          <ac:picMkLst>
            <pc:docMk/>
            <pc:sldMk cId="3465374032" sldId="2147482364"/>
            <ac:picMk id="122" creationId="{4181DD76-7197-B039-CFE4-7AD235D74573}"/>
          </ac:picMkLst>
        </pc:picChg>
        <pc:picChg chg="add del mod">
          <ac:chgData name="Julia PONT" userId="6ea7fb32-49be-46d9-9d69-f51ddf012212" providerId="ADAL" clId="{2A9E832C-25F6-4F2E-84DD-F34ECE0E3917}" dt="2024-02-01T14:39:15.518" v="15168" actId="478"/>
          <ac:picMkLst>
            <pc:docMk/>
            <pc:sldMk cId="3465374032" sldId="2147482364"/>
            <ac:picMk id="123" creationId="{B2020DBE-C1A7-2860-4B53-1622B3F3E129}"/>
          </ac:picMkLst>
        </pc:picChg>
        <pc:picChg chg="add del mod">
          <ac:chgData name="Julia PONT" userId="6ea7fb32-49be-46d9-9d69-f51ddf012212" providerId="ADAL" clId="{2A9E832C-25F6-4F2E-84DD-F34ECE0E3917}" dt="2024-02-01T14:39:15.518" v="15168" actId="478"/>
          <ac:picMkLst>
            <pc:docMk/>
            <pc:sldMk cId="3465374032" sldId="2147482364"/>
            <ac:picMk id="124" creationId="{41AA8285-E7C5-7437-BAEB-33082EB3D04C}"/>
          </ac:picMkLst>
        </pc:picChg>
        <pc:picChg chg="mod">
          <ac:chgData name="Julia PONT" userId="6ea7fb32-49be-46d9-9d69-f51ddf012212" providerId="ADAL" clId="{2A9E832C-25F6-4F2E-84DD-F34ECE0E3917}" dt="2024-02-01T14:30:14.838" v="14927"/>
          <ac:picMkLst>
            <pc:docMk/>
            <pc:sldMk cId="3465374032" sldId="2147482364"/>
            <ac:picMk id="126" creationId="{BBF2C4FC-A113-82C3-4EBC-3EB2672871F7}"/>
          </ac:picMkLst>
        </pc:picChg>
        <pc:picChg chg="mod">
          <ac:chgData name="Julia PONT" userId="6ea7fb32-49be-46d9-9d69-f51ddf012212" providerId="ADAL" clId="{2A9E832C-25F6-4F2E-84DD-F34ECE0E3917}" dt="2024-02-01T14:30:14.838" v="14927"/>
          <ac:picMkLst>
            <pc:docMk/>
            <pc:sldMk cId="3465374032" sldId="2147482364"/>
            <ac:picMk id="127" creationId="{3D1809C2-652F-E5F2-E1AF-2975D4A15ACE}"/>
          </ac:picMkLst>
        </pc:picChg>
        <pc:picChg chg="mod">
          <ac:chgData name="Julia PONT" userId="6ea7fb32-49be-46d9-9d69-f51ddf012212" providerId="ADAL" clId="{2A9E832C-25F6-4F2E-84DD-F34ECE0E3917}" dt="2024-02-01T14:55:43.198" v="15840" actId="1038"/>
          <ac:picMkLst>
            <pc:docMk/>
            <pc:sldMk cId="3465374032" sldId="2147482364"/>
            <ac:picMk id="129" creationId="{E83C2067-4517-1F60-24A9-4060AB4B59F2}"/>
          </ac:picMkLst>
        </pc:picChg>
        <pc:picChg chg="mod">
          <ac:chgData name="Julia PONT" userId="6ea7fb32-49be-46d9-9d69-f51ddf012212" providerId="ADAL" clId="{2A9E832C-25F6-4F2E-84DD-F34ECE0E3917}" dt="2024-02-01T14:55:43.198" v="15840" actId="1038"/>
          <ac:picMkLst>
            <pc:docMk/>
            <pc:sldMk cId="3465374032" sldId="2147482364"/>
            <ac:picMk id="130" creationId="{7EFB7EDF-654D-640B-250E-3F787E2ECBBC}"/>
          </ac:picMkLst>
        </pc:picChg>
        <pc:picChg chg="add del mod ord">
          <ac:chgData name="Julia PONT" userId="6ea7fb32-49be-46d9-9d69-f51ddf012212" providerId="ADAL" clId="{2A9E832C-25F6-4F2E-84DD-F34ECE0E3917}" dt="2024-02-01T14:38:07.210" v="15158" actId="478"/>
          <ac:picMkLst>
            <pc:docMk/>
            <pc:sldMk cId="3465374032" sldId="2147482364"/>
            <ac:picMk id="133" creationId="{5F63A995-454D-BB5E-C898-4D1624DA0E15}"/>
          </ac:picMkLst>
        </pc:picChg>
        <pc:picChg chg="mod">
          <ac:chgData name="Julia PONT" userId="6ea7fb32-49be-46d9-9d69-f51ddf012212" providerId="ADAL" clId="{2A9E832C-25F6-4F2E-84DD-F34ECE0E3917}" dt="2024-02-01T14:55:43.198" v="15840" actId="1038"/>
          <ac:picMkLst>
            <pc:docMk/>
            <pc:sldMk cId="3465374032" sldId="2147482364"/>
            <ac:picMk id="135" creationId="{6DCABDDB-3E0A-B398-5901-460982EC6511}"/>
          </ac:picMkLst>
        </pc:picChg>
        <pc:picChg chg="mod">
          <ac:chgData name="Julia PONT" userId="6ea7fb32-49be-46d9-9d69-f51ddf012212" providerId="ADAL" clId="{2A9E832C-25F6-4F2E-84DD-F34ECE0E3917}" dt="2024-02-01T14:55:43.198" v="15840" actId="1038"/>
          <ac:picMkLst>
            <pc:docMk/>
            <pc:sldMk cId="3465374032" sldId="2147482364"/>
            <ac:picMk id="136" creationId="{60D39DF5-E1EF-B817-2482-13B846C280CC}"/>
          </ac:picMkLst>
        </pc:picChg>
        <pc:picChg chg="add mod">
          <ac:chgData name="Julia PONT" userId="6ea7fb32-49be-46d9-9d69-f51ddf012212" providerId="ADAL" clId="{2A9E832C-25F6-4F2E-84DD-F34ECE0E3917}" dt="2024-02-01T14:55:43.198" v="15840" actId="1038"/>
          <ac:picMkLst>
            <pc:docMk/>
            <pc:sldMk cId="3465374032" sldId="2147482364"/>
            <ac:picMk id="138" creationId="{6D224963-46AB-31DD-3E0C-46D7B056318C}"/>
          </ac:picMkLst>
        </pc:picChg>
        <pc:picChg chg="mod">
          <ac:chgData name="Julia PONT" userId="6ea7fb32-49be-46d9-9d69-f51ddf012212" providerId="ADAL" clId="{2A9E832C-25F6-4F2E-84DD-F34ECE0E3917}" dt="2024-02-01T14:55:43.198" v="15840" actId="1038"/>
          <ac:picMkLst>
            <pc:docMk/>
            <pc:sldMk cId="3465374032" sldId="2147482364"/>
            <ac:picMk id="145" creationId="{87ABAC98-57BB-E13E-BB2D-265350D7781F}"/>
          </ac:picMkLst>
        </pc:picChg>
        <pc:picChg chg="mod">
          <ac:chgData name="Julia PONT" userId="6ea7fb32-49be-46d9-9d69-f51ddf012212" providerId="ADAL" clId="{2A9E832C-25F6-4F2E-84DD-F34ECE0E3917}" dt="2024-02-01T14:55:43.198" v="15840" actId="1038"/>
          <ac:picMkLst>
            <pc:docMk/>
            <pc:sldMk cId="3465374032" sldId="2147482364"/>
            <ac:picMk id="146" creationId="{08079B37-7EB6-2B6B-ECFA-9A6FDA77C04B}"/>
          </ac:picMkLst>
        </pc:picChg>
        <pc:picChg chg="mod">
          <ac:chgData name="Julia PONT" userId="6ea7fb32-49be-46d9-9d69-f51ddf012212" providerId="ADAL" clId="{2A9E832C-25F6-4F2E-84DD-F34ECE0E3917}" dt="2024-02-01T14:55:43.198" v="15840" actId="1038"/>
          <ac:picMkLst>
            <pc:docMk/>
            <pc:sldMk cId="3465374032" sldId="2147482364"/>
            <ac:picMk id="147" creationId="{5FEC095B-9C59-5781-24A8-32E46E7EB7C3}"/>
          </ac:picMkLst>
        </pc:picChg>
        <pc:picChg chg="mod">
          <ac:chgData name="Julia PONT" userId="6ea7fb32-49be-46d9-9d69-f51ddf012212" providerId="ADAL" clId="{2A9E832C-25F6-4F2E-84DD-F34ECE0E3917}" dt="2024-02-01T14:55:43.198" v="15840" actId="1038"/>
          <ac:picMkLst>
            <pc:docMk/>
            <pc:sldMk cId="3465374032" sldId="2147482364"/>
            <ac:picMk id="148" creationId="{B8934089-A5C0-872A-8C27-62FCD14150FE}"/>
          </ac:picMkLst>
        </pc:picChg>
        <pc:picChg chg="mod">
          <ac:chgData name="Julia PONT" userId="6ea7fb32-49be-46d9-9d69-f51ddf012212" providerId="ADAL" clId="{2A9E832C-25F6-4F2E-84DD-F34ECE0E3917}" dt="2024-02-01T14:55:43.198" v="15840" actId="1038"/>
          <ac:picMkLst>
            <pc:docMk/>
            <pc:sldMk cId="3465374032" sldId="2147482364"/>
            <ac:picMk id="152" creationId="{29E2EA40-ED37-29F9-644D-0D914DB71E5D}"/>
          </ac:picMkLst>
        </pc:picChg>
        <pc:picChg chg="mod">
          <ac:chgData name="Julia PONT" userId="6ea7fb32-49be-46d9-9d69-f51ddf012212" providerId="ADAL" clId="{2A9E832C-25F6-4F2E-84DD-F34ECE0E3917}" dt="2024-02-01T14:55:43.198" v="15840" actId="1038"/>
          <ac:picMkLst>
            <pc:docMk/>
            <pc:sldMk cId="3465374032" sldId="2147482364"/>
            <ac:picMk id="153" creationId="{B6206492-80B1-F144-3A13-755531850927}"/>
          </ac:picMkLst>
        </pc:picChg>
        <pc:picChg chg="mod">
          <ac:chgData name="Julia PONT" userId="6ea7fb32-49be-46d9-9d69-f51ddf012212" providerId="ADAL" clId="{2A9E832C-25F6-4F2E-84DD-F34ECE0E3917}" dt="2024-02-01T14:55:43.198" v="15840" actId="1038"/>
          <ac:picMkLst>
            <pc:docMk/>
            <pc:sldMk cId="3465374032" sldId="2147482364"/>
            <ac:picMk id="154" creationId="{E5340FEB-61C4-14EA-A19A-4C1795412A11}"/>
          </ac:picMkLst>
        </pc:picChg>
        <pc:picChg chg="mod">
          <ac:chgData name="Julia PONT" userId="6ea7fb32-49be-46d9-9d69-f51ddf012212" providerId="ADAL" clId="{2A9E832C-25F6-4F2E-84DD-F34ECE0E3917}" dt="2024-02-01T14:55:43.198" v="15840" actId="1038"/>
          <ac:picMkLst>
            <pc:docMk/>
            <pc:sldMk cId="3465374032" sldId="2147482364"/>
            <ac:picMk id="155" creationId="{781E88EB-08A2-D15F-E112-5A2865AF3DE4}"/>
          </ac:picMkLst>
        </pc:picChg>
        <pc:picChg chg="add mod">
          <ac:chgData name="Julia PONT" userId="6ea7fb32-49be-46d9-9d69-f51ddf012212" providerId="ADAL" clId="{2A9E832C-25F6-4F2E-84DD-F34ECE0E3917}" dt="2024-02-01T14:55:43.198" v="15840" actId="1038"/>
          <ac:picMkLst>
            <pc:docMk/>
            <pc:sldMk cId="3465374032" sldId="2147482364"/>
            <ac:picMk id="158" creationId="{14B4E296-147A-B508-A0D1-41876A4E01FF}"/>
          </ac:picMkLst>
        </pc:picChg>
      </pc:sldChg>
      <pc:sldChg chg="addSp delSp modSp add mod">
        <pc:chgData name="Julia PONT" userId="6ea7fb32-49be-46d9-9d69-f51ddf012212" providerId="ADAL" clId="{2A9E832C-25F6-4F2E-84DD-F34ECE0E3917}" dt="2024-02-02T13:38:53.846" v="19243" actId="948"/>
        <pc:sldMkLst>
          <pc:docMk/>
          <pc:sldMk cId="646768392" sldId="2147482365"/>
        </pc:sldMkLst>
        <pc:spChg chg="del mod">
          <ac:chgData name="Julia PONT" userId="6ea7fb32-49be-46d9-9d69-f51ddf012212" providerId="ADAL" clId="{2A9E832C-25F6-4F2E-84DD-F34ECE0E3917}" dt="2024-02-02T08:26:25.724" v="17836" actId="478"/>
          <ac:spMkLst>
            <pc:docMk/>
            <pc:sldMk cId="646768392" sldId="2147482365"/>
            <ac:spMk id="2" creationId="{B05852EE-3DA8-0BD2-90C0-B36E9A24CEC1}"/>
          </ac:spMkLst>
        </pc:spChg>
        <pc:spChg chg="mod">
          <ac:chgData name="Julia PONT" userId="6ea7fb32-49be-46d9-9d69-f51ddf012212" providerId="ADAL" clId="{2A9E832C-25F6-4F2E-84DD-F34ECE0E3917}" dt="2024-02-02T10:25:39.095" v="19104" actId="14100"/>
          <ac:spMkLst>
            <pc:docMk/>
            <pc:sldMk cId="646768392" sldId="2147482365"/>
            <ac:spMk id="3" creationId="{42DA54D8-BD8E-C42B-629D-8F6685218EA8}"/>
          </ac:spMkLst>
        </pc:spChg>
        <pc:spChg chg="add mod">
          <ac:chgData name="Julia PONT" userId="6ea7fb32-49be-46d9-9d69-f51ddf012212" providerId="ADAL" clId="{2A9E832C-25F6-4F2E-84DD-F34ECE0E3917}" dt="2024-02-02T10:12:12.404" v="18762" actId="113"/>
          <ac:spMkLst>
            <pc:docMk/>
            <pc:sldMk cId="646768392" sldId="2147482365"/>
            <ac:spMk id="4" creationId="{7EDDEA04-5CD8-8D87-6495-BC228AF1283F}"/>
          </ac:spMkLst>
        </pc:spChg>
        <pc:spChg chg="add mod">
          <ac:chgData name="Julia PONT" userId="6ea7fb32-49be-46d9-9d69-f51ddf012212" providerId="ADAL" clId="{2A9E832C-25F6-4F2E-84DD-F34ECE0E3917}" dt="2024-02-02T10:12:12.404" v="18762" actId="113"/>
          <ac:spMkLst>
            <pc:docMk/>
            <pc:sldMk cId="646768392" sldId="2147482365"/>
            <ac:spMk id="5" creationId="{786CA1F9-BB66-2D62-7C36-B74EF7AEA655}"/>
          </ac:spMkLst>
        </pc:spChg>
        <pc:spChg chg="add mod">
          <ac:chgData name="Julia PONT" userId="6ea7fb32-49be-46d9-9d69-f51ddf012212" providerId="ADAL" clId="{2A9E832C-25F6-4F2E-84DD-F34ECE0E3917}" dt="2024-02-02T10:12:12.404" v="18762" actId="113"/>
          <ac:spMkLst>
            <pc:docMk/>
            <pc:sldMk cId="646768392" sldId="2147482365"/>
            <ac:spMk id="6" creationId="{9802467F-4D6B-05B0-9A67-720D5975C8D0}"/>
          </ac:spMkLst>
        </pc:spChg>
        <pc:spChg chg="add mod">
          <ac:chgData name="Julia PONT" userId="6ea7fb32-49be-46d9-9d69-f51ddf012212" providerId="ADAL" clId="{2A9E832C-25F6-4F2E-84DD-F34ECE0E3917}" dt="2024-02-02T10:26:13.386" v="19107" actId="1076"/>
          <ac:spMkLst>
            <pc:docMk/>
            <pc:sldMk cId="646768392" sldId="2147482365"/>
            <ac:spMk id="8" creationId="{FFC6A093-4D8A-A997-6930-DCA8D518066E}"/>
          </ac:spMkLst>
        </pc:spChg>
        <pc:spChg chg="mod">
          <ac:chgData name="Julia PONT" userId="6ea7fb32-49be-46d9-9d69-f51ddf012212" providerId="ADAL" clId="{2A9E832C-25F6-4F2E-84DD-F34ECE0E3917}" dt="2024-02-02T13:31:34.415" v="19141" actId="13926"/>
          <ac:spMkLst>
            <pc:docMk/>
            <pc:sldMk cId="646768392" sldId="2147482365"/>
            <ac:spMk id="9" creationId="{79A5CC45-074C-5E7A-4182-632F53CCF956}"/>
          </ac:spMkLst>
        </pc:spChg>
        <pc:spChg chg="del mod ord">
          <ac:chgData name="Julia PONT" userId="6ea7fb32-49be-46d9-9d69-f51ddf012212" providerId="ADAL" clId="{2A9E832C-25F6-4F2E-84DD-F34ECE0E3917}" dt="2024-02-01T15:47:30.905" v="16216"/>
          <ac:spMkLst>
            <pc:docMk/>
            <pc:sldMk cId="646768392" sldId="2147482365"/>
            <ac:spMk id="12" creationId="{A83C8ABF-DDD7-697A-2199-AFA13CEA9AE8}"/>
          </ac:spMkLst>
        </pc:spChg>
        <pc:spChg chg="del mod">
          <ac:chgData name="Julia PONT" userId="6ea7fb32-49be-46d9-9d69-f51ddf012212" providerId="ADAL" clId="{2A9E832C-25F6-4F2E-84DD-F34ECE0E3917}" dt="2024-02-02T08:26:25.724" v="17836" actId="478"/>
          <ac:spMkLst>
            <pc:docMk/>
            <pc:sldMk cId="646768392" sldId="2147482365"/>
            <ac:spMk id="12" creationId="{DF66A5C3-9100-E4F4-4CF1-D9EA8EC88F14}"/>
          </ac:spMkLst>
        </pc:spChg>
        <pc:spChg chg="del mod">
          <ac:chgData name="Julia PONT" userId="6ea7fb32-49be-46d9-9d69-f51ddf012212" providerId="ADAL" clId="{2A9E832C-25F6-4F2E-84DD-F34ECE0E3917}" dt="2024-02-02T08:26:25.724" v="17836" actId="478"/>
          <ac:spMkLst>
            <pc:docMk/>
            <pc:sldMk cId="646768392" sldId="2147482365"/>
            <ac:spMk id="16" creationId="{732B1FB7-307F-F9A2-4E9C-D1FD9F6D65BE}"/>
          </ac:spMkLst>
        </pc:spChg>
        <pc:spChg chg="mod">
          <ac:chgData name="Julia PONT" userId="6ea7fb32-49be-46d9-9d69-f51ddf012212" providerId="ADAL" clId="{2A9E832C-25F6-4F2E-84DD-F34ECE0E3917}" dt="2024-02-01T17:19:38.815" v="17574" actId="20577"/>
          <ac:spMkLst>
            <pc:docMk/>
            <pc:sldMk cId="646768392" sldId="2147482365"/>
            <ac:spMk id="22" creationId="{8CC9181B-6A33-D48E-6DC9-0609B671E8CC}"/>
          </ac:spMkLst>
        </pc:spChg>
        <pc:spChg chg="mod">
          <ac:chgData name="Julia PONT" userId="6ea7fb32-49be-46d9-9d69-f51ddf012212" providerId="ADAL" clId="{2A9E832C-25F6-4F2E-84DD-F34ECE0E3917}" dt="2024-02-02T13:37:50.566" v="19236" actId="1036"/>
          <ac:spMkLst>
            <pc:docMk/>
            <pc:sldMk cId="646768392" sldId="2147482365"/>
            <ac:spMk id="23" creationId="{48E35052-F81C-453D-C1AA-83C5E423FAC3}"/>
          </ac:spMkLst>
        </pc:spChg>
        <pc:spChg chg="mod">
          <ac:chgData name="Julia PONT" userId="6ea7fb32-49be-46d9-9d69-f51ddf012212" providerId="ADAL" clId="{2A9E832C-25F6-4F2E-84DD-F34ECE0E3917}" dt="2024-02-02T10:24:54.573" v="19051" actId="404"/>
          <ac:spMkLst>
            <pc:docMk/>
            <pc:sldMk cId="646768392" sldId="2147482365"/>
            <ac:spMk id="26" creationId="{FA474A45-EFE2-CBCD-9BC2-53AF3FD9CFE9}"/>
          </ac:spMkLst>
        </pc:spChg>
        <pc:spChg chg="add mod ord topLvl">
          <ac:chgData name="Julia PONT" userId="6ea7fb32-49be-46d9-9d69-f51ddf012212" providerId="ADAL" clId="{2A9E832C-25F6-4F2E-84DD-F34ECE0E3917}" dt="2024-02-02T10:14:39.632" v="18763" actId="165"/>
          <ac:spMkLst>
            <pc:docMk/>
            <pc:sldMk cId="646768392" sldId="2147482365"/>
            <ac:spMk id="30" creationId="{13BA2ADD-EB7B-280A-7EF5-41F59EBECB1A}"/>
          </ac:spMkLst>
        </pc:spChg>
        <pc:spChg chg="add mod topLvl">
          <ac:chgData name="Julia PONT" userId="6ea7fb32-49be-46d9-9d69-f51ddf012212" providerId="ADAL" clId="{2A9E832C-25F6-4F2E-84DD-F34ECE0E3917}" dt="2024-02-02T10:14:39.632" v="18763" actId="165"/>
          <ac:spMkLst>
            <pc:docMk/>
            <pc:sldMk cId="646768392" sldId="2147482365"/>
            <ac:spMk id="32" creationId="{3194533E-CA6C-ED01-CBB5-321877744971}"/>
          </ac:spMkLst>
        </pc:spChg>
        <pc:spChg chg="add mod ord topLvl">
          <ac:chgData name="Julia PONT" userId="6ea7fb32-49be-46d9-9d69-f51ddf012212" providerId="ADAL" clId="{2A9E832C-25F6-4F2E-84DD-F34ECE0E3917}" dt="2024-02-02T10:14:39.632" v="18763" actId="165"/>
          <ac:spMkLst>
            <pc:docMk/>
            <pc:sldMk cId="646768392" sldId="2147482365"/>
            <ac:spMk id="33" creationId="{6623AD81-622E-0A4F-0A58-D2B35343F8FE}"/>
          </ac:spMkLst>
        </pc:spChg>
        <pc:spChg chg="add mod ord topLvl">
          <ac:chgData name="Julia PONT" userId="6ea7fb32-49be-46d9-9d69-f51ddf012212" providerId="ADAL" clId="{2A9E832C-25F6-4F2E-84DD-F34ECE0E3917}" dt="2024-02-02T10:14:39.632" v="18763" actId="165"/>
          <ac:spMkLst>
            <pc:docMk/>
            <pc:sldMk cId="646768392" sldId="2147482365"/>
            <ac:spMk id="34" creationId="{E32AE61A-9DE1-18B9-08E2-2267086213B8}"/>
          </ac:spMkLst>
        </pc:spChg>
        <pc:spChg chg="add mod ord topLvl">
          <ac:chgData name="Julia PONT" userId="6ea7fb32-49be-46d9-9d69-f51ddf012212" providerId="ADAL" clId="{2A9E832C-25F6-4F2E-84DD-F34ECE0E3917}" dt="2024-02-02T10:14:39.632" v="18763" actId="165"/>
          <ac:spMkLst>
            <pc:docMk/>
            <pc:sldMk cId="646768392" sldId="2147482365"/>
            <ac:spMk id="35" creationId="{7FDF1BC2-9FF3-B550-12DC-696BB5FA8BD8}"/>
          </ac:spMkLst>
        </pc:spChg>
        <pc:spChg chg="add mod ord topLvl">
          <ac:chgData name="Julia PONT" userId="6ea7fb32-49be-46d9-9d69-f51ddf012212" providerId="ADAL" clId="{2A9E832C-25F6-4F2E-84DD-F34ECE0E3917}" dt="2024-02-02T10:14:39.632" v="18763" actId="165"/>
          <ac:spMkLst>
            <pc:docMk/>
            <pc:sldMk cId="646768392" sldId="2147482365"/>
            <ac:spMk id="36" creationId="{46760AA6-3D65-20FB-F2B2-7EDCD79E2A16}"/>
          </ac:spMkLst>
        </pc:spChg>
        <pc:spChg chg="add del mod">
          <ac:chgData name="Julia PONT" userId="6ea7fb32-49be-46d9-9d69-f51ddf012212" providerId="ADAL" clId="{2A9E832C-25F6-4F2E-84DD-F34ECE0E3917}" dt="2024-02-01T16:51:49.921" v="16936" actId="478"/>
          <ac:spMkLst>
            <pc:docMk/>
            <pc:sldMk cId="646768392" sldId="2147482365"/>
            <ac:spMk id="40" creationId="{56346C4F-F616-577E-C50D-841667AAF45B}"/>
          </ac:spMkLst>
        </pc:spChg>
        <pc:spChg chg="add del mod">
          <ac:chgData name="Julia PONT" userId="6ea7fb32-49be-46d9-9d69-f51ddf012212" providerId="ADAL" clId="{2A9E832C-25F6-4F2E-84DD-F34ECE0E3917}" dt="2024-02-01T16:51:27.698" v="16931" actId="478"/>
          <ac:spMkLst>
            <pc:docMk/>
            <pc:sldMk cId="646768392" sldId="2147482365"/>
            <ac:spMk id="41" creationId="{F18BC27C-B673-81DE-F21E-9CC5CF1F7F58}"/>
          </ac:spMkLst>
        </pc:spChg>
        <pc:spChg chg="add mod topLvl">
          <ac:chgData name="Julia PONT" userId="6ea7fb32-49be-46d9-9d69-f51ddf012212" providerId="ADAL" clId="{2A9E832C-25F6-4F2E-84DD-F34ECE0E3917}" dt="2024-02-02T09:43:03.302" v="18755" actId="20577"/>
          <ac:spMkLst>
            <pc:docMk/>
            <pc:sldMk cId="646768392" sldId="2147482365"/>
            <ac:spMk id="43" creationId="{5D8E9B7F-3FB8-A1C0-F232-41A990B1F4DD}"/>
          </ac:spMkLst>
        </pc:spChg>
        <pc:spChg chg="add del mod">
          <ac:chgData name="Julia PONT" userId="6ea7fb32-49be-46d9-9d69-f51ddf012212" providerId="ADAL" clId="{2A9E832C-25F6-4F2E-84DD-F34ECE0E3917}" dt="2024-02-01T15:44:47.450" v="16184"/>
          <ac:spMkLst>
            <pc:docMk/>
            <pc:sldMk cId="646768392" sldId="2147482365"/>
            <ac:spMk id="45" creationId="{6AF7FD8C-AC12-0FA5-F132-DA57E83A494C}"/>
          </ac:spMkLst>
        </pc:spChg>
        <pc:spChg chg="add mod">
          <ac:chgData name="Julia PONT" userId="6ea7fb32-49be-46d9-9d69-f51ddf012212" providerId="ADAL" clId="{2A9E832C-25F6-4F2E-84DD-F34ECE0E3917}" dt="2024-02-02T10:14:39.632" v="18763" actId="165"/>
          <ac:spMkLst>
            <pc:docMk/>
            <pc:sldMk cId="646768392" sldId="2147482365"/>
            <ac:spMk id="46" creationId="{522B0527-8AD6-D326-22F9-54450CDFBE1E}"/>
          </ac:spMkLst>
        </pc:spChg>
        <pc:spChg chg="add mod">
          <ac:chgData name="Julia PONT" userId="6ea7fb32-49be-46d9-9d69-f51ddf012212" providerId="ADAL" clId="{2A9E832C-25F6-4F2E-84DD-F34ECE0E3917}" dt="2024-02-02T10:14:39.632" v="18763" actId="165"/>
          <ac:spMkLst>
            <pc:docMk/>
            <pc:sldMk cId="646768392" sldId="2147482365"/>
            <ac:spMk id="47" creationId="{06BA5102-DB82-7638-D25E-47543474B8DF}"/>
          </ac:spMkLst>
        </pc:spChg>
        <pc:spChg chg="add mod">
          <ac:chgData name="Julia PONT" userId="6ea7fb32-49be-46d9-9d69-f51ddf012212" providerId="ADAL" clId="{2A9E832C-25F6-4F2E-84DD-F34ECE0E3917}" dt="2024-02-02T10:14:39.632" v="18763" actId="165"/>
          <ac:spMkLst>
            <pc:docMk/>
            <pc:sldMk cId="646768392" sldId="2147482365"/>
            <ac:spMk id="48" creationId="{0CDC2A1E-B0ED-0AD6-25B3-B32C646D50E0}"/>
          </ac:spMkLst>
        </pc:spChg>
        <pc:spChg chg="add mod">
          <ac:chgData name="Julia PONT" userId="6ea7fb32-49be-46d9-9d69-f51ddf012212" providerId="ADAL" clId="{2A9E832C-25F6-4F2E-84DD-F34ECE0E3917}" dt="2024-02-01T16:59:23.509" v="17412" actId="13926"/>
          <ac:spMkLst>
            <pc:docMk/>
            <pc:sldMk cId="646768392" sldId="2147482365"/>
            <ac:spMk id="49" creationId="{8C97D30A-09F4-3174-8519-4216346D4832}"/>
          </ac:spMkLst>
        </pc:spChg>
        <pc:spChg chg="add mod">
          <ac:chgData name="Julia PONT" userId="6ea7fb32-49be-46d9-9d69-f51ddf012212" providerId="ADAL" clId="{2A9E832C-25F6-4F2E-84DD-F34ECE0E3917}" dt="2024-02-01T16:53:21.892" v="16961" actId="14100"/>
          <ac:spMkLst>
            <pc:docMk/>
            <pc:sldMk cId="646768392" sldId="2147482365"/>
            <ac:spMk id="57" creationId="{470D92BE-557A-7126-0372-00A40945672D}"/>
          </ac:spMkLst>
        </pc:spChg>
        <pc:spChg chg="add del mod">
          <ac:chgData name="Julia PONT" userId="6ea7fb32-49be-46d9-9d69-f51ddf012212" providerId="ADAL" clId="{2A9E832C-25F6-4F2E-84DD-F34ECE0E3917}" dt="2024-02-02T08:26:25.724" v="17836" actId="478"/>
          <ac:spMkLst>
            <pc:docMk/>
            <pc:sldMk cId="646768392" sldId="2147482365"/>
            <ac:spMk id="59" creationId="{16AACACA-9A86-F0A2-15A3-B8D4251600DA}"/>
          </ac:spMkLst>
        </pc:spChg>
        <pc:spChg chg="del mod">
          <ac:chgData name="Julia PONT" userId="6ea7fb32-49be-46d9-9d69-f51ddf012212" providerId="ADAL" clId="{2A9E832C-25F6-4F2E-84DD-F34ECE0E3917}" dt="2024-02-01T15:15:53.900" v="15998"/>
          <ac:spMkLst>
            <pc:docMk/>
            <pc:sldMk cId="646768392" sldId="2147482365"/>
            <ac:spMk id="61" creationId="{BAFE1263-F1D6-235F-5041-3D98880E1116}"/>
          </ac:spMkLst>
        </pc:spChg>
        <pc:spChg chg="mod">
          <ac:chgData name="Julia PONT" userId="6ea7fb32-49be-46d9-9d69-f51ddf012212" providerId="ADAL" clId="{2A9E832C-25F6-4F2E-84DD-F34ECE0E3917}" dt="2024-02-02T10:14:39.632" v="18763" actId="165"/>
          <ac:spMkLst>
            <pc:docMk/>
            <pc:sldMk cId="646768392" sldId="2147482365"/>
            <ac:spMk id="147562" creationId="{C82C3D6D-A135-A75D-8FFC-B52764058278}"/>
          </ac:spMkLst>
        </pc:spChg>
        <pc:spChg chg="mod">
          <ac:chgData name="Julia PONT" userId="6ea7fb32-49be-46d9-9d69-f51ddf012212" providerId="ADAL" clId="{2A9E832C-25F6-4F2E-84DD-F34ECE0E3917}" dt="2024-02-02T13:38:53.846" v="19243" actId="948"/>
          <ac:spMkLst>
            <pc:docMk/>
            <pc:sldMk cId="646768392" sldId="2147482365"/>
            <ac:spMk id="147568" creationId="{661FE3E9-347E-6FB0-5339-E457C54BB9B7}"/>
          </ac:spMkLst>
        </pc:spChg>
        <pc:grpChg chg="add mod topLvl">
          <ac:chgData name="Julia PONT" userId="6ea7fb32-49be-46d9-9d69-f51ddf012212" providerId="ADAL" clId="{2A9E832C-25F6-4F2E-84DD-F34ECE0E3917}" dt="2024-02-02T10:14:39.632" v="18763" actId="165"/>
          <ac:grpSpMkLst>
            <pc:docMk/>
            <pc:sldMk cId="646768392" sldId="2147482365"/>
            <ac:grpSpMk id="7" creationId="{51B4FC3C-3B2A-3E7D-53CF-EA5F8880D807}"/>
          </ac:grpSpMkLst>
        </pc:grpChg>
        <pc:grpChg chg="mod topLvl">
          <ac:chgData name="Julia PONT" userId="6ea7fb32-49be-46d9-9d69-f51ddf012212" providerId="ADAL" clId="{2A9E832C-25F6-4F2E-84DD-F34ECE0E3917}" dt="2024-02-02T10:14:39.632" v="18763" actId="165"/>
          <ac:grpSpMkLst>
            <pc:docMk/>
            <pc:sldMk cId="646768392" sldId="2147482365"/>
            <ac:grpSpMk id="11" creationId="{E75FA6B8-1677-5D11-88E1-6EEE860FAA77}"/>
          </ac:grpSpMkLst>
        </pc:grpChg>
        <pc:grpChg chg="del mod ord">
          <ac:chgData name="Julia PONT" userId="6ea7fb32-49be-46d9-9d69-f51ddf012212" providerId="ADAL" clId="{2A9E832C-25F6-4F2E-84DD-F34ECE0E3917}" dt="2024-02-01T17:04:32.143" v="17420" actId="478"/>
          <ac:grpSpMkLst>
            <pc:docMk/>
            <pc:sldMk cId="646768392" sldId="2147482365"/>
            <ac:grpSpMk id="18" creationId="{12F79CEF-6387-B719-3CD5-AC5EBF3525D3}"/>
          </ac:grpSpMkLst>
        </pc:grpChg>
        <pc:grpChg chg="add del mod">
          <ac:chgData name="Julia PONT" userId="6ea7fb32-49be-46d9-9d69-f51ddf012212" providerId="ADAL" clId="{2A9E832C-25F6-4F2E-84DD-F34ECE0E3917}" dt="2024-02-02T10:14:39.632" v="18763" actId="165"/>
          <ac:grpSpMkLst>
            <pc:docMk/>
            <pc:sldMk cId="646768392" sldId="2147482365"/>
            <ac:grpSpMk id="27" creationId="{19BD4701-EC0A-8877-0BB1-F5EDF72E4987}"/>
          </ac:grpSpMkLst>
        </pc:grpChg>
        <pc:grpChg chg="mod topLvl">
          <ac:chgData name="Julia PONT" userId="6ea7fb32-49be-46d9-9d69-f51ddf012212" providerId="ADAL" clId="{2A9E832C-25F6-4F2E-84DD-F34ECE0E3917}" dt="2024-02-02T10:14:39.632" v="18763" actId="165"/>
          <ac:grpSpMkLst>
            <pc:docMk/>
            <pc:sldMk cId="646768392" sldId="2147482365"/>
            <ac:grpSpMk id="28" creationId="{FD8BD64F-C7E0-1D01-C86A-0F3AF236D78A}"/>
          </ac:grpSpMkLst>
        </pc:grpChg>
        <pc:grpChg chg="add mod ord">
          <ac:chgData name="Julia PONT" userId="6ea7fb32-49be-46d9-9d69-f51ddf012212" providerId="ADAL" clId="{2A9E832C-25F6-4F2E-84DD-F34ECE0E3917}" dt="2024-02-02T08:27:00.602" v="17870" actId="1038"/>
          <ac:grpSpMkLst>
            <pc:docMk/>
            <pc:sldMk cId="646768392" sldId="2147482365"/>
            <ac:grpSpMk id="29" creationId="{2998EFD1-6090-7211-9307-FD154C16E857}"/>
          </ac:grpSpMkLst>
        </pc:grpChg>
        <pc:grpChg chg="add del mod">
          <ac:chgData name="Julia PONT" userId="6ea7fb32-49be-46d9-9d69-f51ddf012212" providerId="ADAL" clId="{2A9E832C-25F6-4F2E-84DD-F34ECE0E3917}" dt="2024-02-01T15:40:01.065" v="16128" actId="165"/>
          <ac:grpSpMkLst>
            <pc:docMk/>
            <pc:sldMk cId="646768392" sldId="2147482365"/>
            <ac:grpSpMk id="40" creationId="{9029B76E-936D-92D6-4418-CFADD75228FE}"/>
          </ac:grpSpMkLst>
        </pc:grpChg>
        <pc:grpChg chg="add del mod">
          <ac:chgData name="Julia PONT" userId="6ea7fb32-49be-46d9-9d69-f51ddf012212" providerId="ADAL" clId="{2A9E832C-25F6-4F2E-84DD-F34ECE0E3917}" dt="2024-02-01T15:40:01.065" v="16128" actId="165"/>
          <ac:grpSpMkLst>
            <pc:docMk/>
            <pc:sldMk cId="646768392" sldId="2147482365"/>
            <ac:grpSpMk id="41" creationId="{89987717-8393-BAD7-D995-7076ACB3CD7A}"/>
          </ac:grpSpMkLst>
        </pc:grpChg>
        <pc:grpChg chg="add del mod">
          <ac:chgData name="Julia PONT" userId="6ea7fb32-49be-46d9-9d69-f51ddf012212" providerId="ADAL" clId="{2A9E832C-25F6-4F2E-84DD-F34ECE0E3917}" dt="2024-02-01T15:40:01.065" v="16128" actId="165"/>
          <ac:grpSpMkLst>
            <pc:docMk/>
            <pc:sldMk cId="646768392" sldId="2147482365"/>
            <ac:grpSpMk id="42" creationId="{B29DDD07-C188-B49C-54C0-E9CE7D94B7C7}"/>
          </ac:grpSpMkLst>
        </pc:grpChg>
        <pc:grpChg chg="add del mod">
          <ac:chgData name="Julia PONT" userId="6ea7fb32-49be-46d9-9d69-f51ddf012212" providerId="ADAL" clId="{2A9E832C-25F6-4F2E-84DD-F34ECE0E3917}" dt="2024-02-01T16:46:41.313" v="16798" actId="165"/>
          <ac:grpSpMkLst>
            <pc:docMk/>
            <pc:sldMk cId="646768392" sldId="2147482365"/>
            <ac:grpSpMk id="50" creationId="{16CA6AB4-2366-E1CA-8210-CF50A9BD1B97}"/>
          </ac:grpSpMkLst>
        </pc:grpChg>
        <pc:grpChg chg="add mod topLvl">
          <ac:chgData name="Julia PONT" userId="6ea7fb32-49be-46d9-9d69-f51ddf012212" providerId="ADAL" clId="{2A9E832C-25F6-4F2E-84DD-F34ECE0E3917}" dt="2024-02-02T10:14:39.632" v="18763" actId="165"/>
          <ac:grpSpMkLst>
            <pc:docMk/>
            <pc:sldMk cId="646768392" sldId="2147482365"/>
            <ac:grpSpMk id="51" creationId="{C486386C-B0A1-0645-E899-AA05D1D68B2D}"/>
          </ac:grpSpMkLst>
        </pc:grpChg>
        <pc:grpChg chg="add mod topLvl">
          <ac:chgData name="Julia PONT" userId="6ea7fb32-49be-46d9-9d69-f51ddf012212" providerId="ADAL" clId="{2A9E832C-25F6-4F2E-84DD-F34ECE0E3917}" dt="2024-02-02T10:14:39.632" v="18763" actId="165"/>
          <ac:grpSpMkLst>
            <pc:docMk/>
            <pc:sldMk cId="646768392" sldId="2147482365"/>
            <ac:grpSpMk id="52" creationId="{98FEE738-11FE-AB05-DCBE-01A538D33978}"/>
          </ac:grpSpMkLst>
        </pc:grpChg>
        <pc:grpChg chg="add mod topLvl">
          <ac:chgData name="Julia PONT" userId="6ea7fb32-49be-46d9-9d69-f51ddf012212" providerId="ADAL" clId="{2A9E832C-25F6-4F2E-84DD-F34ECE0E3917}" dt="2024-02-02T10:14:39.632" v="18763" actId="165"/>
          <ac:grpSpMkLst>
            <pc:docMk/>
            <pc:sldMk cId="646768392" sldId="2147482365"/>
            <ac:grpSpMk id="53" creationId="{03CA3FCA-C08E-9536-CB75-4C9BA808E7FE}"/>
          </ac:grpSpMkLst>
        </pc:grpChg>
        <pc:picChg chg="mod">
          <ac:chgData name="Julia PONT" userId="6ea7fb32-49be-46d9-9d69-f51ddf012212" providerId="ADAL" clId="{2A9E832C-25F6-4F2E-84DD-F34ECE0E3917}" dt="2024-02-02T10:14:39.632" v="18763" actId="165"/>
          <ac:picMkLst>
            <pc:docMk/>
            <pc:sldMk cId="646768392" sldId="2147482365"/>
            <ac:picMk id="14" creationId="{FDB594E9-6AE5-99B7-5F9D-97DD99766828}"/>
          </ac:picMkLst>
        </pc:picChg>
        <pc:picChg chg="mod">
          <ac:chgData name="Julia PONT" userId="6ea7fb32-49be-46d9-9d69-f51ddf012212" providerId="ADAL" clId="{2A9E832C-25F6-4F2E-84DD-F34ECE0E3917}" dt="2024-02-02T10:26:06.237" v="19106" actId="1076"/>
          <ac:picMkLst>
            <pc:docMk/>
            <pc:sldMk cId="646768392" sldId="2147482365"/>
            <ac:picMk id="31" creationId="{B2CD63DB-459D-3E7C-63AB-398DC5A3F212}"/>
          </ac:picMkLst>
        </pc:picChg>
        <pc:picChg chg="add mod topLvl">
          <ac:chgData name="Julia PONT" userId="6ea7fb32-49be-46d9-9d69-f51ddf012212" providerId="ADAL" clId="{2A9E832C-25F6-4F2E-84DD-F34ECE0E3917}" dt="2024-02-02T10:14:39.632" v="18763" actId="165"/>
          <ac:picMkLst>
            <pc:docMk/>
            <pc:sldMk cId="646768392" sldId="2147482365"/>
            <ac:picMk id="37" creationId="{2B02D803-9A8F-631C-1757-56B4CBFF8649}"/>
          </ac:picMkLst>
        </pc:picChg>
        <pc:picChg chg="add mod topLvl">
          <ac:chgData name="Julia PONT" userId="6ea7fb32-49be-46d9-9d69-f51ddf012212" providerId="ADAL" clId="{2A9E832C-25F6-4F2E-84DD-F34ECE0E3917}" dt="2024-02-02T10:14:39.632" v="18763" actId="165"/>
          <ac:picMkLst>
            <pc:docMk/>
            <pc:sldMk cId="646768392" sldId="2147482365"/>
            <ac:picMk id="38" creationId="{BE0C8AF0-30B0-5B11-73D7-0E113CB4179B}"/>
          </ac:picMkLst>
        </pc:picChg>
        <pc:picChg chg="add mod topLvl">
          <ac:chgData name="Julia PONT" userId="6ea7fb32-49be-46d9-9d69-f51ddf012212" providerId="ADAL" clId="{2A9E832C-25F6-4F2E-84DD-F34ECE0E3917}" dt="2024-02-02T10:14:39.632" v="18763" actId="165"/>
          <ac:picMkLst>
            <pc:docMk/>
            <pc:sldMk cId="646768392" sldId="2147482365"/>
            <ac:picMk id="39" creationId="{59801AFE-6A21-0524-5757-046CAFD16DCC}"/>
          </ac:picMkLst>
        </pc:picChg>
        <pc:picChg chg="add mod topLvl">
          <ac:chgData name="Julia PONT" userId="6ea7fb32-49be-46d9-9d69-f51ddf012212" providerId="ADAL" clId="{2A9E832C-25F6-4F2E-84DD-F34ECE0E3917}" dt="2024-02-01T16:47:54.042" v="16809" actId="164"/>
          <ac:picMkLst>
            <pc:docMk/>
            <pc:sldMk cId="646768392" sldId="2147482365"/>
            <ac:picMk id="44" creationId="{47B17077-CCE8-B9CD-9676-72E6AE19E9A2}"/>
          </ac:picMkLst>
        </pc:picChg>
        <pc:picChg chg="add mod">
          <ac:chgData name="Julia PONT" userId="6ea7fb32-49be-46d9-9d69-f51ddf012212" providerId="ADAL" clId="{2A9E832C-25F6-4F2E-84DD-F34ECE0E3917}" dt="2024-02-01T16:52:30.547" v="16943" actId="207"/>
          <ac:picMkLst>
            <pc:docMk/>
            <pc:sldMk cId="646768392" sldId="2147482365"/>
            <ac:picMk id="45" creationId="{C2ECF008-A42E-6942-6FA3-E08C640DDC95}"/>
          </ac:picMkLst>
        </pc:picChg>
        <pc:picChg chg="add mod">
          <ac:chgData name="Julia PONT" userId="6ea7fb32-49be-46d9-9d69-f51ddf012212" providerId="ADAL" clId="{2A9E832C-25F6-4F2E-84DD-F34ECE0E3917}" dt="2024-02-01T16:52:30.547" v="16943" actId="207"/>
          <ac:picMkLst>
            <pc:docMk/>
            <pc:sldMk cId="646768392" sldId="2147482365"/>
            <ac:picMk id="54" creationId="{706F8F07-6826-ACBF-0A37-032696517D29}"/>
          </ac:picMkLst>
        </pc:picChg>
        <pc:picChg chg="add mod">
          <ac:chgData name="Julia PONT" userId="6ea7fb32-49be-46d9-9d69-f51ddf012212" providerId="ADAL" clId="{2A9E832C-25F6-4F2E-84DD-F34ECE0E3917}" dt="2024-02-01T16:52:48.446" v="16954" actId="1076"/>
          <ac:picMkLst>
            <pc:docMk/>
            <pc:sldMk cId="646768392" sldId="2147482365"/>
            <ac:picMk id="56" creationId="{DE52A0C7-FB32-670A-A0A8-5BBD545BFBA2}"/>
          </ac:picMkLst>
        </pc:picChg>
        <pc:picChg chg="add mod">
          <ac:chgData name="Julia PONT" userId="6ea7fb32-49be-46d9-9d69-f51ddf012212" providerId="ADAL" clId="{2A9E832C-25F6-4F2E-84DD-F34ECE0E3917}" dt="2024-02-01T16:59:40.839" v="17417" actId="1076"/>
          <ac:picMkLst>
            <pc:docMk/>
            <pc:sldMk cId="646768392" sldId="2147482365"/>
            <ac:picMk id="60" creationId="{BC3F4007-C2DB-43E9-76FC-8574D9C690AF}"/>
          </ac:picMkLst>
        </pc:picChg>
        <pc:cxnChg chg="add del">
          <ac:chgData name="Julia PONT" userId="6ea7fb32-49be-46d9-9d69-f51ddf012212" providerId="ADAL" clId="{2A9E832C-25F6-4F2E-84DD-F34ECE0E3917}" dt="2024-02-01T15:20:54.351" v="16047" actId="478"/>
          <ac:cxnSpMkLst>
            <pc:docMk/>
            <pc:sldMk cId="646768392" sldId="2147482365"/>
            <ac:cxnSpMk id="29" creationId="{551458E1-3DB3-FF86-F0D2-6390956F9130}"/>
          </ac:cxnSpMkLst>
        </pc:cxnChg>
      </pc:sldChg>
      <pc:sldChg chg="addSp delSp modSp add mod">
        <pc:chgData name="Julia PONT" userId="6ea7fb32-49be-46d9-9d69-f51ddf012212" providerId="ADAL" clId="{2A9E832C-25F6-4F2E-84DD-F34ECE0E3917}" dt="2024-02-01T17:31:09.402" v="17674" actId="14100"/>
        <pc:sldMkLst>
          <pc:docMk/>
          <pc:sldMk cId="3308541053" sldId="2147482367"/>
        </pc:sldMkLst>
        <pc:spChg chg="mod">
          <ac:chgData name="Julia PONT" userId="6ea7fb32-49be-46d9-9d69-f51ddf012212" providerId="ADAL" clId="{2A9E832C-25F6-4F2E-84DD-F34ECE0E3917}" dt="2024-02-01T17:31:09.402" v="17674" actId="14100"/>
          <ac:spMkLst>
            <pc:docMk/>
            <pc:sldMk cId="3308541053" sldId="2147482367"/>
            <ac:spMk id="2" creationId="{3B68E42E-736E-7A1E-FBC6-2932F0A30E44}"/>
          </ac:spMkLst>
        </pc:spChg>
        <pc:spChg chg="add mod">
          <ac:chgData name="Julia PONT" userId="6ea7fb32-49be-46d9-9d69-f51ddf012212" providerId="ADAL" clId="{2A9E832C-25F6-4F2E-84DD-F34ECE0E3917}" dt="2024-02-01T16:30:20.988" v="16580" actId="20577"/>
          <ac:spMkLst>
            <pc:docMk/>
            <pc:sldMk cId="3308541053" sldId="2147482367"/>
            <ac:spMk id="4" creationId="{A1B5B1BC-1C13-CA8D-D103-BF525F3DEB88}"/>
          </ac:spMkLst>
        </pc:spChg>
        <pc:spChg chg="mod">
          <ac:chgData name="Julia PONT" userId="6ea7fb32-49be-46d9-9d69-f51ddf012212" providerId="ADAL" clId="{2A9E832C-25F6-4F2E-84DD-F34ECE0E3917}" dt="2024-02-01T15:03:18.032" v="15976" actId="14100"/>
          <ac:spMkLst>
            <pc:docMk/>
            <pc:sldMk cId="3308541053" sldId="2147482367"/>
            <ac:spMk id="6" creationId="{D7DCCC00-8445-82A3-3BDA-78A7A5C0905C}"/>
          </ac:spMkLst>
        </pc:spChg>
        <pc:spChg chg="mod">
          <ac:chgData name="Julia PONT" userId="6ea7fb32-49be-46d9-9d69-f51ddf012212" providerId="ADAL" clId="{2A9E832C-25F6-4F2E-84DD-F34ECE0E3917}" dt="2024-02-01T16:30:48.693" v="16604" actId="465"/>
          <ac:spMkLst>
            <pc:docMk/>
            <pc:sldMk cId="3308541053" sldId="2147482367"/>
            <ac:spMk id="8" creationId="{7C19A3EB-FB8A-E434-208C-0E1E994092C1}"/>
          </ac:spMkLst>
        </pc:spChg>
        <pc:spChg chg="mod topLvl">
          <ac:chgData name="Julia PONT" userId="6ea7fb32-49be-46d9-9d69-f51ddf012212" providerId="ADAL" clId="{2A9E832C-25F6-4F2E-84DD-F34ECE0E3917}" dt="2024-02-01T17:30:53.387" v="17673" actId="164"/>
          <ac:spMkLst>
            <pc:docMk/>
            <pc:sldMk cId="3308541053" sldId="2147482367"/>
            <ac:spMk id="10" creationId="{9DFB28B0-3CC5-D6C4-25E0-D4CCFEB38222}"/>
          </ac:spMkLst>
        </pc:spChg>
        <pc:spChg chg="mod">
          <ac:chgData name="Julia PONT" userId="6ea7fb32-49be-46d9-9d69-f51ddf012212" providerId="ADAL" clId="{2A9E832C-25F6-4F2E-84DD-F34ECE0E3917}" dt="2024-02-01T17:29:28.481" v="17630" actId="165"/>
          <ac:spMkLst>
            <pc:docMk/>
            <pc:sldMk cId="3308541053" sldId="2147482367"/>
            <ac:spMk id="12" creationId="{D9E2DE16-8B4B-DB77-0CFC-FE3977C2DD02}"/>
          </ac:spMkLst>
        </pc:spChg>
        <pc:spChg chg="mod">
          <ac:chgData name="Julia PONT" userId="6ea7fb32-49be-46d9-9d69-f51ddf012212" providerId="ADAL" clId="{2A9E832C-25F6-4F2E-84DD-F34ECE0E3917}" dt="2024-02-01T17:29:28.481" v="17630" actId="165"/>
          <ac:spMkLst>
            <pc:docMk/>
            <pc:sldMk cId="3308541053" sldId="2147482367"/>
            <ac:spMk id="13" creationId="{C2914CB3-2DBC-F354-81FF-1F0F7AA53186}"/>
          </ac:spMkLst>
        </pc:spChg>
        <pc:spChg chg="mod">
          <ac:chgData name="Julia PONT" userId="6ea7fb32-49be-46d9-9d69-f51ddf012212" providerId="ADAL" clId="{2A9E832C-25F6-4F2E-84DD-F34ECE0E3917}" dt="2024-02-01T17:29:28.481" v="17630" actId="165"/>
          <ac:spMkLst>
            <pc:docMk/>
            <pc:sldMk cId="3308541053" sldId="2147482367"/>
            <ac:spMk id="14" creationId="{190C9FC7-2A2C-4C75-D8B9-2446F9CF0A55}"/>
          </ac:spMkLst>
        </pc:spChg>
        <pc:spChg chg="mod">
          <ac:chgData name="Julia PONT" userId="6ea7fb32-49be-46d9-9d69-f51ddf012212" providerId="ADAL" clId="{2A9E832C-25F6-4F2E-84DD-F34ECE0E3917}" dt="2024-02-01T17:29:28.481" v="17630" actId="165"/>
          <ac:spMkLst>
            <pc:docMk/>
            <pc:sldMk cId="3308541053" sldId="2147482367"/>
            <ac:spMk id="15" creationId="{78E6CB55-5E1D-9E6A-818E-BEAB387C7D79}"/>
          </ac:spMkLst>
        </pc:spChg>
        <pc:spChg chg="mod">
          <ac:chgData name="Julia PONT" userId="6ea7fb32-49be-46d9-9d69-f51ddf012212" providerId="ADAL" clId="{2A9E832C-25F6-4F2E-84DD-F34ECE0E3917}" dt="2024-02-01T17:30:44.206" v="17670" actId="164"/>
          <ac:spMkLst>
            <pc:docMk/>
            <pc:sldMk cId="3308541053" sldId="2147482367"/>
            <ac:spMk id="16" creationId="{77957A4E-EC9D-65F8-F4E8-4FB0A831E163}"/>
          </ac:spMkLst>
        </pc:spChg>
        <pc:spChg chg="mod topLvl">
          <ac:chgData name="Julia PONT" userId="6ea7fb32-49be-46d9-9d69-f51ddf012212" providerId="ADAL" clId="{2A9E832C-25F6-4F2E-84DD-F34ECE0E3917}" dt="2024-02-01T17:30:50.487" v="17672" actId="164"/>
          <ac:spMkLst>
            <pc:docMk/>
            <pc:sldMk cId="3308541053" sldId="2147482367"/>
            <ac:spMk id="17" creationId="{E21D0531-348B-B44B-52A4-BB0A9DC2EF36}"/>
          </ac:spMkLst>
        </pc:spChg>
        <pc:spChg chg="mod topLvl">
          <ac:chgData name="Julia PONT" userId="6ea7fb32-49be-46d9-9d69-f51ddf012212" providerId="ADAL" clId="{2A9E832C-25F6-4F2E-84DD-F34ECE0E3917}" dt="2024-02-01T17:30:50.487" v="17672" actId="164"/>
          <ac:spMkLst>
            <pc:docMk/>
            <pc:sldMk cId="3308541053" sldId="2147482367"/>
            <ac:spMk id="18" creationId="{60D7B37A-E2C1-5065-054B-9686428E5097}"/>
          </ac:spMkLst>
        </pc:spChg>
        <pc:spChg chg="mod topLvl">
          <ac:chgData name="Julia PONT" userId="6ea7fb32-49be-46d9-9d69-f51ddf012212" providerId="ADAL" clId="{2A9E832C-25F6-4F2E-84DD-F34ECE0E3917}" dt="2024-02-01T17:30:47.519" v="17671" actId="164"/>
          <ac:spMkLst>
            <pc:docMk/>
            <pc:sldMk cId="3308541053" sldId="2147482367"/>
            <ac:spMk id="20" creationId="{9CDFF9A3-5DB2-E57C-C788-928C71D11BBD}"/>
          </ac:spMkLst>
        </pc:spChg>
        <pc:spChg chg="mod">
          <ac:chgData name="Julia PONT" userId="6ea7fb32-49be-46d9-9d69-f51ddf012212" providerId="ADAL" clId="{2A9E832C-25F6-4F2E-84DD-F34ECE0E3917}" dt="2024-02-01T17:29:37.457" v="17632" actId="165"/>
          <ac:spMkLst>
            <pc:docMk/>
            <pc:sldMk cId="3308541053" sldId="2147482367"/>
            <ac:spMk id="22" creationId="{DB47CC2B-2A25-B365-4FA3-B42D674527AB}"/>
          </ac:spMkLst>
        </pc:spChg>
        <pc:spChg chg="mod">
          <ac:chgData name="Julia PONT" userId="6ea7fb32-49be-46d9-9d69-f51ddf012212" providerId="ADAL" clId="{2A9E832C-25F6-4F2E-84DD-F34ECE0E3917}" dt="2024-02-01T17:29:37.457" v="17632" actId="165"/>
          <ac:spMkLst>
            <pc:docMk/>
            <pc:sldMk cId="3308541053" sldId="2147482367"/>
            <ac:spMk id="23" creationId="{D64DEE3A-C0C3-1319-55EF-79F2D50F95B1}"/>
          </ac:spMkLst>
        </pc:spChg>
        <pc:spChg chg="mod topLvl">
          <ac:chgData name="Julia PONT" userId="6ea7fb32-49be-46d9-9d69-f51ddf012212" providerId="ADAL" clId="{2A9E832C-25F6-4F2E-84DD-F34ECE0E3917}" dt="2024-02-01T17:29:42.080" v="17633" actId="165"/>
          <ac:spMkLst>
            <pc:docMk/>
            <pc:sldMk cId="3308541053" sldId="2147482367"/>
            <ac:spMk id="25" creationId="{77957A4E-EC9D-65F8-F4E8-4FB0A831E163}"/>
          </ac:spMkLst>
        </pc:spChg>
        <pc:spChg chg="mod">
          <ac:chgData name="Julia PONT" userId="6ea7fb32-49be-46d9-9d69-f51ddf012212" providerId="ADAL" clId="{2A9E832C-25F6-4F2E-84DD-F34ECE0E3917}" dt="2024-02-01T17:29:42.080" v="17633" actId="165"/>
          <ac:spMkLst>
            <pc:docMk/>
            <pc:sldMk cId="3308541053" sldId="2147482367"/>
            <ac:spMk id="27" creationId="{8BC00808-10C1-F8A8-4014-D112D5558344}"/>
          </ac:spMkLst>
        </pc:spChg>
        <pc:spChg chg="mod">
          <ac:chgData name="Julia PONT" userId="6ea7fb32-49be-46d9-9d69-f51ddf012212" providerId="ADAL" clId="{2A9E832C-25F6-4F2E-84DD-F34ECE0E3917}" dt="2024-02-01T17:29:42.080" v="17633" actId="165"/>
          <ac:spMkLst>
            <pc:docMk/>
            <pc:sldMk cId="3308541053" sldId="2147482367"/>
            <ac:spMk id="28" creationId="{DD2F1B7E-BA39-B270-B0C8-417365B53B8A}"/>
          </ac:spMkLst>
        </pc:spChg>
        <pc:spChg chg="mod">
          <ac:chgData name="Julia PONT" userId="6ea7fb32-49be-46d9-9d69-f51ddf012212" providerId="ADAL" clId="{2A9E832C-25F6-4F2E-84DD-F34ECE0E3917}" dt="2024-02-01T17:29:42.080" v="17633" actId="165"/>
          <ac:spMkLst>
            <pc:docMk/>
            <pc:sldMk cId="3308541053" sldId="2147482367"/>
            <ac:spMk id="29" creationId="{F27DAF12-BF2A-4378-27B6-44AA07020126}"/>
          </ac:spMkLst>
        </pc:spChg>
        <pc:spChg chg="mod">
          <ac:chgData name="Julia PONT" userId="6ea7fb32-49be-46d9-9d69-f51ddf012212" providerId="ADAL" clId="{2A9E832C-25F6-4F2E-84DD-F34ECE0E3917}" dt="2024-02-01T15:19:45.322" v="16044" actId="207"/>
          <ac:spMkLst>
            <pc:docMk/>
            <pc:sldMk cId="3308541053" sldId="2147482367"/>
            <ac:spMk id="34" creationId="{809AC073-4534-E8C4-359B-5A8D3F7962DB}"/>
          </ac:spMkLst>
        </pc:spChg>
        <pc:spChg chg="mod">
          <ac:chgData name="Julia PONT" userId="6ea7fb32-49be-46d9-9d69-f51ddf012212" providerId="ADAL" clId="{2A9E832C-25F6-4F2E-84DD-F34ECE0E3917}" dt="2024-02-01T15:19:45.322" v="16044" actId="207"/>
          <ac:spMkLst>
            <pc:docMk/>
            <pc:sldMk cId="3308541053" sldId="2147482367"/>
            <ac:spMk id="36" creationId="{DD3CE0EB-4326-C51E-2B37-5536700EC24D}"/>
          </ac:spMkLst>
        </pc:spChg>
        <pc:spChg chg="mod">
          <ac:chgData name="Julia PONT" userId="6ea7fb32-49be-46d9-9d69-f51ddf012212" providerId="ADAL" clId="{2A9E832C-25F6-4F2E-84DD-F34ECE0E3917}" dt="2024-02-01T15:19:58.769" v="16045" actId="207"/>
          <ac:spMkLst>
            <pc:docMk/>
            <pc:sldMk cId="3308541053" sldId="2147482367"/>
            <ac:spMk id="38" creationId="{EFDC0631-94A8-13B0-F79E-B68238108860}"/>
          </ac:spMkLst>
        </pc:spChg>
        <pc:spChg chg="mod">
          <ac:chgData name="Julia PONT" userId="6ea7fb32-49be-46d9-9d69-f51ddf012212" providerId="ADAL" clId="{2A9E832C-25F6-4F2E-84DD-F34ECE0E3917}" dt="2024-02-01T15:19:58.769" v="16045" actId="207"/>
          <ac:spMkLst>
            <pc:docMk/>
            <pc:sldMk cId="3308541053" sldId="2147482367"/>
            <ac:spMk id="40" creationId="{4CB9F329-7F57-CE25-0D7C-0F6F4B6820A0}"/>
          </ac:spMkLst>
        </pc:spChg>
        <pc:spChg chg="mod">
          <ac:chgData name="Julia PONT" userId="6ea7fb32-49be-46d9-9d69-f51ddf012212" providerId="ADAL" clId="{2A9E832C-25F6-4F2E-84DD-F34ECE0E3917}" dt="2024-02-01T15:19:58.769" v="16045" actId="207"/>
          <ac:spMkLst>
            <pc:docMk/>
            <pc:sldMk cId="3308541053" sldId="2147482367"/>
            <ac:spMk id="41" creationId="{1A19A625-D4D6-E388-08EE-3C3EEA3CFDEC}"/>
          </ac:spMkLst>
        </pc:spChg>
        <pc:spChg chg="mod">
          <ac:chgData name="Julia PONT" userId="6ea7fb32-49be-46d9-9d69-f51ddf012212" providerId="ADAL" clId="{2A9E832C-25F6-4F2E-84DD-F34ECE0E3917}" dt="2024-02-01T15:19:45.322" v="16044" actId="207"/>
          <ac:spMkLst>
            <pc:docMk/>
            <pc:sldMk cId="3308541053" sldId="2147482367"/>
            <ac:spMk id="42" creationId="{F87B811E-8B1E-9B29-55A7-FCE2A7610A54}"/>
          </ac:spMkLst>
        </pc:spChg>
        <pc:spChg chg="mod">
          <ac:chgData name="Julia PONT" userId="6ea7fb32-49be-46d9-9d69-f51ddf012212" providerId="ADAL" clId="{2A9E832C-25F6-4F2E-84DD-F34ECE0E3917}" dt="2024-02-01T15:19:58.769" v="16045" actId="207"/>
          <ac:spMkLst>
            <pc:docMk/>
            <pc:sldMk cId="3308541053" sldId="2147482367"/>
            <ac:spMk id="44" creationId="{086EC9FA-CD82-C349-9867-C2CFBA9CDAC1}"/>
          </ac:spMkLst>
        </pc:spChg>
        <pc:spChg chg="mod">
          <ac:chgData name="Julia PONT" userId="6ea7fb32-49be-46d9-9d69-f51ddf012212" providerId="ADAL" clId="{2A9E832C-25F6-4F2E-84DD-F34ECE0E3917}" dt="2024-02-01T15:19:58.769" v="16045" actId="207"/>
          <ac:spMkLst>
            <pc:docMk/>
            <pc:sldMk cId="3308541053" sldId="2147482367"/>
            <ac:spMk id="45" creationId="{E392A34E-1220-79C0-979B-B06F080A8FD5}"/>
          </ac:spMkLst>
        </pc:spChg>
        <pc:spChg chg="mod">
          <ac:chgData name="Julia PONT" userId="6ea7fb32-49be-46d9-9d69-f51ddf012212" providerId="ADAL" clId="{2A9E832C-25F6-4F2E-84DD-F34ECE0E3917}" dt="2024-02-01T15:19:58.769" v="16045" actId="207"/>
          <ac:spMkLst>
            <pc:docMk/>
            <pc:sldMk cId="3308541053" sldId="2147482367"/>
            <ac:spMk id="47" creationId="{7C2C944A-ACD3-2C3F-D050-B49F98F81DC8}"/>
          </ac:spMkLst>
        </pc:spChg>
        <pc:spChg chg="mod">
          <ac:chgData name="Julia PONT" userId="6ea7fb32-49be-46d9-9d69-f51ddf012212" providerId="ADAL" clId="{2A9E832C-25F6-4F2E-84DD-F34ECE0E3917}" dt="2024-02-01T15:19:58.769" v="16045" actId="207"/>
          <ac:spMkLst>
            <pc:docMk/>
            <pc:sldMk cId="3308541053" sldId="2147482367"/>
            <ac:spMk id="49" creationId="{B80487FF-BAA5-3979-B3C8-7438995399D7}"/>
          </ac:spMkLst>
        </pc:spChg>
        <pc:spChg chg="mod">
          <ac:chgData name="Julia PONT" userId="6ea7fb32-49be-46d9-9d69-f51ddf012212" providerId="ADAL" clId="{2A9E832C-25F6-4F2E-84DD-F34ECE0E3917}" dt="2024-02-01T15:02:35.653" v="15949" actId="20577"/>
          <ac:spMkLst>
            <pc:docMk/>
            <pc:sldMk cId="3308541053" sldId="2147482367"/>
            <ac:spMk id="90" creationId="{5088D74A-31DB-7850-551C-85E62264BBC3}"/>
          </ac:spMkLst>
        </pc:spChg>
        <pc:spChg chg="mod">
          <ac:chgData name="Julia PONT" userId="6ea7fb32-49be-46d9-9d69-f51ddf012212" providerId="ADAL" clId="{2A9E832C-25F6-4F2E-84DD-F34ECE0E3917}" dt="2024-02-01T16:30:35.006" v="16590" actId="1036"/>
          <ac:spMkLst>
            <pc:docMk/>
            <pc:sldMk cId="3308541053" sldId="2147482367"/>
            <ac:spMk id="131" creationId="{E2E136C7-230B-4AFA-8D84-688FF44D1844}"/>
          </ac:spMkLst>
        </pc:spChg>
        <pc:spChg chg="mod">
          <ac:chgData name="Julia PONT" userId="6ea7fb32-49be-46d9-9d69-f51ddf012212" providerId="ADAL" clId="{2A9E832C-25F6-4F2E-84DD-F34ECE0E3917}" dt="2024-02-01T16:30:35.006" v="16590" actId="1036"/>
          <ac:spMkLst>
            <pc:docMk/>
            <pc:sldMk cId="3308541053" sldId="2147482367"/>
            <ac:spMk id="132" creationId="{78C9977A-4178-2D5A-852F-A517D8C0BAD5}"/>
          </ac:spMkLst>
        </pc:spChg>
        <pc:spChg chg="mod">
          <ac:chgData name="Julia PONT" userId="6ea7fb32-49be-46d9-9d69-f51ddf012212" providerId="ADAL" clId="{2A9E832C-25F6-4F2E-84DD-F34ECE0E3917}" dt="2024-02-01T16:30:35.006" v="16590" actId="1036"/>
          <ac:spMkLst>
            <pc:docMk/>
            <pc:sldMk cId="3308541053" sldId="2147482367"/>
            <ac:spMk id="137" creationId="{87C5F78C-251D-7328-7D27-40DFBBC8689A}"/>
          </ac:spMkLst>
        </pc:spChg>
        <pc:spChg chg="mod">
          <ac:chgData name="Julia PONT" userId="6ea7fb32-49be-46d9-9d69-f51ddf012212" providerId="ADAL" clId="{2A9E832C-25F6-4F2E-84DD-F34ECE0E3917}" dt="2024-02-01T16:30:35.006" v="16590" actId="1036"/>
          <ac:spMkLst>
            <pc:docMk/>
            <pc:sldMk cId="3308541053" sldId="2147482367"/>
            <ac:spMk id="143" creationId="{05B50D40-636B-EE89-121B-C418E8089BAA}"/>
          </ac:spMkLst>
        </pc:spChg>
        <pc:spChg chg="mod">
          <ac:chgData name="Julia PONT" userId="6ea7fb32-49be-46d9-9d69-f51ddf012212" providerId="ADAL" clId="{2A9E832C-25F6-4F2E-84DD-F34ECE0E3917}" dt="2024-02-01T16:30:35.006" v="16590" actId="1036"/>
          <ac:spMkLst>
            <pc:docMk/>
            <pc:sldMk cId="3308541053" sldId="2147482367"/>
            <ac:spMk id="150" creationId="{87DBCA60-87AD-684B-7142-D70DE3490C07}"/>
          </ac:spMkLst>
        </pc:spChg>
        <pc:spChg chg="mod">
          <ac:chgData name="Julia PONT" userId="6ea7fb32-49be-46d9-9d69-f51ddf012212" providerId="ADAL" clId="{2A9E832C-25F6-4F2E-84DD-F34ECE0E3917}" dt="2024-02-01T16:30:58.178" v="16618" actId="1035"/>
          <ac:spMkLst>
            <pc:docMk/>
            <pc:sldMk cId="3308541053" sldId="2147482367"/>
            <ac:spMk id="161" creationId="{FA6F73E7-F83D-8CB4-7D4B-43DFA30C8B6F}"/>
          </ac:spMkLst>
        </pc:spChg>
        <pc:spChg chg="mod">
          <ac:chgData name="Julia PONT" userId="6ea7fb32-49be-46d9-9d69-f51ddf012212" providerId="ADAL" clId="{2A9E832C-25F6-4F2E-84DD-F34ECE0E3917}" dt="2024-02-01T16:30:58.178" v="16618" actId="1035"/>
          <ac:spMkLst>
            <pc:docMk/>
            <pc:sldMk cId="3308541053" sldId="2147482367"/>
            <ac:spMk id="162" creationId="{F4EDECF4-B60E-8D6B-279E-010D6314EB80}"/>
          </ac:spMkLst>
        </pc:spChg>
        <pc:spChg chg="mod">
          <ac:chgData name="Julia PONT" userId="6ea7fb32-49be-46d9-9d69-f51ddf012212" providerId="ADAL" clId="{2A9E832C-25F6-4F2E-84DD-F34ECE0E3917}" dt="2024-02-01T16:30:58.178" v="16618" actId="1035"/>
          <ac:spMkLst>
            <pc:docMk/>
            <pc:sldMk cId="3308541053" sldId="2147482367"/>
            <ac:spMk id="163" creationId="{0B588E8D-BEA9-FBA2-F88A-A890BAD9C557}"/>
          </ac:spMkLst>
        </pc:spChg>
        <pc:spChg chg="mod">
          <ac:chgData name="Julia PONT" userId="6ea7fb32-49be-46d9-9d69-f51ddf012212" providerId="ADAL" clId="{2A9E832C-25F6-4F2E-84DD-F34ECE0E3917}" dt="2024-02-01T16:30:58.178" v="16618" actId="1035"/>
          <ac:spMkLst>
            <pc:docMk/>
            <pc:sldMk cId="3308541053" sldId="2147482367"/>
            <ac:spMk id="164" creationId="{9C55E818-16FD-DA9C-A5B6-DA254181215D}"/>
          </ac:spMkLst>
        </pc:spChg>
        <pc:grpChg chg="add mod">
          <ac:chgData name="Julia PONT" userId="6ea7fb32-49be-46d9-9d69-f51ddf012212" providerId="ADAL" clId="{2A9E832C-25F6-4F2E-84DD-F34ECE0E3917}" dt="2024-02-01T16:30:35.006" v="16590" actId="1036"/>
          <ac:grpSpMkLst>
            <pc:docMk/>
            <pc:sldMk cId="3308541053" sldId="2147482367"/>
            <ac:grpSpMk id="3" creationId="{CF60A4D1-E146-1E41-60DA-314CAA44CB3B}"/>
          </ac:grpSpMkLst>
        </pc:grpChg>
        <pc:grpChg chg="del">
          <ac:chgData name="Julia PONT" userId="6ea7fb32-49be-46d9-9d69-f51ddf012212" providerId="ADAL" clId="{2A9E832C-25F6-4F2E-84DD-F34ECE0E3917}" dt="2024-02-01T17:29:28.481" v="17630" actId="165"/>
          <ac:grpSpMkLst>
            <pc:docMk/>
            <pc:sldMk cId="3308541053" sldId="2147482367"/>
            <ac:grpSpMk id="9" creationId="{A28BA754-DA3D-5892-ECF1-F11660243432}"/>
          </ac:grpSpMkLst>
        </pc:grpChg>
        <pc:grpChg chg="mod topLvl">
          <ac:chgData name="Julia PONT" userId="6ea7fb32-49be-46d9-9d69-f51ddf012212" providerId="ADAL" clId="{2A9E832C-25F6-4F2E-84DD-F34ECE0E3917}" dt="2024-02-01T17:30:53.387" v="17673" actId="164"/>
          <ac:grpSpMkLst>
            <pc:docMk/>
            <pc:sldMk cId="3308541053" sldId="2147482367"/>
            <ac:grpSpMk id="11" creationId="{068D7451-F782-0CBD-1682-13D56648F8A4}"/>
          </ac:grpSpMkLst>
        </pc:grpChg>
        <pc:grpChg chg="del">
          <ac:chgData name="Julia PONT" userId="6ea7fb32-49be-46d9-9d69-f51ddf012212" providerId="ADAL" clId="{2A9E832C-25F6-4F2E-84DD-F34ECE0E3917}" dt="2024-02-01T17:29:31.630" v="17631" actId="165"/>
          <ac:grpSpMkLst>
            <pc:docMk/>
            <pc:sldMk cId="3308541053" sldId="2147482367"/>
            <ac:grpSpMk id="16" creationId="{11DA308A-227A-1A8C-A9C7-056CA7D78BD0}"/>
          </ac:grpSpMkLst>
        </pc:grpChg>
        <pc:grpChg chg="del">
          <ac:chgData name="Julia PONT" userId="6ea7fb32-49be-46d9-9d69-f51ddf012212" providerId="ADAL" clId="{2A9E832C-25F6-4F2E-84DD-F34ECE0E3917}" dt="2024-02-01T17:29:37.457" v="17632" actId="165"/>
          <ac:grpSpMkLst>
            <pc:docMk/>
            <pc:sldMk cId="3308541053" sldId="2147482367"/>
            <ac:grpSpMk id="19" creationId="{4C57D22B-696F-BBAB-B5DC-8C5BAA10293D}"/>
          </ac:grpSpMkLst>
        </pc:grpChg>
        <pc:grpChg chg="mod topLvl">
          <ac:chgData name="Julia PONT" userId="6ea7fb32-49be-46d9-9d69-f51ddf012212" providerId="ADAL" clId="{2A9E832C-25F6-4F2E-84DD-F34ECE0E3917}" dt="2024-02-01T17:30:47.519" v="17671" actId="164"/>
          <ac:grpSpMkLst>
            <pc:docMk/>
            <pc:sldMk cId="3308541053" sldId="2147482367"/>
            <ac:grpSpMk id="21" creationId="{893460F1-D960-D984-468A-397D18AC44DB}"/>
          </ac:grpSpMkLst>
        </pc:grpChg>
        <pc:grpChg chg="mod">
          <ac:chgData name="Julia PONT" userId="6ea7fb32-49be-46d9-9d69-f51ddf012212" providerId="ADAL" clId="{2A9E832C-25F6-4F2E-84DD-F34ECE0E3917}" dt="2024-02-01T17:30:44.206" v="17670" actId="164"/>
          <ac:grpSpMkLst>
            <pc:docMk/>
            <pc:sldMk cId="3308541053" sldId="2147482367"/>
            <ac:grpSpMk id="24" creationId="{27DE2AE8-220F-BB17-3D86-0ACFAEBA0B26}"/>
          </ac:grpSpMkLst>
        </pc:grpChg>
        <pc:grpChg chg="mod topLvl">
          <ac:chgData name="Julia PONT" userId="6ea7fb32-49be-46d9-9d69-f51ddf012212" providerId="ADAL" clId="{2A9E832C-25F6-4F2E-84DD-F34ECE0E3917}" dt="2024-02-01T17:29:42.080" v="17633" actId="165"/>
          <ac:grpSpMkLst>
            <pc:docMk/>
            <pc:sldMk cId="3308541053" sldId="2147482367"/>
            <ac:grpSpMk id="26" creationId="{27DE2AE8-220F-BB17-3D86-0ACFAEBA0B26}"/>
          </ac:grpSpMkLst>
        </pc:grpChg>
        <pc:grpChg chg="add mod">
          <ac:chgData name="Julia PONT" userId="6ea7fb32-49be-46d9-9d69-f51ddf012212" providerId="ADAL" clId="{2A9E832C-25F6-4F2E-84DD-F34ECE0E3917}" dt="2024-02-01T17:30:44.206" v="17670" actId="164"/>
          <ac:grpSpMkLst>
            <pc:docMk/>
            <pc:sldMk cId="3308541053" sldId="2147482367"/>
            <ac:grpSpMk id="52" creationId="{DE6BC5BB-77F3-40C8-CEE1-597DA3D5366E}"/>
          </ac:grpSpMkLst>
        </pc:grpChg>
        <pc:grpChg chg="add mod">
          <ac:chgData name="Julia PONT" userId="6ea7fb32-49be-46d9-9d69-f51ddf012212" providerId="ADAL" clId="{2A9E832C-25F6-4F2E-84DD-F34ECE0E3917}" dt="2024-02-01T17:30:47.519" v="17671" actId="164"/>
          <ac:grpSpMkLst>
            <pc:docMk/>
            <pc:sldMk cId="3308541053" sldId="2147482367"/>
            <ac:grpSpMk id="53" creationId="{23B866E3-117D-9E02-14BD-2B8ACDDCF896}"/>
          </ac:grpSpMkLst>
        </pc:grpChg>
        <pc:grpChg chg="add mod">
          <ac:chgData name="Julia PONT" userId="6ea7fb32-49be-46d9-9d69-f51ddf012212" providerId="ADAL" clId="{2A9E832C-25F6-4F2E-84DD-F34ECE0E3917}" dt="2024-02-01T17:30:50.487" v="17672" actId="164"/>
          <ac:grpSpMkLst>
            <pc:docMk/>
            <pc:sldMk cId="3308541053" sldId="2147482367"/>
            <ac:grpSpMk id="54" creationId="{F64DB572-24DE-B008-D333-1D8B72A86851}"/>
          </ac:grpSpMkLst>
        </pc:grpChg>
        <pc:grpChg chg="add mod">
          <ac:chgData name="Julia PONT" userId="6ea7fb32-49be-46d9-9d69-f51ddf012212" providerId="ADAL" clId="{2A9E832C-25F6-4F2E-84DD-F34ECE0E3917}" dt="2024-02-01T17:30:53.387" v="17673" actId="164"/>
          <ac:grpSpMkLst>
            <pc:docMk/>
            <pc:sldMk cId="3308541053" sldId="2147482367"/>
            <ac:grpSpMk id="55" creationId="{B2F66C61-4360-BA22-CD88-F0352352071E}"/>
          </ac:grpSpMkLst>
        </pc:grpChg>
        <pc:grpChg chg="mod">
          <ac:chgData name="Julia PONT" userId="6ea7fb32-49be-46d9-9d69-f51ddf012212" providerId="ADAL" clId="{2A9E832C-25F6-4F2E-84DD-F34ECE0E3917}" dt="2024-02-01T16:30:44.782" v="16603" actId="1035"/>
          <ac:grpSpMkLst>
            <pc:docMk/>
            <pc:sldMk cId="3308541053" sldId="2147482367"/>
            <ac:grpSpMk id="92" creationId="{6E800482-1185-B823-1BD1-41191DB2D5F9}"/>
          </ac:grpSpMkLst>
        </pc:grpChg>
        <pc:grpChg chg="mod">
          <ac:chgData name="Julia PONT" userId="6ea7fb32-49be-46d9-9d69-f51ddf012212" providerId="ADAL" clId="{2A9E832C-25F6-4F2E-84DD-F34ECE0E3917}" dt="2024-02-01T16:30:35.006" v="16590" actId="1036"/>
          <ac:grpSpMkLst>
            <pc:docMk/>
            <pc:sldMk cId="3308541053" sldId="2147482367"/>
            <ac:grpSpMk id="128" creationId="{11012E2E-816A-1F6E-807D-431B1E7E846C}"/>
          </ac:grpSpMkLst>
        </pc:grpChg>
        <pc:grpChg chg="mod">
          <ac:chgData name="Julia PONT" userId="6ea7fb32-49be-46d9-9d69-f51ddf012212" providerId="ADAL" clId="{2A9E832C-25F6-4F2E-84DD-F34ECE0E3917}" dt="2024-02-01T16:30:35.006" v="16590" actId="1036"/>
          <ac:grpSpMkLst>
            <pc:docMk/>
            <pc:sldMk cId="3308541053" sldId="2147482367"/>
            <ac:grpSpMk id="134" creationId="{70132B8B-330C-C306-423C-61A9E66057B5}"/>
          </ac:grpSpMkLst>
        </pc:grpChg>
        <pc:grpChg chg="mod">
          <ac:chgData name="Julia PONT" userId="6ea7fb32-49be-46d9-9d69-f51ddf012212" providerId="ADAL" clId="{2A9E832C-25F6-4F2E-84DD-F34ECE0E3917}" dt="2024-02-01T16:30:35.006" v="16590" actId="1036"/>
          <ac:grpSpMkLst>
            <pc:docMk/>
            <pc:sldMk cId="3308541053" sldId="2147482367"/>
            <ac:grpSpMk id="139" creationId="{9223C920-88FD-D0E3-3CCD-0BB04E4B8168}"/>
          </ac:grpSpMkLst>
        </pc:grpChg>
        <pc:grpChg chg="mod">
          <ac:chgData name="Julia PONT" userId="6ea7fb32-49be-46d9-9d69-f51ddf012212" providerId="ADAL" clId="{2A9E832C-25F6-4F2E-84DD-F34ECE0E3917}" dt="2024-02-01T16:30:35.006" v="16590" actId="1036"/>
          <ac:grpSpMkLst>
            <pc:docMk/>
            <pc:sldMk cId="3308541053" sldId="2147482367"/>
            <ac:grpSpMk id="140" creationId="{B8E17D34-94E2-CB52-DD9E-AC9C58945A37}"/>
          </ac:grpSpMkLst>
        </pc:grpChg>
        <pc:grpChg chg="mod">
          <ac:chgData name="Julia PONT" userId="6ea7fb32-49be-46d9-9d69-f51ddf012212" providerId="ADAL" clId="{2A9E832C-25F6-4F2E-84DD-F34ECE0E3917}" dt="2024-02-01T16:30:35.006" v="16590" actId="1036"/>
          <ac:grpSpMkLst>
            <pc:docMk/>
            <pc:sldMk cId="3308541053" sldId="2147482367"/>
            <ac:grpSpMk id="141" creationId="{CFCDABBA-D73F-017E-913C-32E18D18EBC0}"/>
          </ac:grpSpMkLst>
        </pc:grpChg>
        <pc:grpChg chg="mod">
          <ac:chgData name="Julia PONT" userId="6ea7fb32-49be-46d9-9d69-f51ddf012212" providerId="ADAL" clId="{2A9E832C-25F6-4F2E-84DD-F34ECE0E3917}" dt="2024-02-01T16:30:35.006" v="16590" actId="1036"/>
          <ac:grpSpMkLst>
            <pc:docMk/>
            <pc:sldMk cId="3308541053" sldId="2147482367"/>
            <ac:grpSpMk id="142" creationId="{179BC284-6F0C-6949-9C2E-D7ECB9EB482D}"/>
          </ac:grpSpMkLst>
        </pc:grpChg>
        <pc:grpChg chg="mod">
          <ac:chgData name="Julia PONT" userId="6ea7fb32-49be-46d9-9d69-f51ddf012212" providerId="ADAL" clId="{2A9E832C-25F6-4F2E-84DD-F34ECE0E3917}" dt="2024-02-01T16:30:35.006" v="16590" actId="1036"/>
          <ac:grpSpMkLst>
            <pc:docMk/>
            <pc:sldMk cId="3308541053" sldId="2147482367"/>
            <ac:grpSpMk id="144" creationId="{FC82BDDE-84D2-DE55-825A-8DF1D2E12B65}"/>
          </ac:grpSpMkLst>
        </pc:grpChg>
        <pc:grpChg chg="mod">
          <ac:chgData name="Julia PONT" userId="6ea7fb32-49be-46d9-9d69-f51ddf012212" providerId="ADAL" clId="{2A9E832C-25F6-4F2E-84DD-F34ECE0E3917}" dt="2024-02-01T16:30:35.006" v="16590" actId="1036"/>
          <ac:grpSpMkLst>
            <pc:docMk/>
            <pc:sldMk cId="3308541053" sldId="2147482367"/>
            <ac:grpSpMk id="149" creationId="{214344D7-6E92-FC00-3557-B8C10984AEEC}"/>
          </ac:grpSpMkLst>
        </pc:grpChg>
        <pc:grpChg chg="mod">
          <ac:chgData name="Julia PONT" userId="6ea7fb32-49be-46d9-9d69-f51ddf012212" providerId="ADAL" clId="{2A9E832C-25F6-4F2E-84DD-F34ECE0E3917}" dt="2024-02-01T16:30:35.006" v="16590" actId="1036"/>
          <ac:grpSpMkLst>
            <pc:docMk/>
            <pc:sldMk cId="3308541053" sldId="2147482367"/>
            <ac:grpSpMk id="151" creationId="{672D32D1-72FC-C071-4B53-29718610CFFB}"/>
          </ac:grpSpMkLst>
        </pc:grpChg>
        <pc:grpChg chg="del">
          <ac:chgData name="Julia PONT" userId="6ea7fb32-49be-46d9-9d69-f51ddf012212" providerId="ADAL" clId="{2A9E832C-25F6-4F2E-84DD-F34ECE0E3917}" dt="2024-02-01T17:29:42.080" v="17633" actId="165"/>
          <ac:grpSpMkLst>
            <pc:docMk/>
            <pc:sldMk cId="3308541053" sldId="2147482367"/>
            <ac:grpSpMk id="157" creationId="{4FEE12E7-B373-B557-9E81-EAA9EEB9614C}"/>
          </ac:grpSpMkLst>
        </pc:grpChg>
        <pc:picChg chg="mod">
          <ac:chgData name="Julia PONT" userId="6ea7fb32-49be-46d9-9d69-f51ddf012212" providerId="ADAL" clId="{2A9E832C-25F6-4F2E-84DD-F34ECE0E3917}" dt="2024-02-01T16:30:35.006" v="16590" actId="1036"/>
          <ac:picMkLst>
            <pc:docMk/>
            <pc:sldMk cId="3308541053" sldId="2147482367"/>
            <ac:picMk id="63" creationId="{9E37A9B8-A7FA-3472-B3FE-BE806A25996D}"/>
          </ac:picMkLst>
        </pc:picChg>
        <pc:picChg chg="mod">
          <ac:chgData name="Julia PONT" userId="6ea7fb32-49be-46d9-9d69-f51ddf012212" providerId="ADAL" clId="{2A9E832C-25F6-4F2E-84DD-F34ECE0E3917}" dt="2024-02-01T16:30:35.006" v="16590" actId="1036"/>
          <ac:picMkLst>
            <pc:docMk/>
            <pc:sldMk cId="3308541053" sldId="2147482367"/>
            <ac:picMk id="65" creationId="{B884B673-1785-D289-C42A-B541934C64EB}"/>
          </ac:picMkLst>
        </pc:picChg>
        <pc:picChg chg="mod">
          <ac:chgData name="Julia PONT" userId="6ea7fb32-49be-46d9-9d69-f51ddf012212" providerId="ADAL" clId="{2A9E832C-25F6-4F2E-84DD-F34ECE0E3917}" dt="2024-02-01T16:30:35.006" v="16590" actId="1036"/>
          <ac:picMkLst>
            <pc:docMk/>
            <pc:sldMk cId="3308541053" sldId="2147482367"/>
            <ac:picMk id="66" creationId="{DF98F457-ECDF-B19F-E458-262BD2214EF0}"/>
          </ac:picMkLst>
        </pc:picChg>
        <pc:picChg chg="mod">
          <ac:chgData name="Julia PONT" userId="6ea7fb32-49be-46d9-9d69-f51ddf012212" providerId="ADAL" clId="{2A9E832C-25F6-4F2E-84DD-F34ECE0E3917}" dt="2024-02-01T16:30:35.006" v="16590" actId="1036"/>
          <ac:picMkLst>
            <pc:docMk/>
            <pc:sldMk cId="3308541053" sldId="2147482367"/>
            <ac:picMk id="79" creationId="{AAE7FB26-3082-F66B-CE56-4CE4866B1B18}"/>
          </ac:picMkLst>
        </pc:picChg>
        <pc:picChg chg="mod">
          <ac:chgData name="Julia PONT" userId="6ea7fb32-49be-46d9-9d69-f51ddf012212" providerId="ADAL" clId="{2A9E832C-25F6-4F2E-84DD-F34ECE0E3917}" dt="2024-02-01T16:30:35.006" v="16590" actId="1036"/>
          <ac:picMkLst>
            <pc:docMk/>
            <pc:sldMk cId="3308541053" sldId="2147482367"/>
            <ac:picMk id="89" creationId="{73B0248E-92F2-551E-92EE-59930ED62551}"/>
          </ac:picMkLst>
        </pc:picChg>
        <pc:picChg chg="mod">
          <ac:chgData name="Julia PONT" userId="6ea7fb32-49be-46d9-9d69-f51ddf012212" providerId="ADAL" clId="{2A9E832C-25F6-4F2E-84DD-F34ECE0E3917}" dt="2024-02-01T16:30:35.006" v="16590" actId="1036"/>
          <ac:picMkLst>
            <pc:docMk/>
            <pc:sldMk cId="3308541053" sldId="2147482367"/>
            <ac:picMk id="114" creationId="{A99DDA29-7681-02BE-CDDC-0184B84DD0FF}"/>
          </ac:picMkLst>
        </pc:picChg>
        <pc:picChg chg="mod">
          <ac:chgData name="Julia PONT" userId="6ea7fb32-49be-46d9-9d69-f51ddf012212" providerId="ADAL" clId="{2A9E832C-25F6-4F2E-84DD-F34ECE0E3917}" dt="2024-02-01T16:30:35.006" v="16590" actId="1036"/>
          <ac:picMkLst>
            <pc:docMk/>
            <pc:sldMk cId="3308541053" sldId="2147482367"/>
            <ac:picMk id="118" creationId="{00A66F60-157B-516D-BCAA-0F8D36A95573}"/>
          </ac:picMkLst>
        </pc:picChg>
        <pc:picChg chg="mod">
          <ac:chgData name="Julia PONT" userId="6ea7fb32-49be-46d9-9d69-f51ddf012212" providerId="ADAL" clId="{2A9E832C-25F6-4F2E-84DD-F34ECE0E3917}" dt="2024-02-01T16:30:35.006" v="16590" actId="1036"/>
          <ac:picMkLst>
            <pc:docMk/>
            <pc:sldMk cId="3308541053" sldId="2147482367"/>
            <ac:picMk id="129" creationId="{E83C2067-4517-1F60-24A9-4060AB4B59F2}"/>
          </ac:picMkLst>
        </pc:picChg>
        <pc:picChg chg="mod">
          <ac:chgData name="Julia PONT" userId="6ea7fb32-49be-46d9-9d69-f51ddf012212" providerId="ADAL" clId="{2A9E832C-25F6-4F2E-84DD-F34ECE0E3917}" dt="2024-02-01T16:30:35.006" v="16590" actId="1036"/>
          <ac:picMkLst>
            <pc:docMk/>
            <pc:sldMk cId="3308541053" sldId="2147482367"/>
            <ac:picMk id="130" creationId="{7EFB7EDF-654D-640B-250E-3F787E2ECBBC}"/>
          </ac:picMkLst>
        </pc:picChg>
        <pc:picChg chg="mod">
          <ac:chgData name="Julia PONT" userId="6ea7fb32-49be-46d9-9d69-f51ddf012212" providerId="ADAL" clId="{2A9E832C-25F6-4F2E-84DD-F34ECE0E3917}" dt="2024-02-01T16:30:35.006" v="16590" actId="1036"/>
          <ac:picMkLst>
            <pc:docMk/>
            <pc:sldMk cId="3308541053" sldId="2147482367"/>
            <ac:picMk id="135" creationId="{6DCABDDB-3E0A-B398-5901-460982EC6511}"/>
          </ac:picMkLst>
        </pc:picChg>
        <pc:picChg chg="mod">
          <ac:chgData name="Julia PONT" userId="6ea7fb32-49be-46d9-9d69-f51ddf012212" providerId="ADAL" clId="{2A9E832C-25F6-4F2E-84DD-F34ECE0E3917}" dt="2024-02-01T16:30:35.006" v="16590" actId="1036"/>
          <ac:picMkLst>
            <pc:docMk/>
            <pc:sldMk cId="3308541053" sldId="2147482367"/>
            <ac:picMk id="136" creationId="{60D39DF5-E1EF-B817-2482-13B846C280CC}"/>
          </ac:picMkLst>
        </pc:picChg>
        <pc:picChg chg="mod">
          <ac:chgData name="Julia PONT" userId="6ea7fb32-49be-46d9-9d69-f51ddf012212" providerId="ADAL" clId="{2A9E832C-25F6-4F2E-84DD-F34ECE0E3917}" dt="2024-02-01T16:30:35.006" v="16590" actId="1036"/>
          <ac:picMkLst>
            <pc:docMk/>
            <pc:sldMk cId="3308541053" sldId="2147482367"/>
            <ac:picMk id="138" creationId="{6D224963-46AB-31DD-3E0C-46D7B056318C}"/>
          </ac:picMkLst>
        </pc:picChg>
        <pc:picChg chg="mod">
          <ac:chgData name="Julia PONT" userId="6ea7fb32-49be-46d9-9d69-f51ddf012212" providerId="ADAL" clId="{2A9E832C-25F6-4F2E-84DD-F34ECE0E3917}" dt="2024-02-01T16:30:35.006" v="16590" actId="1036"/>
          <ac:picMkLst>
            <pc:docMk/>
            <pc:sldMk cId="3308541053" sldId="2147482367"/>
            <ac:picMk id="145" creationId="{87ABAC98-57BB-E13E-BB2D-265350D7781F}"/>
          </ac:picMkLst>
        </pc:picChg>
        <pc:picChg chg="mod">
          <ac:chgData name="Julia PONT" userId="6ea7fb32-49be-46d9-9d69-f51ddf012212" providerId="ADAL" clId="{2A9E832C-25F6-4F2E-84DD-F34ECE0E3917}" dt="2024-02-01T16:30:35.006" v="16590" actId="1036"/>
          <ac:picMkLst>
            <pc:docMk/>
            <pc:sldMk cId="3308541053" sldId="2147482367"/>
            <ac:picMk id="146" creationId="{08079B37-7EB6-2B6B-ECFA-9A6FDA77C04B}"/>
          </ac:picMkLst>
        </pc:picChg>
        <pc:picChg chg="mod">
          <ac:chgData name="Julia PONT" userId="6ea7fb32-49be-46d9-9d69-f51ddf012212" providerId="ADAL" clId="{2A9E832C-25F6-4F2E-84DD-F34ECE0E3917}" dt="2024-02-01T16:30:35.006" v="16590" actId="1036"/>
          <ac:picMkLst>
            <pc:docMk/>
            <pc:sldMk cId="3308541053" sldId="2147482367"/>
            <ac:picMk id="147" creationId="{5FEC095B-9C59-5781-24A8-32E46E7EB7C3}"/>
          </ac:picMkLst>
        </pc:picChg>
        <pc:picChg chg="mod">
          <ac:chgData name="Julia PONT" userId="6ea7fb32-49be-46d9-9d69-f51ddf012212" providerId="ADAL" clId="{2A9E832C-25F6-4F2E-84DD-F34ECE0E3917}" dt="2024-02-01T16:30:35.006" v="16590" actId="1036"/>
          <ac:picMkLst>
            <pc:docMk/>
            <pc:sldMk cId="3308541053" sldId="2147482367"/>
            <ac:picMk id="148" creationId="{B8934089-A5C0-872A-8C27-62FCD14150FE}"/>
          </ac:picMkLst>
        </pc:picChg>
        <pc:picChg chg="mod">
          <ac:chgData name="Julia PONT" userId="6ea7fb32-49be-46d9-9d69-f51ddf012212" providerId="ADAL" clId="{2A9E832C-25F6-4F2E-84DD-F34ECE0E3917}" dt="2024-02-01T16:30:35.006" v="16590" actId="1036"/>
          <ac:picMkLst>
            <pc:docMk/>
            <pc:sldMk cId="3308541053" sldId="2147482367"/>
            <ac:picMk id="152" creationId="{29E2EA40-ED37-29F9-644D-0D914DB71E5D}"/>
          </ac:picMkLst>
        </pc:picChg>
        <pc:picChg chg="mod">
          <ac:chgData name="Julia PONT" userId="6ea7fb32-49be-46d9-9d69-f51ddf012212" providerId="ADAL" clId="{2A9E832C-25F6-4F2E-84DD-F34ECE0E3917}" dt="2024-02-01T16:30:35.006" v="16590" actId="1036"/>
          <ac:picMkLst>
            <pc:docMk/>
            <pc:sldMk cId="3308541053" sldId="2147482367"/>
            <ac:picMk id="153" creationId="{B6206492-80B1-F144-3A13-755531850927}"/>
          </ac:picMkLst>
        </pc:picChg>
        <pc:picChg chg="mod">
          <ac:chgData name="Julia PONT" userId="6ea7fb32-49be-46d9-9d69-f51ddf012212" providerId="ADAL" clId="{2A9E832C-25F6-4F2E-84DD-F34ECE0E3917}" dt="2024-02-01T16:30:35.006" v="16590" actId="1036"/>
          <ac:picMkLst>
            <pc:docMk/>
            <pc:sldMk cId="3308541053" sldId="2147482367"/>
            <ac:picMk id="154" creationId="{E5340FEB-61C4-14EA-A19A-4C1795412A11}"/>
          </ac:picMkLst>
        </pc:picChg>
        <pc:picChg chg="mod">
          <ac:chgData name="Julia PONT" userId="6ea7fb32-49be-46d9-9d69-f51ddf012212" providerId="ADAL" clId="{2A9E832C-25F6-4F2E-84DD-F34ECE0E3917}" dt="2024-02-01T16:30:35.006" v="16590" actId="1036"/>
          <ac:picMkLst>
            <pc:docMk/>
            <pc:sldMk cId="3308541053" sldId="2147482367"/>
            <ac:picMk id="155" creationId="{781E88EB-08A2-D15F-E112-5A2865AF3DE4}"/>
          </ac:picMkLst>
        </pc:picChg>
        <pc:picChg chg="mod">
          <ac:chgData name="Julia PONT" userId="6ea7fb32-49be-46d9-9d69-f51ddf012212" providerId="ADAL" clId="{2A9E832C-25F6-4F2E-84DD-F34ECE0E3917}" dt="2024-02-01T16:30:35.006" v="16590" actId="1036"/>
          <ac:picMkLst>
            <pc:docMk/>
            <pc:sldMk cId="3308541053" sldId="2147482367"/>
            <ac:picMk id="158" creationId="{14B4E296-147A-B508-A0D1-41876A4E01FF}"/>
          </ac:picMkLst>
        </pc:picChg>
      </pc:sldChg>
      <pc:sldChg chg="addSp delSp modSp mod">
        <pc:chgData name="Julia PONT" userId="6ea7fb32-49be-46d9-9d69-f51ddf012212" providerId="ADAL" clId="{2A9E832C-25F6-4F2E-84DD-F34ECE0E3917}" dt="2024-02-02T15:15:27.075" v="20061" actId="20577"/>
        <pc:sldMkLst>
          <pc:docMk/>
          <pc:sldMk cId="3263934951" sldId="2147482369"/>
        </pc:sldMkLst>
        <pc:spChg chg="mod">
          <ac:chgData name="Julia PONT" userId="6ea7fb32-49be-46d9-9d69-f51ddf012212" providerId="ADAL" clId="{2A9E832C-25F6-4F2E-84DD-F34ECE0E3917}" dt="2024-02-02T15:12:01.879" v="20026" actId="12789"/>
          <ac:spMkLst>
            <pc:docMk/>
            <pc:sldMk cId="3263934951" sldId="2147482369"/>
            <ac:spMk id="5" creationId="{FCA95897-6CE9-A167-8E89-B5A0CE4CF57B}"/>
          </ac:spMkLst>
        </pc:spChg>
        <pc:spChg chg="mod">
          <ac:chgData name="Julia PONT" userId="6ea7fb32-49be-46d9-9d69-f51ddf012212" providerId="ADAL" clId="{2A9E832C-25F6-4F2E-84DD-F34ECE0E3917}" dt="2024-02-02T15:15:27.075" v="20061" actId="20577"/>
          <ac:spMkLst>
            <pc:docMk/>
            <pc:sldMk cId="3263934951" sldId="2147482369"/>
            <ac:spMk id="6" creationId="{67C6F395-AF0F-40C7-9BF4-34BE01AAA099}"/>
          </ac:spMkLst>
        </pc:spChg>
        <pc:spChg chg="mod">
          <ac:chgData name="Julia PONT" userId="6ea7fb32-49be-46d9-9d69-f51ddf012212" providerId="ADAL" clId="{2A9E832C-25F6-4F2E-84DD-F34ECE0E3917}" dt="2024-02-02T15:14:38.074" v="20037" actId="404"/>
          <ac:spMkLst>
            <pc:docMk/>
            <pc:sldMk cId="3263934951" sldId="2147482369"/>
            <ac:spMk id="12" creationId="{3F117BDD-C39E-2C8D-19B4-D77EB3FA4402}"/>
          </ac:spMkLst>
        </pc:spChg>
        <pc:spChg chg="mod">
          <ac:chgData name="Julia PONT" userId="6ea7fb32-49be-46d9-9d69-f51ddf012212" providerId="ADAL" clId="{2A9E832C-25F6-4F2E-84DD-F34ECE0E3917}" dt="2024-02-02T15:10:46.515" v="20017" actId="12788"/>
          <ac:spMkLst>
            <pc:docMk/>
            <pc:sldMk cId="3263934951" sldId="2147482369"/>
            <ac:spMk id="13" creationId="{1F7EB1BB-5FBF-8724-7084-47FDF55BB8DD}"/>
          </ac:spMkLst>
        </pc:spChg>
        <pc:spChg chg="mod">
          <ac:chgData name="Julia PONT" userId="6ea7fb32-49be-46d9-9d69-f51ddf012212" providerId="ADAL" clId="{2A9E832C-25F6-4F2E-84DD-F34ECE0E3917}" dt="2024-02-02T15:10:46.515" v="20017" actId="12788"/>
          <ac:spMkLst>
            <pc:docMk/>
            <pc:sldMk cId="3263934951" sldId="2147482369"/>
            <ac:spMk id="14" creationId="{6BAFD97C-7AFC-2921-A957-8393BBBD0DC4}"/>
          </ac:spMkLst>
        </pc:spChg>
        <pc:spChg chg="mod">
          <ac:chgData name="Julia PONT" userId="6ea7fb32-49be-46d9-9d69-f51ddf012212" providerId="ADAL" clId="{2A9E832C-25F6-4F2E-84DD-F34ECE0E3917}" dt="2024-02-02T15:10:46.515" v="20017" actId="12788"/>
          <ac:spMkLst>
            <pc:docMk/>
            <pc:sldMk cId="3263934951" sldId="2147482369"/>
            <ac:spMk id="18" creationId="{FC4E0B0A-F307-E8C8-8FB4-0EBD2D9ACBD9}"/>
          </ac:spMkLst>
        </pc:spChg>
        <pc:spChg chg="mod">
          <ac:chgData name="Julia PONT" userId="6ea7fb32-49be-46d9-9d69-f51ddf012212" providerId="ADAL" clId="{2A9E832C-25F6-4F2E-84DD-F34ECE0E3917}" dt="2024-02-02T15:12:01.879" v="20026" actId="12789"/>
          <ac:spMkLst>
            <pc:docMk/>
            <pc:sldMk cId="3263934951" sldId="2147482369"/>
            <ac:spMk id="21" creationId="{ADB9489A-92BA-57BE-DE75-645BD3DA04C5}"/>
          </ac:spMkLst>
        </pc:spChg>
        <pc:spChg chg="mod">
          <ac:chgData name="Julia PONT" userId="6ea7fb32-49be-46d9-9d69-f51ddf012212" providerId="ADAL" clId="{2A9E832C-25F6-4F2E-84DD-F34ECE0E3917}" dt="2024-02-02T15:11:18.501" v="20020" actId="14100"/>
          <ac:spMkLst>
            <pc:docMk/>
            <pc:sldMk cId="3263934951" sldId="2147482369"/>
            <ac:spMk id="22" creationId="{87631BB5-32CA-F4DA-FA44-B931DC0647A2}"/>
          </ac:spMkLst>
        </pc:spChg>
        <pc:spChg chg="mod">
          <ac:chgData name="Julia PONT" userId="6ea7fb32-49be-46d9-9d69-f51ddf012212" providerId="ADAL" clId="{2A9E832C-25F6-4F2E-84DD-F34ECE0E3917}" dt="2024-02-02T15:11:27.363" v="20021" actId="14100"/>
          <ac:spMkLst>
            <pc:docMk/>
            <pc:sldMk cId="3263934951" sldId="2147482369"/>
            <ac:spMk id="23" creationId="{B2B31008-6898-CEAF-D4D6-FCFFC276B9F2}"/>
          </ac:spMkLst>
        </pc:spChg>
        <pc:spChg chg="mod">
          <ac:chgData name="Julia PONT" userId="6ea7fb32-49be-46d9-9d69-f51ddf012212" providerId="ADAL" clId="{2A9E832C-25F6-4F2E-84DD-F34ECE0E3917}" dt="2024-02-02T15:11:39.531" v="20023" actId="14100"/>
          <ac:spMkLst>
            <pc:docMk/>
            <pc:sldMk cId="3263934951" sldId="2147482369"/>
            <ac:spMk id="24" creationId="{2DF0DCAF-8C62-8D04-2345-245A9B7AE8A9}"/>
          </ac:spMkLst>
        </pc:spChg>
        <pc:spChg chg="mod">
          <ac:chgData name="Julia PONT" userId="6ea7fb32-49be-46d9-9d69-f51ddf012212" providerId="ADAL" clId="{2A9E832C-25F6-4F2E-84DD-F34ECE0E3917}" dt="2024-02-02T15:13:06.211" v="20034" actId="404"/>
          <ac:spMkLst>
            <pc:docMk/>
            <pc:sldMk cId="3263934951" sldId="2147482369"/>
            <ac:spMk id="25" creationId="{04851978-B325-438F-8D1D-2BA9528D0B6E}"/>
          </ac:spMkLst>
        </pc:spChg>
        <pc:spChg chg="mod">
          <ac:chgData name="Julia PONT" userId="6ea7fb32-49be-46d9-9d69-f51ddf012212" providerId="ADAL" clId="{2A9E832C-25F6-4F2E-84DD-F34ECE0E3917}" dt="2024-02-02T15:13:06.211" v="20034" actId="404"/>
          <ac:spMkLst>
            <pc:docMk/>
            <pc:sldMk cId="3263934951" sldId="2147482369"/>
            <ac:spMk id="29" creationId="{1B7A27FE-BF97-B4CE-C978-83FC3307D569}"/>
          </ac:spMkLst>
        </pc:spChg>
        <pc:spChg chg="mod">
          <ac:chgData name="Julia PONT" userId="6ea7fb32-49be-46d9-9d69-f51ddf012212" providerId="ADAL" clId="{2A9E832C-25F6-4F2E-84DD-F34ECE0E3917}" dt="2024-02-02T15:13:06.211" v="20034" actId="404"/>
          <ac:spMkLst>
            <pc:docMk/>
            <pc:sldMk cId="3263934951" sldId="2147482369"/>
            <ac:spMk id="30" creationId="{EA71B3C8-818D-25C4-5EA4-982EA87646E3}"/>
          </ac:spMkLst>
        </pc:spChg>
        <pc:spChg chg="mod">
          <ac:chgData name="Julia PONT" userId="6ea7fb32-49be-46d9-9d69-f51ddf012212" providerId="ADAL" clId="{2A9E832C-25F6-4F2E-84DD-F34ECE0E3917}" dt="2024-02-02T15:13:06.211" v="20034" actId="404"/>
          <ac:spMkLst>
            <pc:docMk/>
            <pc:sldMk cId="3263934951" sldId="2147482369"/>
            <ac:spMk id="34" creationId="{C26CB84A-71A5-62BF-AB7D-17DE4EA1E775}"/>
          </ac:spMkLst>
        </pc:spChg>
        <pc:spChg chg="mod">
          <ac:chgData name="Julia PONT" userId="6ea7fb32-49be-46d9-9d69-f51ddf012212" providerId="ADAL" clId="{2A9E832C-25F6-4F2E-84DD-F34ECE0E3917}" dt="2024-02-02T15:13:06.211" v="20034" actId="404"/>
          <ac:spMkLst>
            <pc:docMk/>
            <pc:sldMk cId="3263934951" sldId="2147482369"/>
            <ac:spMk id="35" creationId="{CB50978B-62D0-A695-F87C-A8AC48933E2C}"/>
          </ac:spMkLst>
        </pc:spChg>
        <pc:spChg chg="mod">
          <ac:chgData name="Julia PONT" userId="6ea7fb32-49be-46d9-9d69-f51ddf012212" providerId="ADAL" clId="{2A9E832C-25F6-4F2E-84DD-F34ECE0E3917}" dt="2024-02-02T15:13:06.211" v="20034" actId="404"/>
          <ac:spMkLst>
            <pc:docMk/>
            <pc:sldMk cId="3263934951" sldId="2147482369"/>
            <ac:spMk id="36" creationId="{D60B7B8D-2595-89E0-47E8-654F4AD07519}"/>
          </ac:spMkLst>
        </pc:spChg>
        <pc:spChg chg="mod">
          <ac:chgData name="Julia PONT" userId="6ea7fb32-49be-46d9-9d69-f51ddf012212" providerId="ADAL" clId="{2A9E832C-25F6-4F2E-84DD-F34ECE0E3917}" dt="2024-02-02T15:13:06.211" v="20034" actId="404"/>
          <ac:spMkLst>
            <pc:docMk/>
            <pc:sldMk cId="3263934951" sldId="2147482369"/>
            <ac:spMk id="38" creationId="{2DADD31F-CE97-1B20-0C7D-5AC3727E1652}"/>
          </ac:spMkLst>
        </pc:spChg>
        <pc:spChg chg="mod">
          <ac:chgData name="Julia PONT" userId="6ea7fb32-49be-46d9-9d69-f51ddf012212" providerId="ADAL" clId="{2A9E832C-25F6-4F2E-84DD-F34ECE0E3917}" dt="2024-02-02T15:14:53.719" v="20038" actId="404"/>
          <ac:spMkLst>
            <pc:docMk/>
            <pc:sldMk cId="3263934951" sldId="2147482369"/>
            <ac:spMk id="40" creationId="{61917F85-7081-109C-10C0-0AA555A07327}"/>
          </ac:spMkLst>
        </pc:spChg>
        <pc:spChg chg="mod">
          <ac:chgData name="Julia PONT" userId="6ea7fb32-49be-46d9-9d69-f51ddf012212" providerId="ADAL" clId="{2A9E832C-25F6-4F2E-84DD-F34ECE0E3917}" dt="2024-02-02T15:14:53.719" v="20038" actId="404"/>
          <ac:spMkLst>
            <pc:docMk/>
            <pc:sldMk cId="3263934951" sldId="2147482369"/>
            <ac:spMk id="41" creationId="{4E450545-C395-9ED5-1E5F-BA57EDB4F63E}"/>
          </ac:spMkLst>
        </pc:spChg>
        <pc:spChg chg="mod">
          <ac:chgData name="Julia PONT" userId="6ea7fb32-49be-46d9-9d69-f51ddf012212" providerId="ADAL" clId="{2A9E832C-25F6-4F2E-84DD-F34ECE0E3917}" dt="2024-02-01T16:35:10.057" v="16659" actId="208"/>
          <ac:spMkLst>
            <pc:docMk/>
            <pc:sldMk cId="3263934951" sldId="2147482369"/>
            <ac:spMk id="43" creationId="{8ECCB2C5-BB41-DC1E-65FB-3232F9B03612}"/>
          </ac:spMkLst>
        </pc:spChg>
        <pc:spChg chg="mod">
          <ac:chgData name="Julia PONT" userId="6ea7fb32-49be-46d9-9d69-f51ddf012212" providerId="ADAL" clId="{2A9E832C-25F6-4F2E-84DD-F34ECE0E3917}" dt="2024-02-02T15:12:01.879" v="20026" actId="12789"/>
          <ac:spMkLst>
            <pc:docMk/>
            <pc:sldMk cId="3263934951" sldId="2147482369"/>
            <ac:spMk id="44" creationId="{24B2E04C-02B6-E0BB-28CD-46E238C100DF}"/>
          </ac:spMkLst>
        </pc:spChg>
        <pc:spChg chg="mod">
          <ac:chgData name="Julia PONT" userId="6ea7fb32-49be-46d9-9d69-f51ddf012212" providerId="ADAL" clId="{2A9E832C-25F6-4F2E-84DD-F34ECE0E3917}" dt="2024-02-02T15:10:46.515" v="20017" actId="12788"/>
          <ac:spMkLst>
            <pc:docMk/>
            <pc:sldMk cId="3263934951" sldId="2147482369"/>
            <ac:spMk id="54" creationId="{10233639-A07F-E177-A3FC-84EB92FF0023}"/>
          </ac:spMkLst>
        </pc:spChg>
        <pc:spChg chg="mod">
          <ac:chgData name="Julia PONT" userId="6ea7fb32-49be-46d9-9d69-f51ddf012212" providerId="ADAL" clId="{2A9E832C-25F6-4F2E-84DD-F34ECE0E3917}" dt="2024-02-02T15:11:35.520" v="20022" actId="14100"/>
          <ac:spMkLst>
            <pc:docMk/>
            <pc:sldMk cId="3263934951" sldId="2147482369"/>
            <ac:spMk id="56" creationId="{916FDAE2-2B27-60EB-6062-73DF5B644833}"/>
          </ac:spMkLst>
        </pc:spChg>
        <pc:picChg chg="add del mod">
          <ac:chgData name="Julia PONT" userId="6ea7fb32-49be-46d9-9d69-f51ddf012212" providerId="ADAL" clId="{2A9E832C-25F6-4F2E-84DD-F34ECE0E3917}" dt="2024-02-01T17:46:36.472" v="17818" actId="478"/>
          <ac:picMkLst>
            <pc:docMk/>
            <pc:sldMk cId="3263934951" sldId="2147482369"/>
            <ac:picMk id="55" creationId="{516FBA6F-F39E-6172-B41E-7046448744BE}"/>
          </ac:picMkLst>
        </pc:picChg>
        <pc:picChg chg="add del mod">
          <ac:chgData name="Julia PONT" userId="6ea7fb32-49be-46d9-9d69-f51ddf012212" providerId="ADAL" clId="{2A9E832C-25F6-4F2E-84DD-F34ECE0E3917}" dt="2024-02-01T17:46:36.472" v="17818" actId="478"/>
          <ac:picMkLst>
            <pc:docMk/>
            <pc:sldMk cId="3263934951" sldId="2147482369"/>
            <ac:picMk id="57" creationId="{63079412-05AF-F12E-E8D2-580D54F1DEF9}"/>
          </ac:picMkLst>
        </pc:picChg>
        <pc:cxnChg chg="mod">
          <ac:chgData name="Julia PONT" userId="6ea7fb32-49be-46d9-9d69-f51ddf012212" providerId="ADAL" clId="{2A9E832C-25F6-4F2E-84DD-F34ECE0E3917}" dt="2024-02-02T15:10:46.515" v="20017" actId="12788"/>
          <ac:cxnSpMkLst>
            <pc:docMk/>
            <pc:sldMk cId="3263934951" sldId="2147482369"/>
            <ac:cxnSpMk id="48" creationId="{2EF13003-8513-B02D-07C1-43F62BDDB7CF}"/>
          </ac:cxnSpMkLst>
        </pc:cxnChg>
      </pc:sldChg>
      <pc:sldChg chg="add del">
        <pc:chgData name="Julia PONT" userId="6ea7fb32-49be-46d9-9d69-f51ddf012212" providerId="ADAL" clId="{2A9E832C-25F6-4F2E-84DD-F34ECE0E3917}" dt="2024-02-01T16:59:55.357" v="17418" actId="2696"/>
        <pc:sldMkLst>
          <pc:docMk/>
          <pc:sldMk cId="1647201597" sldId="2147482371"/>
        </pc:sldMkLst>
      </pc:sldChg>
      <pc:sldChg chg="modSp mod">
        <pc:chgData name="Julia PONT" userId="6ea7fb32-49be-46d9-9d69-f51ddf012212" providerId="ADAL" clId="{2A9E832C-25F6-4F2E-84DD-F34ECE0E3917}" dt="2024-02-01T16:35:15.052" v="16660" actId="208"/>
        <pc:sldMkLst>
          <pc:docMk/>
          <pc:sldMk cId="4008919750" sldId="2147482372"/>
        </pc:sldMkLst>
        <pc:spChg chg="mod">
          <ac:chgData name="Julia PONT" userId="6ea7fb32-49be-46d9-9d69-f51ddf012212" providerId="ADAL" clId="{2A9E832C-25F6-4F2E-84DD-F34ECE0E3917}" dt="2024-02-01T16:35:15.052" v="16660" actId="208"/>
          <ac:spMkLst>
            <pc:docMk/>
            <pc:sldMk cId="4008919750" sldId="2147482372"/>
            <ac:spMk id="43" creationId="{8ECCB2C5-BB41-DC1E-65FB-3232F9B03612}"/>
          </ac:spMkLst>
        </pc:spChg>
      </pc:sldChg>
      <pc:sldChg chg="addSp delSp modSp mod">
        <pc:chgData name="Julia PONT" userId="6ea7fb32-49be-46d9-9d69-f51ddf012212" providerId="ADAL" clId="{2A9E832C-25F6-4F2E-84DD-F34ECE0E3917}" dt="2024-02-02T13:10:24.351" v="19117" actId="1076"/>
        <pc:sldMkLst>
          <pc:docMk/>
          <pc:sldMk cId="1179137849" sldId="2147482375"/>
        </pc:sldMkLst>
        <pc:spChg chg="del">
          <ac:chgData name="Julia PONT" userId="6ea7fb32-49be-46d9-9d69-f51ddf012212" providerId="ADAL" clId="{2A9E832C-25F6-4F2E-84DD-F34ECE0E3917}" dt="2024-02-02T10:26:44.172" v="19108" actId="478"/>
          <ac:spMkLst>
            <pc:docMk/>
            <pc:sldMk cId="1179137849" sldId="2147482375"/>
            <ac:spMk id="29" creationId="{BEC7B409-1F55-81AE-C539-56E013D4173E}"/>
          </ac:spMkLst>
        </pc:spChg>
        <pc:picChg chg="add mod">
          <ac:chgData name="Julia PONT" userId="6ea7fb32-49be-46d9-9d69-f51ddf012212" providerId="ADAL" clId="{2A9E832C-25F6-4F2E-84DD-F34ECE0E3917}" dt="2024-02-02T13:10:24.351" v="19117" actId="1076"/>
          <ac:picMkLst>
            <pc:docMk/>
            <pc:sldMk cId="1179137849" sldId="2147482375"/>
            <ac:picMk id="1026" creationId="{F231700B-8C94-C0EE-8695-7125E772820F}"/>
          </ac:picMkLst>
        </pc:picChg>
      </pc:sldChg>
      <pc:sldChg chg="addSp delSp modSp add mod">
        <pc:chgData name="Julia PONT" userId="6ea7fb32-49be-46d9-9d69-f51ddf012212" providerId="ADAL" clId="{2A9E832C-25F6-4F2E-84DD-F34ECE0E3917}" dt="2024-02-02T15:00:20.003" v="19810" actId="207"/>
        <pc:sldMkLst>
          <pc:docMk/>
          <pc:sldMk cId="1842583434" sldId="2147482388"/>
        </pc:sldMkLst>
        <pc:spChg chg="mod">
          <ac:chgData name="Julia PONT" userId="6ea7fb32-49be-46d9-9d69-f51ddf012212" providerId="ADAL" clId="{2A9E832C-25F6-4F2E-84DD-F34ECE0E3917}" dt="2024-02-02T14:16:59.090" v="19367" actId="2711"/>
          <ac:spMkLst>
            <pc:docMk/>
            <pc:sldMk cId="1842583434" sldId="2147482388"/>
            <ac:spMk id="2" creationId="{AFEE6C69-7897-49F0-7AEF-DEC38AEB483B}"/>
          </ac:spMkLst>
        </pc:spChg>
        <pc:spChg chg="mod">
          <ac:chgData name="Julia PONT" userId="6ea7fb32-49be-46d9-9d69-f51ddf012212" providerId="ADAL" clId="{2A9E832C-25F6-4F2E-84DD-F34ECE0E3917}" dt="2024-02-02T15:00:20.003" v="19810" actId="207"/>
          <ac:spMkLst>
            <pc:docMk/>
            <pc:sldMk cId="1842583434" sldId="2147482388"/>
            <ac:spMk id="3" creationId="{FC466FF3-69E1-489D-8492-1C11425BD16C}"/>
          </ac:spMkLst>
        </pc:spChg>
        <pc:spChg chg="del topLvl">
          <ac:chgData name="Julia PONT" userId="6ea7fb32-49be-46d9-9d69-f51ddf012212" providerId="ADAL" clId="{2A9E832C-25F6-4F2E-84DD-F34ECE0E3917}" dt="2024-02-02T14:38:03.301" v="19610" actId="478"/>
          <ac:spMkLst>
            <pc:docMk/>
            <pc:sldMk cId="1842583434" sldId="2147482388"/>
            <ac:spMk id="11" creationId="{69F3AE77-DFBD-3194-ECB1-16E54E27110A}"/>
          </ac:spMkLst>
        </pc:spChg>
        <pc:spChg chg="del topLvl">
          <ac:chgData name="Julia PONT" userId="6ea7fb32-49be-46d9-9d69-f51ddf012212" providerId="ADAL" clId="{2A9E832C-25F6-4F2E-84DD-F34ECE0E3917}" dt="2024-02-02T14:40:04.134" v="19624" actId="478"/>
          <ac:spMkLst>
            <pc:docMk/>
            <pc:sldMk cId="1842583434" sldId="2147482388"/>
            <ac:spMk id="20" creationId="{8A0FB21E-1D5E-E309-F9B2-2D076D497E66}"/>
          </ac:spMkLst>
        </pc:spChg>
        <pc:spChg chg="add del mod">
          <ac:chgData name="Julia PONT" userId="6ea7fb32-49be-46d9-9d69-f51ddf012212" providerId="ADAL" clId="{2A9E832C-25F6-4F2E-84DD-F34ECE0E3917}" dt="2024-02-02T14:53:04.844" v="19759" actId="478"/>
          <ac:spMkLst>
            <pc:docMk/>
            <pc:sldMk cId="1842583434" sldId="2147482388"/>
            <ac:spMk id="34" creationId="{290D70BC-3FAB-4DB1-59E7-E6B913D814EB}"/>
          </ac:spMkLst>
        </pc:spChg>
        <pc:spChg chg="add del">
          <ac:chgData name="Julia PONT" userId="6ea7fb32-49be-46d9-9d69-f51ddf012212" providerId="ADAL" clId="{2A9E832C-25F6-4F2E-84DD-F34ECE0E3917}" dt="2024-02-02T14:54:37.229" v="19761" actId="478"/>
          <ac:spMkLst>
            <pc:docMk/>
            <pc:sldMk cId="1842583434" sldId="2147482388"/>
            <ac:spMk id="35" creationId="{43ABD49B-4820-EE55-E01D-94232B49A063}"/>
          </ac:spMkLst>
        </pc:spChg>
        <pc:grpChg chg="del">
          <ac:chgData name="Julia PONT" userId="6ea7fb32-49be-46d9-9d69-f51ddf012212" providerId="ADAL" clId="{2A9E832C-25F6-4F2E-84DD-F34ECE0E3917}" dt="2024-02-02T14:36:07.198" v="19588" actId="478"/>
          <ac:grpSpMkLst>
            <pc:docMk/>
            <pc:sldMk cId="1842583434" sldId="2147482388"/>
            <ac:grpSpMk id="6" creationId="{81038177-ADBD-16AC-1ECF-E80B164A34A8}"/>
          </ac:grpSpMkLst>
        </pc:grpChg>
        <pc:grpChg chg="del">
          <ac:chgData name="Julia PONT" userId="6ea7fb32-49be-46d9-9d69-f51ddf012212" providerId="ADAL" clId="{2A9E832C-25F6-4F2E-84DD-F34ECE0E3917}" dt="2024-02-02T14:38:03.301" v="19610" actId="478"/>
          <ac:grpSpMkLst>
            <pc:docMk/>
            <pc:sldMk cId="1842583434" sldId="2147482388"/>
            <ac:grpSpMk id="9" creationId="{B1D9350B-DBC8-8090-02B8-1A0B1796A3F7}"/>
          </ac:grpSpMkLst>
        </pc:grpChg>
        <pc:grpChg chg="del mod topLvl">
          <ac:chgData name="Julia PONT" userId="6ea7fb32-49be-46d9-9d69-f51ddf012212" providerId="ADAL" clId="{2A9E832C-25F6-4F2E-84DD-F34ECE0E3917}" dt="2024-02-02T14:41:47.337" v="19634" actId="478"/>
          <ac:grpSpMkLst>
            <pc:docMk/>
            <pc:sldMk cId="1842583434" sldId="2147482388"/>
            <ac:grpSpMk id="10" creationId="{A5E09296-D991-5FA6-3BEE-AE6AE5285782}"/>
          </ac:grpSpMkLst>
        </pc:grpChg>
        <pc:grpChg chg="del">
          <ac:chgData name="Julia PONT" userId="6ea7fb32-49be-46d9-9d69-f51ddf012212" providerId="ADAL" clId="{2A9E832C-25F6-4F2E-84DD-F34ECE0E3917}" dt="2024-02-02T14:40:04.134" v="19624" actId="478"/>
          <ac:grpSpMkLst>
            <pc:docMk/>
            <pc:sldMk cId="1842583434" sldId="2147482388"/>
            <ac:grpSpMk id="18" creationId="{8EAD75C6-47C1-FF64-1DB7-CD8CBC23F763}"/>
          </ac:grpSpMkLst>
        </pc:grpChg>
        <pc:grpChg chg="del mod topLvl">
          <ac:chgData name="Julia PONT" userId="6ea7fb32-49be-46d9-9d69-f51ddf012212" providerId="ADAL" clId="{2A9E832C-25F6-4F2E-84DD-F34ECE0E3917}" dt="2024-02-02T14:41:38.894" v="19633" actId="478"/>
          <ac:grpSpMkLst>
            <pc:docMk/>
            <pc:sldMk cId="1842583434" sldId="2147482388"/>
            <ac:grpSpMk id="19" creationId="{DA12B73C-2141-B43C-698F-80A0610787C7}"/>
          </ac:grpSpMkLst>
        </pc:grpChg>
        <pc:graphicFrameChg chg="del mod modGraphic">
          <ac:chgData name="Julia PONT" userId="6ea7fb32-49be-46d9-9d69-f51ddf012212" providerId="ADAL" clId="{2A9E832C-25F6-4F2E-84DD-F34ECE0E3917}" dt="2024-02-02T14:28:26.412" v="19499" actId="478"/>
          <ac:graphicFrameMkLst>
            <pc:docMk/>
            <pc:sldMk cId="1842583434" sldId="2147482388"/>
            <ac:graphicFrameMk id="4" creationId="{D93ABF23-2616-834A-D33F-741625421E28}"/>
          </ac:graphicFrameMkLst>
        </pc:graphicFrameChg>
        <pc:graphicFrameChg chg="mod modGraphic">
          <ac:chgData name="Julia PONT" userId="6ea7fb32-49be-46d9-9d69-f51ddf012212" providerId="ADAL" clId="{2A9E832C-25F6-4F2E-84DD-F34ECE0E3917}" dt="2024-02-02T14:47:46.780" v="19690" actId="14100"/>
          <ac:graphicFrameMkLst>
            <pc:docMk/>
            <pc:sldMk cId="1842583434" sldId="2147482388"/>
            <ac:graphicFrameMk id="5" creationId="{23C91FC6-AA19-F227-3A53-EB9801CD6640}"/>
          </ac:graphicFrameMkLst>
        </pc:graphicFrameChg>
        <pc:graphicFrameChg chg="add del mod modGraphic">
          <ac:chgData name="Julia PONT" userId="6ea7fb32-49be-46d9-9d69-f51ddf012212" providerId="ADAL" clId="{2A9E832C-25F6-4F2E-84DD-F34ECE0E3917}" dt="2024-02-02T14:33:26.451" v="19573" actId="21"/>
          <ac:graphicFrameMkLst>
            <pc:docMk/>
            <pc:sldMk cId="1842583434" sldId="2147482388"/>
            <ac:graphicFrameMk id="26" creationId="{325430F4-DFF6-4179-6403-420FC4DA74C7}"/>
          </ac:graphicFrameMkLst>
        </pc:graphicFrameChg>
        <pc:graphicFrameChg chg="add del mod ord">
          <ac:chgData name="Julia PONT" userId="6ea7fb32-49be-46d9-9d69-f51ddf012212" providerId="ADAL" clId="{2A9E832C-25F6-4F2E-84DD-F34ECE0E3917}" dt="2024-02-02T14:33:29.293" v="19574" actId="478"/>
          <ac:graphicFrameMkLst>
            <pc:docMk/>
            <pc:sldMk cId="1842583434" sldId="2147482388"/>
            <ac:graphicFrameMk id="27" creationId="{FBEF9B97-5A55-1A5F-E838-60CA1FFA8BA5}"/>
          </ac:graphicFrameMkLst>
        </pc:graphicFrameChg>
        <pc:graphicFrameChg chg="add mod modGraphic">
          <ac:chgData name="Julia PONT" userId="6ea7fb32-49be-46d9-9d69-f51ddf012212" providerId="ADAL" clId="{2A9E832C-25F6-4F2E-84DD-F34ECE0E3917}" dt="2024-02-02T15:00:15.057" v="19809" actId="108"/>
          <ac:graphicFrameMkLst>
            <pc:docMk/>
            <pc:sldMk cId="1842583434" sldId="2147482388"/>
            <ac:graphicFrameMk id="28" creationId="{325430F4-DFF6-4179-6403-420FC4DA74C7}"/>
          </ac:graphicFrameMkLst>
        </pc:graphicFrameChg>
        <pc:picChg chg="mod topLvl">
          <ac:chgData name="Julia PONT" userId="6ea7fb32-49be-46d9-9d69-f51ddf012212" providerId="ADAL" clId="{2A9E832C-25F6-4F2E-84DD-F34ECE0E3917}" dt="2024-02-02T14:48:52.787" v="19704" actId="1035"/>
          <ac:picMkLst>
            <pc:docMk/>
            <pc:sldMk cId="1842583434" sldId="2147482388"/>
            <ac:picMk id="7" creationId="{0482B796-A1B5-75DC-EA4C-50AED882A43B}"/>
          </ac:picMkLst>
        </pc:picChg>
        <pc:picChg chg="del topLvl">
          <ac:chgData name="Julia PONT" userId="6ea7fb32-49be-46d9-9d69-f51ddf012212" providerId="ADAL" clId="{2A9E832C-25F6-4F2E-84DD-F34ECE0E3917}" dt="2024-02-02T14:36:07.198" v="19588" actId="478"/>
          <ac:picMkLst>
            <pc:docMk/>
            <pc:sldMk cId="1842583434" sldId="2147482388"/>
            <ac:picMk id="8" creationId="{08B19C2D-03FC-7542-BD30-5C9D8CD37B03}"/>
          </ac:picMkLst>
        </pc:picChg>
        <pc:picChg chg="del">
          <ac:chgData name="Julia PONT" userId="6ea7fb32-49be-46d9-9d69-f51ddf012212" providerId="ADAL" clId="{2A9E832C-25F6-4F2E-84DD-F34ECE0E3917}" dt="2024-02-02T14:18:53.206" v="19376" actId="478"/>
          <ac:picMkLst>
            <pc:docMk/>
            <pc:sldMk cId="1842583434" sldId="2147482388"/>
            <ac:picMk id="16" creationId="{A04689DC-1090-F3A8-E9D2-12B695024610}"/>
          </ac:picMkLst>
        </pc:picChg>
        <pc:picChg chg="del">
          <ac:chgData name="Julia PONT" userId="6ea7fb32-49be-46d9-9d69-f51ddf012212" providerId="ADAL" clId="{2A9E832C-25F6-4F2E-84DD-F34ECE0E3917}" dt="2024-02-02T14:18:53.206" v="19376" actId="478"/>
          <ac:picMkLst>
            <pc:docMk/>
            <pc:sldMk cId="1842583434" sldId="2147482388"/>
            <ac:picMk id="17" creationId="{AE506B64-6765-5567-5A1C-C41DBEEFC7B7}"/>
          </ac:picMkLst>
        </pc:picChg>
        <pc:picChg chg="del">
          <ac:chgData name="Julia PONT" userId="6ea7fb32-49be-46d9-9d69-f51ddf012212" providerId="ADAL" clId="{2A9E832C-25F6-4F2E-84DD-F34ECE0E3917}" dt="2024-02-02T14:18:53.206" v="19376" actId="478"/>
          <ac:picMkLst>
            <pc:docMk/>
            <pc:sldMk cId="1842583434" sldId="2147482388"/>
            <ac:picMk id="25" creationId="{1949AD0E-DD49-C675-50B1-6B9189F0D3D3}"/>
          </ac:picMkLst>
        </pc:picChg>
        <pc:picChg chg="add mod">
          <ac:chgData name="Julia PONT" userId="6ea7fb32-49be-46d9-9d69-f51ddf012212" providerId="ADAL" clId="{2A9E832C-25F6-4F2E-84DD-F34ECE0E3917}" dt="2024-02-02T14:48:57.429" v="19718" actId="1036"/>
          <ac:picMkLst>
            <pc:docMk/>
            <pc:sldMk cId="1842583434" sldId="2147482388"/>
            <ac:picMk id="29" creationId="{E26A1F60-CB47-8E92-4344-FDBF4FB35682}"/>
          </ac:picMkLst>
        </pc:picChg>
        <pc:picChg chg="add mod">
          <ac:chgData name="Julia PONT" userId="6ea7fb32-49be-46d9-9d69-f51ddf012212" providerId="ADAL" clId="{2A9E832C-25F6-4F2E-84DD-F34ECE0E3917}" dt="2024-02-02T14:49:02.246" v="19726" actId="1036"/>
          <ac:picMkLst>
            <pc:docMk/>
            <pc:sldMk cId="1842583434" sldId="2147482388"/>
            <ac:picMk id="30" creationId="{EA93F607-D90A-BF1F-092F-F45049082715}"/>
          </ac:picMkLst>
        </pc:picChg>
        <pc:picChg chg="add mod">
          <ac:chgData name="Julia PONT" userId="6ea7fb32-49be-46d9-9d69-f51ddf012212" providerId="ADAL" clId="{2A9E832C-25F6-4F2E-84DD-F34ECE0E3917}" dt="2024-02-02T14:49:10.616" v="19740" actId="1036"/>
          <ac:picMkLst>
            <pc:docMk/>
            <pc:sldMk cId="1842583434" sldId="2147482388"/>
            <ac:picMk id="31" creationId="{4D44A480-EC59-AD19-738D-4D519C89E9F1}"/>
          </ac:picMkLst>
        </pc:picChg>
        <pc:picChg chg="add mod">
          <ac:chgData name="Julia PONT" userId="6ea7fb32-49be-46d9-9d69-f51ddf012212" providerId="ADAL" clId="{2A9E832C-25F6-4F2E-84DD-F34ECE0E3917}" dt="2024-02-02T14:49:14.241" v="19742" actId="1036"/>
          <ac:picMkLst>
            <pc:docMk/>
            <pc:sldMk cId="1842583434" sldId="2147482388"/>
            <ac:picMk id="32" creationId="{CD394441-B67D-06E8-62F6-AF6E69EF7787}"/>
          </ac:picMkLst>
        </pc:picChg>
        <pc:picChg chg="add mod">
          <ac:chgData name="Julia PONT" userId="6ea7fb32-49be-46d9-9d69-f51ddf012212" providerId="ADAL" clId="{2A9E832C-25F6-4F2E-84DD-F34ECE0E3917}" dt="2024-02-02T14:49:19.123" v="19744" actId="1036"/>
          <ac:picMkLst>
            <pc:docMk/>
            <pc:sldMk cId="1842583434" sldId="2147482388"/>
            <ac:picMk id="33" creationId="{B0CD840E-9E1E-AA89-E777-EB5BD6417EE1}"/>
          </ac:picMkLst>
        </pc:picChg>
        <pc:picChg chg="add mod">
          <ac:chgData name="Julia PONT" userId="6ea7fb32-49be-46d9-9d69-f51ddf012212" providerId="ADAL" clId="{2A9E832C-25F6-4F2E-84DD-F34ECE0E3917}" dt="2024-02-02T14:58:00.054" v="19792" actId="12788"/>
          <ac:picMkLst>
            <pc:docMk/>
            <pc:sldMk cId="1842583434" sldId="2147482388"/>
            <ac:picMk id="36" creationId="{62FA64E1-D4B3-B67A-3899-D4BC9F9C5D83}"/>
          </ac:picMkLst>
        </pc:picChg>
        <pc:picChg chg="add mod">
          <ac:chgData name="Julia PONT" userId="6ea7fb32-49be-46d9-9d69-f51ddf012212" providerId="ADAL" clId="{2A9E832C-25F6-4F2E-84DD-F34ECE0E3917}" dt="2024-02-02T14:58:41.098" v="19807" actId="1036"/>
          <ac:picMkLst>
            <pc:docMk/>
            <pc:sldMk cId="1842583434" sldId="2147482388"/>
            <ac:picMk id="2050" creationId="{12FB3EDA-76F9-ED54-718F-0F408E8548AF}"/>
          </ac:picMkLst>
        </pc:picChg>
        <pc:picChg chg="add mod">
          <ac:chgData name="Julia PONT" userId="6ea7fb32-49be-46d9-9d69-f51ddf012212" providerId="ADAL" clId="{2A9E832C-25F6-4F2E-84DD-F34ECE0E3917}" dt="2024-02-02T14:58:00.054" v="19792" actId="12788"/>
          <ac:picMkLst>
            <pc:docMk/>
            <pc:sldMk cId="1842583434" sldId="2147482388"/>
            <ac:picMk id="2056" creationId="{1ECC0582-4EB6-A74C-4490-62FAC826815C}"/>
          </ac:picMkLst>
        </pc:picChg>
        <pc:picChg chg="add mod">
          <ac:chgData name="Julia PONT" userId="6ea7fb32-49be-46d9-9d69-f51ddf012212" providerId="ADAL" clId="{2A9E832C-25F6-4F2E-84DD-F34ECE0E3917}" dt="2024-02-02T14:58:00.054" v="19792" actId="12788"/>
          <ac:picMkLst>
            <pc:docMk/>
            <pc:sldMk cId="1842583434" sldId="2147482388"/>
            <ac:picMk id="2058" creationId="{DE3AF6C2-F7D1-62F9-AC28-C534E7CCD69C}"/>
          </ac:picMkLst>
        </pc:picChg>
        <pc:picChg chg="add mod">
          <ac:chgData name="Julia PONT" userId="6ea7fb32-49be-46d9-9d69-f51ddf012212" providerId="ADAL" clId="{2A9E832C-25F6-4F2E-84DD-F34ECE0E3917}" dt="2024-02-02T14:58:24.906" v="19806" actId="1036"/>
          <ac:picMkLst>
            <pc:docMk/>
            <pc:sldMk cId="1842583434" sldId="2147482388"/>
            <ac:picMk id="2060" creationId="{B4113694-B817-133E-C00D-F3EAD802AC85}"/>
          </ac:picMkLst>
        </pc:picChg>
        <pc:picChg chg="add mod">
          <ac:chgData name="Julia PONT" userId="6ea7fb32-49be-46d9-9d69-f51ddf012212" providerId="ADAL" clId="{2A9E832C-25F6-4F2E-84DD-F34ECE0E3917}" dt="2024-02-02T14:58:16.766" v="19794" actId="1076"/>
          <ac:picMkLst>
            <pc:docMk/>
            <pc:sldMk cId="1842583434" sldId="2147482388"/>
            <ac:picMk id="2062" creationId="{D9DAD584-2171-B6A9-0028-1F932C89B9ED}"/>
          </ac:picMkLst>
        </pc:picChg>
      </pc:sldChg>
    </pc:docChg>
  </pc:docChgLst>
  <pc:docChgLst>
    <pc:chgData name="Jean-Jacques SCEMAMA" userId="S::jean-jacques.scemama@talan.com::64aa6dc7-44f3-4aeb-9629-39d94f9b55cd" providerId="AD" clId="Web-{966E2A6F-F752-EC40-7425-D8A0F4579693}"/>
    <pc:docChg chg="modSld">
      <pc:chgData name="Jean-Jacques SCEMAMA" userId="S::jean-jacques.scemama@talan.com::64aa6dc7-44f3-4aeb-9629-39d94f9b55cd" providerId="AD" clId="Web-{966E2A6F-F752-EC40-7425-D8A0F4579693}" dt="2024-02-02T10:00:02.172" v="954" actId="20577"/>
      <pc:docMkLst>
        <pc:docMk/>
      </pc:docMkLst>
      <pc:sldChg chg="addSp modSp">
        <pc:chgData name="Jean-Jacques SCEMAMA" userId="S::jean-jacques.scemama@talan.com::64aa6dc7-44f3-4aeb-9629-39d94f9b55cd" providerId="AD" clId="Web-{966E2A6F-F752-EC40-7425-D8A0F4579693}" dt="2024-02-02T10:00:02.172" v="954" actId="20577"/>
        <pc:sldMkLst>
          <pc:docMk/>
          <pc:sldMk cId="29736360" sldId="2147470826"/>
        </pc:sldMkLst>
        <pc:spChg chg="add mod">
          <ac:chgData name="Jean-Jacques SCEMAMA" userId="S::jean-jacques.scemama@talan.com::64aa6dc7-44f3-4aeb-9629-39d94f9b55cd" providerId="AD" clId="Web-{966E2A6F-F752-EC40-7425-D8A0F4579693}" dt="2024-02-02T09:56:30.414" v="886" actId="20577"/>
          <ac:spMkLst>
            <pc:docMk/>
            <pc:sldMk cId="29736360" sldId="2147470826"/>
            <ac:spMk id="2" creationId="{C5EBD2AC-721A-2E1F-CDB8-7F1A3F0A89B6}"/>
          </ac:spMkLst>
        </pc:spChg>
        <pc:spChg chg="mod">
          <ac:chgData name="Jean-Jacques SCEMAMA" userId="S::jean-jacques.scemama@talan.com::64aa6dc7-44f3-4aeb-9629-39d94f9b55cd" providerId="AD" clId="Web-{966E2A6F-F752-EC40-7425-D8A0F4579693}" dt="2024-02-02T10:00:02.172" v="954" actId="20577"/>
          <ac:spMkLst>
            <pc:docMk/>
            <pc:sldMk cId="29736360" sldId="2147470826"/>
            <ac:spMk id="62" creationId="{30C1B9DA-212A-ED9C-BA6A-7AB9B1421B65}"/>
          </ac:spMkLst>
        </pc:spChg>
      </pc:sldChg>
      <pc:sldChg chg="addSp delSp modSp">
        <pc:chgData name="Jean-Jacques SCEMAMA" userId="S::jean-jacques.scemama@talan.com::64aa6dc7-44f3-4aeb-9629-39d94f9b55cd" providerId="AD" clId="Web-{966E2A6F-F752-EC40-7425-D8A0F4579693}" dt="2024-02-02T09:30:56.094" v="10"/>
        <pc:sldMkLst>
          <pc:docMk/>
          <pc:sldMk cId="1097620525" sldId="2147480307"/>
        </pc:sldMkLst>
        <pc:spChg chg="add del mod">
          <ac:chgData name="Jean-Jacques SCEMAMA" userId="S::jean-jacques.scemama@talan.com::64aa6dc7-44f3-4aeb-9629-39d94f9b55cd" providerId="AD" clId="Web-{966E2A6F-F752-EC40-7425-D8A0F4579693}" dt="2024-02-02T09:30:56.094" v="10"/>
          <ac:spMkLst>
            <pc:docMk/>
            <pc:sldMk cId="1097620525" sldId="2147480307"/>
            <ac:spMk id="6" creationId="{25AC67BD-7888-DFF3-BB15-68A8DCDE26D6}"/>
          </ac:spMkLst>
        </pc:spChg>
        <pc:spChg chg="add del mod">
          <ac:chgData name="Jean-Jacques SCEMAMA" userId="S::jean-jacques.scemama@talan.com::64aa6dc7-44f3-4aeb-9629-39d94f9b55cd" providerId="AD" clId="Web-{966E2A6F-F752-EC40-7425-D8A0F4579693}" dt="2024-02-02T09:30:54.344" v="9"/>
          <ac:spMkLst>
            <pc:docMk/>
            <pc:sldMk cId="1097620525" sldId="2147480307"/>
            <ac:spMk id="12" creationId="{FEDE0F57-1517-1E9B-3E01-58DE4A223BE7}"/>
          </ac:spMkLst>
        </pc:spChg>
        <pc:spChg chg="add del mod">
          <ac:chgData name="Jean-Jacques SCEMAMA" userId="S::jean-jacques.scemama@talan.com::64aa6dc7-44f3-4aeb-9629-39d94f9b55cd" providerId="AD" clId="Web-{966E2A6F-F752-EC40-7425-D8A0F4579693}" dt="2024-02-02T09:30:51" v="8"/>
          <ac:spMkLst>
            <pc:docMk/>
            <pc:sldMk cId="1097620525" sldId="2147480307"/>
            <ac:spMk id="15" creationId="{5AA0ED44-DDB4-BB6B-1B54-9691C25579FA}"/>
          </ac:spMkLst>
        </pc:spChg>
        <pc:spChg chg="mod">
          <ac:chgData name="Jean-Jacques SCEMAMA" userId="S::jean-jacques.scemama@talan.com::64aa6dc7-44f3-4aeb-9629-39d94f9b55cd" providerId="AD" clId="Web-{966E2A6F-F752-EC40-7425-D8A0F4579693}" dt="2024-02-02T09:30:37.969" v="5" actId="20577"/>
          <ac:spMkLst>
            <pc:docMk/>
            <pc:sldMk cId="1097620525" sldId="2147480307"/>
            <ac:spMk id="25" creationId="{1515E993-6069-6C0D-1BB2-F62EC1A5417F}"/>
          </ac:spMkLst>
        </pc:spChg>
      </pc:sldChg>
      <pc:sldChg chg="modSp">
        <pc:chgData name="Jean-Jacques SCEMAMA" userId="S::jean-jacques.scemama@talan.com::64aa6dc7-44f3-4aeb-9629-39d94f9b55cd" providerId="AD" clId="Web-{966E2A6F-F752-EC40-7425-D8A0F4579693}" dt="2024-02-02T09:48:09.115" v="554" actId="20577"/>
        <pc:sldMkLst>
          <pc:docMk/>
          <pc:sldMk cId="1179137849" sldId="2147482375"/>
        </pc:sldMkLst>
        <pc:spChg chg="mod">
          <ac:chgData name="Jean-Jacques SCEMAMA" userId="S::jean-jacques.scemama@talan.com::64aa6dc7-44f3-4aeb-9629-39d94f9b55cd" providerId="AD" clId="Web-{966E2A6F-F752-EC40-7425-D8A0F4579693}" dt="2024-02-02T09:32:39.004" v="18" actId="1076"/>
          <ac:spMkLst>
            <pc:docMk/>
            <pc:sldMk cId="1179137849" sldId="2147482375"/>
            <ac:spMk id="24" creationId="{2649774D-DCD3-7B54-D728-FC4F269DA2A8}"/>
          </ac:spMkLst>
        </pc:spChg>
        <pc:spChg chg="mod">
          <ac:chgData name="Jean-Jacques SCEMAMA" userId="S::jean-jacques.scemama@talan.com::64aa6dc7-44f3-4aeb-9629-39d94f9b55cd" providerId="AD" clId="Web-{966E2A6F-F752-EC40-7425-D8A0F4579693}" dt="2024-02-02T09:47:21.957" v="517" actId="20577"/>
          <ac:spMkLst>
            <pc:docMk/>
            <pc:sldMk cId="1179137849" sldId="2147482375"/>
            <ac:spMk id="57" creationId="{DC39C9CA-AAAC-033E-C86E-01B5FE2B1AFA}"/>
          </ac:spMkLst>
        </pc:spChg>
        <pc:spChg chg="mod">
          <ac:chgData name="Jean-Jacques SCEMAMA" userId="S::jean-jacques.scemama@talan.com::64aa6dc7-44f3-4aeb-9629-39d94f9b55cd" providerId="AD" clId="Web-{966E2A6F-F752-EC40-7425-D8A0F4579693}" dt="2024-02-02T09:47:36.677" v="534" actId="20577"/>
          <ac:spMkLst>
            <pc:docMk/>
            <pc:sldMk cId="1179137849" sldId="2147482375"/>
            <ac:spMk id="58" creationId="{794B039B-049B-372E-7021-4F8C1030565D}"/>
          </ac:spMkLst>
        </pc:spChg>
        <pc:spChg chg="mod">
          <ac:chgData name="Jean-Jacques SCEMAMA" userId="S::jean-jacques.scemama@talan.com::64aa6dc7-44f3-4aeb-9629-39d94f9b55cd" providerId="AD" clId="Web-{966E2A6F-F752-EC40-7425-D8A0F4579693}" dt="2024-02-02T09:48:09.115" v="554" actId="20577"/>
          <ac:spMkLst>
            <pc:docMk/>
            <pc:sldMk cId="1179137849" sldId="2147482375"/>
            <ac:spMk id="59" creationId="{D5C3EC31-015B-82A6-D34D-974DB7C3E510}"/>
          </ac:spMkLst>
        </pc:spChg>
        <pc:grpChg chg="mod">
          <ac:chgData name="Jean-Jacques SCEMAMA" userId="S::jean-jacques.scemama@talan.com::64aa6dc7-44f3-4aeb-9629-39d94f9b55cd" providerId="AD" clId="Web-{966E2A6F-F752-EC40-7425-D8A0F4579693}" dt="2024-02-02T09:32:26.863" v="16" actId="1076"/>
          <ac:grpSpMkLst>
            <pc:docMk/>
            <pc:sldMk cId="1179137849" sldId="2147482375"/>
            <ac:grpSpMk id="146" creationId="{AEEF124A-3131-F44C-5090-994A29C4EA33}"/>
          </ac:grpSpMkLst>
        </pc:grpChg>
      </pc:sldChg>
    </pc:docChg>
  </pc:docChgLst>
  <pc:docChgLst>
    <pc:chgData name="Simone NERI" userId="2a00f2ad-68d9-45e6-b604-268bfad9cc5e" providerId="ADAL" clId="{4B2C71B6-8D94-4825-8513-56F77B707A72}"/>
    <pc:docChg chg="undo custSel modSld sldOrd">
      <pc:chgData name="Simone NERI" userId="2a00f2ad-68d9-45e6-b604-268bfad9cc5e" providerId="ADAL" clId="{4B2C71B6-8D94-4825-8513-56F77B707A72}" dt="2024-01-31T15:38:09.325" v="376" actId="313"/>
      <pc:docMkLst>
        <pc:docMk/>
      </pc:docMkLst>
      <pc:sldChg chg="modSp mod">
        <pc:chgData name="Simone NERI" userId="2a00f2ad-68d9-45e6-b604-268bfad9cc5e" providerId="ADAL" clId="{4B2C71B6-8D94-4825-8513-56F77B707A72}" dt="2024-01-31T15:38:09.325" v="376" actId="313"/>
        <pc:sldMkLst>
          <pc:docMk/>
          <pc:sldMk cId="1296099944" sldId="2147480329"/>
        </pc:sldMkLst>
        <pc:spChg chg="mod">
          <ac:chgData name="Simone NERI" userId="2a00f2ad-68d9-45e6-b604-268bfad9cc5e" providerId="ADAL" clId="{4B2C71B6-8D94-4825-8513-56F77B707A72}" dt="2024-01-31T15:38:09.325" v="376" actId="313"/>
          <ac:spMkLst>
            <pc:docMk/>
            <pc:sldMk cId="1296099944" sldId="2147480329"/>
            <ac:spMk id="43" creationId="{7F4F9A9F-F886-0090-A007-7FA732BDE9A9}"/>
          </ac:spMkLst>
        </pc:spChg>
      </pc:sldChg>
      <pc:sldChg chg="ord">
        <pc:chgData name="Simone NERI" userId="2a00f2ad-68d9-45e6-b604-268bfad9cc5e" providerId="ADAL" clId="{4B2C71B6-8D94-4825-8513-56F77B707A72}" dt="2024-01-31T15:33:11.900" v="3"/>
        <pc:sldMkLst>
          <pc:docMk/>
          <pc:sldMk cId="429385748" sldId="2147480330"/>
        </pc:sldMkLst>
      </pc:sldChg>
    </pc:docChg>
  </pc:docChgLst>
  <pc:docChgLst>
    <pc:chgData name="Vincent MESLIN" userId="466288e2-4f14-4311-840a-61de45a389cc" providerId="ADAL" clId="{96E5B19A-03C6-41CD-AD2E-9B5EF566AAC2}"/>
    <pc:docChg chg="custSel addSld modSld">
      <pc:chgData name="Vincent MESLIN" userId="466288e2-4f14-4311-840a-61de45a389cc" providerId="ADAL" clId="{96E5B19A-03C6-41CD-AD2E-9B5EF566AAC2}" dt="2024-02-14T15:06:57.579" v="325" actId="20577"/>
      <pc:docMkLst>
        <pc:docMk/>
      </pc:docMkLst>
      <pc:sldChg chg="add">
        <pc:chgData name="Vincent MESLIN" userId="466288e2-4f14-4311-840a-61de45a389cc" providerId="ADAL" clId="{96E5B19A-03C6-41CD-AD2E-9B5EF566AAC2}" dt="2024-02-02T18:36:09.760" v="301"/>
        <pc:sldMkLst>
          <pc:docMk/>
          <pc:sldMk cId="2516984316" sldId="272"/>
        </pc:sldMkLst>
      </pc:sldChg>
      <pc:sldChg chg="modSp mod">
        <pc:chgData name="Vincent MESLIN" userId="466288e2-4f14-4311-840a-61de45a389cc" providerId="ADAL" clId="{96E5B19A-03C6-41CD-AD2E-9B5EF566AAC2}" dt="2024-01-31T14:33:02.791" v="175" actId="20577"/>
        <pc:sldMkLst>
          <pc:docMk/>
          <pc:sldMk cId="212100458" sldId="2147376937"/>
        </pc:sldMkLst>
        <pc:spChg chg="mod">
          <ac:chgData name="Vincent MESLIN" userId="466288e2-4f14-4311-840a-61de45a389cc" providerId="ADAL" clId="{96E5B19A-03C6-41CD-AD2E-9B5EF566AAC2}" dt="2024-01-31T14:24:18.883" v="96" actId="20577"/>
          <ac:spMkLst>
            <pc:docMk/>
            <pc:sldMk cId="212100458" sldId="2147376937"/>
            <ac:spMk id="3" creationId="{42DA54D8-BD8E-C42B-629D-8F6685218EA8}"/>
          </ac:spMkLst>
        </pc:spChg>
        <pc:spChg chg="mod">
          <ac:chgData name="Vincent MESLIN" userId="466288e2-4f14-4311-840a-61de45a389cc" providerId="ADAL" clId="{96E5B19A-03C6-41CD-AD2E-9B5EF566AAC2}" dt="2024-01-31T14:33:02.791" v="175" actId="20577"/>
          <ac:spMkLst>
            <pc:docMk/>
            <pc:sldMk cId="212100458" sldId="2147376937"/>
            <ac:spMk id="12" creationId="{A83C8ABF-DDD7-697A-2199-AFA13CEA9AE8}"/>
          </ac:spMkLst>
        </pc:spChg>
        <pc:spChg chg="mod">
          <ac:chgData name="Vincent MESLIN" userId="466288e2-4f14-4311-840a-61de45a389cc" providerId="ADAL" clId="{96E5B19A-03C6-41CD-AD2E-9B5EF566AAC2}" dt="2024-01-31T14:31:11.291" v="139" actId="113"/>
          <ac:spMkLst>
            <pc:docMk/>
            <pc:sldMk cId="212100458" sldId="2147376937"/>
            <ac:spMk id="147568" creationId="{661FE3E9-347E-6FB0-5339-E457C54BB9B7}"/>
          </ac:spMkLst>
        </pc:spChg>
      </pc:sldChg>
      <pc:sldChg chg="modSp mod">
        <pc:chgData name="Vincent MESLIN" userId="466288e2-4f14-4311-840a-61de45a389cc" providerId="ADAL" clId="{96E5B19A-03C6-41CD-AD2E-9B5EF566AAC2}" dt="2024-01-31T14:07:33.019" v="26" actId="1036"/>
        <pc:sldMkLst>
          <pc:docMk/>
          <pc:sldMk cId="596601236" sldId="2147480292"/>
        </pc:sldMkLst>
        <pc:spChg chg="mod">
          <ac:chgData name="Vincent MESLIN" userId="466288e2-4f14-4311-840a-61de45a389cc" providerId="ADAL" clId="{96E5B19A-03C6-41CD-AD2E-9B5EF566AAC2}" dt="2024-01-31T14:07:33.019" v="26" actId="1036"/>
          <ac:spMkLst>
            <pc:docMk/>
            <pc:sldMk cId="596601236" sldId="2147480292"/>
            <ac:spMk id="4" creationId="{57894F96-70C8-2EF7-4474-546B825A05B8}"/>
          </ac:spMkLst>
        </pc:spChg>
      </pc:sldChg>
      <pc:sldChg chg="modSp mod">
        <pc:chgData name="Vincent MESLIN" userId="466288e2-4f14-4311-840a-61de45a389cc" providerId="ADAL" clId="{96E5B19A-03C6-41CD-AD2E-9B5EF566AAC2}" dt="2024-01-31T17:50:28.316" v="261" actId="1076"/>
        <pc:sldMkLst>
          <pc:docMk/>
          <pc:sldMk cId="1871989762" sldId="2147480297"/>
        </pc:sldMkLst>
        <pc:spChg chg="mod">
          <ac:chgData name="Vincent MESLIN" userId="466288e2-4f14-4311-840a-61de45a389cc" providerId="ADAL" clId="{96E5B19A-03C6-41CD-AD2E-9B5EF566AAC2}" dt="2024-01-31T17:50:28.316" v="261" actId="1076"/>
          <ac:spMkLst>
            <pc:docMk/>
            <pc:sldMk cId="1871989762" sldId="2147480297"/>
            <ac:spMk id="12" creationId="{19705654-CA39-F9D6-997C-3E5D4871001B}"/>
          </ac:spMkLst>
        </pc:spChg>
      </pc:sldChg>
      <pc:sldChg chg="modSp mod modNotesTx">
        <pc:chgData name="Vincent MESLIN" userId="466288e2-4f14-4311-840a-61de45a389cc" providerId="ADAL" clId="{96E5B19A-03C6-41CD-AD2E-9B5EF566AAC2}" dt="2024-01-31T14:28:54.940" v="138" actId="20577"/>
        <pc:sldMkLst>
          <pc:docMk/>
          <pc:sldMk cId="1464809953" sldId="2147480304"/>
        </pc:sldMkLst>
        <pc:spChg chg="mod">
          <ac:chgData name="Vincent MESLIN" userId="466288e2-4f14-4311-840a-61de45a389cc" providerId="ADAL" clId="{96E5B19A-03C6-41CD-AD2E-9B5EF566AAC2}" dt="2024-01-31T14:25:55.497" v="103" actId="6549"/>
          <ac:spMkLst>
            <pc:docMk/>
            <pc:sldMk cId="1464809953" sldId="2147480304"/>
            <ac:spMk id="10" creationId="{5CC3FCF3-C9D6-2CC5-2FAB-EA87BAD383D4}"/>
          </ac:spMkLst>
        </pc:spChg>
        <pc:spChg chg="mod">
          <ac:chgData name="Vincent MESLIN" userId="466288e2-4f14-4311-840a-61de45a389cc" providerId="ADAL" clId="{96E5B19A-03C6-41CD-AD2E-9B5EF566AAC2}" dt="2024-01-31T14:26:03.457" v="120" actId="20577"/>
          <ac:spMkLst>
            <pc:docMk/>
            <pc:sldMk cId="1464809953" sldId="2147480304"/>
            <ac:spMk id="13" creationId="{625BAB93-C0A5-CA04-C4E0-009F6402AE8E}"/>
          </ac:spMkLst>
        </pc:spChg>
        <pc:spChg chg="mod">
          <ac:chgData name="Vincent MESLIN" userId="466288e2-4f14-4311-840a-61de45a389cc" providerId="ADAL" clId="{96E5B19A-03C6-41CD-AD2E-9B5EF566AAC2}" dt="2024-01-31T14:24:46.747" v="97" actId="21"/>
          <ac:spMkLst>
            <pc:docMk/>
            <pc:sldMk cId="1464809953" sldId="2147480304"/>
            <ac:spMk id="17" creationId="{E9798A72-0C33-3BAB-C37B-AF768154ED18}"/>
          </ac:spMkLst>
        </pc:spChg>
        <pc:spChg chg="mod">
          <ac:chgData name="Vincent MESLIN" userId="466288e2-4f14-4311-840a-61de45a389cc" providerId="ADAL" clId="{96E5B19A-03C6-41CD-AD2E-9B5EF566AAC2}" dt="2024-01-31T14:27:02.621" v="134" actId="20577"/>
          <ac:spMkLst>
            <pc:docMk/>
            <pc:sldMk cId="1464809953" sldId="2147480304"/>
            <ac:spMk id="18" creationId="{8D0F6BD6-D28E-550F-11AF-797E613226B3}"/>
          </ac:spMkLst>
        </pc:spChg>
        <pc:spChg chg="mod">
          <ac:chgData name="Vincent MESLIN" userId="466288e2-4f14-4311-840a-61de45a389cc" providerId="ADAL" clId="{96E5B19A-03C6-41CD-AD2E-9B5EF566AAC2}" dt="2024-01-31T14:28:54.940" v="138" actId="20577"/>
          <ac:spMkLst>
            <pc:docMk/>
            <pc:sldMk cId="1464809953" sldId="2147480304"/>
            <ac:spMk id="26" creationId="{D28D840D-9040-2F96-E213-A4B4BBC84C14}"/>
          </ac:spMkLst>
        </pc:spChg>
      </pc:sldChg>
      <pc:sldChg chg="modSp mod">
        <pc:chgData name="Vincent MESLIN" userId="466288e2-4f14-4311-840a-61de45a389cc" providerId="ADAL" clId="{96E5B19A-03C6-41CD-AD2E-9B5EF566AAC2}" dt="2024-01-31T14:46:35.128" v="260" actId="20577"/>
        <pc:sldMkLst>
          <pc:docMk/>
          <pc:sldMk cId="1704792734" sldId="2147480331"/>
        </pc:sldMkLst>
        <pc:spChg chg="mod">
          <ac:chgData name="Vincent MESLIN" userId="466288e2-4f14-4311-840a-61de45a389cc" providerId="ADAL" clId="{96E5B19A-03C6-41CD-AD2E-9B5EF566AAC2}" dt="2024-01-31T14:46:35.128" v="260" actId="20577"/>
          <ac:spMkLst>
            <pc:docMk/>
            <pc:sldMk cId="1704792734" sldId="2147480331"/>
            <ac:spMk id="21" creationId="{7A36680B-6E77-1CAE-95FC-45CF4F49C36E}"/>
          </ac:spMkLst>
        </pc:spChg>
        <pc:spChg chg="mod">
          <ac:chgData name="Vincent MESLIN" userId="466288e2-4f14-4311-840a-61de45a389cc" providerId="ADAL" clId="{96E5B19A-03C6-41CD-AD2E-9B5EF566AAC2}" dt="2024-01-31T14:45:32.983" v="246" actId="20577"/>
          <ac:spMkLst>
            <pc:docMk/>
            <pc:sldMk cId="1704792734" sldId="2147480331"/>
            <ac:spMk id="43" creationId="{91765E57-7846-AAB8-8AFC-0A6E282F679A}"/>
          </ac:spMkLst>
        </pc:spChg>
      </pc:sldChg>
      <pc:sldChg chg="modSp mod">
        <pc:chgData name="Vincent MESLIN" userId="466288e2-4f14-4311-840a-61de45a389cc" providerId="ADAL" clId="{96E5B19A-03C6-41CD-AD2E-9B5EF566AAC2}" dt="2024-02-02T17:13:21.883" v="300" actId="1076"/>
        <pc:sldMkLst>
          <pc:docMk/>
          <pc:sldMk cId="3124005727" sldId="2147480337"/>
        </pc:sldMkLst>
        <pc:spChg chg="mod">
          <ac:chgData name="Vincent MESLIN" userId="466288e2-4f14-4311-840a-61de45a389cc" providerId="ADAL" clId="{96E5B19A-03C6-41CD-AD2E-9B5EF566AAC2}" dt="2024-02-02T17:13:04.757" v="296" actId="20577"/>
          <ac:spMkLst>
            <pc:docMk/>
            <pc:sldMk cId="3124005727" sldId="2147480337"/>
            <ac:spMk id="3" creationId="{D37069D9-5950-C26E-070A-850EF4F48DB9}"/>
          </ac:spMkLst>
        </pc:spChg>
        <pc:spChg chg="mod">
          <ac:chgData name="Vincent MESLIN" userId="466288e2-4f14-4311-840a-61de45a389cc" providerId="ADAL" clId="{96E5B19A-03C6-41CD-AD2E-9B5EF566AAC2}" dt="2024-02-02T17:13:21.883" v="300" actId="1076"/>
          <ac:spMkLst>
            <pc:docMk/>
            <pc:sldMk cId="3124005727" sldId="2147480337"/>
            <ac:spMk id="9" creationId="{461442E2-CF9D-3785-C6FD-F8ACB11B3DDA}"/>
          </ac:spMkLst>
        </pc:spChg>
        <pc:graphicFrameChg chg="modGraphic">
          <ac:chgData name="Vincent MESLIN" userId="466288e2-4f14-4311-840a-61de45a389cc" providerId="ADAL" clId="{96E5B19A-03C6-41CD-AD2E-9B5EF566AAC2}" dt="2024-02-02T17:11:51.329" v="283" actId="20577"/>
          <ac:graphicFrameMkLst>
            <pc:docMk/>
            <pc:sldMk cId="3124005727" sldId="2147480337"/>
            <ac:graphicFrameMk id="2" creationId="{E55B44E2-27DF-DA6A-53FD-6FD0202BC1ED}"/>
          </ac:graphicFrameMkLst>
        </pc:graphicFrameChg>
      </pc:sldChg>
      <pc:sldChg chg="modSp mod">
        <pc:chgData name="Vincent MESLIN" userId="466288e2-4f14-4311-840a-61de45a389cc" providerId="ADAL" clId="{96E5B19A-03C6-41CD-AD2E-9B5EF566AAC2}" dt="2024-02-14T15:06:57.579" v="325" actId="20577"/>
        <pc:sldMkLst>
          <pc:docMk/>
          <pc:sldMk cId="536151402" sldId="2147482373"/>
        </pc:sldMkLst>
        <pc:spChg chg="mod">
          <ac:chgData name="Vincent MESLIN" userId="466288e2-4f14-4311-840a-61de45a389cc" providerId="ADAL" clId="{96E5B19A-03C6-41CD-AD2E-9B5EF566AAC2}" dt="2024-02-14T15:06:57.579" v="325" actId="20577"/>
          <ac:spMkLst>
            <pc:docMk/>
            <pc:sldMk cId="536151402" sldId="2147482373"/>
            <ac:spMk id="10" creationId="{54FC56AC-1FF0-C4D4-72B4-651C935AE403}"/>
          </ac:spMkLst>
        </pc:spChg>
      </pc:sldChg>
    </pc:docChg>
  </pc:docChgLst>
  <pc:docChgLst>
    <pc:chgData name="Antoine LAFOREST" userId="9365c212-db52-41a7-ab4a-025e62d16201" providerId="ADAL" clId="{61909AA8-2A44-3D40-B3D9-6800D9F1BB14}"/>
    <pc:docChg chg="undo redo custSel addSld delSld modSld sldOrd delMainMaster">
      <pc:chgData name="Antoine LAFOREST" userId="9365c212-db52-41a7-ab4a-025e62d16201" providerId="ADAL" clId="{61909AA8-2A44-3D40-B3D9-6800D9F1BB14}" dt="2024-02-02T18:25:46.488" v="5508" actId="20577"/>
      <pc:docMkLst>
        <pc:docMk/>
      </pc:docMkLst>
      <pc:sldChg chg="addSp delSp modSp mod">
        <pc:chgData name="Antoine LAFOREST" userId="9365c212-db52-41a7-ab4a-025e62d16201" providerId="ADAL" clId="{61909AA8-2A44-3D40-B3D9-6800D9F1BB14}" dt="2024-02-02T13:46:12.580" v="5195" actId="20577"/>
        <pc:sldMkLst>
          <pc:docMk/>
          <pc:sldMk cId="4028295010" sldId="8008"/>
        </pc:sldMkLst>
        <pc:spChg chg="add mod">
          <ac:chgData name="Antoine LAFOREST" userId="9365c212-db52-41a7-ab4a-025e62d16201" providerId="ADAL" clId="{61909AA8-2A44-3D40-B3D9-6800D9F1BB14}" dt="2024-02-02T13:46:12.580" v="5195" actId="20577"/>
          <ac:spMkLst>
            <pc:docMk/>
            <pc:sldMk cId="4028295010" sldId="8008"/>
            <ac:spMk id="2" creationId="{1BC5D54B-6630-B482-C375-5EB93D386680}"/>
          </ac:spMkLst>
        </pc:spChg>
        <pc:spChg chg="add del mod">
          <ac:chgData name="Antoine LAFOREST" userId="9365c212-db52-41a7-ab4a-025e62d16201" providerId="ADAL" clId="{61909AA8-2A44-3D40-B3D9-6800D9F1BB14}" dt="2024-02-02T13:42:41.625" v="5121" actId="478"/>
          <ac:spMkLst>
            <pc:docMk/>
            <pc:sldMk cId="4028295010" sldId="8008"/>
            <ac:spMk id="13" creationId="{89326CD4-50FC-E074-0657-2EF589A68425}"/>
          </ac:spMkLst>
        </pc:spChg>
        <pc:spChg chg="add del mod">
          <ac:chgData name="Antoine LAFOREST" userId="9365c212-db52-41a7-ab4a-025e62d16201" providerId="ADAL" clId="{61909AA8-2A44-3D40-B3D9-6800D9F1BB14}" dt="2024-02-02T13:43:13.826" v="5127" actId="478"/>
          <ac:spMkLst>
            <pc:docMk/>
            <pc:sldMk cId="4028295010" sldId="8008"/>
            <ac:spMk id="42" creationId="{2E761A34-DCE4-4809-8CE6-42F91F503F4E}"/>
          </ac:spMkLst>
        </pc:spChg>
        <pc:spChg chg="add del mod">
          <ac:chgData name="Antoine LAFOREST" userId="9365c212-db52-41a7-ab4a-025e62d16201" providerId="ADAL" clId="{61909AA8-2A44-3D40-B3D9-6800D9F1BB14}" dt="2024-02-02T13:43:06.039" v="5126" actId="478"/>
          <ac:spMkLst>
            <pc:docMk/>
            <pc:sldMk cId="4028295010" sldId="8008"/>
            <ac:spMk id="56" creationId="{50954122-53C4-B029-1647-3044F05253FA}"/>
          </ac:spMkLst>
        </pc:spChg>
        <pc:spChg chg="add del mod">
          <ac:chgData name="Antoine LAFOREST" userId="9365c212-db52-41a7-ab4a-025e62d16201" providerId="ADAL" clId="{61909AA8-2A44-3D40-B3D9-6800D9F1BB14}" dt="2024-02-02T13:43:17.234" v="5128" actId="478"/>
          <ac:spMkLst>
            <pc:docMk/>
            <pc:sldMk cId="4028295010" sldId="8008"/>
            <ac:spMk id="58" creationId="{A47B8058-D911-EB77-BF3F-E93D80621F3E}"/>
          </ac:spMkLst>
        </pc:spChg>
      </pc:sldChg>
      <pc:sldChg chg="modSp del mod">
        <pc:chgData name="Antoine LAFOREST" userId="9365c212-db52-41a7-ab4a-025e62d16201" providerId="ADAL" clId="{61909AA8-2A44-3D40-B3D9-6800D9F1BB14}" dt="2024-02-01T16:40:56.756" v="3862" actId="2696"/>
        <pc:sldMkLst>
          <pc:docMk/>
          <pc:sldMk cId="3024221530" sldId="9003"/>
        </pc:sldMkLst>
        <pc:graphicFrameChg chg="modGraphic">
          <ac:chgData name="Antoine LAFOREST" userId="9365c212-db52-41a7-ab4a-025e62d16201" providerId="ADAL" clId="{61909AA8-2A44-3D40-B3D9-6800D9F1BB14}" dt="2024-02-01T10:16:27.591" v="1271" actId="2084"/>
          <ac:graphicFrameMkLst>
            <pc:docMk/>
            <pc:sldMk cId="3024221530" sldId="9003"/>
            <ac:graphicFrameMk id="6" creationId="{F49AD9D9-8EB9-40C8-817E-797AEF95B20C}"/>
          </ac:graphicFrameMkLst>
        </pc:graphicFrameChg>
      </pc:sldChg>
      <pc:sldChg chg="modSp add del mod">
        <pc:chgData name="Antoine LAFOREST" userId="9365c212-db52-41a7-ab4a-025e62d16201" providerId="ADAL" clId="{61909AA8-2A44-3D40-B3D9-6800D9F1BB14}" dt="2024-01-31T15:16:55.005" v="28" actId="20577"/>
        <pc:sldMkLst>
          <pc:docMk/>
          <pc:sldMk cId="3851078281" sldId="2076137166"/>
        </pc:sldMkLst>
        <pc:graphicFrameChg chg="mod modGraphic">
          <ac:chgData name="Antoine LAFOREST" userId="9365c212-db52-41a7-ab4a-025e62d16201" providerId="ADAL" clId="{61909AA8-2A44-3D40-B3D9-6800D9F1BB14}" dt="2024-01-31T15:16:55.005" v="28" actId="20577"/>
          <ac:graphicFrameMkLst>
            <pc:docMk/>
            <pc:sldMk cId="3851078281" sldId="2076137166"/>
            <ac:graphicFrameMk id="14" creationId="{E159034C-7C14-4AD1-BE7B-F0D59BDB1A56}"/>
          </ac:graphicFrameMkLst>
        </pc:graphicFrameChg>
      </pc:sldChg>
      <pc:sldChg chg="modSp">
        <pc:chgData name="Antoine LAFOREST" userId="9365c212-db52-41a7-ab4a-025e62d16201" providerId="ADAL" clId="{61909AA8-2A44-3D40-B3D9-6800D9F1BB14}" dt="2024-02-01T12:38:39.690" v="2956" actId="14826"/>
        <pc:sldMkLst>
          <pc:docMk/>
          <pc:sldMk cId="3879889702" sldId="2076138056"/>
        </pc:sldMkLst>
        <pc:graphicFrameChg chg="mod">
          <ac:chgData name="Antoine LAFOREST" userId="9365c212-db52-41a7-ab4a-025e62d16201" providerId="ADAL" clId="{61909AA8-2A44-3D40-B3D9-6800D9F1BB14}" dt="2024-02-01T12:38:39.690" v="2956" actId="14826"/>
          <ac:graphicFrameMkLst>
            <pc:docMk/>
            <pc:sldMk cId="3879889702" sldId="2076138056"/>
            <ac:graphicFrameMk id="196" creationId="{C40D923A-A21C-48E1-87F3-BC6410B275AA}"/>
          </ac:graphicFrameMkLst>
        </pc:graphicFrameChg>
      </pc:sldChg>
      <pc:sldChg chg="modSp add del">
        <pc:chgData name="Antoine LAFOREST" userId="9365c212-db52-41a7-ab4a-025e62d16201" providerId="ADAL" clId="{61909AA8-2A44-3D40-B3D9-6800D9F1BB14}" dt="2024-02-01T12:38:39.690" v="2956" actId="14826"/>
        <pc:sldMkLst>
          <pc:docMk/>
          <pc:sldMk cId="3866936782" sldId="2076138104"/>
        </pc:sldMkLst>
        <pc:graphicFrameChg chg="mod">
          <ac:chgData name="Antoine LAFOREST" userId="9365c212-db52-41a7-ab4a-025e62d16201" providerId="ADAL" clId="{61909AA8-2A44-3D40-B3D9-6800D9F1BB14}" dt="2024-02-01T12:38:39.690" v="2956" actId="14826"/>
          <ac:graphicFrameMkLst>
            <pc:docMk/>
            <pc:sldMk cId="3866936782" sldId="2076138104"/>
            <ac:graphicFrameMk id="350" creationId="{7CC7652B-FA75-4E38-80E2-964700BBC2F9}"/>
          </ac:graphicFrameMkLst>
        </pc:graphicFrameChg>
        <pc:graphicFrameChg chg="mod">
          <ac:chgData name="Antoine LAFOREST" userId="9365c212-db52-41a7-ab4a-025e62d16201" providerId="ADAL" clId="{61909AA8-2A44-3D40-B3D9-6800D9F1BB14}" dt="2024-02-01T12:38:39.690" v="2956" actId="14826"/>
          <ac:graphicFrameMkLst>
            <pc:docMk/>
            <pc:sldMk cId="3866936782" sldId="2076138104"/>
            <ac:graphicFrameMk id="367" creationId="{67F6A5B7-E321-4E80-BD20-573C3DC68A97}"/>
          </ac:graphicFrameMkLst>
        </pc:graphicFrameChg>
      </pc:sldChg>
      <pc:sldChg chg="addSp delSp modSp mod modClrScheme chgLayout">
        <pc:chgData name="Antoine LAFOREST" userId="9365c212-db52-41a7-ab4a-025e62d16201" providerId="ADAL" clId="{61909AA8-2A44-3D40-B3D9-6800D9F1BB14}" dt="2024-02-02T18:16:51.728" v="5462" actId="20577"/>
        <pc:sldMkLst>
          <pc:docMk/>
          <pc:sldMk cId="549485756" sldId="2142532689"/>
        </pc:sldMkLst>
        <pc:spChg chg="mod">
          <ac:chgData name="Antoine LAFOREST" userId="9365c212-db52-41a7-ab4a-025e62d16201" providerId="ADAL" clId="{61909AA8-2A44-3D40-B3D9-6800D9F1BB14}" dt="2024-02-02T18:15:38.874" v="5460" actId="20577"/>
          <ac:spMkLst>
            <pc:docMk/>
            <pc:sldMk cId="549485756" sldId="2142532689"/>
            <ac:spMk id="25" creationId="{1515E993-6069-6C0D-1BB2-F62EC1A5417F}"/>
          </ac:spMkLst>
        </pc:spChg>
        <pc:spChg chg="del mod ord">
          <ac:chgData name="Antoine LAFOREST" userId="9365c212-db52-41a7-ab4a-025e62d16201" providerId="ADAL" clId="{61909AA8-2A44-3D40-B3D9-6800D9F1BB14}" dt="2024-02-02T13:38:23.950" v="5057" actId="478"/>
          <ac:spMkLst>
            <pc:docMk/>
            <pc:sldMk cId="549485756" sldId="2142532689"/>
            <ac:spMk id="30" creationId="{A8A15718-341E-1618-BBFE-8DE79C4D1726}"/>
          </ac:spMkLst>
        </pc:spChg>
        <pc:spChg chg="mod">
          <ac:chgData name="Antoine LAFOREST" userId="9365c212-db52-41a7-ab4a-025e62d16201" providerId="ADAL" clId="{61909AA8-2A44-3D40-B3D9-6800D9F1BB14}" dt="2024-02-02T18:16:51.728" v="5462" actId="20577"/>
          <ac:spMkLst>
            <pc:docMk/>
            <pc:sldMk cId="549485756" sldId="2142532689"/>
            <ac:spMk id="34" creationId="{9650F1C7-7C98-3C61-8C3C-2BBA81E3429C}"/>
          </ac:spMkLst>
        </pc:spChg>
        <pc:spChg chg="add del mod ord">
          <ac:chgData name="Antoine LAFOREST" userId="9365c212-db52-41a7-ab4a-025e62d16201" providerId="ADAL" clId="{61909AA8-2A44-3D40-B3D9-6800D9F1BB14}" dt="2024-02-02T13:38:22.758" v="5056" actId="478"/>
          <ac:spMkLst>
            <pc:docMk/>
            <pc:sldMk cId="549485756" sldId="2142532689"/>
            <ac:spMk id="45" creationId="{BBBDB7DA-6E77-6A33-41B1-9E6079F9CDF0}"/>
          </ac:spMkLst>
        </pc:spChg>
        <pc:spChg chg="add del mod">
          <ac:chgData name="Antoine LAFOREST" userId="9365c212-db52-41a7-ab4a-025e62d16201" providerId="ADAL" clId="{61909AA8-2A44-3D40-B3D9-6800D9F1BB14}" dt="2024-02-02T13:38:35.451" v="5061" actId="478"/>
          <ac:spMkLst>
            <pc:docMk/>
            <pc:sldMk cId="549485756" sldId="2142532689"/>
            <ac:spMk id="46" creationId="{F0835A81-3495-E990-D45B-1DD2D8EA35ED}"/>
          </ac:spMkLst>
        </pc:spChg>
        <pc:spChg chg="add del mod">
          <ac:chgData name="Antoine LAFOREST" userId="9365c212-db52-41a7-ab4a-025e62d16201" providerId="ADAL" clId="{61909AA8-2A44-3D40-B3D9-6800D9F1BB14}" dt="2024-02-02T13:38:29.446" v="5060" actId="478"/>
          <ac:spMkLst>
            <pc:docMk/>
            <pc:sldMk cId="549485756" sldId="2142532689"/>
            <ac:spMk id="48" creationId="{3AF414EC-3C68-040F-5098-DF42E1F4EEEE}"/>
          </ac:spMkLst>
        </pc:spChg>
        <pc:spChg chg="add mod">
          <ac:chgData name="Antoine LAFOREST" userId="9365c212-db52-41a7-ab4a-025e62d16201" providerId="ADAL" clId="{61909AA8-2A44-3D40-B3D9-6800D9F1BB14}" dt="2024-02-02T13:38:36.185" v="5062"/>
          <ac:spMkLst>
            <pc:docMk/>
            <pc:sldMk cId="549485756" sldId="2142532689"/>
            <ac:spMk id="49" creationId="{C478A384-D368-7A42-ADF4-429356523FC5}"/>
          </ac:spMkLst>
        </pc:spChg>
      </pc:sldChg>
      <pc:sldChg chg="addSp modSp add del mod">
        <pc:chgData name="Antoine LAFOREST" userId="9365c212-db52-41a7-ab4a-025e62d16201" providerId="ADAL" clId="{61909AA8-2A44-3D40-B3D9-6800D9F1BB14}" dt="2024-02-01T10:51:59.815" v="2332" actId="2696"/>
        <pc:sldMkLst>
          <pc:docMk/>
          <pc:sldMk cId="1999893067" sldId="2147376862"/>
        </pc:sldMkLst>
        <pc:spChg chg="add mod">
          <ac:chgData name="Antoine LAFOREST" userId="9365c212-db52-41a7-ab4a-025e62d16201" providerId="ADAL" clId="{61909AA8-2A44-3D40-B3D9-6800D9F1BB14}" dt="2024-02-01T10:25:59.632" v="1555" actId="20577"/>
          <ac:spMkLst>
            <pc:docMk/>
            <pc:sldMk cId="1999893067" sldId="2147376862"/>
            <ac:spMk id="3" creationId="{0E21120A-3344-CA84-E9C8-958EA120E9EF}"/>
          </ac:spMkLst>
        </pc:spChg>
      </pc:sldChg>
      <pc:sldChg chg="addSp modSp add del mod modShow">
        <pc:chgData name="Antoine LAFOREST" userId="9365c212-db52-41a7-ab4a-025e62d16201" providerId="ADAL" clId="{61909AA8-2A44-3D40-B3D9-6800D9F1BB14}" dt="2024-02-01T16:38:56.317" v="3821" actId="2696"/>
        <pc:sldMkLst>
          <pc:docMk/>
          <pc:sldMk cId="174656265" sldId="2147376863"/>
        </pc:sldMkLst>
        <pc:spChg chg="add mod">
          <ac:chgData name="Antoine LAFOREST" userId="9365c212-db52-41a7-ab4a-025e62d16201" providerId="ADAL" clId="{61909AA8-2A44-3D40-B3D9-6800D9F1BB14}" dt="2024-02-01T10:25:56.229" v="1548" actId="20577"/>
          <ac:spMkLst>
            <pc:docMk/>
            <pc:sldMk cId="174656265" sldId="2147376863"/>
            <ac:spMk id="3" creationId="{2C363A92-4337-670F-5717-06D55782FE21}"/>
          </ac:spMkLst>
        </pc:spChg>
      </pc:sldChg>
      <pc:sldChg chg="add">
        <pc:chgData name="Antoine LAFOREST" userId="9365c212-db52-41a7-ab4a-025e62d16201" providerId="ADAL" clId="{61909AA8-2A44-3D40-B3D9-6800D9F1BB14}" dt="2024-01-31T09:20:30.403" v="0"/>
        <pc:sldMkLst>
          <pc:docMk/>
          <pc:sldMk cId="148168937" sldId="2147376923"/>
        </pc:sldMkLst>
      </pc:sldChg>
      <pc:sldChg chg="modSp add del mod">
        <pc:chgData name="Antoine LAFOREST" userId="9365c212-db52-41a7-ab4a-025e62d16201" providerId="ADAL" clId="{61909AA8-2A44-3D40-B3D9-6800D9F1BB14}" dt="2024-02-01T10:34:38.864" v="1679" actId="2696"/>
        <pc:sldMkLst>
          <pc:docMk/>
          <pc:sldMk cId="3414196184" sldId="2147376930"/>
        </pc:sldMkLst>
        <pc:spChg chg="mod">
          <ac:chgData name="Antoine LAFOREST" userId="9365c212-db52-41a7-ab4a-025e62d16201" providerId="ADAL" clId="{61909AA8-2A44-3D40-B3D9-6800D9F1BB14}" dt="2024-02-01T10:34:09.970" v="1674" actId="20577"/>
          <ac:spMkLst>
            <pc:docMk/>
            <pc:sldMk cId="3414196184" sldId="2147376930"/>
            <ac:spMk id="3" creationId="{96190AF9-2579-6A67-1BCE-070A77A251DD}"/>
          </ac:spMkLst>
        </pc:spChg>
      </pc:sldChg>
      <pc:sldChg chg="mod modShow">
        <pc:chgData name="Antoine LAFOREST" userId="9365c212-db52-41a7-ab4a-025e62d16201" providerId="ADAL" clId="{61909AA8-2A44-3D40-B3D9-6800D9F1BB14}" dt="2024-02-02T13:53:39.194" v="5217" actId="729"/>
        <pc:sldMkLst>
          <pc:docMk/>
          <pc:sldMk cId="3713294166" sldId="2147376937"/>
        </pc:sldMkLst>
      </pc:sldChg>
      <pc:sldChg chg="add">
        <pc:chgData name="Antoine LAFOREST" userId="9365c212-db52-41a7-ab4a-025e62d16201" providerId="ADAL" clId="{61909AA8-2A44-3D40-B3D9-6800D9F1BB14}" dt="2024-02-01T16:40:51.504" v="3861"/>
        <pc:sldMkLst>
          <pc:docMk/>
          <pc:sldMk cId="536151402" sldId="2147377304"/>
        </pc:sldMkLst>
      </pc:sldChg>
      <pc:sldChg chg="addSp delSp modSp add del mod">
        <pc:chgData name="Antoine LAFOREST" userId="9365c212-db52-41a7-ab4a-025e62d16201" providerId="ADAL" clId="{61909AA8-2A44-3D40-B3D9-6800D9F1BB14}" dt="2024-02-01T16:40:49.416" v="3860" actId="2696"/>
        <pc:sldMkLst>
          <pc:docMk/>
          <pc:sldMk cId="1019240302" sldId="2147377304"/>
        </pc:sldMkLst>
        <pc:spChg chg="mod">
          <ac:chgData name="Antoine LAFOREST" userId="9365c212-db52-41a7-ab4a-025e62d16201" providerId="ADAL" clId="{61909AA8-2A44-3D40-B3D9-6800D9F1BB14}" dt="2024-02-01T12:51:46.907" v="3154" actId="20577"/>
          <ac:spMkLst>
            <pc:docMk/>
            <pc:sldMk cId="1019240302" sldId="2147377304"/>
            <ac:spMk id="2" creationId="{7B4D5747-F12A-8DF2-DA58-4724ADAD66C7}"/>
          </ac:spMkLst>
        </pc:spChg>
        <pc:spChg chg="mod">
          <ac:chgData name="Antoine LAFOREST" userId="9365c212-db52-41a7-ab4a-025e62d16201" providerId="ADAL" clId="{61909AA8-2A44-3D40-B3D9-6800D9F1BB14}" dt="2024-02-01T12:51:15.118" v="3109" actId="1036"/>
          <ac:spMkLst>
            <pc:docMk/>
            <pc:sldMk cId="1019240302" sldId="2147377304"/>
            <ac:spMk id="3" creationId="{9E1E420B-89EC-79E5-D1A5-43749EAEED2F}"/>
          </ac:spMkLst>
        </pc:spChg>
        <pc:spChg chg="mod">
          <ac:chgData name="Antoine LAFOREST" userId="9365c212-db52-41a7-ab4a-025e62d16201" providerId="ADAL" clId="{61909AA8-2A44-3D40-B3D9-6800D9F1BB14}" dt="2024-02-01T12:51:15.118" v="3109" actId="1036"/>
          <ac:spMkLst>
            <pc:docMk/>
            <pc:sldMk cId="1019240302" sldId="2147377304"/>
            <ac:spMk id="4" creationId="{4F9C36C9-7D0A-EF6A-5CFB-FB0AD85F7B1B}"/>
          </ac:spMkLst>
        </pc:spChg>
        <pc:spChg chg="del mod">
          <ac:chgData name="Antoine LAFOREST" userId="9365c212-db52-41a7-ab4a-025e62d16201" providerId="ADAL" clId="{61909AA8-2A44-3D40-B3D9-6800D9F1BB14}" dt="2024-02-01T12:36:16.638" v="2931" actId="478"/>
          <ac:spMkLst>
            <pc:docMk/>
            <pc:sldMk cId="1019240302" sldId="2147377304"/>
            <ac:spMk id="5" creationId="{2C50A95B-A26E-B0F4-CD35-65524AE511B1}"/>
          </ac:spMkLst>
        </pc:spChg>
        <pc:spChg chg="mod">
          <ac:chgData name="Antoine LAFOREST" userId="9365c212-db52-41a7-ab4a-025e62d16201" providerId="ADAL" clId="{61909AA8-2A44-3D40-B3D9-6800D9F1BB14}" dt="2024-02-01T12:51:15.118" v="3109" actId="1036"/>
          <ac:spMkLst>
            <pc:docMk/>
            <pc:sldMk cId="1019240302" sldId="2147377304"/>
            <ac:spMk id="9" creationId="{4204EFA4-5222-03D6-3A72-2C92941AF113}"/>
          </ac:spMkLst>
        </pc:spChg>
        <pc:spChg chg="del">
          <ac:chgData name="Antoine LAFOREST" userId="9365c212-db52-41a7-ab4a-025e62d16201" providerId="ADAL" clId="{61909AA8-2A44-3D40-B3D9-6800D9F1BB14}" dt="2024-02-01T10:17:31.450" v="1328" actId="478"/>
          <ac:spMkLst>
            <pc:docMk/>
            <pc:sldMk cId="1019240302" sldId="2147377304"/>
            <ac:spMk id="10" creationId="{80F145D9-24FE-B274-C894-86A4306228CF}"/>
          </ac:spMkLst>
        </pc:spChg>
        <pc:spChg chg="mod">
          <ac:chgData name="Antoine LAFOREST" userId="9365c212-db52-41a7-ab4a-025e62d16201" providerId="ADAL" clId="{61909AA8-2A44-3D40-B3D9-6800D9F1BB14}" dt="2024-02-01T15:25:35.623" v="3517" actId="20577"/>
          <ac:spMkLst>
            <pc:docMk/>
            <pc:sldMk cId="1019240302" sldId="2147377304"/>
            <ac:spMk id="11" creationId="{FDCADF8C-70BB-19C9-1831-229C9D185664}"/>
          </ac:spMkLst>
        </pc:spChg>
        <pc:spChg chg="add mod">
          <ac:chgData name="Antoine LAFOREST" userId="9365c212-db52-41a7-ab4a-025e62d16201" providerId="ADAL" clId="{61909AA8-2A44-3D40-B3D9-6800D9F1BB14}" dt="2024-02-01T10:24:42.943" v="1511" actId="20577"/>
          <ac:spMkLst>
            <pc:docMk/>
            <pc:sldMk cId="1019240302" sldId="2147377304"/>
            <ac:spMk id="12" creationId="{7AC4D770-DF87-825A-CE1F-B8BF0158FA98}"/>
          </ac:spMkLst>
        </pc:spChg>
        <pc:picChg chg="mod">
          <ac:chgData name="Antoine LAFOREST" userId="9365c212-db52-41a7-ab4a-025e62d16201" providerId="ADAL" clId="{61909AA8-2A44-3D40-B3D9-6800D9F1BB14}" dt="2024-02-01T12:51:15.118" v="3109" actId="1036"/>
          <ac:picMkLst>
            <pc:docMk/>
            <pc:sldMk cId="1019240302" sldId="2147377304"/>
            <ac:picMk id="6" creationId="{E22D5A88-DE49-08F9-28F7-0ACBD0E75D55}"/>
          </ac:picMkLst>
        </pc:picChg>
        <pc:picChg chg="mod">
          <ac:chgData name="Antoine LAFOREST" userId="9365c212-db52-41a7-ab4a-025e62d16201" providerId="ADAL" clId="{61909AA8-2A44-3D40-B3D9-6800D9F1BB14}" dt="2024-02-01T12:51:15.118" v="3109" actId="1036"/>
          <ac:picMkLst>
            <pc:docMk/>
            <pc:sldMk cId="1019240302" sldId="2147377304"/>
            <ac:picMk id="7" creationId="{188DFC3C-CB43-BBA7-EA19-141145180AF1}"/>
          </ac:picMkLst>
        </pc:picChg>
        <pc:picChg chg="del mod">
          <ac:chgData name="Antoine LAFOREST" userId="9365c212-db52-41a7-ab4a-025e62d16201" providerId="ADAL" clId="{61909AA8-2A44-3D40-B3D9-6800D9F1BB14}" dt="2024-02-01T12:36:14.175" v="2930" actId="478"/>
          <ac:picMkLst>
            <pc:docMk/>
            <pc:sldMk cId="1019240302" sldId="2147377304"/>
            <ac:picMk id="8" creationId="{627C997F-5656-8167-1D72-D095AE1BA802}"/>
          </ac:picMkLst>
        </pc:picChg>
      </pc:sldChg>
      <pc:sldChg chg="addSp delSp modSp mod">
        <pc:chgData name="Antoine LAFOREST" userId="9365c212-db52-41a7-ab4a-025e62d16201" providerId="ADAL" clId="{61909AA8-2A44-3D40-B3D9-6800D9F1BB14}" dt="2024-02-02T13:46:26.379" v="5204" actId="6549"/>
        <pc:sldMkLst>
          <pc:docMk/>
          <pc:sldMk cId="4212703342" sldId="2147470798"/>
        </pc:sldMkLst>
        <pc:spChg chg="add mod">
          <ac:chgData name="Antoine LAFOREST" userId="9365c212-db52-41a7-ab4a-025e62d16201" providerId="ADAL" clId="{61909AA8-2A44-3D40-B3D9-6800D9F1BB14}" dt="2024-02-02T13:46:26.379" v="5204" actId="6549"/>
          <ac:spMkLst>
            <pc:docMk/>
            <pc:sldMk cId="4212703342" sldId="2147470798"/>
            <ac:spMk id="2" creationId="{72944CEC-F57A-3FFE-2593-74DA173ACB5F}"/>
          </ac:spMkLst>
        </pc:spChg>
        <pc:spChg chg="add del mod">
          <ac:chgData name="Antoine LAFOREST" userId="9365c212-db52-41a7-ab4a-025e62d16201" providerId="ADAL" clId="{61909AA8-2A44-3D40-B3D9-6800D9F1BB14}" dt="2024-02-02T13:42:06.766" v="5113" actId="478"/>
          <ac:spMkLst>
            <pc:docMk/>
            <pc:sldMk cId="4212703342" sldId="2147470798"/>
            <ac:spMk id="9" creationId="{A429A089-A529-5B6E-61F4-A274CBFBB5DF}"/>
          </ac:spMkLst>
        </pc:spChg>
        <pc:spChg chg="del mod">
          <ac:chgData name="Antoine LAFOREST" userId="9365c212-db52-41a7-ab4a-025e62d16201" providerId="ADAL" clId="{61909AA8-2A44-3D40-B3D9-6800D9F1BB14}" dt="2024-02-02T13:41:59.994" v="5112" actId="478"/>
          <ac:spMkLst>
            <pc:docMk/>
            <pc:sldMk cId="4212703342" sldId="2147470798"/>
            <ac:spMk id="42" creationId="{2E761A34-DCE4-4809-8CE6-42F91F503F4E}"/>
          </ac:spMkLst>
        </pc:spChg>
      </pc:sldChg>
      <pc:sldChg chg="addSp delSp modSp add del mod">
        <pc:chgData name="Antoine LAFOREST" userId="9365c212-db52-41a7-ab4a-025e62d16201" providerId="ADAL" clId="{61909AA8-2A44-3D40-B3D9-6800D9F1BB14}" dt="2024-02-02T13:31:37.729" v="5037" actId="478"/>
        <pc:sldMkLst>
          <pc:docMk/>
          <pc:sldMk cId="29736360" sldId="2147470826"/>
        </pc:sldMkLst>
        <pc:spChg chg="del mod">
          <ac:chgData name="Antoine LAFOREST" userId="9365c212-db52-41a7-ab4a-025e62d16201" providerId="ADAL" clId="{61909AA8-2A44-3D40-B3D9-6800D9F1BB14}" dt="2024-02-02T12:40:54.146" v="4557" actId="478"/>
          <ac:spMkLst>
            <pc:docMk/>
            <pc:sldMk cId="29736360" sldId="2147470826"/>
            <ac:spMk id="2" creationId="{C5EBD2AC-721A-2E1F-CDB8-7F1A3F0A89B6}"/>
          </ac:spMkLst>
        </pc:spChg>
        <pc:spChg chg="del mod">
          <ac:chgData name="Antoine LAFOREST" userId="9365c212-db52-41a7-ab4a-025e62d16201" providerId="ADAL" clId="{61909AA8-2A44-3D40-B3D9-6800D9F1BB14}" dt="2024-02-01T16:46:31.177" v="4005" actId="478"/>
          <ac:spMkLst>
            <pc:docMk/>
            <pc:sldMk cId="29736360" sldId="2147470826"/>
            <ac:spMk id="2" creationId="{E6CBF271-D666-FD32-3D88-DDA8D911C9AC}"/>
          </ac:spMkLst>
        </pc:spChg>
        <pc:spChg chg="mod">
          <ac:chgData name="Antoine LAFOREST" userId="9365c212-db52-41a7-ab4a-025e62d16201" providerId="ADAL" clId="{61909AA8-2A44-3D40-B3D9-6800D9F1BB14}" dt="2024-02-01T07:37:05.315" v="1224" actId="20577"/>
          <ac:spMkLst>
            <pc:docMk/>
            <pc:sldMk cId="29736360" sldId="2147470826"/>
            <ac:spMk id="3" creationId="{4F9FAFBE-2745-27BC-11D2-FDC606CA489F}"/>
          </ac:spMkLst>
        </pc:spChg>
        <pc:spChg chg="del">
          <ac:chgData name="Antoine LAFOREST" userId="9365c212-db52-41a7-ab4a-025e62d16201" providerId="ADAL" clId="{61909AA8-2A44-3D40-B3D9-6800D9F1BB14}" dt="2024-02-01T16:45:26.690" v="3925" actId="478"/>
          <ac:spMkLst>
            <pc:docMk/>
            <pc:sldMk cId="29736360" sldId="2147470826"/>
            <ac:spMk id="4" creationId="{418162C0-DF64-D5D5-8BE2-68E3A7CC3194}"/>
          </ac:spMkLst>
        </pc:spChg>
        <pc:spChg chg="add del mod">
          <ac:chgData name="Antoine LAFOREST" userId="9365c212-db52-41a7-ab4a-025e62d16201" providerId="ADAL" clId="{61909AA8-2A44-3D40-B3D9-6800D9F1BB14}" dt="2024-02-02T13:31:37.729" v="5037" actId="478"/>
          <ac:spMkLst>
            <pc:docMk/>
            <pc:sldMk cId="29736360" sldId="2147470826"/>
            <ac:spMk id="7" creationId="{1A622C9F-E03D-8C40-9F3E-4A2864F4B901}"/>
          </ac:spMkLst>
        </pc:spChg>
        <pc:spChg chg="del mod">
          <ac:chgData name="Antoine LAFOREST" userId="9365c212-db52-41a7-ab4a-025e62d16201" providerId="ADAL" clId="{61909AA8-2A44-3D40-B3D9-6800D9F1BB14}" dt="2024-01-31T17:51:41.421" v="426" actId="478"/>
          <ac:spMkLst>
            <pc:docMk/>
            <pc:sldMk cId="29736360" sldId="2147470826"/>
            <ac:spMk id="9" creationId="{7D8B9027-23CA-44D3-F8EC-BBABCADA9B37}"/>
          </ac:spMkLst>
        </pc:spChg>
        <pc:spChg chg="del mod">
          <ac:chgData name="Antoine LAFOREST" userId="9365c212-db52-41a7-ab4a-025e62d16201" providerId="ADAL" clId="{61909AA8-2A44-3D40-B3D9-6800D9F1BB14}" dt="2024-01-31T17:51:41.421" v="426" actId="478"/>
          <ac:spMkLst>
            <pc:docMk/>
            <pc:sldMk cId="29736360" sldId="2147470826"/>
            <ac:spMk id="19" creationId="{EDE22E0A-6187-A814-F197-D71A28B66D04}"/>
          </ac:spMkLst>
        </pc:spChg>
        <pc:spChg chg="mod">
          <ac:chgData name="Antoine LAFOREST" userId="9365c212-db52-41a7-ab4a-025e62d16201" providerId="ADAL" clId="{61909AA8-2A44-3D40-B3D9-6800D9F1BB14}" dt="2024-01-31T17:47:47.206" v="324" actId="20577"/>
          <ac:spMkLst>
            <pc:docMk/>
            <pc:sldMk cId="29736360" sldId="2147470826"/>
            <ac:spMk id="20" creationId="{EA6E0B36-BBA4-0F36-7343-46C6F1B1DE38}"/>
          </ac:spMkLst>
        </pc:spChg>
        <pc:spChg chg="mod">
          <ac:chgData name="Antoine LAFOREST" userId="9365c212-db52-41a7-ab4a-025e62d16201" providerId="ADAL" clId="{61909AA8-2A44-3D40-B3D9-6800D9F1BB14}" dt="2024-01-31T17:13:25.622" v="138" actId="1035"/>
          <ac:spMkLst>
            <pc:docMk/>
            <pc:sldMk cId="29736360" sldId="2147470826"/>
            <ac:spMk id="21" creationId="{1F191D88-9439-63ED-C607-C9C74483768D}"/>
          </ac:spMkLst>
        </pc:spChg>
        <pc:spChg chg="del mod">
          <ac:chgData name="Antoine LAFOREST" userId="9365c212-db52-41a7-ab4a-025e62d16201" providerId="ADAL" clId="{61909AA8-2A44-3D40-B3D9-6800D9F1BB14}" dt="2024-01-31T17:51:41.421" v="426" actId="478"/>
          <ac:spMkLst>
            <pc:docMk/>
            <pc:sldMk cId="29736360" sldId="2147470826"/>
            <ac:spMk id="22" creationId="{A5951A65-2938-DE2B-EDA6-C7B2CE945A24}"/>
          </ac:spMkLst>
        </pc:spChg>
        <pc:spChg chg="del mod">
          <ac:chgData name="Antoine LAFOREST" userId="9365c212-db52-41a7-ab4a-025e62d16201" providerId="ADAL" clId="{61909AA8-2A44-3D40-B3D9-6800D9F1BB14}" dt="2024-01-31T17:51:41.421" v="426" actId="478"/>
          <ac:spMkLst>
            <pc:docMk/>
            <pc:sldMk cId="29736360" sldId="2147470826"/>
            <ac:spMk id="25" creationId="{0D36EA2F-08D3-1E26-BE7A-915A313BABAA}"/>
          </ac:spMkLst>
        </pc:spChg>
        <pc:spChg chg="del">
          <ac:chgData name="Antoine LAFOREST" userId="9365c212-db52-41a7-ab4a-025e62d16201" providerId="ADAL" clId="{61909AA8-2A44-3D40-B3D9-6800D9F1BB14}" dt="2024-01-31T17:10:10.987" v="93" actId="478"/>
          <ac:spMkLst>
            <pc:docMk/>
            <pc:sldMk cId="29736360" sldId="2147470826"/>
            <ac:spMk id="27" creationId="{9B303BCD-81CD-FC3E-D9CB-3E249EE9EF14}"/>
          </ac:spMkLst>
        </pc:spChg>
        <pc:spChg chg="del">
          <ac:chgData name="Antoine LAFOREST" userId="9365c212-db52-41a7-ab4a-025e62d16201" providerId="ADAL" clId="{61909AA8-2A44-3D40-B3D9-6800D9F1BB14}" dt="2024-01-31T17:10:10.987" v="93" actId="478"/>
          <ac:spMkLst>
            <pc:docMk/>
            <pc:sldMk cId="29736360" sldId="2147470826"/>
            <ac:spMk id="28" creationId="{F04EE9B1-1310-3B31-4B92-F88ACCB34897}"/>
          </ac:spMkLst>
        </pc:spChg>
        <pc:spChg chg="add mod">
          <ac:chgData name="Antoine LAFOREST" userId="9365c212-db52-41a7-ab4a-025e62d16201" providerId="ADAL" clId="{61909AA8-2A44-3D40-B3D9-6800D9F1BB14}" dt="2024-01-31T17:58:32.259" v="504" actId="1036"/>
          <ac:spMkLst>
            <pc:docMk/>
            <pc:sldMk cId="29736360" sldId="2147470826"/>
            <ac:spMk id="32" creationId="{66D141AC-5572-81AB-1D8C-C81CD03B0218}"/>
          </ac:spMkLst>
        </pc:spChg>
        <pc:spChg chg="add mod">
          <ac:chgData name="Antoine LAFOREST" userId="9365c212-db52-41a7-ab4a-025e62d16201" providerId="ADAL" clId="{61909AA8-2A44-3D40-B3D9-6800D9F1BB14}" dt="2024-01-31T17:58:32.259" v="504" actId="1036"/>
          <ac:spMkLst>
            <pc:docMk/>
            <pc:sldMk cId="29736360" sldId="2147470826"/>
            <ac:spMk id="35" creationId="{41A4D21B-6887-2AEE-7991-8D8896B7C08F}"/>
          </ac:spMkLst>
        </pc:spChg>
        <pc:spChg chg="mod">
          <ac:chgData name="Antoine LAFOREST" userId="9365c212-db52-41a7-ab4a-025e62d16201" providerId="ADAL" clId="{61909AA8-2A44-3D40-B3D9-6800D9F1BB14}" dt="2024-01-31T17:51:48.570" v="427"/>
          <ac:spMkLst>
            <pc:docMk/>
            <pc:sldMk cId="29736360" sldId="2147470826"/>
            <ac:spMk id="37" creationId="{55892676-575A-3875-B88A-B94A73EE13BB}"/>
          </ac:spMkLst>
        </pc:spChg>
        <pc:spChg chg="mod">
          <ac:chgData name="Antoine LAFOREST" userId="9365c212-db52-41a7-ab4a-025e62d16201" providerId="ADAL" clId="{61909AA8-2A44-3D40-B3D9-6800D9F1BB14}" dt="2024-01-31T18:29:32.530" v="1188" actId="20577"/>
          <ac:spMkLst>
            <pc:docMk/>
            <pc:sldMk cId="29736360" sldId="2147470826"/>
            <ac:spMk id="39" creationId="{19C52868-39BB-3B67-DBA0-621AA8399B3D}"/>
          </ac:spMkLst>
        </pc:spChg>
        <pc:spChg chg="mod">
          <ac:chgData name="Antoine LAFOREST" userId="9365c212-db52-41a7-ab4a-025e62d16201" providerId="ADAL" clId="{61909AA8-2A44-3D40-B3D9-6800D9F1BB14}" dt="2024-02-02T13:24:31.138" v="4975" actId="14100"/>
          <ac:spMkLst>
            <pc:docMk/>
            <pc:sldMk cId="29736360" sldId="2147470826"/>
            <ac:spMk id="41" creationId="{53100C07-CC95-D61D-C564-CD27321CF21C}"/>
          </ac:spMkLst>
        </pc:spChg>
        <pc:spChg chg="add mod">
          <ac:chgData name="Antoine LAFOREST" userId="9365c212-db52-41a7-ab4a-025e62d16201" providerId="ADAL" clId="{61909AA8-2A44-3D40-B3D9-6800D9F1BB14}" dt="2024-01-31T18:18:47.867" v="1140" actId="1036"/>
          <ac:spMkLst>
            <pc:docMk/>
            <pc:sldMk cId="29736360" sldId="2147470826"/>
            <ac:spMk id="42" creationId="{12EE4E68-2C9B-2F00-D0F4-01EC40F732A3}"/>
          </ac:spMkLst>
        </pc:spChg>
        <pc:spChg chg="add mod">
          <ac:chgData name="Antoine LAFOREST" userId="9365c212-db52-41a7-ab4a-025e62d16201" providerId="ADAL" clId="{61909AA8-2A44-3D40-B3D9-6800D9F1BB14}" dt="2024-01-31T18:18:47.867" v="1140" actId="1036"/>
          <ac:spMkLst>
            <pc:docMk/>
            <pc:sldMk cId="29736360" sldId="2147470826"/>
            <ac:spMk id="43" creationId="{16E7A1E5-5174-C989-325A-788834B74EDB}"/>
          </ac:spMkLst>
        </pc:spChg>
        <pc:spChg chg="mod">
          <ac:chgData name="Antoine LAFOREST" userId="9365c212-db52-41a7-ab4a-025e62d16201" providerId="ADAL" clId="{61909AA8-2A44-3D40-B3D9-6800D9F1BB14}" dt="2024-02-02T13:26:54.500" v="5019" actId="20577"/>
          <ac:spMkLst>
            <pc:docMk/>
            <pc:sldMk cId="29736360" sldId="2147470826"/>
            <ac:spMk id="47" creationId="{5ACE338F-AA70-8C28-393B-1687C80E4BA8}"/>
          </ac:spMkLst>
        </pc:spChg>
        <pc:spChg chg="mod">
          <ac:chgData name="Antoine LAFOREST" userId="9365c212-db52-41a7-ab4a-025e62d16201" providerId="ADAL" clId="{61909AA8-2A44-3D40-B3D9-6800D9F1BB14}" dt="2024-02-02T13:24:40.232" v="4977" actId="122"/>
          <ac:spMkLst>
            <pc:docMk/>
            <pc:sldMk cId="29736360" sldId="2147470826"/>
            <ac:spMk id="49" creationId="{E588CFF5-BDF4-B8C8-6B16-CA00C49AFCE2}"/>
          </ac:spMkLst>
        </pc:spChg>
        <pc:spChg chg="add del mod">
          <ac:chgData name="Antoine LAFOREST" userId="9365c212-db52-41a7-ab4a-025e62d16201" providerId="ADAL" clId="{61909AA8-2A44-3D40-B3D9-6800D9F1BB14}" dt="2024-01-31T17:55:28.765" v="478" actId="21"/>
          <ac:spMkLst>
            <pc:docMk/>
            <pc:sldMk cId="29736360" sldId="2147470826"/>
            <ac:spMk id="50" creationId="{EE2BAF6A-6C93-4576-EA15-75A83854E419}"/>
          </ac:spMkLst>
        </pc:spChg>
        <pc:spChg chg="add mod">
          <ac:chgData name="Antoine LAFOREST" userId="9365c212-db52-41a7-ab4a-025e62d16201" providerId="ADAL" clId="{61909AA8-2A44-3D40-B3D9-6800D9F1BB14}" dt="2024-01-31T18:18:56.358" v="1144" actId="1036"/>
          <ac:spMkLst>
            <pc:docMk/>
            <pc:sldMk cId="29736360" sldId="2147470826"/>
            <ac:spMk id="51" creationId="{B6CE7B14-3BDD-2AD1-A6A2-D8F611819CFB}"/>
          </ac:spMkLst>
        </pc:spChg>
        <pc:spChg chg="add mod">
          <ac:chgData name="Antoine LAFOREST" userId="9365c212-db52-41a7-ab4a-025e62d16201" providerId="ADAL" clId="{61909AA8-2A44-3D40-B3D9-6800D9F1BB14}" dt="2024-01-31T18:18:56.358" v="1144" actId="1036"/>
          <ac:spMkLst>
            <pc:docMk/>
            <pc:sldMk cId="29736360" sldId="2147470826"/>
            <ac:spMk id="52" creationId="{A8DCB1C2-4F0E-5E2A-AB22-32210C1CE8BD}"/>
          </ac:spMkLst>
        </pc:spChg>
        <pc:spChg chg="add mod">
          <ac:chgData name="Antoine LAFOREST" userId="9365c212-db52-41a7-ab4a-025e62d16201" providerId="ADAL" clId="{61909AA8-2A44-3D40-B3D9-6800D9F1BB14}" dt="2024-01-31T18:18:56.358" v="1144" actId="1036"/>
          <ac:spMkLst>
            <pc:docMk/>
            <pc:sldMk cId="29736360" sldId="2147470826"/>
            <ac:spMk id="55" creationId="{50B41BE8-7FA5-C5B0-1B46-93F5D2E5F8C2}"/>
          </ac:spMkLst>
        </pc:spChg>
        <pc:spChg chg="add mod">
          <ac:chgData name="Antoine LAFOREST" userId="9365c212-db52-41a7-ab4a-025e62d16201" providerId="ADAL" clId="{61909AA8-2A44-3D40-B3D9-6800D9F1BB14}" dt="2024-01-31T18:18:56.358" v="1144" actId="1036"/>
          <ac:spMkLst>
            <pc:docMk/>
            <pc:sldMk cId="29736360" sldId="2147470826"/>
            <ac:spMk id="57" creationId="{C9975287-C273-B513-DED8-2372C5398228}"/>
          </ac:spMkLst>
        </pc:spChg>
        <pc:spChg chg="mod">
          <ac:chgData name="Antoine LAFOREST" userId="9365c212-db52-41a7-ab4a-025e62d16201" providerId="ADAL" clId="{61909AA8-2A44-3D40-B3D9-6800D9F1BB14}" dt="2024-01-31T18:30:22.752" v="1190" actId="20577"/>
          <ac:spMkLst>
            <pc:docMk/>
            <pc:sldMk cId="29736360" sldId="2147470826"/>
            <ac:spMk id="59" creationId="{B494BF08-A54A-46AE-87BB-EC92C73635A4}"/>
          </ac:spMkLst>
        </pc:spChg>
        <pc:spChg chg="mod">
          <ac:chgData name="Antoine LAFOREST" userId="9365c212-db52-41a7-ab4a-025e62d16201" providerId="ADAL" clId="{61909AA8-2A44-3D40-B3D9-6800D9F1BB14}" dt="2024-02-02T13:24:50.118" v="4979" actId="14100"/>
          <ac:spMkLst>
            <pc:docMk/>
            <pc:sldMk cId="29736360" sldId="2147470826"/>
            <ac:spMk id="60" creationId="{4722ABE3-310B-D0DB-8901-9CC919EB182F}"/>
          </ac:spMkLst>
        </pc:spChg>
        <pc:spChg chg="mod">
          <ac:chgData name="Antoine LAFOREST" userId="9365c212-db52-41a7-ab4a-025e62d16201" providerId="ADAL" clId="{61909AA8-2A44-3D40-B3D9-6800D9F1BB14}" dt="2024-02-02T13:23:55.821" v="4950" actId="20577"/>
          <ac:spMkLst>
            <pc:docMk/>
            <pc:sldMk cId="29736360" sldId="2147470826"/>
            <ac:spMk id="62" creationId="{30C1B9DA-212A-ED9C-BA6A-7AB9B1421B65}"/>
          </ac:spMkLst>
        </pc:spChg>
        <pc:spChg chg="mod">
          <ac:chgData name="Antoine LAFOREST" userId="9365c212-db52-41a7-ab4a-025e62d16201" providerId="ADAL" clId="{61909AA8-2A44-3D40-B3D9-6800D9F1BB14}" dt="2024-02-02T13:24:59.151" v="4981" actId="122"/>
          <ac:spMkLst>
            <pc:docMk/>
            <pc:sldMk cId="29736360" sldId="2147470826"/>
            <ac:spMk id="63" creationId="{03299EA1-C787-71D2-DA04-6ED2B0FB341A}"/>
          </ac:spMkLst>
        </pc:spChg>
        <pc:spChg chg="add del mod">
          <ac:chgData name="Antoine LAFOREST" userId="9365c212-db52-41a7-ab4a-025e62d16201" providerId="ADAL" clId="{61909AA8-2A44-3D40-B3D9-6800D9F1BB14}" dt="2024-01-31T17:55:33.040" v="481" actId="478"/>
          <ac:spMkLst>
            <pc:docMk/>
            <pc:sldMk cId="29736360" sldId="2147470826"/>
            <ac:spMk id="65" creationId="{587B3D7D-FB2C-6ADA-9259-6A8E6C49FF7F}"/>
          </ac:spMkLst>
        </pc:spChg>
        <pc:spChg chg="mod">
          <ac:chgData name="Antoine LAFOREST" userId="9365c212-db52-41a7-ab4a-025e62d16201" providerId="ADAL" clId="{61909AA8-2A44-3D40-B3D9-6800D9F1BB14}" dt="2024-01-31T17:20:34.359" v="311" actId="14100"/>
          <ac:spMkLst>
            <pc:docMk/>
            <pc:sldMk cId="29736360" sldId="2147470826"/>
            <ac:spMk id="68" creationId="{2CE8B0CC-B688-23FA-FA4E-98A3CF04DEC9}"/>
          </ac:spMkLst>
        </pc:spChg>
        <pc:spChg chg="mod">
          <ac:chgData name="Antoine LAFOREST" userId="9365c212-db52-41a7-ab4a-025e62d16201" providerId="ADAL" clId="{61909AA8-2A44-3D40-B3D9-6800D9F1BB14}" dt="2024-01-31T17:47:31.015" v="318" actId="21"/>
          <ac:spMkLst>
            <pc:docMk/>
            <pc:sldMk cId="29736360" sldId="2147470826"/>
            <ac:spMk id="71" creationId="{9EF87F6D-6EE9-9EE4-90F8-0E8DEDF6FC32}"/>
          </ac:spMkLst>
        </pc:spChg>
        <pc:spChg chg="del mod">
          <ac:chgData name="Antoine LAFOREST" userId="9365c212-db52-41a7-ab4a-025e62d16201" providerId="ADAL" clId="{61909AA8-2A44-3D40-B3D9-6800D9F1BB14}" dt="2024-01-31T17:51:41.421" v="426" actId="478"/>
          <ac:spMkLst>
            <pc:docMk/>
            <pc:sldMk cId="29736360" sldId="2147470826"/>
            <ac:spMk id="94" creationId="{6599CDE7-4792-B825-E709-0B6E4A63B587}"/>
          </ac:spMkLst>
        </pc:spChg>
        <pc:spChg chg="del mod">
          <ac:chgData name="Antoine LAFOREST" userId="9365c212-db52-41a7-ab4a-025e62d16201" providerId="ADAL" clId="{61909AA8-2A44-3D40-B3D9-6800D9F1BB14}" dt="2024-01-31T17:51:41.421" v="426" actId="478"/>
          <ac:spMkLst>
            <pc:docMk/>
            <pc:sldMk cId="29736360" sldId="2147470826"/>
            <ac:spMk id="95" creationId="{9058F63F-739E-DD10-08A2-D4F452FCD9B3}"/>
          </ac:spMkLst>
        </pc:spChg>
        <pc:spChg chg="del mod">
          <ac:chgData name="Antoine LAFOREST" userId="9365c212-db52-41a7-ab4a-025e62d16201" providerId="ADAL" clId="{61909AA8-2A44-3D40-B3D9-6800D9F1BB14}" dt="2024-01-31T17:51:41.421" v="426" actId="478"/>
          <ac:spMkLst>
            <pc:docMk/>
            <pc:sldMk cId="29736360" sldId="2147470826"/>
            <ac:spMk id="104" creationId="{A7788826-DAE3-DF5B-8062-7BEB00E4D5C8}"/>
          </ac:spMkLst>
        </pc:spChg>
        <pc:spChg chg="mod">
          <ac:chgData name="Antoine LAFOREST" userId="9365c212-db52-41a7-ab4a-025e62d16201" providerId="ADAL" clId="{61909AA8-2A44-3D40-B3D9-6800D9F1BB14}" dt="2024-01-31T17:19:54.642" v="307" actId="20577"/>
          <ac:spMkLst>
            <pc:docMk/>
            <pc:sldMk cId="29736360" sldId="2147470826"/>
            <ac:spMk id="109" creationId="{76119DF4-9890-5504-EDCA-B93BAC2EF054}"/>
          </ac:spMkLst>
        </pc:spChg>
        <pc:spChg chg="mod">
          <ac:chgData name="Antoine LAFOREST" userId="9365c212-db52-41a7-ab4a-025e62d16201" providerId="ADAL" clId="{61909AA8-2A44-3D40-B3D9-6800D9F1BB14}" dt="2024-01-31T17:07:04.714" v="57" actId="20577"/>
          <ac:spMkLst>
            <pc:docMk/>
            <pc:sldMk cId="29736360" sldId="2147470826"/>
            <ac:spMk id="111" creationId="{2279E3F9-3A29-D80A-E504-0AE96EA12974}"/>
          </ac:spMkLst>
        </pc:spChg>
        <pc:grpChg chg="add mod">
          <ac:chgData name="Antoine LAFOREST" userId="9365c212-db52-41a7-ab4a-025e62d16201" providerId="ADAL" clId="{61909AA8-2A44-3D40-B3D9-6800D9F1BB14}" dt="2024-01-31T17:51:55.562" v="434" actId="1035"/>
          <ac:grpSpMkLst>
            <pc:docMk/>
            <pc:sldMk cId="29736360" sldId="2147470826"/>
            <ac:grpSpMk id="12" creationId="{8DC654E5-288D-DFFA-079E-572CADA894DE}"/>
          </ac:grpSpMkLst>
        </pc:grpChg>
        <pc:grpChg chg="del mod">
          <ac:chgData name="Antoine LAFOREST" userId="9365c212-db52-41a7-ab4a-025e62d16201" providerId="ADAL" clId="{61909AA8-2A44-3D40-B3D9-6800D9F1BB14}" dt="2024-01-31T17:51:41.421" v="426" actId="478"/>
          <ac:grpSpMkLst>
            <pc:docMk/>
            <pc:sldMk cId="29736360" sldId="2147470826"/>
            <ac:grpSpMk id="13" creationId="{DEC3D0CF-5C64-0865-1E87-85D2A9516DF1}"/>
          </ac:grpSpMkLst>
        </pc:grpChg>
        <pc:grpChg chg="del">
          <ac:chgData name="Antoine LAFOREST" userId="9365c212-db52-41a7-ab4a-025e62d16201" providerId="ADAL" clId="{61909AA8-2A44-3D40-B3D9-6800D9F1BB14}" dt="2024-01-31T17:10:10.987" v="93" actId="478"/>
          <ac:grpSpMkLst>
            <pc:docMk/>
            <pc:sldMk cId="29736360" sldId="2147470826"/>
            <ac:grpSpMk id="15" creationId="{FAC8F19F-3118-7AA7-23E6-E462FA6318D5}"/>
          </ac:grpSpMkLst>
        </pc:grpChg>
        <pc:grpChg chg="del">
          <ac:chgData name="Antoine LAFOREST" userId="9365c212-db52-41a7-ab4a-025e62d16201" providerId="ADAL" clId="{61909AA8-2A44-3D40-B3D9-6800D9F1BB14}" dt="2024-01-31T17:51:41.421" v="426" actId="478"/>
          <ac:grpSpMkLst>
            <pc:docMk/>
            <pc:sldMk cId="29736360" sldId="2147470826"/>
            <ac:grpSpMk id="17" creationId="{1EAF4556-BFBE-45A9-1E91-9BCFD918D8B1}"/>
          </ac:grpSpMkLst>
        </pc:grpChg>
        <pc:grpChg chg="add mod">
          <ac:chgData name="Antoine LAFOREST" userId="9365c212-db52-41a7-ab4a-025e62d16201" providerId="ADAL" clId="{61909AA8-2A44-3D40-B3D9-6800D9F1BB14}" dt="2024-01-31T18:17:52.713" v="1111" actId="1035"/>
          <ac:grpSpMkLst>
            <pc:docMk/>
            <pc:sldMk cId="29736360" sldId="2147470826"/>
            <ac:grpSpMk id="36" creationId="{6E5FBDFE-6C0A-841F-3226-A9CF851EF981}"/>
          </ac:grpSpMkLst>
        </pc:grpChg>
        <pc:grpChg chg="mod">
          <ac:chgData name="Antoine LAFOREST" userId="9365c212-db52-41a7-ab4a-025e62d16201" providerId="ADAL" clId="{61909AA8-2A44-3D40-B3D9-6800D9F1BB14}" dt="2024-01-31T17:51:48.570" v="427"/>
          <ac:grpSpMkLst>
            <pc:docMk/>
            <pc:sldMk cId="29736360" sldId="2147470826"/>
            <ac:grpSpMk id="38" creationId="{9D47A3F5-9C70-F216-394C-F0BB1D7DF83A}"/>
          </ac:grpSpMkLst>
        </pc:grpChg>
        <pc:grpChg chg="add mod">
          <ac:chgData name="Antoine LAFOREST" userId="9365c212-db52-41a7-ab4a-025e62d16201" providerId="ADAL" clId="{61909AA8-2A44-3D40-B3D9-6800D9F1BB14}" dt="2024-01-31T18:18:47.867" v="1140" actId="1036"/>
          <ac:grpSpMkLst>
            <pc:docMk/>
            <pc:sldMk cId="29736360" sldId="2147470826"/>
            <ac:grpSpMk id="46" creationId="{B80ED068-8397-89F3-DAD7-373E59C14662}"/>
          </ac:grpSpMkLst>
        </pc:grpChg>
        <pc:grpChg chg="add mod">
          <ac:chgData name="Antoine LAFOREST" userId="9365c212-db52-41a7-ab4a-025e62d16201" providerId="ADAL" clId="{61909AA8-2A44-3D40-B3D9-6800D9F1BB14}" dt="2024-01-31T18:18:56.358" v="1144" actId="1036"/>
          <ac:grpSpMkLst>
            <pc:docMk/>
            <pc:sldMk cId="29736360" sldId="2147470826"/>
            <ac:grpSpMk id="58" creationId="{946738CE-2A4A-C009-FD81-EFC68CD96118}"/>
          </ac:grpSpMkLst>
        </pc:grpChg>
        <pc:grpChg chg="add mod">
          <ac:chgData name="Antoine LAFOREST" userId="9365c212-db52-41a7-ab4a-025e62d16201" providerId="ADAL" clId="{61909AA8-2A44-3D40-B3D9-6800D9F1BB14}" dt="2024-01-31T18:18:56.358" v="1144" actId="1036"/>
          <ac:grpSpMkLst>
            <pc:docMk/>
            <pc:sldMk cId="29736360" sldId="2147470826"/>
            <ac:grpSpMk id="61" creationId="{266C95D2-9574-5310-F74E-FB5104C79CD5}"/>
          </ac:grpSpMkLst>
        </pc:grpChg>
        <pc:grpChg chg="del mod">
          <ac:chgData name="Antoine LAFOREST" userId="9365c212-db52-41a7-ab4a-025e62d16201" providerId="ADAL" clId="{61909AA8-2A44-3D40-B3D9-6800D9F1BB14}" dt="2024-01-31T17:51:41.421" v="426" actId="478"/>
          <ac:grpSpMkLst>
            <pc:docMk/>
            <pc:sldMk cId="29736360" sldId="2147470826"/>
            <ac:grpSpMk id="115" creationId="{3658E7C7-DC33-DBBB-BB0B-BB14FB432442}"/>
          </ac:grpSpMkLst>
        </pc:grpChg>
        <pc:grpChg chg="del mod">
          <ac:chgData name="Antoine LAFOREST" userId="9365c212-db52-41a7-ab4a-025e62d16201" providerId="ADAL" clId="{61909AA8-2A44-3D40-B3D9-6800D9F1BB14}" dt="2024-01-31T17:51:41.421" v="426" actId="478"/>
          <ac:grpSpMkLst>
            <pc:docMk/>
            <pc:sldMk cId="29736360" sldId="2147470826"/>
            <ac:grpSpMk id="124" creationId="{B4D33A9A-A28A-2D64-BC18-50125B3842E9}"/>
          </ac:grpSpMkLst>
        </pc:grpChg>
        <pc:picChg chg="add del mod">
          <ac:chgData name="Antoine LAFOREST" userId="9365c212-db52-41a7-ab4a-025e62d16201" providerId="ADAL" clId="{61909AA8-2A44-3D40-B3D9-6800D9F1BB14}" dt="2024-01-31T17:08:51.482" v="68" actId="21"/>
          <ac:picMkLst>
            <pc:docMk/>
            <pc:sldMk cId="29736360" sldId="2147470826"/>
            <ac:picMk id="2" creationId="{B02D4555-382F-29B4-6955-DF1D62BAEFBF}"/>
          </ac:picMkLst>
        </pc:picChg>
        <pc:picChg chg="add del mod">
          <ac:chgData name="Antoine LAFOREST" userId="9365c212-db52-41a7-ab4a-025e62d16201" providerId="ADAL" clId="{61909AA8-2A44-3D40-B3D9-6800D9F1BB14}" dt="2024-01-31T17:51:41.421" v="426" actId="478"/>
          <ac:picMkLst>
            <pc:docMk/>
            <pc:sldMk cId="29736360" sldId="2147470826"/>
            <ac:picMk id="4" creationId="{5373182D-5CA6-9DC8-1A83-91AAC7590A22}"/>
          </ac:picMkLst>
        </pc:picChg>
        <pc:picChg chg="del mod">
          <ac:chgData name="Antoine LAFOREST" userId="9365c212-db52-41a7-ab4a-025e62d16201" providerId="ADAL" clId="{61909AA8-2A44-3D40-B3D9-6800D9F1BB14}" dt="2024-01-31T17:09:20.725" v="80" actId="21"/>
          <ac:picMkLst>
            <pc:docMk/>
            <pc:sldMk cId="29736360" sldId="2147470826"/>
            <ac:picMk id="6" creationId="{AEDB368C-B668-083D-A10E-DAB96CC24CC4}"/>
          </ac:picMkLst>
        </pc:picChg>
        <pc:picChg chg="del mod">
          <ac:chgData name="Antoine LAFOREST" userId="9365c212-db52-41a7-ab4a-025e62d16201" providerId="ADAL" clId="{61909AA8-2A44-3D40-B3D9-6800D9F1BB14}" dt="2024-01-31T17:51:41.421" v="426" actId="478"/>
          <ac:picMkLst>
            <pc:docMk/>
            <pc:sldMk cId="29736360" sldId="2147470826"/>
            <ac:picMk id="26" creationId="{33A35D3D-EE63-7540-9215-D51D231D3C45}"/>
          </ac:picMkLst>
        </pc:picChg>
        <pc:picChg chg="del">
          <ac:chgData name="Antoine LAFOREST" userId="9365c212-db52-41a7-ab4a-025e62d16201" providerId="ADAL" clId="{61909AA8-2A44-3D40-B3D9-6800D9F1BB14}" dt="2024-01-31T17:10:10.987" v="93" actId="478"/>
          <ac:picMkLst>
            <pc:docMk/>
            <pc:sldMk cId="29736360" sldId="2147470826"/>
            <ac:picMk id="30" creationId="{9D41D2EA-4B54-E657-0E3E-642BF9F0869D}"/>
          </ac:picMkLst>
        </pc:picChg>
        <pc:picChg chg="add mod">
          <ac:chgData name="Antoine LAFOREST" userId="9365c212-db52-41a7-ab4a-025e62d16201" providerId="ADAL" clId="{61909AA8-2A44-3D40-B3D9-6800D9F1BB14}" dt="2024-01-31T17:58:32.259" v="504" actId="1036"/>
          <ac:picMkLst>
            <pc:docMk/>
            <pc:sldMk cId="29736360" sldId="2147470826"/>
            <ac:picMk id="33" creationId="{8D5CF136-A417-2FDA-BF7E-D95F2B142F8C}"/>
          </ac:picMkLst>
        </pc:picChg>
        <pc:picChg chg="add mod">
          <ac:chgData name="Antoine LAFOREST" userId="9365c212-db52-41a7-ab4a-025e62d16201" providerId="ADAL" clId="{61909AA8-2A44-3D40-B3D9-6800D9F1BB14}" dt="2024-01-31T18:18:47.867" v="1140" actId="1036"/>
          <ac:picMkLst>
            <pc:docMk/>
            <pc:sldMk cId="29736360" sldId="2147470826"/>
            <ac:picMk id="45" creationId="{26E3A1CD-416A-F74B-A466-314F44F0B717}"/>
          </ac:picMkLst>
        </pc:picChg>
        <pc:picChg chg="add mod">
          <ac:chgData name="Antoine LAFOREST" userId="9365c212-db52-41a7-ab4a-025e62d16201" providerId="ADAL" clId="{61909AA8-2A44-3D40-B3D9-6800D9F1BB14}" dt="2024-01-31T18:18:56.358" v="1144" actId="1036"/>
          <ac:picMkLst>
            <pc:docMk/>
            <pc:sldMk cId="29736360" sldId="2147470826"/>
            <ac:picMk id="54" creationId="{42B98030-C3B1-BC9B-8506-D14337E6A109}"/>
          </ac:picMkLst>
        </pc:picChg>
        <pc:picChg chg="add mod">
          <ac:chgData name="Antoine LAFOREST" userId="9365c212-db52-41a7-ab4a-025e62d16201" providerId="ADAL" clId="{61909AA8-2A44-3D40-B3D9-6800D9F1BB14}" dt="2024-01-31T18:18:56.358" v="1144" actId="1036"/>
          <ac:picMkLst>
            <pc:docMk/>
            <pc:sldMk cId="29736360" sldId="2147470826"/>
            <ac:picMk id="64" creationId="{1DECB1EA-CE60-B839-3796-F151ABFC410E}"/>
          </ac:picMkLst>
        </pc:picChg>
        <pc:picChg chg="del mod">
          <ac:chgData name="Antoine LAFOREST" userId="9365c212-db52-41a7-ab4a-025e62d16201" providerId="ADAL" clId="{61909AA8-2A44-3D40-B3D9-6800D9F1BB14}" dt="2024-01-31T17:51:41.421" v="426" actId="478"/>
          <ac:picMkLst>
            <pc:docMk/>
            <pc:sldMk cId="29736360" sldId="2147470826"/>
            <ac:picMk id="102" creationId="{37CCE07D-EA51-FF82-13B0-495425B02037}"/>
          </ac:picMkLst>
        </pc:picChg>
        <pc:cxnChg chg="mod">
          <ac:chgData name="Antoine LAFOREST" userId="9365c212-db52-41a7-ab4a-025e62d16201" providerId="ADAL" clId="{61909AA8-2A44-3D40-B3D9-6800D9F1BB14}" dt="2024-01-31T17:17:41.032" v="256" actId="1036"/>
          <ac:cxnSpMkLst>
            <pc:docMk/>
            <pc:sldMk cId="29736360" sldId="2147470826"/>
            <ac:cxnSpMk id="11" creationId="{12121DE8-C309-CF88-CC4A-4A6A05728538}"/>
          </ac:cxnSpMkLst>
        </pc:cxnChg>
        <pc:cxnChg chg="mod">
          <ac:chgData name="Antoine LAFOREST" userId="9365c212-db52-41a7-ab4a-025e62d16201" providerId="ADAL" clId="{61909AA8-2A44-3D40-B3D9-6800D9F1BB14}" dt="2024-01-31T17:17:48.727" v="257" actId="1038"/>
          <ac:cxnSpMkLst>
            <pc:docMk/>
            <pc:sldMk cId="29736360" sldId="2147470826"/>
            <ac:cxnSpMk id="14" creationId="{991338EF-A027-A42D-63F8-16B9395A26E9}"/>
          </ac:cxnSpMkLst>
        </pc:cxnChg>
        <pc:cxnChg chg="del mod">
          <ac:chgData name="Antoine LAFOREST" userId="9365c212-db52-41a7-ab4a-025e62d16201" providerId="ADAL" clId="{61909AA8-2A44-3D40-B3D9-6800D9F1BB14}" dt="2024-01-31T17:51:41.421" v="426" actId="478"/>
          <ac:cxnSpMkLst>
            <pc:docMk/>
            <pc:sldMk cId="29736360" sldId="2147470826"/>
            <ac:cxnSpMk id="23" creationId="{15E20214-7E8D-6E2B-028E-1A68A443A5A9}"/>
          </ac:cxnSpMkLst>
        </pc:cxnChg>
        <pc:cxnChg chg="mod">
          <ac:chgData name="Antoine LAFOREST" userId="9365c212-db52-41a7-ab4a-025e62d16201" providerId="ADAL" clId="{61909AA8-2A44-3D40-B3D9-6800D9F1BB14}" dt="2024-01-31T17:51:48.570" v="427"/>
          <ac:cxnSpMkLst>
            <pc:docMk/>
            <pc:sldMk cId="29736360" sldId="2147470826"/>
            <ac:cxnSpMk id="24" creationId="{690E6291-D6AC-A490-3DFB-9192AE2BF344}"/>
          </ac:cxnSpMkLst>
        </pc:cxnChg>
        <pc:cxnChg chg="del mod">
          <ac:chgData name="Antoine LAFOREST" userId="9365c212-db52-41a7-ab4a-025e62d16201" providerId="ADAL" clId="{61909AA8-2A44-3D40-B3D9-6800D9F1BB14}" dt="2024-01-31T17:10:10.987" v="93" actId="478"/>
          <ac:cxnSpMkLst>
            <pc:docMk/>
            <pc:sldMk cId="29736360" sldId="2147470826"/>
            <ac:cxnSpMk id="29" creationId="{1072E9E8-08C8-F66C-BBD6-C8334949B770}"/>
          </ac:cxnSpMkLst>
        </pc:cxnChg>
        <pc:cxnChg chg="mod">
          <ac:chgData name="Antoine LAFOREST" userId="9365c212-db52-41a7-ab4a-025e62d16201" providerId="ADAL" clId="{61909AA8-2A44-3D40-B3D9-6800D9F1BB14}" dt="2024-01-31T17:51:48.570" v="427"/>
          <ac:cxnSpMkLst>
            <pc:docMk/>
            <pc:sldMk cId="29736360" sldId="2147470826"/>
            <ac:cxnSpMk id="31" creationId="{6B3555C7-5186-5C6B-5FDC-8857DB867248}"/>
          </ac:cxnSpMkLst>
        </pc:cxnChg>
        <pc:cxnChg chg="add mod">
          <ac:chgData name="Antoine LAFOREST" userId="9365c212-db52-41a7-ab4a-025e62d16201" providerId="ADAL" clId="{61909AA8-2A44-3D40-B3D9-6800D9F1BB14}" dt="2024-01-31T17:58:32.259" v="504" actId="1036"/>
          <ac:cxnSpMkLst>
            <pc:docMk/>
            <pc:sldMk cId="29736360" sldId="2147470826"/>
            <ac:cxnSpMk id="34" creationId="{BEC07988-20B8-A494-7F5B-9D10BE51246E}"/>
          </ac:cxnSpMkLst>
        </pc:cxnChg>
        <pc:cxnChg chg="del mod">
          <ac:chgData name="Antoine LAFOREST" userId="9365c212-db52-41a7-ab4a-025e62d16201" providerId="ADAL" clId="{61909AA8-2A44-3D40-B3D9-6800D9F1BB14}" dt="2024-01-31T17:51:41.421" v="426" actId="478"/>
          <ac:cxnSpMkLst>
            <pc:docMk/>
            <pc:sldMk cId="29736360" sldId="2147470826"/>
            <ac:cxnSpMk id="40" creationId="{C3E99EC6-E77A-2A02-3095-AFA207C2DA33}"/>
          </ac:cxnSpMkLst>
        </pc:cxnChg>
        <pc:cxnChg chg="add mod">
          <ac:chgData name="Antoine LAFOREST" userId="9365c212-db52-41a7-ab4a-025e62d16201" providerId="ADAL" clId="{61909AA8-2A44-3D40-B3D9-6800D9F1BB14}" dt="2024-01-31T18:18:47.867" v="1140" actId="1036"/>
          <ac:cxnSpMkLst>
            <pc:docMk/>
            <pc:sldMk cId="29736360" sldId="2147470826"/>
            <ac:cxnSpMk id="44" creationId="{3F128A26-4B24-9A22-9203-FC9A44C3500F}"/>
          </ac:cxnSpMkLst>
        </pc:cxnChg>
        <pc:cxnChg chg="add mod">
          <ac:chgData name="Antoine LAFOREST" userId="9365c212-db52-41a7-ab4a-025e62d16201" providerId="ADAL" clId="{61909AA8-2A44-3D40-B3D9-6800D9F1BB14}" dt="2024-01-31T18:18:56.358" v="1144" actId="1036"/>
          <ac:cxnSpMkLst>
            <pc:docMk/>
            <pc:sldMk cId="29736360" sldId="2147470826"/>
            <ac:cxnSpMk id="53" creationId="{243B14CC-121A-6083-76DE-7A72EB31F91A}"/>
          </ac:cxnSpMkLst>
        </pc:cxnChg>
        <pc:cxnChg chg="add mod">
          <ac:chgData name="Antoine LAFOREST" userId="9365c212-db52-41a7-ab4a-025e62d16201" providerId="ADAL" clId="{61909AA8-2A44-3D40-B3D9-6800D9F1BB14}" dt="2024-01-31T18:18:56.358" v="1144" actId="1036"/>
          <ac:cxnSpMkLst>
            <pc:docMk/>
            <pc:sldMk cId="29736360" sldId="2147470826"/>
            <ac:cxnSpMk id="56" creationId="{416EE50D-6EEE-D469-A0AA-D2F108F617F5}"/>
          </ac:cxnSpMkLst>
        </pc:cxnChg>
        <pc:cxnChg chg="del mod">
          <ac:chgData name="Antoine LAFOREST" userId="9365c212-db52-41a7-ab4a-025e62d16201" providerId="ADAL" clId="{61909AA8-2A44-3D40-B3D9-6800D9F1BB14}" dt="2024-01-31T17:51:41.421" v="426" actId="478"/>
          <ac:cxnSpMkLst>
            <pc:docMk/>
            <pc:sldMk cId="29736360" sldId="2147470826"/>
            <ac:cxnSpMk id="96" creationId="{11320492-5590-7412-8C37-39BF9F1F9F32}"/>
          </ac:cxnSpMkLst>
        </pc:cxnChg>
      </pc:sldChg>
      <pc:sldChg chg="mod modShow">
        <pc:chgData name="Antoine LAFOREST" userId="9365c212-db52-41a7-ab4a-025e62d16201" providerId="ADAL" clId="{61909AA8-2A44-3D40-B3D9-6800D9F1BB14}" dt="2024-02-02T13:53:48.961" v="5219" actId="729"/>
        <pc:sldMkLst>
          <pc:docMk/>
          <pc:sldMk cId="1710549885" sldId="2147470885"/>
        </pc:sldMkLst>
      </pc:sldChg>
      <pc:sldChg chg="mod modShow">
        <pc:chgData name="Antoine LAFOREST" userId="9365c212-db52-41a7-ab4a-025e62d16201" providerId="ADAL" clId="{61909AA8-2A44-3D40-B3D9-6800D9F1BB14}" dt="2024-02-02T13:53:48.961" v="5219" actId="729"/>
        <pc:sldMkLst>
          <pc:docMk/>
          <pc:sldMk cId="1702353009" sldId="2147480287"/>
        </pc:sldMkLst>
      </pc:sldChg>
      <pc:sldChg chg="addSp delSp modSp mod">
        <pc:chgData name="Antoine LAFOREST" userId="9365c212-db52-41a7-ab4a-025e62d16201" providerId="ADAL" clId="{61909AA8-2A44-3D40-B3D9-6800D9F1BB14}" dt="2024-02-02T13:32:26.539" v="5042" actId="478"/>
        <pc:sldMkLst>
          <pc:docMk/>
          <pc:sldMk cId="3389911945" sldId="2147480290"/>
        </pc:sldMkLst>
        <pc:spChg chg="del mod">
          <ac:chgData name="Antoine LAFOREST" userId="9365c212-db52-41a7-ab4a-025e62d16201" providerId="ADAL" clId="{61909AA8-2A44-3D40-B3D9-6800D9F1BB14}" dt="2024-02-02T13:32:24.218" v="5041" actId="478"/>
          <ac:spMkLst>
            <pc:docMk/>
            <pc:sldMk cId="3389911945" sldId="2147480290"/>
            <ac:spMk id="2" creationId="{5C91E337-74B9-4A35-882F-27BDB4F76934}"/>
          </ac:spMkLst>
        </pc:spChg>
        <pc:spChg chg="add mod">
          <ac:chgData name="Antoine LAFOREST" userId="9365c212-db52-41a7-ab4a-025e62d16201" providerId="ADAL" clId="{61909AA8-2A44-3D40-B3D9-6800D9F1BB14}" dt="2024-02-02T13:32:19.911" v="5040"/>
          <ac:spMkLst>
            <pc:docMk/>
            <pc:sldMk cId="3389911945" sldId="2147480290"/>
            <ac:spMk id="4" creationId="{37B1EDE0-46CE-C55F-AF68-B740F514CE38}"/>
          </ac:spMkLst>
        </pc:spChg>
        <pc:spChg chg="add del mod">
          <ac:chgData name="Antoine LAFOREST" userId="9365c212-db52-41a7-ab4a-025e62d16201" providerId="ADAL" clId="{61909AA8-2A44-3D40-B3D9-6800D9F1BB14}" dt="2024-02-02T13:32:26.539" v="5042" actId="478"/>
          <ac:spMkLst>
            <pc:docMk/>
            <pc:sldMk cId="3389911945" sldId="2147480290"/>
            <ac:spMk id="7" creationId="{05AB3070-BA26-C815-0A26-0E15145943E6}"/>
          </ac:spMkLst>
        </pc:spChg>
      </pc:sldChg>
      <pc:sldChg chg="modSp mod">
        <pc:chgData name="Antoine LAFOREST" userId="9365c212-db52-41a7-ab4a-025e62d16201" providerId="ADAL" clId="{61909AA8-2A44-3D40-B3D9-6800D9F1BB14}" dt="2024-02-01T07:36:57.403" v="1213" actId="5793"/>
        <pc:sldMkLst>
          <pc:docMk/>
          <pc:sldMk cId="596601236" sldId="2147480292"/>
        </pc:sldMkLst>
        <pc:spChg chg="mod">
          <ac:chgData name="Antoine LAFOREST" userId="9365c212-db52-41a7-ab4a-025e62d16201" providerId="ADAL" clId="{61909AA8-2A44-3D40-B3D9-6800D9F1BB14}" dt="2024-02-01T07:36:57.403" v="1213" actId="5793"/>
          <ac:spMkLst>
            <pc:docMk/>
            <pc:sldMk cId="596601236" sldId="2147480292"/>
            <ac:spMk id="2" creationId="{5C91E337-74B9-4A35-882F-27BDB4F76934}"/>
          </ac:spMkLst>
        </pc:spChg>
      </pc:sldChg>
      <pc:sldChg chg="mod ord modShow">
        <pc:chgData name="Antoine LAFOREST" userId="9365c212-db52-41a7-ab4a-025e62d16201" providerId="ADAL" clId="{61909AA8-2A44-3D40-B3D9-6800D9F1BB14}" dt="2024-01-31T18:31:53.473" v="1193" actId="20578"/>
        <pc:sldMkLst>
          <pc:docMk/>
          <pc:sldMk cId="936296583" sldId="2147480294"/>
        </pc:sldMkLst>
      </pc:sldChg>
      <pc:sldChg chg="mod modShow">
        <pc:chgData name="Antoine LAFOREST" userId="9365c212-db52-41a7-ab4a-025e62d16201" providerId="ADAL" clId="{61909AA8-2A44-3D40-B3D9-6800D9F1BB14}" dt="2024-02-02T13:53:48.961" v="5219" actId="729"/>
        <pc:sldMkLst>
          <pc:docMk/>
          <pc:sldMk cId="1871989762" sldId="2147480297"/>
        </pc:sldMkLst>
      </pc:sldChg>
      <pc:sldChg chg="modSp add del mod modShow">
        <pc:chgData name="Antoine LAFOREST" userId="9365c212-db52-41a7-ab4a-025e62d16201" providerId="ADAL" clId="{61909AA8-2A44-3D40-B3D9-6800D9F1BB14}" dt="2024-02-01T16:38:50.072" v="3819" actId="2696"/>
        <pc:sldMkLst>
          <pc:docMk/>
          <pc:sldMk cId="3126137031" sldId="2147480301"/>
        </pc:sldMkLst>
        <pc:spChg chg="mod">
          <ac:chgData name="Antoine LAFOREST" userId="9365c212-db52-41a7-ab4a-025e62d16201" providerId="ADAL" clId="{61909AA8-2A44-3D40-B3D9-6800D9F1BB14}" dt="2024-02-01T11:02:37.940" v="2497" actId="1035"/>
          <ac:spMkLst>
            <pc:docMk/>
            <pc:sldMk cId="3126137031" sldId="2147480301"/>
            <ac:spMk id="13" creationId="{8A2C017E-6B16-5FDF-4744-745778087032}"/>
          </ac:spMkLst>
        </pc:spChg>
        <pc:spChg chg="mod">
          <ac:chgData name="Antoine LAFOREST" userId="9365c212-db52-41a7-ab4a-025e62d16201" providerId="ADAL" clId="{61909AA8-2A44-3D40-B3D9-6800D9F1BB14}" dt="2024-02-01T11:01:57.660" v="2453" actId="20577"/>
          <ac:spMkLst>
            <pc:docMk/>
            <pc:sldMk cId="3126137031" sldId="2147480301"/>
            <ac:spMk id="40" creationId="{2589F76A-1FE7-56AE-FB77-30FC770071F9}"/>
          </ac:spMkLst>
        </pc:spChg>
      </pc:sldChg>
      <pc:sldChg chg="modSp mod">
        <pc:chgData name="Antoine LAFOREST" userId="9365c212-db52-41a7-ab4a-025e62d16201" providerId="ADAL" clId="{61909AA8-2A44-3D40-B3D9-6800D9F1BB14}" dt="2024-02-01T07:38:37.543" v="1227" actId="14100"/>
        <pc:sldMkLst>
          <pc:docMk/>
          <pc:sldMk cId="1688075584" sldId="2147480302"/>
        </pc:sldMkLst>
        <pc:spChg chg="mod">
          <ac:chgData name="Antoine LAFOREST" userId="9365c212-db52-41a7-ab4a-025e62d16201" providerId="ADAL" clId="{61909AA8-2A44-3D40-B3D9-6800D9F1BB14}" dt="2024-02-01T07:38:37.543" v="1227" actId="14100"/>
          <ac:spMkLst>
            <pc:docMk/>
            <pc:sldMk cId="1688075584" sldId="2147480302"/>
            <ac:spMk id="30" creationId="{3C8E7D1F-CC31-EDC4-E553-970EA6836723}"/>
          </ac:spMkLst>
        </pc:spChg>
      </pc:sldChg>
      <pc:sldChg chg="addSp delSp modSp mod">
        <pc:chgData name="Antoine LAFOREST" userId="9365c212-db52-41a7-ab4a-025e62d16201" providerId="ADAL" clId="{61909AA8-2A44-3D40-B3D9-6800D9F1BB14}" dt="2024-02-02T13:51:45.086" v="5216" actId="1076"/>
        <pc:sldMkLst>
          <pc:docMk/>
          <pc:sldMk cId="2459109621" sldId="2147480303"/>
        </pc:sldMkLst>
        <pc:spChg chg="add del">
          <ac:chgData name="Antoine LAFOREST" userId="9365c212-db52-41a7-ab4a-025e62d16201" providerId="ADAL" clId="{61909AA8-2A44-3D40-B3D9-6800D9F1BB14}" dt="2024-02-02T13:47:13.612" v="5213" actId="22"/>
          <ac:spMkLst>
            <pc:docMk/>
            <pc:sldMk cId="2459109621" sldId="2147480303"/>
            <ac:spMk id="4" creationId="{936B43DF-BFA6-F622-B90B-4436C474DB39}"/>
          </ac:spMkLst>
        </pc:spChg>
        <pc:spChg chg="mod">
          <ac:chgData name="Antoine LAFOREST" userId="9365c212-db52-41a7-ab4a-025e62d16201" providerId="ADAL" clId="{61909AA8-2A44-3D40-B3D9-6800D9F1BB14}" dt="2024-02-02T13:51:40.978" v="5215"/>
          <ac:spMkLst>
            <pc:docMk/>
            <pc:sldMk cId="2459109621" sldId="2147480303"/>
            <ac:spMk id="11" creationId="{7C7FC928-0011-CD41-7E30-DB58002CE647}"/>
          </ac:spMkLst>
        </pc:spChg>
        <pc:spChg chg="mod">
          <ac:chgData name="Antoine LAFOREST" userId="9365c212-db52-41a7-ab4a-025e62d16201" providerId="ADAL" clId="{61909AA8-2A44-3D40-B3D9-6800D9F1BB14}" dt="2024-02-02T13:51:40.978" v="5215"/>
          <ac:spMkLst>
            <pc:docMk/>
            <pc:sldMk cId="2459109621" sldId="2147480303"/>
            <ac:spMk id="19" creationId="{7E15F808-6529-4F31-E135-73ED1499BD30}"/>
          </ac:spMkLst>
        </pc:spChg>
        <pc:spChg chg="mod">
          <ac:chgData name="Antoine LAFOREST" userId="9365c212-db52-41a7-ab4a-025e62d16201" providerId="ADAL" clId="{61909AA8-2A44-3D40-B3D9-6800D9F1BB14}" dt="2024-02-02T13:51:40.978" v="5215"/>
          <ac:spMkLst>
            <pc:docMk/>
            <pc:sldMk cId="2459109621" sldId="2147480303"/>
            <ac:spMk id="20" creationId="{BE3FA3AA-B7AE-FFF5-4A62-B0C527944FBB}"/>
          </ac:spMkLst>
        </pc:spChg>
        <pc:spChg chg="mod">
          <ac:chgData name="Antoine LAFOREST" userId="9365c212-db52-41a7-ab4a-025e62d16201" providerId="ADAL" clId="{61909AA8-2A44-3D40-B3D9-6800D9F1BB14}" dt="2024-02-02T13:51:40.978" v="5215"/>
          <ac:spMkLst>
            <pc:docMk/>
            <pc:sldMk cId="2459109621" sldId="2147480303"/>
            <ac:spMk id="21" creationId="{344A8829-7390-AEDF-8946-FF9FE1D406AF}"/>
          </ac:spMkLst>
        </pc:spChg>
        <pc:spChg chg="mod">
          <ac:chgData name="Antoine LAFOREST" userId="9365c212-db52-41a7-ab4a-025e62d16201" providerId="ADAL" clId="{61909AA8-2A44-3D40-B3D9-6800D9F1BB14}" dt="2024-02-02T13:51:40.978" v="5215"/>
          <ac:spMkLst>
            <pc:docMk/>
            <pc:sldMk cId="2459109621" sldId="2147480303"/>
            <ac:spMk id="23" creationId="{3E67951F-645C-75D5-4C00-0501D91507E4}"/>
          </ac:spMkLst>
        </pc:spChg>
        <pc:spChg chg="mod">
          <ac:chgData name="Antoine LAFOREST" userId="9365c212-db52-41a7-ab4a-025e62d16201" providerId="ADAL" clId="{61909AA8-2A44-3D40-B3D9-6800D9F1BB14}" dt="2024-02-02T13:47:13.867" v="5214" actId="1076"/>
          <ac:spMkLst>
            <pc:docMk/>
            <pc:sldMk cId="2459109621" sldId="2147480303"/>
            <ac:spMk id="25" creationId="{F8CEBBC7-D764-0EBC-C71D-FCD6989F1589}"/>
          </ac:spMkLst>
        </pc:spChg>
        <pc:spChg chg="mod">
          <ac:chgData name="Antoine LAFOREST" userId="9365c212-db52-41a7-ab4a-025e62d16201" providerId="ADAL" clId="{61909AA8-2A44-3D40-B3D9-6800D9F1BB14}" dt="2024-02-02T13:51:40.978" v="5215"/>
          <ac:spMkLst>
            <pc:docMk/>
            <pc:sldMk cId="2459109621" sldId="2147480303"/>
            <ac:spMk id="27" creationId="{5A5D8045-CE1F-51C0-C6BF-6696033DBF8B}"/>
          </ac:spMkLst>
        </pc:spChg>
        <pc:spChg chg="mod">
          <ac:chgData name="Antoine LAFOREST" userId="9365c212-db52-41a7-ab4a-025e62d16201" providerId="ADAL" clId="{61909AA8-2A44-3D40-B3D9-6800D9F1BB14}" dt="2024-02-02T13:51:40.978" v="5215"/>
          <ac:spMkLst>
            <pc:docMk/>
            <pc:sldMk cId="2459109621" sldId="2147480303"/>
            <ac:spMk id="28" creationId="{5223089B-F7C4-1DFD-01E9-F99B6115C18C}"/>
          </ac:spMkLst>
        </pc:spChg>
        <pc:spChg chg="mod">
          <ac:chgData name="Antoine LAFOREST" userId="9365c212-db52-41a7-ab4a-025e62d16201" providerId="ADAL" clId="{61909AA8-2A44-3D40-B3D9-6800D9F1BB14}" dt="2024-02-02T13:51:40.978" v="5215"/>
          <ac:spMkLst>
            <pc:docMk/>
            <pc:sldMk cId="2459109621" sldId="2147480303"/>
            <ac:spMk id="30" creationId="{0E880AF1-20A2-6A42-D025-78354F94021D}"/>
          </ac:spMkLst>
        </pc:spChg>
        <pc:spChg chg="mod">
          <ac:chgData name="Antoine LAFOREST" userId="9365c212-db52-41a7-ab4a-025e62d16201" providerId="ADAL" clId="{61909AA8-2A44-3D40-B3D9-6800D9F1BB14}" dt="2024-02-02T13:51:40.978" v="5215"/>
          <ac:spMkLst>
            <pc:docMk/>
            <pc:sldMk cId="2459109621" sldId="2147480303"/>
            <ac:spMk id="31" creationId="{E133B8CB-A607-3763-834C-6264786D75F0}"/>
          </ac:spMkLst>
        </pc:spChg>
        <pc:spChg chg="mod">
          <ac:chgData name="Antoine LAFOREST" userId="9365c212-db52-41a7-ab4a-025e62d16201" providerId="ADAL" clId="{61909AA8-2A44-3D40-B3D9-6800D9F1BB14}" dt="2024-02-02T13:51:40.978" v="5215"/>
          <ac:spMkLst>
            <pc:docMk/>
            <pc:sldMk cId="2459109621" sldId="2147480303"/>
            <ac:spMk id="32" creationId="{32E8FA62-1181-B645-3B13-BA0E061ECCE4}"/>
          </ac:spMkLst>
        </pc:spChg>
        <pc:spChg chg="mod">
          <ac:chgData name="Antoine LAFOREST" userId="9365c212-db52-41a7-ab4a-025e62d16201" providerId="ADAL" clId="{61909AA8-2A44-3D40-B3D9-6800D9F1BB14}" dt="2024-02-02T13:51:40.978" v="5215"/>
          <ac:spMkLst>
            <pc:docMk/>
            <pc:sldMk cId="2459109621" sldId="2147480303"/>
            <ac:spMk id="33" creationId="{BAD2694A-3BF3-E8A4-BB49-5393ACA8F317}"/>
          </ac:spMkLst>
        </pc:spChg>
        <pc:grpChg chg="add mod">
          <ac:chgData name="Antoine LAFOREST" userId="9365c212-db52-41a7-ab4a-025e62d16201" providerId="ADAL" clId="{61909AA8-2A44-3D40-B3D9-6800D9F1BB14}" dt="2024-02-02T13:51:45.086" v="5216" actId="1076"/>
          <ac:grpSpMkLst>
            <pc:docMk/>
            <pc:sldMk cId="2459109621" sldId="2147480303"/>
            <ac:grpSpMk id="5" creationId="{0009CCB3-6C6D-ED3B-1866-AEA85971E56F}"/>
          </ac:grpSpMkLst>
        </pc:grpChg>
        <pc:grpChg chg="mod">
          <ac:chgData name="Antoine LAFOREST" userId="9365c212-db52-41a7-ab4a-025e62d16201" providerId="ADAL" clId="{61909AA8-2A44-3D40-B3D9-6800D9F1BB14}" dt="2024-02-02T13:51:40.978" v="5215"/>
          <ac:grpSpMkLst>
            <pc:docMk/>
            <pc:sldMk cId="2459109621" sldId="2147480303"/>
            <ac:grpSpMk id="6" creationId="{A4B18A93-67A8-0A71-FBD6-264C75EE1A8F}"/>
          </ac:grpSpMkLst>
        </pc:grpChg>
        <pc:grpChg chg="mod">
          <ac:chgData name="Antoine LAFOREST" userId="9365c212-db52-41a7-ab4a-025e62d16201" providerId="ADAL" clId="{61909AA8-2A44-3D40-B3D9-6800D9F1BB14}" dt="2024-02-02T13:51:40.978" v="5215"/>
          <ac:grpSpMkLst>
            <pc:docMk/>
            <pc:sldMk cId="2459109621" sldId="2147480303"/>
            <ac:grpSpMk id="8" creationId="{1AF8C81F-6797-E34C-02A8-C4F56C37BFC6}"/>
          </ac:grpSpMkLst>
        </pc:grpChg>
        <pc:grpChg chg="mod">
          <ac:chgData name="Antoine LAFOREST" userId="9365c212-db52-41a7-ab4a-025e62d16201" providerId="ADAL" clId="{61909AA8-2A44-3D40-B3D9-6800D9F1BB14}" dt="2024-02-02T13:51:40.978" v="5215"/>
          <ac:grpSpMkLst>
            <pc:docMk/>
            <pc:sldMk cId="2459109621" sldId="2147480303"/>
            <ac:grpSpMk id="26" creationId="{586E3D06-B818-1A58-6200-735C37E01405}"/>
          </ac:grpSpMkLst>
        </pc:grpChg>
        <pc:grpChg chg="mod">
          <ac:chgData name="Antoine LAFOREST" userId="9365c212-db52-41a7-ab4a-025e62d16201" providerId="ADAL" clId="{61909AA8-2A44-3D40-B3D9-6800D9F1BB14}" dt="2024-02-02T13:51:40.978" v="5215"/>
          <ac:grpSpMkLst>
            <pc:docMk/>
            <pc:sldMk cId="2459109621" sldId="2147480303"/>
            <ac:grpSpMk id="29" creationId="{98FF0885-39DD-B057-FE68-5BC163799956}"/>
          </ac:grpSpMkLst>
        </pc:grpChg>
        <pc:picChg chg="mod">
          <ac:chgData name="Antoine LAFOREST" userId="9365c212-db52-41a7-ab4a-025e62d16201" providerId="ADAL" clId="{61909AA8-2A44-3D40-B3D9-6800D9F1BB14}" dt="2024-02-02T13:51:40.978" v="5215"/>
          <ac:picMkLst>
            <pc:docMk/>
            <pc:sldMk cId="2459109621" sldId="2147480303"/>
            <ac:picMk id="7" creationId="{B289B514-1A36-9099-550B-B66D7BDE0D4A}"/>
          </ac:picMkLst>
        </pc:picChg>
        <pc:picChg chg="mod">
          <ac:chgData name="Antoine LAFOREST" userId="9365c212-db52-41a7-ab4a-025e62d16201" providerId="ADAL" clId="{61909AA8-2A44-3D40-B3D9-6800D9F1BB14}" dt="2024-02-02T13:51:40.978" v="5215"/>
          <ac:picMkLst>
            <pc:docMk/>
            <pc:sldMk cId="2459109621" sldId="2147480303"/>
            <ac:picMk id="12" creationId="{F6FC4EDC-8E79-0393-D090-F45DBA852479}"/>
          </ac:picMkLst>
        </pc:picChg>
        <pc:picChg chg="mod">
          <ac:chgData name="Antoine LAFOREST" userId="9365c212-db52-41a7-ab4a-025e62d16201" providerId="ADAL" clId="{61909AA8-2A44-3D40-B3D9-6800D9F1BB14}" dt="2024-02-02T13:51:40.978" v="5215"/>
          <ac:picMkLst>
            <pc:docMk/>
            <pc:sldMk cId="2459109621" sldId="2147480303"/>
            <ac:picMk id="34" creationId="{D69D86BB-B15E-C613-D4C6-E71CAD92D268}"/>
          </ac:picMkLst>
        </pc:picChg>
      </pc:sldChg>
      <pc:sldChg chg="addSp delSp modSp mod">
        <pc:chgData name="Antoine LAFOREST" userId="9365c212-db52-41a7-ab4a-025e62d16201" providerId="ADAL" clId="{61909AA8-2A44-3D40-B3D9-6800D9F1BB14}" dt="2024-02-02T13:32:46.464" v="5047" actId="478"/>
        <pc:sldMkLst>
          <pc:docMk/>
          <pc:sldMk cId="1464809953" sldId="2147480304"/>
        </pc:sldMkLst>
        <pc:spChg chg="del mod">
          <ac:chgData name="Antoine LAFOREST" userId="9365c212-db52-41a7-ab4a-025e62d16201" providerId="ADAL" clId="{61909AA8-2A44-3D40-B3D9-6800D9F1BB14}" dt="2024-02-02T13:32:44.014" v="5046" actId="478"/>
          <ac:spMkLst>
            <pc:docMk/>
            <pc:sldMk cId="1464809953" sldId="2147480304"/>
            <ac:spMk id="2" creationId="{A2D57B31-7B0D-92C3-B33F-D94DC4725E53}"/>
          </ac:spMkLst>
        </pc:spChg>
        <pc:spChg chg="add mod">
          <ac:chgData name="Antoine LAFOREST" userId="9365c212-db52-41a7-ab4a-025e62d16201" providerId="ADAL" clId="{61909AA8-2A44-3D40-B3D9-6800D9F1BB14}" dt="2024-02-02T13:32:41.702" v="5045"/>
          <ac:spMkLst>
            <pc:docMk/>
            <pc:sldMk cId="1464809953" sldId="2147480304"/>
            <ac:spMk id="6" creationId="{24D38D3A-DED6-0D0B-FF01-3FDAD4CD913D}"/>
          </ac:spMkLst>
        </pc:spChg>
        <pc:spChg chg="add del mod">
          <ac:chgData name="Antoine LAFOREST" userId="9365c212-db52-41a7-ab4a-025e62d16201" providerId="ADAL" clId="{61909AA8-2A44-3D40-B3D9-6800D9F1BB14}" dt="2024-02-02T13:32:46.464" v="5047" actId="478"/>
          <ac:spMkLst>
            <pc:docMk/>
            <pc:sldMk cId="1464809953" sldId="2147480304"/>
            <ac:spMk id="8" creationId="{96C4E0BB-F1DC-F026-63EB-DC91E82476EE}"/>
          </ac:spMkLst>
        </pc:spChg>
      </pc:sldChg>
      <pc:sldChg chg="addSp delSp modSp mod modClrScheme chgLayout">
        <pc:chgData name="Antoine LAFOREST" userId="9365c212-db52-41a7-ab4a-025e62d16201" providerId="ADAL" clId="{61909AA8-2A44-3D40-B3D9-6800D9F1BB14}" dt="2024-02-02T18:20:46.816" v="5484" actId="20577"/>
        <pc:sldMkLst>
          <pc:docMk/>
          <pc:sldMk cId="1097620525" sldId="2147480307"/>
        </pc:sldMkLst>
        <pc:spChg chg="mod">
          <ac:chgData name="Antoine LAFOREST" userId="9365c212-db52-41a7-ab4a-025e62d16201" providerId="ADAL" clId="{61909AA8-2A44-3D40-B3D9-6800D9F1BB14}" dt="2024-02-02T18:18:24.571" v="5465" actId="20577"/>
          <ac:spMkLst>
            <pc:docMk/>
            <pc:sldMk cId="1097620525" sldId="2147480307"/>
            <ac:spMk id="3" creationId="{667C8A85-8CD5-181E-1B44-9BED4BC58ECF}"/>
          </ac:spMkLst>
        </pc:spChg>
        <pc:spChg chg="add del mod ord">
          <ac:chgData name="Antoine LAFOREST" userId="9365c212-db52-41a7-ab4a-025e62d16201" providerId="ADAL" clId="{61909AA8-2A44-3D40-B3D9-6800D9F1BB14}" dt="2024-02-02T13:39:06.727" v="5069" actId="478"/>
          <ac:spMkLst>
            <pc:docMk/>
            <pc:sldMk cId="1097620525" sldId="2147480307"/>
            <ac:spMk id="6" creationId="{D2622966-7A48-10DA-2460-433E0F88E298}"/>
          </ac:spMkLst>
        </pc:spChg>
        <pc:spChg chg="add del">
          <ac:chgData name="Antoine LAFOREST" userId="9365c212-db52-41a7-ab4a-025e62d16201" providerId="ADAL" clId="{61909AA8-2A44-3D40-B3D9-6800D9F1BB14}" dt="2024-02-02T13:37:48.567" v="5049" actId="21"/>
          <ac:spMkLst>
            <pc:docMk/>
            <pc:sldMk cId="1097620525" sldId="2147480307"/>
            <ac:spMk id="13" creationId="{7F408A1A-4FC2-B985-9FE5-C7766DD5F078}"/>
          </ac:spMkLst>
        </pc:spChg>
        <pc:spChg chg="add del mod">
          <ac:chgData name="Antoine LAFOREST" userId="9365c212-db52-41a7-ab4a-025e62d16201" providerId="ADAL" clId="{61909AA8-2A44-3D40-B3D9-6800D9F1BB14}" dt="2024-02-02T13:39:12.374" v="5071" actId="478"/>
          <ac:spMkLst>
            <pc:docMk/>
            <pc:sldMk cId="1097620525" sldId="2147480307"/>
            <ac:spMk id="15" creationId="{8218327C-DC6B-414A-A4CC-DF8779346DE5}"/>
          </ac:spMkLst>
        </pc:spChg>
        <pc:spChg chg="add mod">
          <ac:chgData name="Antoine LAFOREST" userId="9365c212-db52-41a7-ab4a-025e62d16201" providerId="ADAL" clId="{61909AA8-2A44-3D40-B3D9-6800D9F1BB14}" dt="2024-02-02T13:39:17.401" v="5073" actId="167"/>
          <ac:spMkLst>
            <pc:docMk/>
            <pc:sldMk cId="1097620525" sldId="2147480307"/>
            <ac:spMk id="17" creationId="{6233450F-6346-D4B1-9985-9A4B50FE151E}"/>
          </ac:spMkLst>
        </pc:spChg>
        <pc:spChg chg="mod">
          <ac:chgData name="Antoine LAFOREST" userId="9365c212-db52-41a7-ab4a-025e62d16201" providerId="ADAL" clId="{61909AA8-2A44-3D40-B3D9-6800D9F1BB14}" dt="2024-02-02T18:20:21.363" v="5483" actId="20577"/>
          <ac:spMkLst>
            <pc:docMk/>
            <pc:sldMk cId="1097620525" sldId="2147480307"/>
            <ac:spMk id="18" creationId="{C8231268-C2B2-BE48-01AF-35E343770CEF}"/>
          </ac:spMkLst>
        </pc:spChg>
        <pc:spChg chg="mod">
          <ac:chgData name="Antoine LAFOREST" userId="9365c212-db52-41a7-ab4a-025e62d16201" providerId="ADAL" clId="{61909AA8-2A44-3D40-B3D9-6800D9F1BB14}" dt="2024-02-02T18:20:03.517" v="5474" actId="20577"/>
          <ac:spMkLst>
            <pc:docMk/>
            <pc:sldMk cId="1097620525" sldId="2147480307"/>
            <ac:spMk id="25" creationId="{1515E993-6069-6C0D-1BB2-F62EC1A5417F}"/>
          </ac:spMkLst>
        </pc:spChg>
        <pc:spChg chg="del mod ord">
          <ac:chgData name="Antoine LAFOREST" userId="9365c212-db52-41a7-ab4a-025e62d16201" providerId="ADAL" clId="{61909AA8-2A44-3D40-B3D9-6800D9F1BB14}" dt="2024-02-02T13:39:10.392" v="5070" actId="478"/>
          <ac:spMkLst>
            <pc:docMk/>
            <pc:sldMk cId="1097620525" sldId="2147480307"/>
            <ac:spMk id="30" creationId="{A8A15718-341E-1618-BBFE-8DE79C4D1726}"/>
          </ac:spMkLst>
        </pc:spChg>
        <pc:spChg chg="mod">
          <ac:chgData name="Antoine LAFOREST" userId="9365c212-db52-41a7-ab4a-025e62d16201" providerId="ADAL" clId="{61909AA8-2A44-3D40-B3D9-6800D9F1BB14}" dt="2024-02-02T18:20:46.816" v="5484" actId="20577"/>
          <ac:spMkLst>
            <pc:docMk/>
            <pc:sldMk cId="1097620525" sldId="2147480307"/>
            <ac:spMk id="34" creationId="{9650F1C7-7C98-3C61-8C3C-2BBA81E3429C}"/>
          </ac:spMkLst>
        </pc:spChg>
      </pc:sldChg>
      <pc:sldChg chg="addSp delSp modSp mod modClrScheme chgLayout">
        <pc:chgData name="Antoine LAFOREST" userId="9365c212-db52-41a7-ab4a-025e62d16201" providerId="ADAL" clId="{61909AA8-2A44-3D40-B3D9-6800D9F1BB14}" dt="2024-02-02T18:25:46.488" v="5508" actId="20577"/>
        <pc:sldMkLst>
          <pc:docMk/>
          <pc:sldMk cId="1174410406" sldId="2147480308"/>
        </pc:sldMkLst>
        <pc:spChg chg="add del mod ord">
          <ac:chgData name="Antoine LAFOREST" userId="9365c212-db52-41a7-ab4a-025e62d16201" providerId="ADAL" clId="{61909AA8-2A44-3D40-B3D9-6800D9F1BB14}" dt="2024-02-02T13:40:20.209" v="5090" actId="478"/>
          <ac:spMkLst>
            <pc:docMk/>
            <pc:sldMk cId="1174410406" sldId="2147480308"/>
            <ac:spMk id="2" creationId="{30FEEB84-8580-2597-FCEE-CA269F55D2DD}"/>
          </ac:spMkLst>
        </pc:spChg>
        <pc:spChg chg="mod">
          <ac:chgData name="Antoine LAFOREST" userId="9365c212-db52-41a7-ab4a-025e62d16201" providerId="ADAL" clId="{61909AA8-2A44-3D40-B3D9-6800D9F1BB14}" dt="2024-02-02T18:23:34.929" v="5502" actId="1036"/>
          <ac:spMkLst>
            <pc:docMk/>
            <pc:sldMk cId="1174410406" sldId="2147480308"/>
            <ac:spMk id="3" creationId="{667C8A85-8CD5-181E-1B44-9BED4BC58ECF}"/>
          </ac:spMkLst>
        </pc:spChg>
        <pc:spChg chg="add del mod">
          <ac:chgData name="Antoine LAFOREST" userId="9365c212-db52-41a7-ab4a-025e62d16201" providerId="ADAL" clId="{61909AA8-2A44-3D40-B3D9-6800D9F1BB14}" dt="2024-02-02T13:40:30.807" v="5096" actId="478"/>
          <ac:spMkLst>
            <pc:docMk/>
            <pc:sldMk cId="1174410406" sldId="2147480308"/>
            <ac:spMk id="10" creationId="{F6EBD677-2A1A-DF4A-F862-B9E9EC827287}"/>
          </ac:spMkLst>
        </pc:spChg>
        <pc:spChg chg="add del mod">
          <ac:chgData name="Antoine LAFOREST" userId="9365c212-db52-41a7-ab4a-025e62d16201" providerId="ADAL" clId="{61909AA8-2A44-3D40-B3D9-6800D9F1BB14}" dt="2024-02-02T13:40:32.646" v="5097" actId="478"/>
          <ac:spMkLst>
            <pc:docMk/>
            <pc:sldMk cId="1174410406" sldId="2147480308"/>
            <ac:spMk id="14" creationId="{CDACF970-E688-B410-207F-626FCE6B9457}"/>
          </ac:spMkLst>
        </pc:spChg>
        <pc:spChg chg="mod">
          <ac:chgData name="Antoine LAFOREST" userId="9365c212-db52-41a7-ab4a-025e62d16201" providerId="ADAL" clId="{61909AA8-2A44-3D40-B3D9-6800D9F1BB14}" dt="2024-02-02T18:24:20.606" v="5507" actId="207"/>
          <ac:spMkLst>
            <pc:docMk/>
            <pc:sldMk cId="1174410406" sldId="2147480308"/>
            <ac:spMk id="25" creationId="{1515E993-6069-6C0D-1BB2-F62EC1A5417F}"/>
          </ac:spMkLst>
        </pc:spChg>
        <pc:spChg chg="del mod ord">
          <ac:chgData name="Antoine LAFOREST" userId="9365c212-db52-41a7-ab4a-025e62d16201" providerId="ADAL" clId="{61909AA8-2A44-3D40-B3D9-6800D9F1BB14}" dt="2024-02-02T13:40:26.755" v="5094" actId="478"/>
          <ac:spMkLst>
            <pc:docMk/>
            <pc:sldMk cId="1174410406" sldId="2147480308"/>
            <ac:spMk id="30" creationId="{A8A15718-341E-1618-BBFE-8DE79C4D1726}"/>
          </ac:spMkLst>
        </pc:spChg>
        <pc:spChg chg="mod">
          <ac:chgData name="Antoine LAFOREST" userId="9365c212-db52-41a7-ab4a-025e62d16201" providerId="ADAL" clId="{61909AA8-2A44-3D40-B3D9-6800D9F1BB14}" dt="2024-02-02T18:25:46.488" v="5508" actId="20577"/>
          <ac:spMkLst>
            <pc:docMk/>
            <pc:sldMk cId="1174410406" sldId="2147480308"/>
            <ac:spMk id="34" creationId="{9650F1C7-7C98-3C61-8C3C-2BBA81E3429C}"/>
          </ac:spMkLst>
        </pc:spChg>
      </pc:sldChg>
      <pc:sldChg chg="addSp delSp modSp mod modClrScheme chgLayout">
        <pc:chgData name="Antoine LAFOREST" userId="9365c212-db52-41a7-ab4a-025e62d16201" providerId="ADAL" clId="{61909AA8-2A44-3D40-B3D9-6800D9F1BB14}" dt="2024-02-02T13:38:51.801" v="5067"/>
        <pc:sldMkLst>
          <pc:docMk/>
          <pc:sldMk cId="4075207573" sldId="2147480309"/>
        </pc:sldMkLst>
        <pc:spChg chg="add del mod ord">
          <ac:chgData name="Antoine LAFOREST" userId="9365c212-db52-41a7-ab4a-025e62d16201" providerId="ADAL" clId="{61909AA8-2A44-3D40-B3D9-6800D9F1BB14}" dt="2024-02-02T13:38:47.334" v="5064" actId="478"/>
          <ac:spMkLst>
            <pc:docMk/>
            <pc:sldMk cId="4075207573" sldId="2147480309"/>
            <ac:spMk id="5" creationId="{F1B24C1A-3ABD-E4E1-2269-AE89D4631201}"/>
          </ac:spMkLst>
        </pc:spChg>
        <pc:spChg chg="add del mod">
          <ac:chgData name="Antoine LAFOREST" userId="9365c212-db52-41a7-ab4a-025e62d16201" providerId="ADAL" clId="{61909AA8-2A44-3D40-B3D9-6800D9F1BB14}" dt="2024-02-02T13:38:51.549" v="5066" actId="478"/>
          <ac:spMkLst>
            <pc:docMk/>
            <pc:sldMk cId="4075207573" sldId="2147480309"/>
            <ac:spMk id="7" creationId="{92DCAC4B-BB47-C667-F17D-93CD5D42C093}"/>
          </ac:spMkLst>
        </pc:spChg>
        <pc:spChg chg="add mod">
          <ac:chgData name="Antoine LAFOREST" userId="9365c212-db52-41a7-ab4a-025e62d16201" providerId="ADAL" clId="{61909AA8-2A44-3D40-B3D9-6800D9F1BB14}" dt="2024-02-02T13:38:51.801" v="5067"/>
          <ac:spMkLst>
            <pc:docMk/>
            <pc:sldMk cId="4075207573" sldId="2147480309"/>
            <ac:spMk id="8" creationId="{F0C139CC-75B5-A59D-DD29-DE2412CA804E}"/>
          </ac:spMkLst>
        </pc:spChg>
        <pc:spChg chg="del mod ord">
          <ac:chgData name="Antoine LAFOREST" userId="9365c212-db52-41a7-ab4a-025e62d16201" providerId="ADAL" clId="{61909AA8-2A44-3D40-B3D9-6800D9F1BB14}" dt="2024-02-02T13:38:50.451" v="5065" actId="478"/>
          <ac:spMkLst>
            <pc:docMk/>
            <pc:sldMk cId="4075207573" sldId="2147480309"/>
            <ac:spMk id="30" creationId="{A8A15718-341E-1618-BBFE-8DE79C4D1726}"/>
          </ac:spMkLst>
        </pc:spChg>
      </pc:sldChg>
      <pc:sldChg chg="addSp delSp modSp mod modClrScheme chgLayout">
        <pc:chgData name="Antoine LAFOREST" userId="9365c212-db52-41a7-ab4a-025e62d16201" providerId="ADAL" clId="{61909AA8-2A44-3D40-B3D9-6800D9F1BB14}" dt="2024-02-02T13:39:36.064" v="5078" actId="478"/>
        <pc:sldMkLst>
          <pc:docMk/>
          <pc:sldMk cId="2065068344" sldId="2147480310"/>
        </pc:sldMkLst>
        <pc:spChg chg="del mod ord">
          <ac:chgData name="Antoine LAFOREST" userId="9365c212-db52-41a7-ab4a-025e62d16201" providerId="ADAL" clId="{61909AA8-2A44-3D40-B3D9-6800D9F1BB14}" dt="2024-02-02T13:39:31.589" v="5075" actId="478"/>
          <ac:spMkLst>
            <pc:docMk/>
            <pc:sldMk cId="2065068344" sldId="2147480310"/>
            <ac:spMk id="30" creationId="{A8A15718-341E-1618-BBFE-8DE79C4D1726}"/>
          </ac:spMkLst>
        </pc:spChg>
        <pc:spChg chg="add del mod ord">
          <ac:chgData name="Antoine LAFOREST" userId="9365c212-db52-41a7-ab4a-025e62d16201" providerId="ADAL" clId="{61909AA8-2A44-3D40-B3D9-6800D9F1BB14}" dt="2024-02-02T13:39:36.064" v="5078" actId="478"/>
          <ac:spMkLst>
            <pc:docMk/>
            <pc:sldMk cId="2065068344" sldId="2147480310"/>
            <ac:spMk id="44" creationId="{C003BF65-8526-3A3D-D6DB-3F75C4BF421D}"/>
          </ac:spMkLst>
        </pc:spChg>
        <pc:spChg chg="add del mod">
          <ac:chgData name="Antoine LAFOREST" userId="9365c212-db52-41a7-ab4a-025e62d16201" providerId="ADAL" clId="{61909AA8-2A44-3D40-B3D9-6800D9F1BB14}" dt="2024-02-02T13:39:34.217" v="5076" actId="478"/>
          <ac:spMkLst>
            <pc:docMk/>
            <pc:sldMk cId="2065068344" sldId="2147480310"/>
            <ac:spMk id="49" creationId="{9E6B4A72-F178-2FFF-5710-5A0E9ECA44EC}"/>
          </ac:spMkLst>
        </pc:spChg>
        <pc:spChg chg="add mod">
          <ac:chgData name="Antoine LAFOREST" userId="9365c212-db52-41a7-ab4a-025e62d16201" providerId="ADAL" clId="{61909AA8-2A44-3D40-B3D9-6800D9F1BB14}" dt="2024-02-02T13:39:34.772" v="5077"/>
          <ac:spMkLst>
            <pc:docMk/>
            <pc:sldMk cId="2065068344" sldId="2147480310"/>
            <ac:spMk id="50" creationId="{DBD249CB-1B79-62D3-6E21-2EBC4695B0F7}"/>
          </ac:spMkLst>
        </pc:spChg>
      </pc:sldChg>
      <pc:sldChg chg="del">
        <pc:chgData name="Antoine LAFOREST" userId="9365c212-db52-41a7-ab4a-025e62d16201" providerId="ADAL" clId="{61909AA8-2A44-3D40-B3D9-6800D9F1BB14}" dt="2024-01-31T18:32:14.125" v="1194" actId="2696"/>
        <pc:sldMkLst>
          <pc:docMk/>
          <pc:sldMk cId="2540365924" sldId="2147480316"/>
        </pc:sldMkLst>
      </pc:sldChg>
      <pc:sldChg chg="addSp delSp modSp mod">
        <pc:chgData name="Antoine LAFOREST" userId="9365c212-db52-41a7-ab4a-025e62d16201" providerId="ADAL" clId="{61909AA8-2A44-3D40-B3D9-6800D9F1BB14}" dt="2024-02-02T13:41:46.368" v="5107" actId="478"/>
        <pc:sldMkLst>
          <pc:docMk/>
          <pc:sldMk cId="2099106951" sldId="2147480317"/>
        </pc:sldMkLst>
        <pc:spChg chg="del mod">
          <ac:chgData name="Antoine LAFOREST" userId="9365c212-db52-41a7-ab4a-025e62d16201" providerId="ADAL" clId="{61909AA8-2A44-3D40-B3D9-6800D9F1BB14}" dt="2024-02-02T13:41:42.053" v="5106" actId="478"/>
          <ac:spMkLst>
            <pc:docMk/>
            <pc:sldMk cId="2099106951" sldId="2147480317"/>
            <ac:spMk id="2" creationId="{79BEB425-9E0E-5DC0-A086-FCE256816139}"/>
          </ac:spMkLst>
        </pc:spChg>
        <pc:spChg chg="add mod">
          <ac:chgData name="Antoine LAFOREST" userId="9365c212-db52-41a7-ab4a-025e62d16201" providerId="ADAL" clId="{61909AA8-2A44-3D40-B3D9-6800D9F1BB14}" dt="2024-02-02T13:41:39.726" v="5105"/>
          <ac:spMkLst>
            <pc:docMk/>
            <pc:sldMk cId="2099106951" sldId="2147480317"/>
            <ac:spMk id="4" creationId="{47B721E3-26D4-F6C2-2A5B-0CEDBF36876F}"/>
          </ac:spMkLst>
        </pc:spChg>
        <pc:spChg chg="add del mod">
          <ac:chgData name="Antoine LAFOREST" userId="9365c212-db52-41a7-ab4a-025e62d16201" providerId="ADAL" clId="{61909AA8-2A44-3D40-B3D9-6800D9F1BB14}" dt="2024-02-02T13:41:46.368" v="5107" actId="478"/>
          <ac:spMkLst>
            <pc:docMk/>
            <pc:sldMk cId="2099106951" sldId="2147480317"/>
            <ac:spMk id="8" creationId="{90CBB93A-5F55-69ED-91CD-518E0E788912}"/>
          </ac:spMkLst>
        </pc:spChg>
      </pc:sldChg>
      <pc:sldChg chg="addSp delSp modSp mod modClrScheme chgLayout">
        <pc:chgData name="Antoine LAFOREST" userId="9365c212-db52-41a7-ab4a-025e62d16201" providerId="ADAL" clId="{61909AA8-2A44-3D40-B3D9-6800D9F1BB14}" dt="2024-02-02T18:22:25.504" v="5493" actId="6549"/>
        <pc:sldMkLst>
          <pc:docMk/>
          <pc:sldMk cId="4077997474" sldId="2147480324"/>
        </pc:sldMkLst>
        <pc:spChg chg="add del mod ord">
          <ac:chgData name="Antoine LAFOREST" userId="9365c212-db52-41a7-ab4a-025e62d16201" providerId="ADAL" clId="{61909AA8-2A44-3D40-B3D9-6800D9F1BB14}" dt="2024-02-02T13:40:01.623" v="5085" actId="478"/>
          <ac:spMkLst>
            <pc:docMk/>
            <pc:sldMk cId="4077997474" sldId="2147480324"/>
            <ac:spMk id="3" creationId="{F351EDCA-6769-E9D0-A8EA-12BDDF4D4FEE}"/>
          </ac:spMkLst>
        </pc:spChg>
        <pc:spChg chg="add del mod">
          <ac:chgData name="Antoine LAFOREST" userId="9365c212-db52-41a7-ab4a-025e62d16201" providerId="ADAL" clId="{61909AA8-2A44-3D40-B3D9-6800D9F1BB14}" dt="2024-02-02T13:40:05.682" v="5087" actId="478"/>
          <ac:spMkLst>
            <pc:docMk/>
            <pc:sldMk cId="4077997474" sldId="2147480324"/>
            <ac:spMk id="5" creationId="{A8D15B51-4AE9-0FEA-3AFC-2364F344915A}"/>
          </ac:spMkLst>
        </pc:spChg>
        <pc:spChg chg="add mod">
          <ac:chgData name="Antoine LAFOREST" userId="9365c212-db52-41a7-ab4a-025e62d16201" providerId="ADAL" clId="{61909AA8-2A44-3D40-B3D9-6800D9F1BB14}" dt="2024-02-02T13:40:05.828" v="5088"/>
          <ac:spMkLst>
            <pc:docMk/>
            <pc:sldMk cId="4077997474" sldId="2147480324"/>
            <ac:spMk id="6" creationId="{D440BF25-5FD2-2B30-374D-10F8B85EC323}"/>
          </ac:spMkLst>
        </pc:spChg>
        <pc:spChg chg="mod">
          <ac:chgData name="Antoine LAFOREST" userId="9365c212-db52-41a7-ab4a-025e62d16201" providerId="ADAL" clId="{61909AA8-2A44-3D40-B3D9-6800D9F1BB14}" dt="2024-02-01T17:29:39.365" v="4010" actId="404"/>
          <ac:spMkLst>
            <pc:docMk/>
            <pc:sldMk cId="4077997474" sldId="2147480324"/>
            <ac:spMk id="12" creationId="{A69472D7-2493-2CA6-688C-D454739D34D4}"/>
          </ac:spMkLst>
        </pc:spChg>
        <pc:spChg chg="del mod ord">
          <ac:chgData name="Antoine LAFOREST" userId="9365c212-db52-41a7-ab4a-025e62d16201" providerId="ADAL" clId="{61909AA8-2A44-3D40-B3D9-6800D9F1BB14}" dt="2024-02-02T13:40:03.211" v="5086" actId="478"/>
          <ac:spMkLst>
            <pc:docMk/>
            <pc:sldMk cId="4077997474" sldId="2147480324"/>
            <ac:spMk id="30" creationId="{A8A15718-341E-1618-BBFE-8DE79C4D1726}"/>
          </ac:spMkLst>
        </pc:spChg>
        <pc:graphicFrameChg chg="modGraphic">
          <ac:chgData name="Antoine LAFOREST" userId="9365c212-db52-41a7-ab4a-025e62d16201" providerId="ADAL" clId="{61909AA8-2A44-3D40-B3D9-6800D9F1BB14}" dt="2024-02-02T18:22:25.504" v="5493" actId="6549"/>
          <ac:graphicFrameMkLst>
            <pc:docMk/>
            <pc:sldMk cId="4077997474" sldId="2147480324"/>
            <ac:graphicFrameMk id="39" creationId="{7E822EDC-4BD1-514B-2869-A9AE2BC16F64}"/>
          </ac:graphicFrameMkLst>
        </pc:graphicFrameChg>
      </pc:sldChg>
      <pc:sldChg chg="addSp delSp modSp add del mod">
        <pc:chgData name="Antoine LAFOREST" userId="9365c212-db52-41a7-ab4a-025e62d16201" providerId="ADAL" clId="{61909AA8-2A44-3D40-B3D9-6800D9F1BB14}" dt="2024-02-01T08:28:20.445" v="1249"/>
        <pc:sldMkLst>
          <pc:docMk/>
          <pc:sldMk cId="3058333471" sldId="2147480328"/>
        </pc:sldMkLst>
        <pc:spChg chg="add del mod">
          <ac:chgData name="Antoine LAFOREST" userId="9365c212-db52-41a7-ab4a-025e62d16201" providerId="ADAL" clId="{61909AA8-2A44-3D40-B3D9-6800D9F1BB14}" dt="2024-02-01T08:28:20.445" v="1249"/>
          <ac:spMkLst>
            <pc:docMk/>
            <pc:sldMk cId="3058333471" sldId="2147480328"/>
            <ac:spMk id="72" creationId="{9EC01C13-4DCD-B8FC-D7DD-3CC687EEA7B6}"/>
          </ac:spMkLst>
        </pc:spChg>
      </pc:sldChg>
      <pc:sldChg chg="modSp mod">
        <pc:chgData name="Antoine LAFOREST" userId="9365c212-db52-41a7-ab4a-025e62d16201" providerId="ADAL" clId="{61909AA8-2A44-3D40-B3D9-6800D9F1BB14}" dt="2024-02-02T13:38:11.372" v="5052" actId="20577"/>
        <pc:sldMkLst>
          <pc:docMk/>
          <pc:sldMk cId="1704792734" sldId="2147480331"/>
        </pc:sldMkLst>
        <pc:spChg chg="mod">
          <ac:chgData name="Antoine LAFOREST" userId="9365c212-db52-41a7-ab4a-025e62d16201" providerId="ADAL" clId="{61909AA8-2A44-3D40-B3D9-6800D9F1BB14}" dt="2024-02-02T13:38:11.372" v="5052" actId="20577"/>
          <ac:spMkLst>
            <pc:docMk/>
            <pc:sldMk cId="1704792734" sldId="2147480331"/>
            <ac:spMk id="2" creationId="{A2D57B31-7B0D-92C3-B33F-D94DC4725E53}"/>
          </ac:spMkLst>
        </pc:spChg>
      </pc:sldChg>
      <pc:sldChg chg="addSp delSp modSp mod modClrScheme chgLayout">
        <pc:chgData name="Antoine LAFOREST" userId="9365c212-db52-41a7-ab4a-025e62d16201" providerId="ADAL" clId="{61909AA8-2A44-3D40-B3D9-6800D9F1BB14}" dt="2024-02-02T13:41:06.017" v="5102"/>
        <pc:sldMkLst>
          <pc:docMk/>
          <pc:sldMk cId="3670225089" sldId="2147480333"/>
        </pc:sldMkLst>
        <pc:spChg chg="add del mod ord">
          <ac:chgData name="Antoine LAFOREST" userId="9365c212-db52-41a7-ab4a-025e62d16201" providerId="ADAL" clId="{61909AA8-2A44-3D40-B3D9-6800D9F1BB14}" dt="2024-02-02T13:41:01.399" v="5099" actId="478"/>
          <ac:spMkLst>
            <pc:docMk/>
            <pc:sldMk cId="3670225089" sldId="2147480333"/>
            <ac:spMk id="14" creationId="{42A5EC1C-784F-559C-670D-158B1018EEB2}"/>
          </ac:spMkLst>
        </pc:spChg>
        <pc:spChg chg="add del mod">
          <ac:chgData name="Antoine LAFOREST" userId="9365c212-db52-41a7-ab4a-025e62d16201" providerId="ADAL" clId="{61909AA8-2A44-3D40-B3D9-6800D9F1BB14}" dt="2024-02-02T13:41:05.778" v="5101" actId="478"/>
          <ac:spMkLst>
            <pc:docMk/>
            <pc:sldMk cId="3670225089" sldId="2147480333"/>
            <ac:spMk id="17" creationId="{3BD740CA-5DF2-C536-7365-1BF459547445}"/>
          </ac:spMkLst>
        </pc:spChg>
        <pc:spChg chg="add mod">
          <ac:chgData name="Antoine LAFOREST" userId="9365c212-db52-41a7-ab4a-025e62d16201" providerId="ADAL" clId="{61909AA8-2A44-3D40-B3D9-6800D9F1BB14}" dt="2024-02-02T13:41:06.017" v="5102"/>
          <ac:spMkLst>
            <pc:docMk/>
            <pc:sldMk cId="3670225089" sldId="2147480333"/>
            <ac:spMk id="18" creationId="{D8176CC3-9795-3639-351F-F9AB09AE1274}"/>
          </ac:spMkLst>
        </pc:spChg>
        <pc:spChg chg="del mod ord">
          <ac:chgData name="Antoine LAFOREST" userId="9365c212-db52-41a7-ab4a-025e62d16201" providerId="ADAL" clId="{61909AA8-2A44-3D40-B3D9-6800D9F1BB14}" dt="2024-02-02T13:41:03.487" v="5100" actId="478"/>
          <ac:spMkLst>
            <pc:docMk/>
            <pc:sldMk cId="3670225089" sldId="2147480333"/>
            <ac:spMk id="30" creationId="{A8A15718-341E-1618-BBFE-8DE79C4D1726}"/>
          </ac:spMkLst>
        </pc:spChg>
      </pc:sldChg>
      <pc:sldChg chg="modSp mod">
        <pc:chgData name="Antoine LAFOREST" userId="9365c212-db52-41a7-ab4a-025e62d16201" providerId="ADAL" clId="{61909AA8-2A44-3D40-B3D9-6800D9F1BB14}" dt="2024-01-31T14:50:02.695" v="2" actId="20577"/>
        <pc:sldMkLst>
          <pc:docMk/>
          <pc:sldMk cId="3611585204" sldId="2147480348"/>
        </pc:sldMkLst>
        <pc:spChg chg="mod">
          <ac:chgData name="Antoine LAFOREST" userId="9365c212-db52-41a7-ab4a-025e62d16201" providerId="ADAL" clId="{61909AA8-2A44-3D40-B3D9-6800D9F1BB14}" dt="2024-01-31T14:50:02.695" v="2" actId="20577"/>
          <ac:spMkLst>
            <pc:docMk/>
            <pc:sldMk cId="3611585204" sldId="2147480348"/>
            <ac:spMk id="2" creationId="{57B1CA06-63B4-1946-F9B7-7FEA0E10B894}"/>
          </ac:spMkLst>
        </pc:spChg>
      </pc:sldChg>
      <pc:sldChg chg="addSp delSp modSp mod modClrScheme chgLayout">
        <pc:chgData name="Antoine LAFOREST" userId="9365c212-db52-41a7-ab4a-025e62d16201" providerId="ADAL" clId="{61909AA8-2A44-3D40-B3D9-6800D9F1BB14}" dt="2024-02-02T13:39:50.621" v="5083"/>
        <pc:sldMkLst>
          <pc:docMk/>
          <pc:sldMk cId="3321415146" sldId="2147482331"/>
        </pc:sldMkLst>
        <pc:spChg chg="add del mod ord">
          <ac:chgData name="Antoine LAFOREST" userId="9365c212-db52-41a7-ab4a-025e62d16201" providerId="ADAL" clId="{61909AA8-2A44-3D40-B3D9-6800D9F1BB14}" dt="2024-02-02T13:39:46.738" v="5080" actId="478"/>
          <ac:spMkLst>
            <pc:docMk/>
            <pc:sldMk cId="3321415146" sldId="2147482331"/>
            <ac:spMk id="3" creationId="{AA4F596B-984F-DB10-3776-DDA7FEAB13FE}"/>
          </ac:spMkLst>
        </pc:spChg>
        <pc:spChg chg="add del mod">
          <ac:chgData name="Antoine LAFOREST" userId="9365c212-db52-41a7-ab4a-025e62d16201" providerId="ADAL" clId="{61909AA8-2A44-3D40-B3D9-6800D9F1BB14}" dt="2024-02-02T13:39:50.409" v="5082" actId="478"/>
          <ac:spMkLst>
            <pc:docMk/>
            <pc:sldMk cId="3321415146" sldId="2147482331"/>
            <ac:spMk id="5" creationId="{6D0F5202-78D6-2ECE-C8E9-2AD8025BFB9E}"/>
          </ac:spMkLst>
        </pc:spChg>
        <pc:spChg chg="add mod">
          <ac:chgData name="Antoine LAFOREST" userId="9365c212-db52-41a7-ab4a-025e62d16201" providerId="ADAL" clId="{61909AA8-2A44-3D40-B3D9-6800D9F1BB14}" dt="2024-02-02T13:39:50.621" v="5083"/>
          <ac:spMkLst>
            <pc:docMk/>
            <pc:sldMk cId="3321415146" sldId="2147482331"/>
            <ac:spMk id="6" creationId="{2D2C8092-12C3-F51D-F225-F381FB143A92}"/>
          </ac:spMkLst>
        </pc:spChg>
        <pc:spChg chg="del mod ord">
          <ac:chgData name="Antoine LAFOREST" userId="9365c212-db52-41a7-ab4a-025e62d16201" providerId="ADAL" clId="{61909AA8-2A44-3D40-B3D9-6800D9F1BB14}" dt="2024-02-02T13:39:48.629" v="5081" actId="478"/>
          <ac:spMkLst>
            <pc:docMk/>
            <pc:sldMk cId="3321415146" sldId="2147482331"/>
            <ac:spMk id="30" creationId="{A8A15718-341E-1618-BBFE-8DE79C4D1726}"/>
          </ac:spMkLst>
        </pc:spChg>
      </pc:sldChg>
      <pc:sldChg chg="del">
        <pc:chgData name="Antoine LAFOREST" userId="9365c212-db52-41a7-ab4a-025e62d16201" providerId="ADAL" clId="{61909AA8-2A44-3D40-B3D9-6800D9F1BB14}" dt="2024-02-01T16:39:56.604" v="3856" actId="2696"/>
        <pc:sldMkLst>
          <pc:docMk/>
          <pc:sldMk cId="2655133361" sldId="2147482333"/>
        </pc:sldMkLst>
      </pc:sldChg>
      <pc:sldChg chg="addSp delSp modSp del mod ord modShow">
        <pc:chgData name="Antoine LAFOREST" userId="9365c212-db52-41a7-ab4a-025e62d16201" providerId="ADAL" clId="{61909AA8-2A44-3D40-B3D9-6800D9F1BB14}" dt="2024-02-02T13:31:19.211" v="5036" actId="2696"/>
        <pc:sldMkLst>
          <pc:docMk/>
          <pc:sldMk cId="2591449438" sldId="2147482334"/>
        </pc:sldMkLst>
        <pc:spChg chg="mod">
          <ac:chgData name="Antoine LAFOREST" userId="9365c212-db52-41a7-ab4a-025e62d16201" providerId="ADAL" clId="{61909AA8-2A44-3D40-B3D9-6800D9F1BB14}" dt="2024-02-02T09:31:56.694" v="4013" actId="1076"/>
          <ac:spMkLst>
            <pc:docMk/>
            <pc:sldMk cId="2591449438" sldId="2147482334"/>
            <ac:spMk id="9" creationId="{B4450CE3-EF18-3E64-5E96-FA009AA4E1BB}"/>
          </ac:spMkLst>
        </pc:spChg>
        <pc:picChg chg="add del mod">
          <ac:chgData name="Antoine LAFOREST" userId="9365c212-db52-41a7-ab4a-025e62d16201" providerId="ADAL" clId="{61909AA8-2A44-3D40-B3D9-6800D9F1BB14}" dt="2024-02-01T07:40:21.163" v="1238" actId="21"/>
          <ac:picMkLst>
            <pc:docMk/>
            <pc:sldMk cId="2591449438" sldId="2147482334"/>
            <ac:picMk id="3" creationId="{90CBA5F3-1665-0C8B-340E-224E65F7B884}"/>
          </ac:picMkLst>
        </pc:picChg>
        <pc:picChg chg="add mod">
          <ac:chgData name="Antoine LAFOREST" userId="9365c212-db52-41a7-ab4a-025e62d16201" providerId="ADAL" clId="{61909AA8-2A44-3D40-B3D9-6800D9F1BB14}" dt="2024-02-01T07:40:22.664" v="1240"/>
          <ac:picMkLst>
            <pc:docMk/>
            <pc:sldMk cId="2591449438" sldId="2147482334"/>
            <ac:picMk id="6" creationId="{98EFDD64-DF3F-6777-3D2F-1B28F146B2F4}"/>
          </ac:picMkLst>
        </pc:picChg>
        <pc:picChg chg="del mod">
          <ac:chgData name="Antoine LAFOREST" userId="9365c212-db52-41a7-ab4a-025e62d16201" providerId="ADAL" clId="{61909AA8-2A44-3D40-B3D9-6800D9F1BB14}" dt="2024-02-01T07:40:22.443" v="1239" actId="478"/>
          <ac:picMkLst>
            <pc:docMk/>
            <pc:sldMk cId="2591449438" sldId="2147482334"/>
            <ac:picMk id="11" creationId="{3E84A74A-F461-6A42-B897-6BD04306CD86}"/>
          </ac:picMkLst>
        </pc:picChg>
      </pc:sldChg>
      <pc:sldChg chg="del">
        <pc:chgData name="Antoine LAFOREST" userId="9365c212-db52-41a7-ab4a-025e62d16201" providerId="ADAL" clId="{61909AA8-2A44-3D40-B3D9-6800D9F1BB14}" dt="2024-02-01T16:40:27.038" v="3857" actId="2696"/>
        <pc:sldMkLst>
          <pc:docMk/>
          <pc:sldMk cId="3375436117" sldId="2147482335"/>
        </pc:sldMkLst>
      </pc:sldChg>
      <pc:sldChg chg="del">
        <pc:chgData name="Antoine LAFOREST" userId="9365c212-db52-41a7-ab4a-025e62d16201" providerId="ADAL" clId="{61909AA8-2A44-3D40-B3D9-6800D9F1BB14}" dt="2024-02-01T16:40:30.518" v="3858" actId="2696"/>
        <pc:sldMkLst>
          <pc:docMk/>
          <pc:sldMk cId="3766662707" sldId="2147482336"/>
        </pc:sldMkLst>
      </pc:sldChg>
      <pc:sldChg chg="del">
        <pc:chgData name="Antoine LAFOREST" userId="9365c212-db52-41a7-ab4a-025e62d16201" providerId="ADAL" clId="{61909AA8-2A44-3D40-B3D9-6800D9F1BB14}" dt="2024-02-01T16:40:33.114" v="3859" actId="2696"/>
        <pc:sldMkLst>
          <pc:docMk/>
          <pc:sldMk cId="3741534490" sldId="2147482337"/>
        </pc:sldMkLst>
      </pc:sldChg>
      <pc:sldChg chg="modSp mod">
        <pc:chgData name="Antoine LAFOREST" userId="9365c212-db52-41a7-ab4a-025e62d16201" providerId="ADAL" clId="{61909AA8-2A44-3D40-B3D9-6800D9F1BB14}" dt="2024-02-01T07:39:25.930" v="1230" actId="14100"/>
        <pc:sldMkLst>
          <pc:docMk/>
          <pc:sldMk cId="672324684" sldId="2147482338"/>
        </pc:sldMkLst>
        <pc:spChg chg="mod">
          <ac:chgData name="Antoine LAFOREST" userId="9365c212-db52-41a7-ab4a-025e62d16201" providerId="ADAL" clId="{61909AA8-2A44-3D40-B3D9-6800D9F1BB14}" dt="2024-02-01T07:39:25.930" v="1230" actId="14100"/>
          <ac:spMkLst>
            <pc:docMk/>
            <pc:sldMk cId="672324684" sldId="2147482338"/>
            <ac:spMk id="30" creationId="{3C8E7D1F-CC31-EDC4-E553-970EA6836723}"/>
          </ac:spMkLst>
        </pc:spChg>
      </pc:sldChg>
      <pc:sldChg chg="mod modShow">
        <pc:chgData name="Antoine LAFOREST" userId="9365c212-db52-41a7-ab4a-025e62d16201" providerId="ADAL" clId="{61909AA8-2A44-3D40-B3D9-6800D9F1BB14}" dt="2024-02-02T13:53:39.194" v="5217" actId="729"/>
        <pc:sldMkLst>
          <pc:docMk/>
          <pc:sldMk cId="521514485" sldId="2147482341"/>
        </pc:sldMkLst>
      </pc:sldChg>
      <pc:sldChg chg="add del">
        <pc:chgData name="Antoine LAFOREST" userId="9365c212-db52-41a7-ab4a-025e62d16201" providerId="ADAL" clId="{61909AA8-2A44-3D40-B3D9-6800D9F1BB14}" dt="2024-01-31T17:06:04.921" v="34" actId="2696"/>
        <pc:sldMkLst>
          <pc:docMk/>
          <pc:sldMk cId="1976500908" sldId="2147482342"/>
        </pc:sldMkLst>
      </pc:sldChg>
      <pc:sldChg chg="add mod ord modShow">
        <pc:chgData name="Antoine LAFOREST" userId="9365c212-db52-41a7-ab4a-025e62d16201" providerId="ADAL" clId="{61909AA8-2A44-3D40-B3D9-6800D9F1BB14}" dt="2024-01-31T18:31:53.473" v="1193" actId="20578"/>
        <pc:sldMkLst>
          <pc:docMk/>
          <pc:sldMk cId="3929247689" sldId="2147482342"/>
        </pc:sldMkLst>
      </pc:sldChg>
      <pc:sldChg chg="add del">
        <pc:chgData name="Antoine LAFOREST" userId="9365c212-db52-41a7-ab4a-025e62d16201" providerId="ADAL" clId="{61909AA8-2A44-3D40-B3D9-6800D9F1BB14}" dt="2024-01-31T17:48:25.695" v="326"/>
        <pc:sldMkLst>
          <pc:docMk/>
          <pc:sldMk cId="455686589" sldId="2147482343"/>
        </pc:sldMkLst>
      </pc:sldChg>
      <pc:sldChg chg="modSp add del mod">
        <pc:chgData name="Antoine LAFOREST" userId="9365c212-db52-41a7-ab4a-025e62d16201" providerId="ADAL" clId="{61909AA8-2A44-3D40-B3D9-6800D9F1BB14}" dt="2024-01-31T17:52:00.609" v="435" actId="2696"/>
        <pc:sldMkLst>
          <pc:docMk/>
          <pc:sldMk cId="3622754394" sldId="2147482343"/>
        </pc:sldMkLst>
        <pc:spChg chg="mod">
          <ac:chgData name="Antoine LAFOREST" userId="9365c212-db52-41a7-ab4a-025e62d16201" providerId="ADAL" clId="{61909AA8-2A44-3D40-B3D9-6800D9F1BB14}" dt="2024-01-31T17:50:15.179" v="400"/>
          <ac:spMkLst>
            <pc:docMk/>
            <pc:sldMk cId="3622754394" sldId="2147482343"/>
            <ac:spMk id="16" creationId="{0CFC7FF5-63E4-27B4-C393-93618246DB2C}"/>
          </ac:spMkLst>
        </pc:spChg>
        <pc:spChg chg="mod">
          <ac:chgData name="Antoine LAFOREST" userId="9365c212-db52-41a7-ab4a-025e62d16201" providerId="ADAL" clId="{61909AA8-2A44-3D40-B3D9-6800D9F1BB14}" dt="2024-01-31T17:49:36.169" v="390" actId="20577"/>
          <ac:spMkLst>
            <pc:docMk/>
            <pc:sldMk cId="3622754394" sldId="2147482343"/>
            <ac:spMk id="18" creationId="{D4165431-EA2C-D473-23F4-3BCED35BB814}"/>
          </ac:spMkLst>
        </pc:spChg>
        <pc:spChg chg="mod">
          <ac:chgData name="Antoine LAFOREST" userId="9365c212-db52-41a7-ab4a-025e62d16201" providerId="ADAL" clId="{61909AA8-2A44-3D40-B3D9-6800D9F1BB14}" dt="2024-01-31T17:51:21.016" v="424" actId="2711"/>
          <ac:spMkLst>
            <pc:docMk/>
            <pc:sldMk cId="3622754394" sldId="2147482343"/>
            <ac:spMk id="20" creationId="{EA6E0B36-BBA4-0F36-7343-46C6F1B1DE38}"/>
          </ac:spMkLst>
        </pc:spChg>
        <pc:spChg chg="mod">
          <ac:chgData name="Antoine LAFOREST" userId="9365c212-db52-41a7-ab4a-025e62d16201" providerId="ADAL" clId="{61909AA8-2A44-3D40-B3D9-6800D9F1BB14}" dt="2024-01-31T17:49:34.077" v="383" actId="20577"/>
          <ac:spMkLst>
            <pc:docMk/>
            <pc:sldMk cId="3622754394" sldId="2147482343"/>
            <ac:spMk id="21" creationId="{1F191D88-9439-63ED-C607-C9C74483768D}"/>
          </ac:spMkLst>
        </pc:spChg>
        <pc:spChg chg="mod">
          <ac:chgData name="Antoine LAFOREST" userId="9365c212-db52-41a7-ab4a-025e62d16201" providerId="ADAL" clId="{61909AA8-2A44-3D40-B3D9-6800D9F1BB14}" dt="2024-01-31T17:50:31.314" v="401" actId="14100"/>
          <ac:spMkLst>
            <pc:docMk/>
            <pc:sldMk cId="3622754394" sldId="2147482343"/>
            <ac:spMk id="68" creationId="{2CE8B0CC-B688-23FA-FA4E-98A3CF04DEC9}"/>
          </ac:spMkLst>
        </pc:spChg>
        <pc:spChg chg="mod">
          <ac:chgData name="Antoine LAFOREST" userId="9365c212-db52-41a7-ab4a-025e62d16201" providerId="ADAL" clId="{61909AA8-2A44-3D40-B3D9-6800D9F1BB14}" dt="2024-01-31T17:50:50.163" v="421" actId="14100"/>
          <ac:spMkLst>
            <pc:docMk/>
            <pc:sldMk cId="3622754394" sldId="2147482343"/>
            <ac:spMk id="71" creationId="{9EF87F6D-6EE9-9EE4-90F8-0E8DEDF6FC32}"/>
          </ac:spMkLst>
        </pc:spChg>
        <pc:spChg chg="mod">
          <ac:chgData name="Antoine LAFOREST" userId="9365c212-db52-41a7-ab4a-025e62d16201" providerId="ADAL" clId="{61909AA8-2A44-3D40-B3D9-6800D9F1BB14}" dt="2024-01-31T17:48:38.119" v="333" actId="20577"/>
          <ac:spMkLst>
            <pc:docMk/>
            <pc:sldMk cId="3622754394" sldId="2147482343"/>
            <ac:spMk id="109" creationId="{76119DF4-9890-5504-EDCA-B93BAC2EF054}"/>
          </ac:spMkLst>
        </pc:spChg>
        <pc:spChg chg="mod">
          <ac:chgData name="Antoine LAFOREST" userId="9365c212-db52-41a7-ab4a-025e62d16201" providerId="ADAL" clId="{61909AA8-2A44-3D40-B3D9-6800D9F1BB14}" dt="2024-01-31T17:50:45.839" v="420" actId="1035"/>
          <ac:spMkLst>
            <pc:docMk/>
            <pc:sldMk cId="3622754394" sldId="2147482343"/>
            <ac:spMk id="111" creationId="{2279E3F9-3A29-D80A-E504-0AE96EA12974}"/>
          </ac:spMkLst>
        </pc:spChg>
      </pc:sldChg>
      <pc:sldChg chg="add mod modShow">
        <pc:chgData name="Antoine LAFOREST" userId="9365c212-db52-41a7-ab4a-025e62d16201" providerId="ADAL" clId="{61909AA8-2A44-3D40-B3D9-6800D9F1BB14}" dt="2024-01-31T18:31:48.863" v="1192" actId="729"/>
        <pc:sldMkLst>
          <pc:docMk/>
          <pc:sldMk cId="186836146" sldId="2147482344"/>
        </pc:sldMkLst>
      </pc:sldChg>
      <pc:sldChg chg="mod modShow">
        <pc:chgData name="Antoine LAFOREST" userId="9365c212-db52-41a7-ab4a-025e62d16201" providerId="ADAL" clId="{61909AA8-2A44-3D40-B3D9-6800D9F1BB14}" dt="2024-02-02T13:53:39.194" v="5217" actId="729"/>
        <pc:sldMkLst>
          <pc:docMk/>
          <pc:sldMk cId="748802550" sldId="2147482346"/>
        </pc:sldMkLst>
      </pc:sldChg>
      <pc:sldChg chg="mod modShow">
        <pc:chgData name="Antoine LAFOREST" userId="9365c212-db52-41a7-ab4a-025e62d16201" providerId="ADAL" clId="{61909AA8-2A44-3D40-B3D9-6800D9F1BB14}" dt="2024-02-02T13:53:39.194" v="5217" actId="729"/>
        <pc:sldMkLst>
          <pc:docMk/>
          <pc:sldMk cId="2072986446" sldId="2147482348"/>
        </pc:sldMkLst>
      </pc:sldChg>
      <pc:sldChg chg="add">
        <pc:chgData name="Antoine LAFOREST" userId="9365c212-db52-41a7-ab4a-025e62d16201" providerId="ADAL" clId="{61909AA8-2A44-3D40-B3D9-6800D9F1BB14}" dt="2024-02-01T10:16:07.475" v="1250"/>
        <pc:sldMkLst>
          <pc:docMk/>
          <pc:sldMk cId="3067874887" sldId="2147482349"/>
        </pc:sldMkLst>
      </pc:sldChg>
      <pc:sldChg chg="add del mod modShow">
        <pc:chgData name="Antoine LAFOREST" userId="9365c212-db52-41a7-ab4a-025e62d16201" providerId="ADAL" clId="{61909AA8-2A44-3D40-B3D9-6800D9F1BB14}" dt="2024-02-01T16:40:49.416" v="3860" actId="2696"/>
        <pc:sldMkLst>
          <pc:docMk/>
          <pc:sldMk cId="2378650059" sldId="2147482351"/>
        </pc:sldMkLst>
      </pc:sldChg>
      <pc:sldChg chg="add">
        <pc:chgData name="Antoine LAFOREST" userId="9365c212-db52-41a7-ab4a-025e62d16201" providerId="ADAL" clId="{61909AA8-2A44-3D40-B3D9-6800D9F1BB14}" dt="2024-02-01T16:40:51.504" v="3861"/>
        <pc:sldMkLst>
          <pc:docMk/>
          <pc:sldMk cId="3278766215" sldId="2147482351"/>
        </pc:sldMkLst>
      </pc:sldChg>
      <pc:sldChg chg="delSp modSp add del mod">
        <pc:chgData name="Antoine LAFOREST" userId="9365c212-db52-41a7-ab4a-025e62d16201" providerId="ADAL" clId="{61909AA8-2A44-3D40-B3D9-6800D9F1BB14}" dt="2024-02-01T10:54:11.850" v="2401" actId="2696"/>
        <pc:sldMkLst>
          <pc:docMk/>
          <pc:sldMk cId="2101740484" sldId="2147482352"/>
        </pc:sldMkLst>
        <pc:spChg chg="del">
          <ac:chgData name="Antoine LAFOREST" userId="9365c212-db52-41a7-ab4a-025e62d16201" providerId="ADAL" clId="{61909AA8-2A44-3D40-B3D9-6800D9F1BB14}" dt="2024-02-01T10:33:50.274" v="1633" actId="478"/>
          <ac:spMkLst>
            <pc:docMk/>
            <pc:sldMk cId="2101740484" sldId="2147482352"/>
            <ac:spMk id="14" creationId="{FF5F7D32-CC2C-CF13-97D6-8F858A21D2D5}"/>
          </ac:spMkLst>
        </pc:spChg>
        <pc:spChg chg="del">
          <ac:chgData name="Antoine LAFOREST" userId="9365c212-db52-41a7-ab4a-025e62d16201" providerId="ADAL" clId="{61909AA8-2A44-3D40-B3D9-6800D9F1BB14}" dt="2024-02-01T10:33:52.502" v="1634" actId="478"/>
          <ac:spMkLst>
            <pc:docMk/>
            <pc:sldMk cId="2101740484" sldId="2147482352"/>
            <ac:spMk id="15" creationId="{EB4E0363-6D62-F2A4-5E00-074E14CEE379}"/>
          </ac:spMkLst>
        </pc:spChg>
        <pc:spChg chg="del">
          <ac:chgData name="Antoine LAFOREST" userId="9365c212-db52-41a7-ab4a-025e62d16201" providerId="ADAL" clId="{61909AA8-2A44-3D40-B3D9-6800D9F1BB14}" dt="2024-02-01T10:33:53.596" v="1635" actId="478"/>
          <ac:spMkLst>
            <pc:docMk/>
            <pc:sldMk cId="2101740484" sldId="2147482352"/>
            <ac:spMk id="26" creationId="{273768D7-5903-484D-49B0-ABAD1B96D341}"/>
          </ac:spMkLst>
        </pc:spChg>
        <pc:spChg chg="mod">
          <ac:chgData name="Antoine LAFOREST" userId="9365c212-db52-41a7-ab4a-025e62d16201" providerId="ADAL" clId="{61909AA8-2A44-3D40-B3D9-6800D9F1BB14}" dt="2024-02-01T10:37:13.287" v="1852" actId="1076"/>
          <ac:spMkLst>
            <pc:docMk/>
            <pc:sldMk cId="2101740484" sldId="2147482352"/>
            <ac:spMk id="33" creationId="{46916218-C264-A1E4-9183-8C64508A62D2}"/>
          </ac:spMkLst>
        </pc:spChg>
      </pc:sldChg>
      <pc:sldChg chg="add del">
        <pc:chgData name="Antoine LAFOREST" userId="9365c212-db52-41a7-ab4a-025e62d16201" providerId="ADAL" clId="{61909AA8-2A44-3D40-B3D9-6800D9F1BB14}" dt="2024-02-01T10:34:29.798" v="1676"/>
        <pc:sldMkLst>
          <pc:docMk/>
          <pc:sldMk cId="1065037752" sldId="2147482353"/>
        </pc:sldMkLst>
      </pc:sldChg>
      <pc:sldChg chg="addSp delSp modSp add mod">
        <pc:chgData name="Antoine LAFOREST" userId="9365c212-db52-41a7-ab4a-025e62d16201" providerId="ADAL" clId="{61909AA8-2A44-3D40-B3D9-6800D9F1BB14}" dt="2024-02-01T12:57:23.687" v="3158" actId="404"/>
        <pc:sldMkLst>
          <pc:docMk/>
          <pc:sldMk cId="2423801388" sldId="2147482353"/>
        </pc:sldMkLst>
        <pc:spChg chg="add mod">
          <ac:chgData name="Antoine LAFOREST" userId="9365c212-db52-41a7-ab4a-025e62d16201" providerId="ADAL" clId="{61909AA8-2A44-3D40-B3D9-6800D9F1BB14}" dt="2024-02-01T10:36:35.292" v="1827"/>
          <ac:spMkLst>
            <pc:docMk/>
            <pc:sldMk cId="2423801388" sldId="2147482353"/>
            <ac:spMk id="2" creationId="{144AE03F-6AE9-91A0-ED66-755BB8C5B748}"/>
          </ac:spMkLst>
        </pc:spChg>
        <pc:spChg chg="mod">
          <ac:chgData name="Antoine LAFOREST" userId="9365c212-db52-41a7-ab4a-025e62d16201" providerId="ADAL" clId="{61909AA8-2A44-3D40-B3D9-6800D9F1BB14}" dt="2024-02-01T12:57:23.687" v="3158" actId="404"/>
          <ac:spMkLst>
            <pc:docMk/>
            <pc:sldMk cId="2423801388" sldId="2147482353"/>
            <ac:spMk id="3" creationId="{96190AF9-2579-6A67-1BCE-070A77A251DD}"/>
          </ac:spMkLst>
        </pc:spChg>
        <pc:spChg chg="mod">
          <ac:chgData name="Antoine LAFOREST" userId="9365c212-db52-41a7-ab4a-025e62d16201" providerId="ADAL" clId="{61909AA8-2A44-3D40-B3D9-6800D9F1BB14}" dt="2024-02-01T10:37:19.658" v="1853"/>
          <ac:spMkLst>
            <pc:docMk/>
            <pc:sldMk cId="2423801388" sldId="2147482353"/>
            <ac:spMk id="5" creationId="{9EDECFD8-DC95-1668-57F3-8AA0891F9221}"/>
          </ac:spMkLst>
        </pc:spChg>
        <pc:spChg chg="mod">
          <ac:chgData name="Antoine LAFOREST" userId="9365c212-db52-41a7-ab4a-025e62d16201" providerId="ADAL" clId="{61909AA8-2A44-3D40-B3D9-6800D9F1BB14}" dt="2024-02-01T10:37:19.658" v="1853"/>
          <ac:spMkLst>
            <pc:docMk/>
            <pc:sldMk cId="2423801388" sldId="2147482353"/>
            <ac:spMk id="7" creationId="{31612BBD-5FAE-AFC9-E34B-9CAF99080330}"/>
          </ac:spMkLst>
        </pc:spChg>
        <pc:spChg chg="mod">
          <ac:chgData name="Antoine LAFOREST" userId="9365c212-db52-41a7-ab4a-025e62d16201" providerId="ADAL" clId="{61909AA8-2A44-3D40-B3D9-6800D9F1BB14}" dt="2024-02-01T10:37:19.658" v="1853"/>
          <ac:spMkLst>
            <pc:docMk/>
            <pc:sldMk cId="2423801388" sldId="2147482353"/>
            <ac:spMk id="8" creationId="{1BC48B08-B840-1601-E132-78CA5E90CECC}"/>
          </ac:spMkLst>
        </pc:spChg>
        <pc:spChg chg="mod">
          <ac:chgData name="Antoine LAFOREST" userId="9365c212-db52-41a7-ab4a-025e62d16201" providerId="ADAL" clId="{61909AA8-2A44-3D40-B3D9-6800D9F1BB14}" dt="2024-02-01T10:37:19.658" v="1853"/>
          <ac:spMkLst>
            <pc:docMk/>
            <pc:sldMk cId="2423801388" sldId="2147482353"/>
            <ac:spMk id="9" creationId="{80539596-89AB-6C73-78C0-92D8EF24B840}"/>
          </ac:spMkLst>
        </pc:spChg>
        <pc:spChg chg="mod">
          <ac:chgData name="Antoine LAFOREST" userId="9365c212-db52-41a7-ab4a-025e62d16201" providerId="ADAL" clId="{61909AA8-2A44-3D40-B3D9-6800D9F1BB14}" dt="2024-02-01T10:37:19.658" v="1853"/>
          <ac:spMkLst>
            <pc:docMk/>
            <pc:sldMk cId="2423801388" sldId="2147482353"/>
            <ac:spMk id="10" creationId="{72F6860C-EE79-2D34-5960-D80CF59939A7}"/>
          </ac:spMkLst>
        </pc:spChg>
        <pc:spChg chg="mod">
          <ac:chgData name="Antoine LAFOREST" userId="9365c212-db52-41a7-ab4a-025e62d16201" providerId="ADAL" clId="{61909AA8-2A44-3D40-B3D9-6800D9F1BB14}" dt="2024-02-01T10:37:19.658" v="1853"/>
          <ac:spMkLst>
            <pc:docMk/>
            <pc:sldMk cId="2423801388" sldId="2147482353"/>
            <ac:spMk id="12" creationId="{71D9BCC6-639A-BDCD-A875-171851C01A58}"/>
          </ac:spMkLst>
        </pc:spChg>
        <pc:spChg chg="mod">
          <ac:chgData name="Antoine LAFOREST" userId="9365c212-db52-41a7-ab4a-025e62d16201" providerId="ADAL" clId="{61909AA8-2A44-3D40-B3D9-6800D9F1BB14}" dt="2024-02-01T10:37:19.658" v="1853"/>
          <ac:spMkLst>
            <pc:docMk/>
            <pc:sldMk cId="2423801388" sldId="2147482353"/>
            <ac:spMk id="13" creationId="{1618AC90-3277-CA9B-57A4-EE82C54574AF}"/>
          </ac:spMkLst>
        </pc:spChg>
        <pc:spChg chg="mod">
          <ac:chgData name="Antoine LAFOREST" userId="9365c212-db52-41a7-ab4a-025e62d16201" providerId="ADAL" clId="{61909AA8-2A44-3D40-B3D9-6800D9F1BB14}" dt="2024-02-01T10:37:19.658" v="1853"/>
          <ac:spMkLst>
            <pc:docMk/>
            <pc:sldMk cId="2423801388" sldId="2147482353"/>
            <ac:spMk id="15" creationId="{49A5D792-CD61-45A3-8F08-37A2D40C2F4E}"/>
          </ac:spMkLst>
        </pc:spChg>
        <pc:spChg chg="mod">
          <ac:chgData name="Antoine LAFOREST" userId="9365c212-db52-41a7-ab4a-025e62d16201" providerId="ADAL" clId="{61909AA8-2A44-3D40-B3D9-6800D9F1BB14}" dt="2024-02-01T10:37:19.658" v="1853"/>
          <ac:spMkLst>
            <pc:docMk/>
            <pc:sldMk cId="2423801388" sldId="2147482353"/>
            <ac:spMk id="17" creationId="{D3BCFA8F-1A17-B99D-96A2-F0A53941559C}"/>
          </ac:spMkLst>
        </pc:spChg>
        <pc:spChg chg="mod">
          <ac:chgData name="Antoine LAFOREST" userId="9365c212-db52-41a7-ab4a-025e62d16201" providerId="ADAL" clId="{61909AA8-2A44-3D40-B3D9-6800D9F1BB14}" dt="2024-02-01T10:37:03.731" v="1850" actId="1035"/>
          <ac:spMkLst>
            <pc:docMk/>
            <pc:sldMk cId="2423801388" sldId="2147482353"/>
            <ac:spMk id="18" creationId="{FC583004-EE05-1F5C-23A4-2E5C775A156D}"/>
          </ac:spMkLst>
        </pc:spChg>
        <pc:spChg chg="mod">
          <ac:chgData name="Antoine LAFOREST" userId="9365c212-db52-41a7-ab4a-025e62d16201" providerId="ADAL" clId="{61909AA8-2A44-3D40-B3D9-6800D9F1BB14}" dt="2024-02-01T10:37:19.658" v="1853"/>
          <ac:spMkLst>
            <pc:docMk/>
            <pc:sldMk cId="2423801388" sldId="2147482353"/>
            <ac:spMk id="19" creationId="{AB92D326-DCAD-5EC8-169E-47FC4720AB99}"/>
          </ac:spMkLst>
        </pc:spChg>
        <pc:spChg chg="mod">
          <ac:chgData name="Antoine LAFOREST" userId="9365c212-db52-41a7-ab4a-025e62d16201" providerId="ADAL" clId="{61909AA8-2A44-3D40-B3D9-6800D9F1BB14}" dt="2024-02-01T10:37:03.731" v="1850" actId="1035"/>
          <ac:spMkLst>
            <pc:docMk/>
            <pc:sldMk cId="2423801388" sldId="2147482353"/>
            <ac:spMk id="20" creationId="{384D5CE8-3527-C19A-E8DD-15A14CA35F7B}"/>
          </ac:spMkLst>
        </pc:spChg>
        <pc:spChg chg="mod">
          <ac:chgData name="Antoine LAFOREST" userId="9365c212-db52-41a7-ab4a-025e62d16201" providerId="ADAL" clId="{61909AA8-2A44-3D40-B3D9-6800D9F1BB14}" dt="2024-02-01T10:37:03.731" v="1850" actId="1035"/>
          <ac:spMkLst>
            <pc:docMk/>
            <pc:sldMk cId="2423801388" sldId="2147482353"/>
            <ac:spMk id="21" creationId="{EF649595-2B9A-D1EC-1BED-E3088412C1E3}"/>
          </ac:spMkLst>
        </pc:spChg>
        <pc:spChg chg="mod">
          <ac:chgData name="Antoine LAFOREST" userId="9365c212-db52-41a7-ab4a-025e62d16201" providerId="ADAL" clId="{61909AA8-2A44-3D40-B3D9-6800D9F1BB14}" dt="2024-02-01T10:37:03.731" v="1850" actId="1035"/>
          <ac:spMkLst>
            <pc:docMk/>
            <pc:sldMk cId="2423801388" sldId="2147482353"/>
            <ac:spMk id="22" creationId="{DB0661A6-E7D9-68FE-BB5D-F60C3D2143AB}"/>
          </ac:spMkLst>
        </pc:spChg>
        <pc:spChg chg="mod">
          <ac:chgData name="Antoine LAFOREST" userId="9365c212-db52-41a7-ab4a-025e62d16201" providerId="ADAL" clId="{61909AA8-2A44-3D40-B3D9-6800D9F1BB14}" dt="2024-02-01T10:37:19.658" v="1853"/>
          <ac:spMkLst>
            <pc:docMk/>
            <pc:sldMk cId="2423801388" sldId="2147482353"/>
            <ac:spMk id="24" creationId="{EF0F4379-7209-8599-77B1-80675214D746}"/>
          </ac:spMkLst>
        </pc:spChg>
        <pc:spChg chg="add del mod">
          <ac:chgData name="Antoine LAFOREST" userId="9365c212-db52-41a7-ab4a-025e62d16201" providerId="ADAL" clId="{61909AA8-2A44-3D40-B3D9-6800D9F1BB14}" dt="2024-02-01T10:48:53.602" v="2191" actId="478"/>
          <ac:spMkLst>
            <pc:docMk/>
            <pc:sldMk cId="2423801388" sldId="2147482353"/>
            <ac:spMk id="25" creationId="{E6A874BA-0400-EAF6-758E-86759CAA7553}"/>
          </ac:spMkLst>
        </pc:spChg>
        <pc:spChg chg="mod">
          <ac:chgData name="Antoine LAFOREST" userId="9365c212-db52-41a7-ab4a-025e62d16201" providerId="ADAL" clId="{61909AA8-2A44-3D40-B3D9-6800D9F1BB14}" dt="2024-02-01T10:37:03.731" v="1850" actId="1035"/>
          <ac:spMkLst>
            <pc:docMk/>
            <pc:sldMk cId="2423801388" sldId="2147482353"/>
            <ac:spMk id="26" creationId="{E1AC5E22-852B-1F53-1B14-EDE0B7D4986E}"/>
          </ac:spMkLst>
        </pc:spChg>
        <pc:spChg chg="mod">
          <ac:chgData name="Antoine LAFOREST" userId="9365c212-db52-41a7-ab4a-025e62d16201" providerId="ADAL" clId="{61909AA8-2A44-3D40-B3D9-6800D9F1BB14}" dt="2024-02-01T10:37:03.731" v="1850" actId="1035"/>
          <ac:spMkLst>
            <pc:docMk/>
            <pc:sldMk cId="2423801388" sldId="2147482353"/>
            <ac:spMk id="28" creationId="{147B2909-1383-913D-D613-2F8D1AEE51C7}"/>
          </ac:spMkLst>
        </pc:spChg>
        <pc:spChg chg="mod">
          <ac:chgData name="Antoine LAFOREST" userId="9365c212-db52-41a7-ab4a-025e62d16201" providerId="ADAL" clId="{61909AA8-2A44-3D40-B3D9-6800D9F1BB14}" dt="2024-02-01T10:37:19.658" v="1853"/>
          <ac:spMkLst>
            <pc:docMk/>
            <pc:sldMk cId="2423801388" sldId="2147482353"/>
            <ac:spMk id="29" creationId="{01D60BA5-B0A1-500A-DEDA-7D301C50324F}"/>
          </ac:spMkLst>
        </pc:spChg>
        <pc:spChg chg="mod">
          <ac:chgData name="Antoine LAFOREST" userId="9365c212-db52-41a7-ab4a-025e62d16201" providerId="ADAL" clId="{61909AA8-2A44-3D40-B3D9-6800D9F1BB14}" dt="2024-02-01T10:37:03.731" v="1850" actId="1035"/>
          <ac:spMkLst>
            <pc:docMk/>
            <pc:sldMk cId="2423801388" sldId="2147482353"/>
            <ac:spMk id="30" creationId="{6E1CD508-B83C-5AB2-B637-34124C586CA8}"/>
          </ac:spMkLst>
        </pc:spChg>
        <pc:spChg chg="mod">
          <ac:chgData name="Antoine LAFOREST" userId="9365c212-db52-41a7-ab4a-025e62d16201" providerId="ADAL" clId="{61909AA8-2A44-3D40-B3D9-6800D9F1BB14}" dt="2024-02-01T10:37:19.658" v="1853"/>
          <ac:spMkLst>
            <pc:docMk/>
            <pc:sldMk cId="2423801388" sldId="2147482353"/>
            <ac:spMk id="31" creationId="{59CAA81F-B0FB-80FC-960D-8852967137B4}"/>
          </ac:spMkLst>
        </pc:spChg>
        <pc:spChg chg="del mod">
          <ac:chgData name="Antoine LAFOREST" userId="9365c212-db52-41a7-ab4a-025e62d16201" providerId="ADAL" clId="{61909AA8-2A44-3D40-B3D9-6800D9F1BB14}" dt="2024-02-01T10:48:48.288" v="2189" actId="478"/>
          <ac:spMkLst>
            <pc:docMk/>
            <pc:sldMk cId="2423801388" sldId="2147482353"/>
            <ac:spMk id="32" creationId="{C98F4E55-3BD4-8C7C-D015-489F2B2921F7}"/>
          </ac:spMkLst>
        </pc:spChg>
        <pc:spChg chg="mod">
          <ac:chgData name="Antoine LAFOREST" userId="9365c212-db52-41a7-ab4a-025e62d16201" providerId="ADAL" clId="{61909AA8-2A44-3D40-B3D9-6800D9F1BB14}" dt="2024-02-01T10:37:19.658" v="1853"/>
          <ac:spMkLst>
            <pc:docMk/>
            <pc:sldMk cId="2423801388" sldId="2147482353"/>
            <ac:spMk id="33" creationId="{13F6D2BA-63EF-F901-5C46-119737AAF8F1}"/>
          </ac:spMkLst>
        </pc:spChg>
        <pc:spChg chg="add del mod">
          <ac:chgData name="Antoine LAFOREST" userId="9365c212-db52-41a7-ab4a-025e62d16201" providerId="ADAL" clId="{61909AA8-2A44-3D40-B3D9-6800D9F1BB14}" dt="2024-02-01T10:48:45.604" v="2188" actId="21"/>
          <ac:spMkLst>
            <pc:docMk/>
            <pc:sldMk cId="2423801388" sldId="2147482353"/>
            <ac:spMk id="35" creationId="{4DF9FEF5-CD0E-11FC-4612-8BE09080456F}"/>
          </ac:spMkLst>
        </pc:spChg>
        <pc:spChg chg="mod">
          <ac:chgData name="Antoine LAFOREST" userId="9365c212-db52-41a7-ab4a-025e62d16201" providerId="ADAL" clId="{61909AA8-2A44-3D40-B3D9-6800D9F1BB14}" dt="2024-02-01T10:37:03.731" v="1850" actId="1035"/>
          <ac:spMkLst>
            <pc:docMk/>
            <pc:sldMk cId="2423801388" sldId="2147482353"/>
            <ac:spMk id="36" creationId="{485DC901-F136-02B3-E77B-DB4DCF7629F0}"/>
          </ac:spMkLst>
        </pc:spChg>
        <pc:spChg chg="mod">
          <ac:chgData name="Antoine LAFOREST" userId="9365c212-db52-41a7-ab4a-025e62d16201" providerId="ADAL" clId="{61909AA8-2A44-3D40-B3D9-6800D9F1BB14}" dt="2024-02-01T10:37:03.731" v="1850" actId="1035"/>
          <ac:spMkLst>
            <pc:docMk/>
            <pc:sldMk cId="2423801388" sldId="2147482353"/>
            <ac:spMk id="37" creationId="{5BE20F26-87D3-7AB5-F8EE-B25385FAF0F1}"/>
          </ac:spMkLst>
        </pc:spChg>
        <pc:spChg chg="mod">
          <ac:chgData name="Antoine LAFOREST" userId="9365c212-db52-41a7-ab4a-025e62d16201" providerId="ADAL" clId="{61909AA8-2A44-3D40-B3D9-6800D9F1BB14}" dt="2024-02-01T10:37:19.658" v="1853"/>
          <ac:spMkLst>
            <pc:docMk/>
            <pc:sldMk cId="2423801388" sldId="2147482353"/>
            <ac:spMk id="38" creationId="{68280A59-C348-EA17-567F-2B685A7D9422}"/>
          </ac:spMkLst>
        </pc:spChg>
        <pc:spChg chg="mod">
          <ac:chgData name="Antoine LAFOREST" userId="9365c212-db52-41a7-ab4a-025e62d16201" providerId="ADAL" clId="{61909AA8-2A44-3D40-B3D9-6800D9F1BB14}" dt="2024-02-01T10:37:19.658" v="1853"/>
          <ac:spMkLst>
            <pc:docMk/>
            <pc:sldMk cId="2423801388" sldId="2147482353"/>
            <ac:spMk id="40" creationId="{ADF29BF5-0072-BF40-C3BE-9B63A40FBB99}"/>
          </ac:spMkLst>
        </pc:spChg>
        <pc:spChg chg="mod">
          <ac:chgData name="Antoine LAFOREST" userId="9365c212-db52-41a7-ab4a-025e62d16201" providerId="ADAL" clId="{61909AA8-2A44-3D40-B3D9-6800D9F1BB14}" dt="2024-02-01T10:37:19.658" v="1853"/>
          <ac:spMkLst>
            <pc:docMk/>
            <pc:sldMk cId="2423801388" sldId="2147482353"/>
            <ac:spMk id="41" creationId="{A1ACAD3A-3AAF-7305-C5B4-700AAAE1B117}"/>
          </ac:spMkLst>
        </pc:spChg>
        <pc:spChg chg="mod">
          <ac:chgData name="Antoine LAFOREST" userId="9365c212-db52-41a7-ab4a-025e62d16201" providerId="ADAL" clId="{61909AA8-2A44-3D40-B3D9-6800D9F1BB14}" dt="2024-02-01T10:37:19.658" v="1853"/>
          <ac:spMkLst>
            <pc:docMk/>
            <pc:sldMk cId="2423801388" sldId="2147482353"/>
            <ac:spMk id="42" creationId="{0FEEC157-D968-9E9B-EFF5-41377A265457}"/>
          </ac:spMkLst>
        </pc:spChg>
        <pc:spChg chg="add mod">
          <ac:chgData name="Antoine LAFOREST" userId="9365c212-db52-41a7-ab4a-025e62d16201" providerId="ADAL" clId="{61909AA8-2A44-3D40-B3D9-6800D9F1BB14}" dt="2024-02-01T10:48:49.536" v="2190"/>
          <ac:spMkLst>
            <pc:docMk/>
            <pc:sldMk cId="2423801388" sldId="2147482353"/>
            <ac:spMk id="43" creationId="{9A3A27F2-D257-396B-F35C-BA0E194A6200}"/>
          </ac:spMkLst>
        </pc:spChg>
        <pc:spChg chg="mod">
          <ac:chgData name="Antoine LAFOREST" userId="9365c212-db52-41a7-ab4a-025e62d16201" providerId="ADAL" clId="{61909AA8-2A44-3D40-B3D9-6800D9F1BB14}" dt="2024-02-01T10:37:03.731" v="1850" actId="1035"/>
          <ac:spMkLst>
            <pc:docMk/>
            <pc:sldMk cId="2423801388" sldId="2147482353"/>
            <ac:spMk id="47" creationId="{E2B1786A-CC54-0923-34FE-9E06795851D5}"/>
          </ac:spMkLst>
        </pc:spChg>
        <pc:spChg chg="mod">
          <ac:chgData name="Antoine LAFOREST" userId="9365c212-db52-41a7-ab4a-025e62d16201" providerId="ADAL" clId="{61909AA8-2A44-3D40-B3D9-6800D9F1BB14}" dt="2024-02-01T10:37:03.731" v="1850" actId="1035"/>
          <ac:spMkLst>
            <pc:docMk/>
            <pc:sldMk cId="2423801388" sldId="2147482353"/>
            <ac:spMk id="48" creationId="{6FD809D1-AFF5-A7B9-76E6-017799C23F93}"/>
          </ac:spMkLst>
        </pc:spChg>
        <pc:spChg chg="add del mod">
          <ac:chgData name="Antoine LAFOREST" userId="9365c212-db52-41a7-ab4a-025e62d16201" providerId="ADAL" clId="{61909AA8-2A44-3D40-B3D9-6800D9F1BB14}" dt="2024-02-01T10:48:53.602" v="2191" actId="478"/>
          <ac:spMkLst>
            <pc:docMk/>
            <pc:sldMk cId="2423801388" sldId="2147482353"/>
            <ac:spMk id="49" creationId="{E682126A-0B52-C217-3994-E80EEB46D6A1}"/>
          </ac:spMkLst>
        </pc:spChg>
        <pc:spChg chg="mod">
          <ac:chgData name="Antoine LAFOREST" userId="9365c212-db52-41a7-ab4a-025e62d16201" providerId="ADAL" clId="{61909AA8-2A44-3D40-B3D9-6800D9F1BB14}" dt="2024-02-01T10:39:42.645" v="1952" actId="404"/>
          <ac:spMkLst>
            <pc:docMk/>
            <pc:sldMk cId="2423801388" sldId="2147482353"/>
            <ac:spMk id="50" creationId="{CB10D352-BFCA-9ED3-F19C-737FC129AF8C}"/>
          </ac:spMkLst>
        </pc:spChg>
        <pc:spChg chg="mod">
          <ac:chgData name="Antoine LAFOREST" userId="9365c212-db52-41a7-ab4a-025e62d16201" providerId="ADAL" clId="{61909AA8-2A44-3D40-B3D9-6800D9F1BB14}" dt="2024-02-01T10:39:42.645" v="1952" actId="404"/>
          <ac:spMkLst>
            <pc:docMk/>
            <pc:sldMk cId="2423801388" sldId="2147482353"/>
            <ac:spMk id="51" creationId="{93C48C7C-8046-E347-5637-192CEEF8A1F2}"/>
          </ac:spMkLst>
        </pc:spChg>
        <pc:spChg chg="mod">
          <ac:chgData name="Antoine LAFOREST" userId="9365c212-db52-41a7-ab4a-025e62d16201" providerId="ADAL" clId="{61909AA8-2A44-3D40-B3D9-6800D9F1BB14}" dt="2024-02-01T10:39:42.645" v="1952" actId="404"/>
          <ac:spMkLst>
            <pc:docMk/>
            <pc:sldMk cId="2423801388" sldId="2147482353"/>
            <ac:spMk id="52" creationId="{D1E6F53B-1A51-CCBE-77A9-0B0D119D3BCD}"/>
          </ac:spMkLst>
        </pc:spChg>
        <pc:spChg chg="mod">
          <ac:chgData name="Antoine LAFOREST" userId="9365c212-db52-41a7-ab4a-025e62d16201" providerId="ADAL" clId="{61909AA8-2A44-3D40-B3D9-6800D9F1BB14}" dt="2024-02-01T10:48:36.749" v="2155" actId="1038"/>
          <ac:spMkLst>
            <pc:docMk/>
            <pc:sldMk cId="2423801388" sldId="2147482353"/>
            <ac:spMk id="53" creationId="{D8EAF499-2F60-FCF4-5F47-72E4B971D9D0}"/>
          </ac:spMkLst>
        </pc:spChg>
        <pc:spChg chg="add del mod">
          <ac:chgData name="Antoine LAFOREST" userId="9365c212-db52-41a7-ab4a-025e62d16201" providerId="ADAL" clId="{61909AA8-2A44-3D40-B3D9-6800D9F1BB14}" dt="2024-02-01T10:48:56.429" v="2192" actId="478"/>
          <ac:spMkLst>
            <pc:docMk/>
            <pc:sldMk cId="2423801388" sldId="2147482353"/>
            <ac:spMk id="54" creationId="{5F2DBF7B-9EF1-1787-FFA4-59DAB27F8670}"/>
          </ac:spMkLst>
        </pc:spChg>
        <pc:spChg chg="mod">
          <ac:chgData name="Antoine LAFOREST" userId="9365c212-db52-41a7-ab4a-025e62d16201" providerId="ADAL" clId="{61909AA8-2A44-3D40-B3D9-6800D9F1BB14}" dt="2024-02-01T10:40:36.676" v="1973" actId="20577"/>
          <ac:spMkLst>
            <pc:docMk/>
            <pc:sldMk cId="2423801388" sldId="2147482353"/>
            <ac:spMk id="55" creationId="{9F75F3E5-F69C-9D3A-7509-EF9C11B0A9CF}"/>
          </ac:spMkLst>
        </pc:spChg>
        <pc:spChg chg="del mod">
          <ac:chgData name="Antoine LAFOREST" userId="9365c212-db52-41a7-ab4a-025e62d16201" providerId="ADAL" clId="{61909AA8-2A44-3D40-B3D9-6800D9F1BB14}" dt="2024-02-01T10:46:23.340" v="2143" actId="478"/>
          <ac:spMkLst>
            <pc:docMk/>
            <pc:sldMk cId="2423801388" sldId="2147482353"/>
            <ac:spMk id="56" creationId="{72BBC603-7951-8A38-11F7-72161A8196C6}"/>
          </ac:spMkLst>
        </pc:spChg>
        <pc:spChg chg="mod">
          <ac:chgData name="Antoine LAFOREST" userId="9365c212-db52-41a7-ab4a-025e62d16201" providerId="ADAL" clId="{61909AA8-2A44-3D40-B3D9-6800D9F1BB14}" dt="2024-02-01T10:53:52.288" v="2400" actId="20577"/>
          <ac:spMkLst>
            <pc:docMk/>
            <pc:sldMk cId="2423801388" sldId="2147482353"/>
            <ac:spMk id="57" creationId="{274894B7-309A-1B91-6B4F-A0EE0C2A93FF}"/>
          </ac:spMkLst>
        </pc:spChg>
        <pc:spChg chg="mod">
          <ac:chgData name="Antoine LAFOREST" userId="9365c212-db52-41a7-ab4a-025e62d16201" providerId="ADAL" clId="{61909AA8-2A44-3D40-B3D9-6800D9F1BB14}" dt="2024-02-01T10:53:37.921" v="2399" actId="20577"/>
          <ac:spMkLst>
            <pc:docMk/>
            <pc:sldMk cId="2423801388" sldId="2147482353"/>
            <ac:spMk id="58" creationId="{EFDA0D1F-58E0-D205-3625-A430E77AC18D}"/>
          </ac:spMkLst>
        </pc:spChg>
        <pc:spChg chg="mod">
          <ac:chgData name="Antoine LAFOREST" userId="9365c212-db52-41a7-ab4a-025e62d16201" providerId="ADAL" clId="{61909AA8-2A44-3D40-B3D9-6800D9F1BB14}" dt="2024-02-01T10:49:15.712" v="2221" actId="20577"/>
          <ac:spMkLst>
            <pc:docMk/>
            <pc:sldMk cId="2423801388" sldId="2147482353"/>
            <ac:spMk id="59" creationId="{3D1D9B72-3844-B3EF-FDF0-42F88CBC45B1}"/>
          </ac:spMkLst>
        </pc:spChg>
        <pc:spChg chg="mod">
          <ac:chgData name="Antoine LAFOREST" userId="9365c212-db52-41a7-ab4a-025e62d16201" providerId="ADAL" clId="{61909AA8-2A44-3D40-B3D9-6800D9F1BB14}" dt="2024-02-01T10:51:52.161" v="2331" actId="20577"/>
          <ac:spMkLst>
            <pc:docMk/>
            <pc:sldMk cId="2423801388" sldId="2147482353"/>
            <ac:spMk id="108" creationId="{6CB497C4-15D0-10D4-906C-2F0B6BF15CBE}"/>
          </ac:spMkLst>
        </pc:spChg>
        <pc:grpChg chg="add mod">
          <ac:chgData name="Antoine LAFOREST" userId="9365c212-db52-41a7-ab4a-025e62d16201" providerId="ADAL" clId="{61909AA8-2A44-3D40-B3D9-6800D9F1BB14}" dt="2024-02-01T10:37:19.658" v="1853"/>
          <ac:grpSpMkLst>
            <pc:docMk/>
            <pc:sldMk cId="2423801388" sldId="2147482353"/>
            <ac:grpSpMk id="4" creationId="{B4EDB457-5530-DA9F-23EC-02689ECEDFB6}"/>
          </ac:grpSpMkLst>
        </pc:grpChg>
        <pc:grpChg chg="mod">
          <ac:chgData name="Antoine LAFOREST" userId="9365c212-db52-41a7-ab4a-025e62d16201" providerId="ADAL" clId="{61909AA8-2A44-3D40-B3D9-6800D9F1BB14}" dt="2024-02-01T10:37:19.658" v="1853"/>
          <ac:grpSpMkLst>
            <pc:docMk/>
            <pc:sldMk cId="2423801388" sldId="2147482353"/>
            <ac:grpSpMk id="6" creationId="{1546815E-738A-B5DE-18E1-E172E8324E19}"/>
          </ac:grpSpMkLst>
        </pc:grpChg>
        <pc:grpChg chg="add mod">
          <ac:chgData name="Antoine LAFOREST" userId="9365c212-db52-41a7-ab4a-025e62d16201" providerId="ADAL" clId="{61909AA8-2A44-3D40-B3D9-6800D9F1BB14}" dt="2024-02-01T10:37:19.658" v="1853"/>
          <ac:grpSpMkLst>
            <pc:docMk/>
            <pc:sldMk cId="2423801388" sldId="2147482353"/>
            <ac:grpSpMk id="11" creationId="{8B284B0A-142C-DB67-6F1F-60C5055AE2BC}"/>
          </ac:grpSpMkLst>
        </pc:grpChg>
        <pc:grpChg chg="add mod">
          <ac:chgData name="Antoine LAFOREST" userId="9365c212-db52-41a7-ab4a-025e62d16201" providerId="ADAL" clId="{61909AA8-2A44-3D40-B3D9-6800D9F1BB14}" dt="2024-02-01T10:37:19.658" v="1853"/>
          <ac:grpSpMkLst>
            <pc:docMk/>
            <pc:sldMk cId="2423801388" sldId="2147482353"/>
            <ac:grpSpMk id="14" creationId="{676DB727-5005-149E-E52C-7DAD23DBD1F1}"/>
          </ac:grpSpMkLst>
        </pc:grpChg>
        <pc:grpChg chg="mod">
          <ac:chgData name="Antoine LAFOREST" userId="9365c212-db52-41a7-ab4a-025e62d16201" providerId="ADAL" clId="{61909AA8-2A44-3D40-B3D9-6800D9F1BB14}" dt="2024-02-01T10:37:19.658" v="1853"/>
          <ac:grpSpMkLst>
            <pc:docMk/>
            <pc:sldMk cId="2423801388" sldId="2147482353"/>
            <ac:grpSpMk id="16" creationId="{43133628-7A41-A233-65E1-32E2921C82B9}"/>
          </ac:grpSpMkLst>
        </pc:grpChg>
        <pc:grpChg chg="add mod">
          <ac:chgData name="Antoine LAFOREST" userId="9365c212-db52-41a7-ab4a-025e62d16201" providerId="ADAL" clId="{61909AA8-2A44-3D40-B3D9-6800D9F1BB14}" dt="2024-02-01T10:37:19.658" v="1853"/>
          <ac:grpSpMkLst>
            <pc:docMk/>
            <pc:sldMk cId="2423801388" sldId="2147482353"/>
            <ac:grpSpMk id="23" creationId="{BBDB3C23-9B66-A5EF-4DA5-6C2FD42855AD}"/>
          </ac:grpSpMkLst>
        </pc:grpChg>
        <pc:grpChg chg="mod">
          <ac:chgData name="Antoine LAFOREST" userId="9365c212-db52-41a7-ab4a-025e62d16201" providerId="ADAL" clId="{61909AA8-2A44-3D40-B3D9-6800D9F1BB14}" dt="2024-02-01T10:37:19.658" v="1853"/>
          <ac:grpSpMkLst>
            <pc:docMk/>
            <pc:sldMk cId="2423801388" sldId="2147482353"/>
            <ac:grpSpMk id="27" creationId="{5A8135E0-882B-397C-9728-03CAF3E52C1B}"/>
          </ac:grpSpMkLst>
        </pc:grpChg>
        <pc:grpChg chg="add del mod">
          <ac:chgData name="Antoine LAFOREST" userId="9365c212-db52-41a7-ab4a-025e62d16201" providerId="ADAL" clId="{61909AA8-2A44-3D40-B3D9-6800D9F1BB14}" dt="2024-02-01T10:46:16.365" v="2142" actId="478"/>
          <ac:grpSpMkLst>
            <pc:docMk/>
            <pc:sldMk cId="2423801388" sldId="2147482353"/>
            <ac:grpSpMk id="34" creationId="{14702A36-A929-A013-9AFB-D47CA2857D06}"/>
          </ac:grpSpMkLst>
        </pc:grpChg>
        <pc:grpChg chg="mod">
          <ac:chgData name="Antoine LAFOREST" userId="9365c212-db52-41a7-ab4a-025e62d16201" providerId="ADAL" clId="{61909AA8-2A44-3D40-B3D9-6800D9F1BB14}" dt="2024-02-01T10:37:19.658" v="1853"/>
          <ac:grpSpMkLst>
            <pc:docMk/>
            <pc:sldMk cId="2423801388" sldId="2147482353"/>
            <ac:grpSpMk id="39" creationId="{4F0DE52B-177C-B0F1-537B-CB312D89EE4A}"/>
          </ac:grpSpMkLst>
        </pc:grpChg>
        <pc:grpChg chg="mod">
          <ac:chgData name="Antoine LAFOREST" userId="9365c212-db52-41a7-ab4a-025e62d16201" providerId="ADAL" clId="{61909AA8-2A44-3D40-B3D9-6800D9F1BB14}" dt="2024-02-01T10:37:03.731" v="1850" actId="1035"/>
          <ac:grpSpMkLst>
            <pc:docMk/>
            <pc:sldMk cId="2423801388" sldId="2147482353"/>
            <ac:grpSpMk id="60" creationId="{1A55A327-1844-6E11-9E84-9D851DAA04E4}"/>
          </ac:grpSpMkLst>
        </pc:grpChg>
        <pc:grpChg chg="mod">
          <ac:chgData name="Antoine LAFOREST" userId="9365c212-db52-41a7-ab4a-025e62d16201" providerId="ADAL" clId="{61909AA8-2A44-3D40-B3D9-6800D9F1BB14}" dt="2024-02-01T10:37:03.731" v="1850" actId="1035"/>
          <ac:grpSpMkLst>
            <pc:docMk/>
            <pc:sldMk cId="2423801388" sldId="2147482353"/>
            <ac:grpSpMk id="70" creationId="{AE02FF44-0F90-D038-C9B2-664F86EED3FE}"/>
          </ac:grpSpMkLst>
        </pc:grpChg>
        <pc:picChg chg="mod">
          <ac:chgData name="Antoine LAFOREST" userId="9365c212-db52-41a7-ab4a-025e62d16201" providerId="ADAL" clId="{61909AA8-2A44-3D40-B3D9-6800D9F1BB14}" dt="2024-02-01T10:37:03.731" v="1850" actId="1035"/>
          <ac:picMkLst>
            <pc:docMk/>
            <pc:sldMk cId="2423801388" sldId="2147482353"/>
            <ac:picMk id="97" creationId="{2973FEAF-1985-351C-4CE2-4E884276E5FA}"/>
          </ac:picMkLst>
        </pc:picChg>
        <pc:picChg chg="add del mod">
          <ac:chgData name="Antoine LAFOREST" userId="9365c212-db52-41a7-ab4a-025e62d16201" providerId="ADAL" clId="{61909AA8-2A44-3D40-B3D9-6800D9F1BB14}" dt="2024-02-01T10:48:53.602" v="2191" actId="478"/>
          <ac:picMkLst>
            <pc:docMk/>
            <pc:sldMk cId="2423801388" sldId="2147482353"/>
            <ac:picMk id="101" creationId="{98248877-53C2-8AFB-A9CF-0C5DE9548FB5}"/>
          </ac:picMkLst>
        </pc:picChg>
        <pc:picChg chg="mod">
          <ac:chgData name="Antoine LAFOREST" userId="9365c212-db52-41a7-ab4a-025e62d16201" providerId="ADAL" clId="{61909AA8-2A44-3D40-B3D9-6800D9F1BB14}" dt="2024-02-01T10:37:03.731" v="1850" actId="1035"/>
          <ac:picMkLst>
            <pc:docMk/>
            <pc:sldMk cId="2423801388" sldId="2147482353"/>
            <ac:picMk id="107" creationId="{0B1DB2A8-ECD1-B091-4B2E-3E4430FA3C45}"/>
          </ac:picMkLst>
        </pc:picChg>
      </pc:sldChg>
      <pc:sldChg chg="delSp modSp">
        <pc:chgData name="Antoine LAFOREST" userId="9365c212-db52-41a7-ab4a-025e62d16201" providerId="ADAL" clId="{61909AA8-2A44-3D40-B3D9-6800D9F1BB14}" dt="2024-02-01T12:38:39.690" v="2956" actId="14826"/>
        <pc:sldMkLst>
          <pc:docMk/>
          <pc:sldMk cId="2764221416" sldId="2147482354"/>
        </pc:sldMkLst>
        <pc:spChg chg="mod">
          <ac:chgData name="Antoine LAFOREST" userId="9365c212-db52-41a7-ab4a-025e62d16201" providerId="ADAL" clId="{61909AA8-2A44-3D40-B3D9-6800D9F1BB14}" dt="2024-02-01T12:38:26.924" v="2955" actId="14826"/>
          <ac:spMkLst>
            <pc:docMk/>
            <pc:sldMk cId="2764221416" sldId="2147482354"/>
            <ac:spMk id="12" creationId="{748E64C8-4429-B3A9-1B63-62F518C01507}"/>
          </ac:spMkLst>
        </pc:spChg>
        <pc:spChg chg="del">
          <ac:chgData name="Antoine LAFOREST" userId="9365c212-db52-41a7-ab4a-025e62d16201" providerId="ADAL" clId="{61909AA8-2A44-3D40-B3D9-6800D9F1BB14}" dt="2024-02-01T12:38:39.690" v="2956" actId="14826"/>
          <ac:spMkLst>
            <pc:docMk/>
            <pc:sldMk cId="2764221416" sldId="2147482354"/>
            <ac:spMk id="24" creationId="{800E1417-3EBA-0B2E-E8E7-99DC63A5730E}"/>
          </ac:spMkLst>
        </pc:spChg>
      </pc:sldChg>
      <pc:sldChg chg="addSp delSp modSp add del mod ord modShow">
        <pc:chgData name="Antoine LAFOREST" userId="9365c212-db52-41a7-ab4a-025e62d16201" providerId="ADAL" clId="{61909AA8-2A44-3D40-B3D9-6800D9F1BB14}" dt="2024-02-01T16:38:52.195" v="3820" actId="2696"/>
        <pc:sldMkLst>
          <pc:docMk/>
          <pc:sldMk cId="3517869590" sldId="2147482357"/>
        </pc:sldMkLst>
        <pc:spChg chg="add mod">
          <ac:chgData name="Antoine LAFOREST" userId="9365c212-db52-41a7-ab4a-025e62d16201" providerId="ADAL" clId="{61909AA8-2A44-3D40-B3D9-6800D9F1BB14}" dt="2024-02-01T10:59:56.465" v="2404"/>
          <ac:spMkLst>
            <pc:docMk/>
            <pc:sldMk cId="3517869590" sldId="2147482357"/>
            <ac:spMk id="5" creationId="{4435BA65-7B12-9914-698B-9F277749FE86}"/>
          </ac:spMkLst>
        </pc:spChg>
        <pc:spChg chg="del">
          <ac:chgData name="Antoine LAFOREST" userId="9365c212-db52-41a7-ab4a-025e62d16201" providerId="ADAL" clId="{61909AA8-2A44-3D40-B3D9-6800D9F1BB14}" dt="2024-02-01T11:00:02.636" v="2405" actId="478"/>
          <ac:spMkLst>
            <pc:docMk/>
            <pc:sldMk cId="3517869590" sldId="2147482357"/>
            <ac:spMk id="13" creationId="{3A9C1397-997F-64A9-A773-CDEDC9C63804}"/>
          </ac:spMkLst>
        </pc:spChg>
        <pc:spChg chg="del">
          <ac:chgData name="Antoine LAFOREST" userId="9365c212-db52-41a7-ab4a-025e62d16201" providerId="ADAL" clId="{61909AA8-2A44-3D40-B3D9-6800D9F1BB14}" dt="2024-02-01T11:00:02.636" v="2405" actId="478"/>
          <ac:spMkLst>
            <pc:docMk/>
            <pc:sldMk cId="3517869590" sldId="2147482357"/>
            <ac:spMk id="14" creationId="{A783BA27-AA79-2FBB-106A-35CAB2DDE9F2}"/>
          </ac:spMkLst>
        </pc:spChg>
        <pc:spChg chg="del">
          <ac:chgData name="Antoine LAFOREST" userId="9365c212-db52-41a7-ab4a-025e62d16201" providerId="ADAL" clId="{61909AA8-2A44-3D40-B3D9-6800D9F1BB14}" dt="2024-02-01T11:00:02.636" v="2405" actId="478"/>
          <ac:spMkLst>
            <pc:docMk/>
            <pc:sldMk cId="3517869590" sldId="2147482357"/>
            <ac:spMk id="17" creationId="{9569F144-CBE8-3479-4322-FC1DCD9439E7}"/>
          </ac:spMkLst>
        </pc:spChg>
        <pc:spChg chg="del">
          <ac:chgData name="Antoine LAFOREST" userId="9365c212-db52-41a7-ab4a-025e62d16201" providerId="ADAL" clId="{61909AA8-2A44-3D40-B3D9-6800D9F1BB14}" dt="2024-02-01T11:00:02.636" v="2405" actId="478"/>
          <ac:spMkLst>
            <pc:docMk/>
            <pc:sldMk cId="3517869590" sldId="2147482357"/>
            <ac:spMk id="18" creationId="{D34037B4-322A-8656-0AEA-8E48E39FC1A5}"/>
          </ac:spMkLst>
        </pc:spChg>
        <pc:spChg chg="del">
          <ac:chgData name="Antoine LAFOREST" userId="9365c212-db52-41a7-ab4a-025e62d16201" providerId="ADAL" clId="{61909AA8-2A44-3D40-B3D9-6800D9F1BB14}" dt="2024-02-01T11:00:02.636" v="2405" actId="478"/>
          <ac:spMkLst>
            <pc:docMk/>
            <pc:sldMk cId="3517869590" sldId="2147482357"/>
            <ac:spMk id="20" creationId="{EC185B72-C825-5B89-10BD-0B6F632408AE}"/>
          </ac:spMkLst>
        </pc:spChg>
        <pc:spChg chg="del">
          <ac:chgData name="Antoine LAFOREST" userId="9365c212-db52-41a7-ab4a-025e62d16201" providerId="ADAL" clId="{61909AA8-2A44-3D40-B3D9-6800D9F1BB14}" dt="2024-02-01T11:00:02.636" v="2405" actId="478"/>
          <ac:spMkLst>
            <pc:docMk/>
            <pc:sldMk cId="3517869590" sldId="2147482357"/>
            <ac:spMk id="21" creationId="{9404279D-B9F5-1CD1-E8CB-5D28256E0C08}"/>
          </ac:spMkLst>
        </pc:spChg>
        <pc:spChg chg="del">
          <ac:chgData name="Antoine LAFOREST" userId="9365c212-db52-41a7-ab4a-025e62d16201" providerId="ADAL" clId="{61909AA8-2A44-3D40-B3D9-6800D9F1BB14}" dt="2024-02-01T11:00:02.636" v="2405" actId="478"/>
          <ac:spMkLst>
            <pc:docMk/>
            <pc:sldMk cId="3517869590" sldId="2147482357"/>
            <ac:spMk id="22" creationId="{F38D7146-91EF-5A7A-2D09-D11E4CF2999C}"/>
          </ac:spMkLst>
        </pc:spChg>
        <pc:spChg chg="del">
          <ac:chgData name="Antoine LAFOREST" userId="9365c212-db52-41a7-ab4a-025e62d16201" providerId="ADAL" clId="{61909AA8-2A44-3D40-B3D9-6800D9F1BB14}" dt="2024-02-01T10:59:55.899" v="2403" actId="478"/>
          <ac:spMkLst>
            <pc:docMk/>
            <pc:sldMk cId="3517869590" sldId="2147482357"/>
            <ac:spMk id="50" creationId="{C5B92DBA-8025-C84A-39E6-622382991615}"/>
          </ac:spMkLst>
        </pc:spChg>
        <pc:spChg chg="del">
          <ac:chgData name="Antoine LAFOREST" userId="9365c212-db52-41a7-ab4a-025e62d16201" providerId="ADAL" clId="{61909AA8-2A44-3D40-B3D9-6800D9F1BB14}" dt="2024-02-01T11:00:02.636" v="2405" actId="478"/>
          <ac:spMkLst>
            <pc:docMk/>
            <pc:sldMk cId="3517869590" sldId="2147482357"/>
            <ac:spMk id="53" creationId="{ED1826F1-5895-27AE-BBA6-36D7284DACF8}"/>
          </ac:spMkLst>
        </pc:spChg>
      </pc:sldChg>
      <pc:sldChg chg="addSp delSp modSp add del mod">
        <pc:chgData name="Antoine LAFOREST" userId="9365c212-db52-41a7-ab4a-025e62d16201" providerId="ADAL" clId="{61909AA8-2A44-3D40-B3D9-6800D9F1BB14}" dt="2024-02-01T16:40:49.416" v="3860" actId="2696"/>
        <pc:sldMkLst>
          <pc:docMk/>
          <pc:sldMk cId="1562959687" sldId="2147482360"/>
        </pc:sldMkLst>
        <pc:spChg chg="del">
          <ac:chgData name="Antoine LAFOREST" userId="9365c212-db52-41a7-ab4a-025e62d16201" providerId="ADAL" clId="{61909AA8-2A44-3D40-B3D9-6800D9F1BB14}" dt="2024-02-01T11:03:41.223" v="2501" actId="478"/>
          <ac:spMkLst>
            <pc:docMk/>
            <pc:sldMk cId="1562959687" sldId="2147482360"/>
            <ac:spMk id="2" creationId="{2E202B0C-634B-A725-EE78-55F9CE79583C}"/>
          </ac:spMkLst>
        </pc:spChg>
        <pc:spChg chg="add mod">
          <ac:chgData name="Antoine LAFOREST" userId="9365c212-db52-41a7-ab4a-025e62d16201" providerId="ADAL" clId="{61909AA8-2A44-3D40-B3D9-6800D9F1BB14}" dt="2024-02-01T15:13:09.901" v="3507" actId="1076"/>
          <ac:spMkLst>
            <pc:docMk/>
            <pc:sldMk cId="1562959687" sldId="2147482360"/>
            <ac:spMk id="2" creationId="{4E640376-8601-5D8E-24CC-CD7D457B71B3}"/>
          </ac:spMkLst>
        </pc:spChg>
        <pc:spChg chg="mod">
          <ac:chgData name="Antoine LAFOREST" userId="9365c212-db52-41a7-ab4a-025e62d16201" providerId="ADAL" clId="{61909AA8-2A44-3D40-B3D9-6800D9F1BB14}" dt="2024-02-01T11:07:09.923" v="2677" actId="20577"/>
          <ac:spMkLst>
            <pc:docMk/>
            <pc:sldMk cId="1562959687" sldId="2147482360"/>
            <ac:spMk id="3" creationId="{0E03EAAD-0E9B-603D-F5B5-269A7443197B}"/>
          </ac:spMkLst>
        </pc:spChg>
        <pc:spChg chg="add mod">
          <ac:chgData name="Antoine LAFOREST" userId="9365c212-db52-41a7-ab4a-025e62d16201" providerId="ADAL" clId="{61909AA8-2A44-3D40-B3D9-6800D9F1BB14}" dt="2024-02-01T16:03:32.768" v="3558"/>
          <ac:spMkLst>
            <pc:docMk/>
            <pc:sldMk cId="1562959687" sldId="2147482360"/>
            <ac:spMk id="4" creationId="{63B5778E-B622-39E6-4B64-281856E5C7CB}"/>
          </ac:spMkLst>
        </pc:spChg>
        <pc:spChg chg="add mod">
          <ac:chgData name="Antoine LAFOREST" userId="9365c212-db52-41a7-ab4a-025e62d16201" providerId="ADAL" clId="{61909AA8-2A44-3D40-B3D9-6800D9F1BB14}" dt="2024-02-01T16:03:32.768" v="3558"/>
          <ac:spMkLst>
            <pc:docMk/>
            <pc:sldMk cId="1562959687" sldId="2147482360"/>
            <ac:spMk id="5" creationId="{0D85D91C-B244-5A40-68B9-9A77A37403DB}"/>
          </ac:spMkLst>
        </pc:spChg>
        <pc:spChg chg="add mod">
          <ac:chgData name="Antoine LAFOREST" userId="9365c212-db52-41a7-ab4a-025e62d16201" providerId="ADAL" clId="{61909AA8-2A44-3D40-B3D9-6800D9F1BB14}" dt="2024-02-01T16:03:32.768" v="3558"/>
          <ac:spMkLst>
            <pc:docMk/>
            <pc:sldMk cId="1562959687" sldId="2147482360"/>
            <ac:spMk id="9" creationId="{9C8DE01D-DF9B-9092-DEA2-8D691C6E6B24}"/>
          </ac:spMkLst>
        </pc:spChg>
        <pc:spChg chg="add mod">
          <ac:chgData name="Antoine LAFOREST" userId="9365c212-db52-41a7-ab4a-025e62d16201" providerId="ADAL" clId="{61909AA8-2A44-3D40-B3D9-6800D9F1BB14}" dt="2024-02-01T16:03:32.768" v="3558"/>
          <ac:spMkLst>
            <pc:docMk/>
            <pc:sldMk cId="1562959687" sldId="2147482360"/>
            <ac:spMk id="10" creationId="{FDB88B68-144B-38D5-5F5F-CB8DD10D7E2C}"/>
          </ac:spMkLst>
        </pc:spChg>
        <pc:spChg chg="add mod">
          <ac:chgData name="Antoine LAFOREST" userId="9365c212-db52-41a7-ab4a-025e62d16201" providerId="ADAL" clId="{61909AA8-2A44-3D40-B3D9-6800D9F1BB14}" dt="2024-02-01T16:03:32.768" v="3558"/>
          <ac:spMkLst>
            <pc:docMk/>
            <pc:sldMk cId="1562959687" sldId="2147482360"/>
            <ac:spMk id="11" creationId="{6E966AE5-8342-BD61-FE74-9A79C213274B}"/>
          </ac:spMkLst>
        </pc:spChg>
        <pc:spChg chg="add mod">
          <ac:chgData name="Antoine LAFOREST" userId="9365c212-db52-41a7-ab4a-025e62d16201" providerId="ADAL" clId="{61909AA8-2A44-3D40-B3D9-6800D9F1BB14}" dt="2024-02-01T16:03:32.768" v="3558"/>
          <ac:spMkLst>
            <pc:docMk/>
            <pc:sldMk cId="1562959687" sldId="2147482360"/>
            <ac:spMk id="12" creationId="{C057D3CD-F0FF-DC79-E1C6-A72F87BE76F3}"/>
          </ac:spMkLst>
        </pc:spChg>
        <pc:spChg chg="add mod">
          <ac:chgData name="Antoine LAFOREST" userId="9365c212-db52-41a7-ab4a-025e62d16201" providerId="ADAL" clId="{61909AA8-2A44-3D40-B3D9-6800D9F1BB14}" dt="2024-02-01T16:03:32.768" v="3558"/>
          <ac:spMkLst>
            <pc:docMk/>
            <pc:sldMk cId="1562959687" sldId="2147482360"/>
            <ac:spMk id="13" creationId="{C1D3D311-C7C7-4BAD-6B10-183C98A697D3}"/>
          </ac:spMkLst>
        </pc:spChg>
        <pc:spChg chg="add mod">
          <ac:chgData name="Antoine LAFOREST" userId="9365c212-db52-41a7-ab4a-025e62d16201" providerId="ADAL" clId="{61909AA8-2A44-3D40-B3D9-6800D9F1BB14}" dt="2024-02-01T16:03:32.768" v="3558"/>
          <ac:spMkLst>
            <pc:docMk/>
            <pc:sldMk cId="1562959687" sldId="2147482360"/>
            <ac:spMk id="14" creationId="{A203C5D6-04B9-A6EB-0A2C-DAD20E001B47}"/>
          </ac:spMkLst>
        </pc:spChg>
        <pc:spChg chg="add mod">
          <ac:chgData name="Antoine LAFOREST" userId="9365c212-db52-41a7-ab4a-025e62d16201" providerId="ADAL" clId="{61909AA8-2A44-3D40-B3D9-6800D9F1BB14}" dt="2024-02-01T16:03:32.768" v="3558"/>
          <ac:spMkLst>
            <pc:docMk/>
            <pc:sldMk cId="1562959687" sldId="2147482360"/>
            <ac:spMk id="15" creationId="{526D2DBB-7C39-32D8-141B-DD6227664F6F}"/>
          </ac:spMkLst>
        </pc:spChg>
        <pc:spChg chg="add mod">
          <ac:chgData name="Antoine LAFOREST" userId="9365c212-db52-41a7-ab4a-025e62d16201" providerId="ADAL" clId="{61909AA8-2A44-3D40-B3D9-6800D9F1BB14}" dt="2024-02-01T16:27:33.643" v="3795" actId="1038"/>
          <ac:spMkLst>
            <pc:docMk/>
            <pc:sldMk cId="1562959687" sldId="2147482360"/>
            <ac:spMk id="16" creationId="{933A334A-B9C8-BC7B-C1CA-465DEC6EB95B}"/>
          </ac:spMkLst>
        </pc:spChg>
        <pc:spChg chg="add mod">
          <ac:chgData name="Antoine LAFOREST" userId="9365c212-db52-41a7-ab4a-025e62d16201" providerId="ADAL" clId="{61909AA8-2A44-3D40-B3D9-6800D9F1BB14}" dt="2024-02-01T16:27:33.643" v="3795" actId="1038"/>
          <ac:spMkLst>
            <pc:docMk/>
            <pc:sldMk cId="1562959687" sldId="2147482360"/>
            <ac:spMk id="17" creationId="{2EFD651C-C94A-CE36-F768-BC08228E19DE}"/>
          </ac:spMkLst>
        </pc:spChg>
        <pc:spChg chg="add mod">
          <ac:chgData name="Antoine LAFOREST" userId="9365c212-db52-41a7-ab4a-025e62d16201" providerId="ADAL" clId="{61909AA8-2A44-3D40-B3D9-6800D9F1BB14}" dt="2024-02-01T16:27:33.643" v="3795" actId="1038"/>
          <ac:spMkLst>
            <pc:docMk/>
            <pc:sldMk cId="1562959687" sldId="2147482360"/>
            <ac:spMk id="18" creationId="{C62F7192-9108-E8DD-3745-0C8E1863B344}"/>
          </ac:spMkLst>
        </pc:spChg>
        <pc:spChg chg="del">
          <ac:chgData name="Antoine LAFOREST" userId="9365c212-db52-41a7-ab4a-025e62d16201" providerId="ADAL" clId="{61909AA8-2A44-3D40-B3D9-6800D9F1BB14}" dt="2024-02-01T11:03:30.922" v="2500" actId="478"/>
          <ac:spMkLst>
            <pc:docMk/>
            <pc:sldMk cId="1562959687" sldId="2147482360"/>
            <ac:spMk id="18" creationId="{D8B9DA0E-F0C7-9733-2384-F9040F191760}"/>
          </ac:spMkLst>
        </pc:spChg>
        <pc:spChg chg="add mod">
          <ac:chgData name="Antoine LAFOREST" userId="9365c212-db52-41a7-ab4a-025e62d16201" providerId="ADAL" clId="{61909AA8-2A44-3D40-B3D9-6800D9F1BB14}" dt="2024-02-01T16:27:33.643" v="3795" actId="1038"/>
          <ac:spMkLst>
            <pc:docMk/>
            <pc:sldMk cId="1562959687" sldId="2147482360"/>
            <ac:spMk id="19" creationId="{41001D71-D7FD-AC8B-6A64-14311F08E358}"/>
          </ac:spMkLst>
        </pc:spChg>
        <pc:spChg chg="add mod">
          <ac:chgData name="Antoine LAFOREST" userId="9365c212-db52-41a7-ab4a-025e62d16201" providerId="ADAL" clId="{61909AA8-2A44-3D40-B3D9-6800D9F1BB14}" dt="2024-02-01T16:27:33.643" v="3795" actId="1038"/>
          <ac:spMkLst>
            <pc:docMk/>
            <pc:sldMk cId="1562959687" sldId="2147482360"/>
            <ac:spMk id="20" creationId="{3BFE3977-42D7-698A-36AE-31DB9E489251}"/>
          </ac:spMkLst>
        </pc:spChg>
        <pc:spChg chg="del">
          <ac:chgData name="Antoine LAFOREST" userId="9365c212-db52-41a7-ab4a-025e62d16201" providerId="ADAL" clId="{61909AA8-2A44-3D40-B3D9-6800D9F1BB14}" dt="2024-02-01T11:03:30.922" v="2500" actId="478"/>
          <ac:spMkLst>
            <pc:docMk/>
            <pc:sldMk cId="1562959687" sldId="2147482360"/>
            <ac:spMk id="20" creationId="{C0443DD5-9344-ACE3-0E27-A4AEEC4FDBA1}"/>
          </ac:spMkLst>
        </pc:spChg>
        <pc:spChg chg="add mod">
          <ac:chgData name="Antoine LAFOREST" userId="9365c212-db52-41a7-ab4a-025e62d16201" providerId="ADAL" clId="{61909AA8-2A44-3D40-B3D9-6800D9F1BB14}" dt="2024-02-01T16:27:33.643" v="3795" actId="1038"/>
          <ac:spMkLst>
            <pc:docMk/>
            <pc:sldMk cId="1562959687" sldId="2147482360"/>
            <ac:spMk id="21" creationId="{17AAB41E-573A-8377-EDB2-AEAD89E321FE}"/>
          </ac:spMkLst>
        </pc:spChg>
        <pc:spChg chg="del">
          <ac:chgData name="Antoine LAFOREST" userId="9365c212-db52-41a7-ab4a-025e62d16201" providerId="ADAL" clId="{61909AA8-2A44-3D40-B3D9-6800D9F1BB14}" dt="2024-02-01T11:03:30.922" v="2500" actId="478"/>
          <ac:spMkLst>
            <pc:docMk/>
            <pc:sldMk cId="1562959687" sldId="2147482360"/>
            <ac:spMk id="21" creationId="{8EC63497-2461-D533-D102-16DABDFCEFB5}"/>
          </ac:spMkLst>
        </pc:spChg>
        <pc:spChg chg="add mod">
          <ac:chgData name="Antoine LAFOREST" userId="9365c212-db52-41a7-ab4a-025e62d16201" providerId="ADAL" clId="{61909AA8-2A44-3D40-B3D9-6800D9F1BB14}" dt="2024-02-01T16:27:33.643" v="3795" actId="1038"/>
          <ac:spMkLst>
            <pc:docMk/>
            <pc:sldMk cId="1562959687" sldId="2147482360"/>
            <ac:spMk id="22" creationId="{32E9172F-2C60-F75F-FD71-7652313309AA}"/>
          </ac:spMkLst>
        </pc:spChg>
        <pc:spChg chg="del">
          <ac:chgData name="Antoine LAFOREST" userId="9365c212-db52-41a7-ab4a-025e62d16201" providerId="ADAL" clId="{61909AA8-2A44-3D40-B3D9-6800D9F1BB14}" dt="2024-02-01T11:03:30.922" v="2500" actId="478"/>
          <ac:spMkLst>
            <pc:docMk/>
            <pc:sldMk cId="1562959687" sldId="2147482360"/>
            <ac:spMk id="22" creationId="{53312D7F-2C39-AA04-6E96-94E4BD0E73CE}"/>
          </ac:spMkLst>
        </pc:spChg>
        <pc:spChg chg="add mod">
          <ac:chgData name="Antoine LAFOREST" userId="9365c212-db52-41a7-ab4a-025e62d16201" providerId="ADAL" clId="{61909AA8-2A44-3D40-B3D9-6800D9F1BB14}" dt="2024-02-01T16:27:33.643" v="3795" actId="1038"/>
          <ac:spMkLst>
            <pc:docMk/>
            <pc:sldMk cId="1562959687" sldId="2147482360"/>
            <ac:spMk id="23" creationId="{F1D936E0-51FB-3225-3891-F28E39B7219C}"/>
          </ac:spMkLst>
        </pc:spChg>
        <pc:spChg chg="add mod">
          <ac:chgData name="Antoine LAFOREST" userId="9365c212-db52-41a7-ab4a-025e62d16201" providerId="ADAL" clId="{61909AA8-2A44-3D40-B3D9-6800D9F1BB14}" dt="2024-02-01T16:27:33.643" v="3795" actId="1038"/>
          <ac:spMkLst>
            <pc:docMk/>
            <pc:sldMk cId="1562959687" sldId="2147482360"/>
            <ac:spMk id="24" creationId="{DB70D4FD-82E7-6CDD-5933-B13B1523CB31}"/>
          </ac:spMkLst>
        </pc:spChg>
        <pc:spChg chg="add mod">
          <ac:chgData name="Antoine LAFOREST" userId="9365c212-db52-41a7-ab4a-025e62d16201" providerId="ADAL" clId="{61909AA8-2A44-3D40-B3D9-6800D9F1BB14}" dt="2024-02-01T16:08:23.648" v="3668" actId="20577"/>
          <ac:spMkLst>
            <pc:docMk/>
            <pc:sldMk cId="1562959687" sldId="2147482360"/>
            <ac:spMk id="25" creationId="{DA36E506-B2CE-2C32-D95E-D590B1E49FBE}"/>
          </ac:spMkLst>
        </pc:spChg>
        <pc:spChg chg="del">
          <ac:chgData name="Antoine LAFOREST" userId="9365c212-db52-41a7-ab4a-025e62d16201" providerId="ADAL" clId="{61909AA8-2A44-3D40-B3D9-6800D9F1BB14}" dt="2024-02-01T11:03:30.922" v="2500" actId="478"/>
          <ac:spMkLst>
            <pc:docMk/>
            <pc:sldMk cId="1562959687" sldId="2147482360"/>
            <ac:spMk id="26" creationId="{738CBEAF-E2ED-DCFF-C26B-D9A52B32DE30}"/>
          </ac:spMkLst>
        </pc:spChg>
        <pc:spChg chg="add del mod">
          <ac:chgData name="Antoine LAFOREST" userId="9365c212-db52-41a7-ab4a-025e62d16201" providerId="ADAL" clId="{61909AA8-2A44-3D40-B3D9-6800D9F1BB14}" dt="2024-02-01T16:03:57.409" v="3613" actId="478"/>
          <ac:spMkLst>
            <pc:docMk/>
            <pc:sldMk cId="1562959687" sldId="2147482360"/>
            <ac:spMk id="26" creationId="{944976A9-620A-02AC-9FF5-8FFFB3896835}"/>
          </ac:spMkLst>
        </pc:spChg>
        <pc:spChg chg="add mod">
          <ac:chgData name="Antoine LAFOREST" userId="9365c212-db52-41a7-ab4a-025e62d16201" providerId="ADAL" clId="{61909AA8-2A44-3D40-B3D9-6800D9F1BB14}" dt="2024-02-01T16:27:33.643" v="3795" actId="1038"/>
          <ac:spMkLst>
            <pc:docMk/>
            <pc:sldMk cId="1562959687" sldId="2147482360"/>
            <ac:spMk id="27" creationId="{7A40C332-A4E3-156E-1C8A-04A79F69AA3F}"/>
          </ac:spMkLst>
        </pc:spChg>
        <pc:spChg chg="del">
          <ac:chgData name="Antoine LAFOREST" userId="9365c212-db52-41a7-ab4a-025e62d16201" providerId="ADAL" clId="{61909AA8-2A44-3D40-B3D9-6800D9F1BB14}" dt="2024-02-01T11:03:30.922" v="2500" actId="478"/>
          <ac:spMkLst>
            <pc:docMk/>
            <pc:sldMk cId="1562959687" sldId="2147482360"/>
            <ac:spMk id="28" creationId="{2AABEA7C-691E-148F-25C2-1F44AC6418E4}"/>
          </ac:spMkLst>
        </pc:spChg>
        <pc:spChg chg="add mod">
          <ac:chgData name="Antoine LAFOREST" userId="9365c212-db52-41a7-ab4a-025e62d16201" providerId="ADAL" clId="{61909AA8-2A44-3D40-B3D9-6800D9F1BB14}" dt="2024-02-01T16:27:33.643" v="3795" actId="1038"/>
          <ac:spMkLst>
            <pc:docMk/>
            <pc:sldMk cId="1562959687" sldId="2147482360"/>
            <ac:spMk id="28" creationId="{3BC688D8-69BD-9CC9-ADAE-9BD7D35CCFC3}"/>
          </ac:spMkLst>
        </pc:spChg>
        <pc:spChg chg="add mod">
          <ac:chgData name="Antoine LAFOREST" userId="9365c212-db52-41a7-ab4a-025e62d16201" providerId="ADAL" clId="{61909AA8-2A44-3D40-B3D9-6800D9F1BB14}" dt="2024-02-01T16:27:33.643" v="3795" actId="1038"/>
          <ac:spMkLst>
            <pc:docMk/>
            <pc:sldMk cId="1562959687" sldId="2147482360"/>
            <ac:spMk id="29" creationId="{DD9F3F1E-850D-257D-FC25-AC7E1FB1C903}"/>
          </ac:spMkLst>
        </pc:spChg>
        <pc:spChg chg="del">
          <ac:chgData name="Antoine LAFOREST" userId="9365c212-db52-41a7-ab4a-025e62d16201" providerId="ADAL" clId="{61909AA8-2A44-3D40-B3D9-6800D9F1BB14}" dt="2024-02-01T11:03:30.922" v="2500" actId="478"/>
          <ac:spMkLst>
            <pc:docMk/>
            <pc:sldMk cId="1562959687" sldId="2147482360"/>
            <ac:spMk id="30" creationId="{62C4736A-AD79-D309-8117-F2A0A32388B0}"/>
          </ac:spMkLst>
        </pc:spChg>
        <pc:spChg chg="add mod">
          <ac:chgData name="Antoine LAFOREST" userId="9365c212-db52-41a7-ab4a-025e62d16201" providerId="ADAL" clId="{61909AA8-2A44-3D40-B3D9-6800D9F1BB14}" dt="2024-02-01T16:27:33.643" v="3795" actId="1038"/>
          <ac:spMkLst>
            <pc:docMk/>
            <pc:sldMk cId="1562959687" sldId="2147482360"/>
            <ac:spMk id="30" creationId="{AE947893-542D-0A7A-BF24-BB2E068CEAA8}"/>
          </ac:spMkLst>
        </pc:spChg>
        <pc:spChg chg="add mod">
          <ac:chgData name="Antoine LAFOREST" userId="9365c212-db52-41a7-ab4a-025e62d16201" providerId="ADAL" clId="{61909AA8-2A44-3D40-B3D9-6800D9F1BB14}" dt="2024-02-01T16:27:33.643" v="3795" actId="1038"/>
          <ac:spMkLst>
            <pc:docMk/>
            <pc:sldMk cId="1562959687" sldId="2147482360"/>
            <ac:spMk id="31" creationId="{8E74BF80-D887-189E-8B2A-602419925A2F}"/>
          </ac:spMkLst>
        </pc:spChg>
        <pc:spChg chg="add del mod">
          <ac:chgData name="Antoine LAFOREST" userId="9365c212-db52-41a7-ab4a-025e62d16201" providerId="ADAL" clId="{61909AA8-2A44-3D40-B3D9-6800D9F1BB14}" dt="2024-02-01T11:08:10.858" v="2678" actId="478"/>
          <ac:spMkLst>
            <pc:docMk/>
            <pc:sldMk cId="1562959687" sldId="2147482360"/>
            <ac:spMk id="32" creationId="{810DBCAA-B8DF-29B7-6A49-AEAB15131E0E}"/>
          </ac:spMkLst>
        </pc:spChg>
        <pc:spChg chg="add mod">
          <ac:chgData name="Antoine LAFOREST" userId="9365c212-db52-41a7-ab4a-025e62d16201" providerId="ADAL" clId="{61909AA8-2A44-3D40-B3D9-6800D9F1BB14}" dt="2024-02-01T16:27:33.643" v="3795" actId="1038"/>
          <ac:spMkLst>
            <pc:docMk/>
            <pc:sldMk cId="1562959687" sldId="2147482360"/>
            <ac:spMk id="34" creationId="{1FB324DE-9684-84A8-FE0A-01F842A20926}"/>
          </ac:spMkLst>
        </pc:spChg>
        <pc:spChg chg="add mod">
          <ac:chgData name="Antoine LAFOREST" userId="9365c212-db52-41a7-ab4a-025e62d16201" providerId="ADAL" clId="{61909AA8-2A44-3D40-B3D9-6800D9F1BB14}" dt="2024-02-01T16:27:33.643" v="3795" actId="1038"/>
          <ac:spMkLst>
            <pc:docMk/>
            <pc:sldMk cId="1562959687" sldId="2147482360"/>
            <ac:spMk id="35" creationId="{2D1A23E7-4A58-6776-9E02-528C115D30A0}"/>
          </ac:spMkLst>
        </pc:spChg>
        <pc:spChg chg="del">
          <ac:chgData name="Antoine LAFOREST" userId="9365c212-db52-41a7-ab4a-025e62d16201" providerId="ADAL" clId="{61909AA8-2A44-3D40-B3D9-6800D9F1BB14}" dt="2024-02-01T11:03:30.922" v="2500" actId="478"/>
          <ac:spMkLst>
            <pc:docMk/>
            <pc:sldMk cId="1562959687" sldId="2147482360"/>
            <ac:spMk id="36" creationId="{13B95EFC-8285-515D-C517-5E8E9796DB71}"/>
          </ac:spMkLst>
        </pc:spChg>
        <pc:spChg chg="del">
          <ac:chgData name="Antoine LAFOREST" userId="9365c212-db52-41a7-ab4a-025e62d16201" providerId="ADAL" clId="{61909AA8-2A44-3D40-B3D9-6800D9F1BB14}" dt="2024-02-01T11:03:30.922" v="2500" actId="478"/>
          <ac:spMkLst>
            <pc:docMk/>
            <pc:sldMk cId="1562959687" sldId="2147482360"/>
            <ac:spMk id="37" creationId="{168B8F23-0847-24E3-8FF8-6BCD6FD2BE78}"/>
          </ac:spMkLst>
        </pc:spChg>
        <pc:spChg chg="add del mod">
          <ac:chgData name="Antoine LAFOREST" userId="9365c212-db52-41a7-ab4a-025e62d16201" providerId="ADAL" clId="{61909AA8-2A44-3D40-B3D9-6800D9F1BB14}" dt="2024-02-01T16:05:51.010" v="3651" actId="478"/>
          <ac:spMkLst>
            <pc:docMk/>
            <pc:sldMk cId="1562959687" sldId="2147482360"/>
            <ac:spMk id="38" creationId="{86719F7C-8D7A-B838-A7B1-3792DC5DE052}"/>
          </ac:spMkLst>
        </pc:spChg>
        <pc:spChg chg="add mod">
          <ac:chgData name="Antoine LAFOREST" userId="9365c212-db52-41a7-ab4a-025e62d16201" providerId="ADAL" clId="{61909AA8-2A44-3D40-B3D9-6800D9F1BB14}" dt="2024-02-01T11:08:18.395" v="2679"/>
          <ac:spMkLst>
            <pc:docMk/>
            <pc:sldMk cId="1562959687" sldId="2147482360"/>
            <ac:spMk id="39" creationId="{94348693-DB69-F295-3561-39AC79879126}"/>
          </ac:spMkLst>
        </pc:spChg>
        <pc:spChg chg="add mod">
          <ac:chgData name="Antoine LAFOREST" userId="9365c212-db52-41a7-ab4a-025e62d16201" providerId="ADAL" clId="{61909AA8-2A44-3D40-B3D9-6800D9F1BB14}" dt="2024-02-01T16:27:33.643" v="3795" actId="1038"/>
          <ac:spMkLst>
            <pc:docMk/>
            <pc:sldMk cId="1562959687" sldId="2147482360"/>
            <ac:spMk id="40" creationId="{E097C3A1-3AD5-74AA-FA1D-D23D433B9BAE}"/>
          </ac:spMkLst>
        </pc:spChg>
        <pc:spChg chg="add mod">
          <ac:chgData name="Antoine LAFOREST" userId="9365c212-db52-41a7-ab4a-025e62d16201" providerId="ADAL" clId="{61909AA8-2A44-3D40-B3D9-6800D9F1BB14}" dt="2024-02-01T16:27:33.643" v="3795" actId="1038"/>
          <ac:spMkLst>
            <pc:docMk/>
            <pc:sldMk cId="1562959687" sldId="2147482360"/>
            <ac:spMk id="41" creationId="{5C5D0844-4A85-AFBA-45DF-78EC679BC5B3}"/>
          </ac:spMkLst>
        </pc:spChg>
        <pc:spChg chg="add del mod">
          <ac:chgData name="Antoine LAFOREST" userId="9365c212-db52-41a7-ab4a-025e62d16201" providerId="ADAL" clId="{61909AA8-2A44-3D40-B3D9-6800D9F1BB14}" dt="2024-02-01T16:26:39.164" v="3751" actId="478"/>
          <ac:spMkLst>
            <pc:docMk/>
            <pc:sldMk cId="1562959687" sldId="2147482360"/>
            <ac:spMk id="42" creationId="{80931179-9DEA-ABBE-EA30-B289A5CC8045}"/>
          </ac:spMkLst>
        </pc:spChg>
        <pc:spChg chg="del">
          <ac:chgData name="Antoine LAFOREST" userId="9365c212-db52-41a7-ab4a-025e62d16201" providerId="ADAL" clId="{61909AA8-2A44-3D40-B3D9-6800D9F1BB14}" dt="2024-02-01T11:03:30.922" v="2500" actId="478"/>
          <ac:spMkLst>
            <pc:docMk/>
            <pc:sldMk cId="1562959687" sldId="2147482360"/>
            <ac:spMk id="43" creationId="{9C78F887-8604-7816-8952-ED14CA54E14E}"/>
          </ac:spMkLst>
        </pc:spChg>
        <pc:spChg chg="add mod">
          <ac:chgData name="Antoine LAFOREST" userId="9365c212-db52-41a7-ab4a-025e62d16201" providerId="ADAL" clId="{61909AA8-2A44-3D40-B3D9-6800D9F1BB14}" dt="2024-02-01T14:45:42.945" v="3323" actId="207"/>
          <ac:spMkLst>
            <pc:docMk/>
            <pc:sldMk cId="1562959687" sldId="2147482360"/>
            <ac:spMk id="44" creationId="{44AF8DE0-B2E8-E07C-5112-B250F8EEB092}"/>
          </ac:spMkLst>
        </pc:spChg>
        <pc:spChg chg="add mod">
          <ac:chgData name="Antoine LAFOREST" userId="9365c212-db52-41a7-ab4a-025e62d16201" providerId="ADAL" clId="{61909AA8-2A44-3D40-B3D9-6800D9F1BB14}" dt="2024-02-01T11:08:57.608" v="2684" actId="1076"/>
          <ac:spMkLst>
            <pc:docMk/>
            <pc:sldMk cId="1562959687" sldId="2147482360"/>
            <ac:spMk id="45" creationId="{3ECE7F6E-9B0E-4751-2DC0-257271D70C3C}"/>
          </ac:spMkLst>
        </pc:spChg>
        <pc:spChg chg="add mod">
          <ac:chgData name="Antoine LAFOREST" userId="9365c212-db52-41a7-ab4a-025e62d16201" providerId="ADAL" clId="{61909AA8-2A44-3D40-B3D9-6800D9F1BB14}" dt="2024-02-01T14:53:05.039" v="3331" actId="20577"/>
          <ac:spMkLst>
            <pc:docMk/>
            <pc:sldMk cId="1562959687" sldId="2147482360"/>
            <ac:spMk id="46" creationId="{193CAC60-FA30-5E92-F332-7F53A9091DA4}"/>
          </ac:spMkLst>
        </pc:spChg>
        <pc:spChg chg="del">
          <ac:chgData name="Antoine LAFOREST" userId="9365c212-db52-41a7-ab4a-025e62d16201" providerId="ADAL" clId="{61909AA8-2A44-3D40-B3D9-6800D9F1BB14}" dt="2024-02-01T11:03:30.922" v="2500" actId="478"/>
          <ac:spMkLst>
            <pc:docMk/>
            <pc:sldMk cId="1562959687" sldId="2147482360"/>
            <ac:spMk id="47" creationId="{20DCE624-2D03-1826-6ACC-E42BD5610E63}"/>
          </ac:spMkLst>
        </pc:spChg>
        <pc:spChg chg="del">
          <ac:chgData name="Antoine LAFOREST" userId="9365c212-db52-41a7-ab4a-025e62d16201" providerId="ADAL" clId="{61909AA8-2A44-3D40-B3D9-6800D9F1BB14}" dt="2024-02-01T11:03:30.922" v="2500" actId="478"/>
          <ac:spMkLst>
            <pc:docMk/>
            <pc:sldMk cId="1562959687" sldId="2147482360"/>
            <ac:spMk id="48" creationId="{D283DFEE-CDAE-DD4E-5960-37DD3407AAE2}"/>
          </ac:spMkLst>
        </pc:spChg>
        <pc:spChg chg="add mod">
          <ac:chgData name="Antoine LAFOREST" userId="9365c212-db52-41a7-ab4a-025e62d16201" providerId="ADAL" clId="{61909AA8-2A44-3D40-B3D9-6800D9F1BB14}" dt="2024-02-01T16:28:03.568" v="3803" actId="14100"/>
          <ac:spMkLst>
            <pc:docMk/>
            <pc:sldMk cId="1562959687" sldId="2147482360"/>
            <ac:spMk id="49" creationId="{98F638C8-F329-1F0C-3DAB-0AB7BAE35C03}"/>
          </ac:spMkLst>
        </pc:spChg>
        <pc:spChg chg="del">
          <ac:chgData name="Antoine LAFOREST" userId="9365c212-db52-41a7-ab4a-025e62d16201" providerId="ADAL" clId="{61909AA8-2A44-3D40-B3D9-6800D9F1BB14}" dt="2024-02-01T11:03:30.922" v="2500" actId="478"/>
          <ac:spMkLst>
            <pc:docMk/>
            <pc:sldMk cId="1562959687" sldId="2147482360"/>
            <ac:spMk id="50" creationId="{9608C8DB-96AB-0BC5-C027-A4BDB338DF41}"/>
          </ac:spMkLst>
        </pc:spChg>
        <pc:spChg chg="del">
          <ac:chgData name="Antoine LAFOREST" userId="9365c212-db52-41a7-ab4a-025e62d16201" providerId="ADAL" clId="{61909AA8-2A44-3D40-B3D9-6800D9F1BB14}" dt="2024-02-01T11:03:30.922" v="2500" actId="478"/>
          <ac:spMkLst>
            <pc:docMk/>
            <pc:sldMk cId="1562959687" sldId="2147482360"/>
            <ac:spMk id="51" creationId="{60EAACF1-5882-D37D-F461-568F90ED48B4}"/>
          </ac:spMkLst>
        </pc:spChg>
        <pc:spChg chg="del">
          <ac:chgData name="Antoine LAFOREST" userId="9365c212-db52-41a7-ab4a-025e62d16201" providerId="ADAL" clId="{61909AA8-2A44-3D40-B3D9-6800D9F1BB14}" dt="2024-02-01T11:03:30.922" v="2500" actId="478"/>
          <ac:spMkLst>
            <pc:docMk/>
            <pc:sldMk cId="1562959687" sldId="2147482360"/>
            <ac:spMk id="52" creationId="{B3F7643F-AEF1-97B4-3DFE-9BD7ED74015B}"/>
          </ac:spMkLst>
        </pc:spChg>
        <pc:spChg chg="del">
          <ac:chgData name="Antoine LAFOREST" userId="9365c212-db52-41a7-ab4a-025e62d16201" providerId="ADAL" clId="{61909AA8-2A44-3D40-B3D9-6800D9F1BB14}" dt="2024-02-01T11:03:30.922" v="2500" actId="478"/>
          <ac:spMkLst>
            <pc:docMk/>
            <pc:sldMk cId="1562959687" sldId="2147482360"/>
            <ac:spMk id="53" creationId="{866DBC86-A2F8-761B-C176-3951126F8CB3}"/>
          </ac:spMkLst>
        </pc:spChg>
        <pc:spChg chg="del">
          <ac:chgData name="Antoine LAFOREST" userId="9365c212-db52-41a7-ab4a-025e62d16201" providerId="ADAL" clId="{61909AA8-2A44-3D40-B3D9-6800D9F1BB14}" dt="2024-02-01T11:03:30.922" v="2500" actId="478"/>
          <ac:spMkLst>
            <pc:docMk/>
            <pc:sldMk cId="1562959687" sldId="2147482360"/>
            <ac:spMk id="55" creationId="{4D53337E-EBF2-3507-2313-BC0CB7781F26}"/>
          </ac:spMkLst>
        </pc:spChg>
        <pc:spChg chg="del">
          <ac:chgData name="Antoine LAFOREST" userId="9365c212-db52-41a7-ab4a-025e62d16201" providerId="ADAL" clId="{61909AA8-2A44-3D40-B3D9-6800D9F1BB14}" dt="2024-02-01T11:03:30.922" v="2500" actId="478"/>
          <ac:spMkLst>
            <pc:docMk/>
            <pc:sldMk cId="1562959687" sldId="2147482360"/>
            <ac:spMk id="57" creationId="{944460AF-F81C-8D5C-4D98-97CFBB1633C1}"/>
          </ac:spMkLst>
        </pc:spChg>
        <pc:spChg chg="del mod">
          <ac:chgData name="Antoine LAFOREST" userId="9365c212-db52-41a7-ab4a-025e62d16201" providerId="ADAL" clId="{61909AA8-2A44-3D40-B3D9-6800D9F1BB14}" dt="2024-02-01T16:06:41.848" v="3661" actId="21"/>
          <ac:spMkLst>
            <pc:docMk/>
            <pc:sldMk cId="1562959687" sldId="2147482360"/>
            <ac:spMk id="58" creationId="{17D52768-7827-E8ED-2091-1E4319A2DE64}"/>
          </ac:spMkLst>
        </pc:spChg>
        <pc:spChg chg="del">
          <ac:chgData name="Antoine LAFOREST" userId="9365c212-db52-41a7-ab4a-025e62d16201" providerId="ADAL" clId="{61909AA8-2A44-3D40-B3D9-6800D9F1BB14}" dt="2024-02-01T11:03:30.922" v="2500" actId="478"/>
          <ac:spMkLst>
            <pc:docMk/>
            <pc:sldMk cId="1562959687" sldId="2147482360"/>
            <ac:spMk id="58" creationId="{782A08C7-741D-B606-2810-88D87FC31699}"/>
          </ac:spMkLst>
        </pc:spChg>
        <pc:spChg chg="del">
          <ac:chgData name="Antoine LAFOREST" userId="9365c212-db52-41a7-ab4a-025e62d16201" providerId="ADAL" clId="{61909AA8-2A44-3D40-B3D9-6800D9F1BB14}" dt="2024-02-01T11:03:30.922" v="2500" actId="478"/>
          <ac:spMkLst>
            <pc:docMk/>
            <pc:sldMk cId="1562959687" sldId="2147482360"/>
            <ac:spMk id="59" creationId="{5BCED8A3-AB14-7D88-92DB-DF0910EE8E02}"/>
          </ac:spMkLst>
        </pc:spChg>
        <pc:spChg chg="mod">
          <ac:chgData name="Antoine LAFOREST" userId="9365c212-db52-41a7-ab4a-025e62d16201" providerId="ADAL" clId="{61909AA8-2A44-3D40-B3D9-6800D9F1BB14}" dt="2024-02-01T15:27:13.508" v="3520" actId="1076"/>
          <ac:spMkLst>
            <pc:docMk/>
            <pc:sldMk cId="1562959687" sldId="2147482360"/>
            <ac:spMk id="60" creationId="{07957F29-9EFC-AA77-82B5-7872E9E8A89E}"/>
          </ac:spMkLst>
        </pc:spChg>
        <pc:spChg chg="del">
          <ac:chgData name="Antoine LAFOREST" userId="9365c212-db52-41a7-ab4a-025e62d16201" providerId="ADAL" clId="{61909AA8-2A44-3D40-B3D9-6800D9F1BB14}" dt="2024-02-01T11:03:44.199" v="2503" actId="478"/>
          <ac:spMkLst>
            <pc:docMk/>
            <pc:sldMk cId="1562959687" sldId="2147482360"/>
            <ac:spMk id="108" creationId="{6298414C-89C2-7B8E-920B-AD00214A67FF}"/>
          </ac:spMkLst>
        </pc:spChg>
        <pc:grpChg chg="del">
          <ac:chgData name="Antoine LAFOREST" userId="9365c212-db52-41a7-ab4a-025e62d16201" providerId="ADAL" clId="{61909AA8-2A44-3D40-B3D9-6800D9F1BB14}" dt="2024-02-01T11:03:30.922" v="2500" actId="478"/>
          <ac:grpSpMkLst>
            <pc:docMk/>
            <pc:sldMk cId="1562959687" sldId="2147482360"/>
            <ac:grpSpMk id="4" creationId="{EE1204E1-A6EC-9994-B9D1-AA972FEE02F8}"/>
          </ac:grpSpMkLst>
        </pc:grpChg>
        <pc:grpChg chg="del">
          <ac:chgData name="Antoine LAFOREST" userId="9365c212-db52-41a7-ab4a-025e62d16201" providerId="ADAL" clId="{61909AA8-2A44-3D40-B3D9-6800D9F1BB14}" dt="2024-02-01T11:03:30.922" v="2500" actId="478"/>
          <ac:grpSpMkLst>
            <pc:docMk/>
            <pc:sldMk cId="1562959687" sldId="2147482360"/>
            <ac:grpSpMk id="11" creationId="{1B17A5BE-4993-B1AB-0122-0DD2AB4F30B4}"/>
          </ac:grpSpMkLst>
        </pc:grpChg>
        <pc:grpChg chg="del">
          <ac:chgData name="Antoine LAFOREST" userId="9365c212-db52-41a7-ab4a-025e62d16201" providerId="ADAL" clId="{61909AA8-2A44-3D40-B3D9-6800D9F1BB14}" dt="2024-02-01T11:03:30.922" v="2500" actId="478"/>
          <ac:grpSpMkLst>
            <pc:docMk/>
            <pc:sldMk cId="1562959687" sldId="2147482360"/>
            <ac:grpSpMk id="14" creationId="{B621BA34-3DDE-68E2-7E57-9D6799C2BB28}"/>
          </ac:grpSpMkLst>
        </pc:grpChg>
        <pc:grpChg chg="del">
          <ac:chgData name="Antoine LAFOREST" userId="9365c212-db52-41a7-ab4a-025e62d16201" providerId="ADAL" clId="{61909AA8-2A44-3D40-B3D9-6800D9F1BB14}" dt="2024-02-01T11:03:30.922" v="2500" actId="478"/>
          <ac:grpSpMkLst>
            <pc:docMk/>
            <pc:sldMk cId="1562959687" sldId="2147482360"/>
            <ac:grpSpMk id="23" creationId="{27AB3B95-5108-BD94-C3E8-D75AE57341C6}"/>
          </ac:grpSpMkLst>
        </pc:grpChg>
        <pc:grpChg chg="del">
          <ac:chgData name="Antoine LAFOREST" userId="9365c212-db52-41a7-ab4a-025e62d16201" providerId="ADAL" clId="{61909AA8-2A44-3D40-B3D9-6800D9F1BB14}" dt="2024-02-01T11:03:30.922" v="2500" actId="478"/>
          <ac:grpSpMkLst>
            <pc:docMk/>
            <pc:sldMk cId="1562959687" sldId="2147482360"/>
            <ac:grpSpMk id="60" creationId="{F3A2C163-75B5-A3A2-73D7-126E683DBCF8}"/>
          </ac:grpSpMkLst>
        </pc:grpChg>
        <pc:grpChg chg="del">
          <ac:chgData name="Antoine LAFOREST" userId="9365c212-db52-41a7-ab4a-025e62d16201" providerId="ADAL" clId="{61909AA8-2A44-3D40-B3D9-6800D9F1BB14}" dt="2024-02-01T11:03:30.922" v="2500" actId="478"/>
          <ac:grpSpMkLst>
            <pc:docMk/>
            <pc:sldMk cId="1562959687" sldId="2147482360"/>
            <ac:grpSpMk id="70" creationId="{8340211D-84F7-26F1-89E1-51CFE8DCF4CD}"/>
          </ac:grpSpMkLst>
        </pc:grpChg>
        <pc:picChg chg="del">
          <ac:chgData name="Antoine LAFOREST" userId="9365c212-db52-41a7-ab4a-025e62d16201" providerId="ADAL" clId="{61909AA8-2A44-3D40-B3D9-6800D9F1BB14}" dt="2024-02-01T11:03:30.922" v="2500" actId="478"/>
          <ac:picMkLst>
            <pc:docMk/>
            <pc:sldMk cId="1562959687" sldId="2147482360"/>
            <ac:picMk id="97" creationId="{1D2F426E-4C00-52E3-7E12-64ACF134C6A5}"/>
          </ac:picMkLst>
        </pc:picChg>
        <pc:picChg chg="del">
          <ac:chgData name="Antoine LAFOREST" userId="9365c212-db52-41a7-ab4a-025e62d16201" providerId="ADAL" clId="{61909AA8-2A44-3D40-B3D9-6800D9F1BB14}" dt="2024-02-01T11:03:30.922" v="2500" actId="478"/>
          <ac:picMkLst>
            <pc:docMk/>
            <pc:sldMk cId="1562959687" sldId="2147482360"/>
            <ac:picMk id="107" creationId="{F154B051-0F2C-9234-E916-A2EEDC3C806A}"/>
          </ac:picMkLst>
        </pc:picChg>
      </pc:sldChg>
      <pc:sldChg chg="add">
        <pc:chgData name="Antoine LAFOREST" userId="9365c212-db52-41a7-ab4a-025e62d16201" providerId="ADAL" clId="{61909AA8-2A44-3D40-B3D9-6800D9F1BB14}" dt="2024-02-01T16:40:51.504" v="3861"/>
        <pc:sldMkLst>
          <pc:docMk/>
          <pc:sldMk cId="3722675707" sldId="2147482360"/>
        </pc:sldMkLst>
      </pc:sldChg>
      <pc:sldChg chg="add">
        <pc:chgData name="Antoine LAFOREST" userId="9365c212-db52-41a7-ab4a-025e62d16201" providerId="ADAL" clId="{61909AA8-2A44-3D40-B3D9-6800D9F1BB14}" dt="2024-02-01T16:40:51.504" v="3861"/>
        <pc:sldMkLst>
          <pc:docMk/>
          <pc:sldMk cId="1319537041" sldId="2147482361"/>
        </pc:sldMkLst>
      </pc:sldChg>
      <pc:sldChg chg="modSp del mod">
        <pc:chgData name="Antoine LAFOREST" userId="9365c212-db52-41a7-ab4a-025e62d16201" providerId="ADAL" clId="{61909AA8-2A44-3D40-B3D9-6800D9F1BB14}" dt="2024-02-01T16:40:49.416" v="3860" actId="2696"/>
        <pc:sldMkLst>
          <pc:docMk/>
          <pc:sldMk cId="3572027075" sldId="2147482361"/>
        </pc:sldMkLst>
        <pc:spChg chg="mod">
          <ac:chgData name="Antoine LAFOREST" userId="9365c212-db52-41a7-ab4a-025e62d16201" providerId="ADAL" clId="{61909AA8-2A44-3D40-B3D9-6800D9F1BB14}" dt="2024-02-01T15:07:50.763" v="3337" actId="20577"/>
          <ac:spMkLst>
            <pc:docMk/>
            <pc:sldMk cId="3572027075" sldId="2147482361"/>
            <ac:spMk id="3" creationId="{96190AF9-2579-6A67-1BCE-070A77A251DD}"/>
          </ac:spMkLst>
        </pc:spChg>
      </pc:sldChg>
      <pc:sldChg chg="modSp add del mod">
        <pc:chgData name="Antoine LAFOREST" userId="9365c212-db52-41a7-ab4a-025e62d16201" providerId="ADAL" clId="{61909AA8-2A44-3D40-B3D9-6800D9F1BB14}" dt="2024-02-01T12:52:05.971" v="3155" actId="2696"/>
        <pc:sldMkLst>
          <pc:docMk/>
          <pc:sldMk cId="4172478386" sldId="2147482362"/>
        </pc:sldMkLst>
        <pc:spChg chg="mod">
          <ac:chgData name="Antoine LAFOREST" userId="9365c212-db52-41a7-ab4a-025e62d16201" providerId="ADAL" clId="{61909AA8-2A44-3D40-B3D9-6800D9F1BB14}" dt="2024-02-01T12:42:56.968" v="2966" actId="20577"/>
          <ac:spMkLst>
            <pc:docMk/>
            <pc:sldMk cId="4172478386" sldId="2147482362"/>
            <ac:spMk id="62" creationId="{4BD6B2C3-4A34-5C1E-AFD2-397CA469811B}"/>
          </ac:spMkLst>
        </pc:spChg>
      </pc:sldChg>
      <pc:sldChg chg="mod modShow">
        <pc:chgData name="Antoine LAFOREST" userId="9365c212-db52-41a7-ab4a-025e62d16201" providerId="ADAL" clId="{61909AA8-2A44-3D40-B3D9-6800D9F1BB14}" dt="2024-02-02T13:53:42.728" v="5218" actId="729"/>
        <pc:sldMkLst>
          <pc:docMk/>
          <pc:sldMk cId="3465374032" sldId="2147482364"/>
        </pc:sldMkLst>
      </pc:sldChg>
      <pc:sldChg chg="addSp delSp modSp del mod">
        <pc:chgData name="Antoine LAFOREST" userId="9365c212-db52-41a7-ab4a-025e62d16201" providerId="ADAL" clId="{61909AA8-2A44-3D40-B3D9-6800D9F1BB14}" dt="2024-02-01T16:40:49.416" v="3860" actId="2696"/>
        <pc:sldMkLst>
          <pc:docMk/>
          <pc:sldMk cId="439422961" sldId="2147482366"/>
        </pc:sldMkLst>
        <pc:spChg chg="mod">
          <ac:chgData name="Antoine LAFOREST" userId="9365c212-db52-41a7-ab4a-025e62d16201" providerId="ADAL" clId="{61909AA8-2A44-3D40-B3D9-6800D9F1BB14}" dt="2024-02-01T15:08:41.716" v="3362" actId="20577"/>
          <ac:spMkLst>
            <pc:docMk/>
            <pc:sldMk cId="439422961" sldId="2147482366"/>
            <ac:spMk id="3" creationId="{96190AF9-2579-6A67-1BCE-070A77A251DD}"/>
          </ac:spMkLst>
        </pc:spChg>
        <pc:spChg chg="mod">
          <ac:chgData name="Antoine LAFOREST" userId="9365c212-db52-41a7-ab4a-025e62d16201" providerId="ADAL" clId="{61909AA8-2A44-3D40-B3D9-6800D9F1BB14}" dt="2024-02-01T14:14:56.926" v="3169" actId="1035"/>
          <ac:spMkLst>
            <pc:docMk/>
            <pc:sldMk cId="439422961" sldId="2147482366"/>
            <ac:spMk id="18" creationId="{FC583004-EE05-1F5C-23A4-2E5C775A156D}"/>
          </ac:spMkLst>
        </pc:spChg>
        <pc:spChg chg="mod">
          <ac:chgData name="Antoine LAFOREST" userId="9365c212-db52-41a7-ab4a-025e62d16201" providerId="ADAL" clId="{61909AA8-2A44-3D40-B3D9-6800D9F1BB14}" dt="2024-02-01T14:14:56.926" v="3169" actId="1035"/>
          <ac:spMkLst>
            <pc:docMk/>
            <pc:sldMk cId="439422961" sldId="2147482366"/>
            <ac:spMk id="20" creationId="{384D5CE8-3527-C19A-E8DD-15A14CA35F7B}"/>
          </ac:spMkLst>
        </pc:spChg>
        <pc:spChg chg="mod">
          <ac:chgData name="Antoine LAFOREST" userId="9365c212-db52-41a7-ab4a-025e62d16201" providerId="ADAL" clId="{61909AA8-2A44-3D40-B3D9-6800D9F1BB14}" dt="2024-02-01T14:14:56.926" v="3169" actId="1035"/>
          <ac:spMkLst>
            <pc:docMk/>
            <pc:sldMk cId="439422961" sldId="2147482366"/>
            <ac:spMk id="21" creationId="{EF649595-2B9A-D1EC-1BED-E3088412C1E3}"/>
          </ac:spMkLst>
        </pc:spChg>
        <pc:spChg chg="mod">
          <ac:chgData name="Antoine LAFOREST" userId="9365c212-db52-41a7-ab4a-025e62d16201" providerId="ADAL" clId="{61909AA8-2A44-3D40-B3D9-6800D9F1BB14}" dt="2024-02-01T14:14:56.926" v="3169" actId="1035"/>
          <ac:spMkLst>
            <pc:docMk/>
            <pc:sldMk cId="439422961" sldId="2147482366"/>
            <ac:spMk id="22" creationId="{DB0661A6-E7D9-68FE-BB5D-F60C3D2143AB}"/>
          </ac:spMkLst>
        </pc:spChg>
        <pc:spChg chg="mod">
          <ac:chgData name="Antoine LAFOREST" userId="9365c212-db52-41a7-ab4a-025e62d16201" providerId="ADAL" clId="{61909AA8-2A44-3D40-B3D9-6800D9F1BB14}" dt="2024-02-01T14:14:56.926" v="3169" actId="1035"/>
          <ac:spMkLst>
            <pc:docMk/>
            <pc:sldMk cId="439422961" sldId="2147482366"/>
            <ac:spMk id="26" creationId="{E1AC5E22-852B-1F53-1B14-EDE0B7D4986E}"/>
          </ac:spMkLst>
        </pc:spChg>
        <pc:spChg chg="mod">
          <ac:chgData name="Antoine LAFOREST" userId="9365c212-db52-41a7-ab4a-025e62d16201" providerId="ADAL" clId="{61909AA8-2A44-3D40-B3D9-6800D9F1BB14}" dt="2024-02-01T14:14:56.926" v="3169" actId="1035"/>
          <ac:spMkLst>
            <pc:docMk/>
            <pc:sldMk cId="439422961" sldId="2147482366"/>
            <ac:spMk id="28" creationId="{147B2909-1383-913D-D613-2F8D1AEE51C7}"/>
          </ac:spMkLst>
        </pc:spChg>
        <pc:spChg chg="mod">
          <ac:chgData name="Antoine LAFOREST" userId="9365c212-db52-41a7-ab4a-025e62d16201" providerId="ADAL" clId="{61909AA8-2A44-3D40-B3D9-6800D9F1BB14}" dt="2024-02-01T14:14:56.926" v="3169" actId="1035"/>
          <ac:spMkLst>
            <pc:docMk/>
            <pc:sldMk cId="439422961" sldId="2147482366"/>
            <ac:spMk id="30" creationId="{6E1CD508-B83C-5AB2-B637-34124C586CA8}"/>
          </ac:spMkLst>
        </pc:spChg>
        <pc:spChg chg="mod">
          <ac:chgData name="Antoine LAFOREST" userId="9365c212-db52-41a7-ab4a-025e62d16201" providerId="ADAL" clId="{61909AA8-2A44-3D40-B3D9-6800D9F1BB14}" dt="2024-02-01T14:14:56.926" v="3169" actId="1035"/>
          <ac:spMkLst>
            <pc:docMk/>
            <pc:sldMk cId="439422961" sldId="2147482366"/>
            <ac:spMk id="34" creationId="{6752EF50-C389-C2DC-D705-934876CA7CFE}"/>
          </ac:spMkLst>
        </pc:spChg>
        <pc:spChg chg="mod">
          <ac:chgData name="Antoine LAFOREST" userId="9365c212-db52-41a7-ab4a-025e62d16201" providerId="ADAL" clId="{61909AA8-2A44-3D40-B3D9-6800D9F1BB14}" dt="2024-02-01T14:14:56.926" v="3169" actId="1035"/>
          <ac:spMkLst>
            <pc:docMk/>
            <pc:sldMk cId="439422961" sldId="2147482366"/>
            <ac:spMk id="36" creationId="{485DC901-F136-02B3-E77B-DB4DCF7629F0}"/>
          </ac:spMkLst>
        </pc:spChg>
        <pc:spChg chg="mod">
          <ac:chgData name="Antoine LAFOREST" userId="9365c212-db52-41a7-ab4a-025e62d16201" providerId="ADAL" clId="{61909AA8-2A44-3D40-B3D9-6800D9F1BB14}" dt="2024-02-01T15:05:59.261" v="3332" actId="207"/>
          <ac:spMkLst>
            <pc:docMk/>
            <pc:sldMk cId="439422961" sldId="2147482366"/>
            <ac:spMk id="37" creationId="{5BE20F26-87D3-7AB5-F8EE-B25385FAF0F1}"/>
          </ac:spMkLst>
        </pc:spChg>
        <pc:spChg chg="mod">
          <ac:chgData name="Antoine LAFOREST" userId="9365c212-db52-41a7-ab4a-025e62d16201" providerId="ADAL" clId="{61909AA8-2A44-3D40-B3D9-6800D9F1BB14}" dt="2024-02-01T14:14:56.926" v="3169" actId="1035"/>
          <ac:spMkLst>
            <pc:docMk/>
            <pc:sldMk cId="439422961" sldId="2147482366"/>
            <ac:spMk id="43" creationId="{9A3A27F2-D257-396B-F35C-BA0E194A6200}"/>
          </ac:spMkLst>
        </pc:spChg>
        <pc:spChg chg="mod">
          <ac:chgData name="Antoine LAFOREST" userId="9365c212-db52-41a7-ab4a-025e62d16201" providerId="ADAL" clId="{61909AA8-2A44-3D40-B3D9-6800D9F1BB14}" dt="2024-02-01T14:14:56.926" v="3169" actId="1035"/>
          <ac:spMkLst>
            <pc:docMk/>
            <pc:sldMk cId="439422961" sldId="2147482366"/>
            <ac:spMk id="47" creationId="{E2B1786A-CC54-0923-34FE-9E06795851D5}"/>
          </ac:spMkLst>
        </pc:spChg>
        <pc:spChg chg="mod">
          <ac:chgData name="Antoine LAFOREST" userId="9365c212-db52-41a7-ab4a-025e62d16201" providerId="ADAL" clId="{61909AA8-2A44-3D40-B3D9-6800D9F1BB14}" dt="2024-02-01T15:06:03.631" v="3333" actId="207"/>
          <ac:spMkLst>
            <pc:docMk/>
            <pc:sldMk cId="439422961" sldId="2147482366"/>
            <ac:spMk id="48" creationId="{6FD809D1-AFF5-A7B9-76E6-017799C23F93}"/>
          </ac:spMkLst>
        </pc:spChg>
        <pc:spChg chg="mod">
          <ac:chgData name="Antoine LAFOREST" userId="9365c212-db52-41a7-ab4a-025e62d16201" providerId="ADAL" clId="{61909AA8-2A44-3D40-B3D9-6800D9F1BB14}" dt="2024-02-01T16:29:45.693" v="3804"/>
          <ac:spMkLst>
            <pc:docMk/>
            <pc:sldMk cId="439422961" sldId="2147482366"/>
            <ac:spMk id="49" creationId="{ED1EE4C2-E05C-836D-643B-1DB411712C60}"/>
          </ac:spMkLst>
        </pc:spChg>
        <pc:spChg chg="mod">
          <ac:chgData name="Antoine LAFOREST" userId="9365c212-db52-41a7-ab4a-025e62d16201" providerId="ADAL" clId="{61909AA8-2A44-3D40-B3D9-6800D9F1BB14}" dt="2024-02-01T14:14:56.926" v="3169" actId="1035"/>
          <ac:spMkLst>
            <pc:docMk/>
            <pc:sldMk cId="439422961" sldId="2147482366"/>
            <ac:spMk id="50" creationId="{CB10D352-BFCA-9ED3-F19C-737FC129AF8C}"/>
          </ac:spMkLst>
        </pc:spChg>
        <pc:spChg chg="mod">
          <ac:chgData name="Antoine LAFOREST" userId="9365c212-db52-41a7-ab4a-025e62d16201" providerId="ADAL" clId="{61909AA8-2A44-3D40-B3D9-6800D9F1BB14}" dt="2024-02-01T14:14:56.926" v="3169" actId="1035"/>
          <ac:spMkLst>
            <pc:docMk/>
            <pc:sldMk cId="439422961" sldId="2147482366"/>
            <ac:spMk id="51" creationId="{93C48C7C-8046-E347-5637-192CEEF8A1F2}"/>
          </ac:spMkLst>
        </pc:spChg>
        <pc:spChg chg="mod">
          <ac:chgData name="Antoine LAFOREST" userId="9365c212-db52-41a7-ab4a-025e62d16201" providerId="ADAL" clId="{61909AA8-2A44-3D40-B3D9-6800D9F1BB14}" dt="2024-02-01T14:14:56.926" v="3169" actId="1035"/>
          <ac:spMkLst>
            <pc:docMk/>
            <pc:sldMk cId="439422961" sldId="2147482366"/>
            <ac:spMk id="52" creationId="{D1E6F53B-1A51-CCBE-77A9-0B0D119D3BCD}"/>
          </ac:spMkLst>
        </pc:spChg>
        <pc:spChg chg="mod">
          <ac:chgData name="Antoine LAFOREST" userId="9365c212-db52-41a7-ab4a-025e62d16201" providerId="ADAL" clId="{61909AA8-2A44-3D40-B3D9-6800D9F1BB14}" dt="2024-02-01T14:14:56.926" v="3169" actId="1035"/>
          <ac:spMkLst>
            <pc:docMk/>
            <pc:sldMk cId="439422961" sldId="2147482366"/>
            <ac:spMk id="53" creationId="{D8EAF499-2F60-FCF4-5F47-72E4B971D9D0}"/>
          </ac:spMkLst>
        </pc:spChg>
        <pc:spChg chg="mod">
          <ac:chgData name="Antoine LAFOREST" userId="9365c212-db52-41a7-ab4a-025e62d16201" providerId="ADAL" clId="{61909AA8-2A44-3D40-B3D9-6800D9F1BB14}" dt="2024-02-01T14:14:56.926" v="3169" actId="1035"/>
          <ac:spMkLst>
            <pc:docMk/>
            <pc:sldMk cId="439422961" sldId="2147482366"/>
            <ac:spMk id="55" creationId="{9F75F3E5-F69C-9D3A-7509-EF9C11B0A9CF}"/>
          </ac:spMkLst>
        </pc:spChg>
        <pc:spChg chg="mod">
          <ac:chgData name="Antoine LAFOREST" userId="9365c212-db52-41a7-ab4a-025e62d16201" providerId="ADAL" clId="{61909AA8-2A44-3D40-B3D9-6800D9F1BB14}" dt="2024-02-01T16:29:45.693" v="3804"/>
          <ac:spMkLst>
            <pc:docMk/>
            <pc:sldMk cId="439422961" sldId="2147482366"/>
            <ac:spMk id="56" creationId="{686667D0-71EC-653E-065E-984AEDFC7E08}"/>
          </ac:spMkLst>
        </pc:spChg>
        <pc:spChg chg="mod">
          <ac:chgData name="Antoine LAFOREST" userId="9365c212-db52-41a7-ab4a-025e62d16201" providerId="ADAL" clId="{61909AA8-2A44-3D40-B3D9-6800D9F1BB14}" dt="2024-02-01T14:14:56.926" v="3169" actId="1035"/>
          <ac:spMkLst>
            <pc:docMk/>
            <pc:sldMk cId="439422961" sldId="2147482366"/>
            <ac:spMk id="57" creationId="{274894B7-309A-1B91-6B4F-A0EE0C2A93FF}"/>
          </ac:spMkLst>
        </pc:spChg>
        <pc:spChg chg="mod">
          <ac:chgData name="Antoine LAFOREST" userId="9365c212-db52-41a7-ab4a-025e62d16201" providerId="ADAL" clId="{61909AA8-2A44-3D40-B3D9-6800D9F1BB14}" dt="2024-02-01T14:14:56.926" v="3169" actId="1035"/>
          <ac:spMkLst>
            <pc:docMk/>
            <pc:sldMk cId="439422961" sldId="2147482366"/>
            <ac:spMk id="58" creationId="{EFDA0D1F-58E0-D205-3625-A430E77AC18D}"/>
          </ac:spMkLst>
        </pc:spChg>
        <pc:spChg chg="mod">
          <ac:chgData name="Antoine LAFOREST" userId="9365c212-db52-41a7-ab4a-025e62d16201" providerId="ADAL" clId="{61909AA8-2A44-3D40-B3D9-6800D9F1BB14}" dt="2024-02-01T14:14:56.926" v="3169" actId="1035"/>
          <ac:spMkLst>
            <pc:docMk/>
            <pc:sldMk cId="439422961" sldId="2147482366"/>
            <ac:spMk id="59" creationId="{3D1D9B72-3844-B3EF-FDF0-42F88CBC45B1}"/>
          </ac:spMkLst>
        </pc:spChg>
        <pc:spChg chg="mod">
          <ac:chgData name="Antoine LAFOREST" userId="9365c212-db52-41a7-ab4a-025e62d16201" providerId="ADAL" clId="{61909AA8-2A44-3D40-B3D9-6800D9F1BB14}" dt="2024-02-01T16:29:45.693" v="3804"/>
          <ac:spMkLst>
            <pc:docMk/>
            <pc:sldMk cId="439422961" sldId="2147482366"/>
            <ac:spMk id="63" creationId="{D306E121-BAC7-833B-C079-313715140A84}"/>
          </ac:spMkLst>
        </pc:spChg>
        <pc:spChg chg="mod">
          <ac:chgData name="Antoine LAFOREST" userId="9365c212-db52-41a7-ab4a-025e62d16201" providerId="ADAL" clId="{61909AA8-2A44-3D40-B3D9-6800D9F1BB14}" dt="2024-02-01T16:29:45.693" v="3804"/>
          <ac:spMkLst>
            <pc:docMk/>
            <pc:sldMk cId="439422961" sldId="2147482366"/>
            <ac:spMk id="64" creationId="{0B969CB2-3145-1733-8933-4F7B47445C5B}"/>
          </ac:spMkLst>
        </pc:spChg>
        <pc:spChg chg="mod">
          <ac:chgData name="Antoine LAFOREST" userId="9365c212-db52-41a7-ab4a-025e62d16201" providerId="ADAL" clId="{61909AA8-2A44-3D40-B3D9-6800D9F1BB14}" dt="2024-02-01T16:29:45.693" v="3804"/>
          <ac:spMkLst>
            <pc:docMk/>
            <pc:sldMk cId="439422961" sldId="2147482366"/>
            <ac:spMk id="65" creationId="{5E2A78A6-E5E3-4D6F-A6E9-2E23FB6C3E74}"/>
          </ac:spMkLst>
        </pc:spChg>
        <pc:spChg chg="mod">
          <ac:chgData name="Antoine LAFOREST" userId="9365c212-db52-41a7-ab4a-025e62d16201" providerId="ADAL" clId="{61909AA8-2A44-3D40-B3D9-6800D9F1BB14}" dt="2024-02-01T16:29:45.693" v="3804"/>
          <ac:spMkLst>
            <pc:docMk/>
            <pc:sldMk cId="439422961" sldId="2147482366"/>
            <ac:spMk id="67" creationId="{0DECE5F7-682B-98A6-3852-37BA6E8C8939}"/>
          </ac:spMkLst>
        </pc:spChg>
        <pc:spChg chg="mod">
          <ac:chgData name="Antoine LAFOREST" userId="9365c212-db52-41a7-ab4a-025e62d16201" providerId="ADAL" clId="{61909AA8-2A44-3D40-B3D9-6800D9F1BB14}" dt="2024-02-01T16:29:45.693" v="3804"/>
          <ac:spMkLst>
            <pc:docMk/>
            <pc:sldMk cId="439422961" sldId="2147482366"/>
            <ac:spMk id="69" creationId="{EB96F53A-CB88-5A48-A85C-3EFF13C88118}"/>
          </ac:spMkLst>
        </pc:spChg>
        <pc:spChg chg="mod">
          <ac:chgData name="Antoine LAFOREST" userId="9365c212-db52-41a7-ab4a-025e62d16201" providerId="ADAL" clId="{61909AA8-2A44-3D40-B3D9-6800D9F1BB14}" dt="2024-02-01T16:29:45.693" v="3804"/>
          <ac:spMkLst>
            <pc:docMk/>
            <pc:sldMk cId="439422961" sldId="2147482366"/>
            <ac:spMk id="71" creationId="{6EC017DB-218C-59A3-2A2A-5A57AB25FCAB}"/>
          </ac:spMkLst>
        </pc:spChg>
        <pc:spChg chg="mod">
          <ac:chgData name="Antoine LAFOREST" userId="9365c212-db52-41a7-ab4a-025e62d16201" providerId="ADAL" clId="{61909AA8-2A44-3D40-B3D9-6800D9F1BB14}" dt="2024-02-01T16:29:45.693" v="3804"/>
          <ac:spMkLst>
            <pc:docMk/>
            <pc:sldMk cId="439422961" sldId="2147482366"/>
            <ac:spMk id="79" creationId="{4A0820E8-3D7C-08C2-E848-5F2DA060863D}"/>
          </ac:spMkLst>
        </pc:spChg>
        <pc:spChg chg="mod">
          <ac:chgData name="Antoine LAFOREST" userId="9365c212-db52-41a7-ab4a-025e62d16201" providerId="ADAL" clId="{61909AA8-2A44-3D40-B3D9-6800D9F1BB14}" dt="2024-02-01T16:30:15.170" v="3806"/>
          <ac:spMkLst>
            <pc:docMk/>
            <pc:sldMk cId="439422961" sldId="2147482366"/>
            <ac:spMk id="81" creationId="{A916F0A5-0665-AD77-917B-CD47A7071C59}"/>
          </ac:spMkLst>
        </pc:spChg>
        <pc:spChg chg="mod">
          <ac:chgData name="Antoine LAFOREST" userId="9365c212-db52-41a7-ab4a-025e62d16201" providerId="ADAL" clId="{61909AA8-2A44-3D40-B3D9-6800D9F1BB14}" dt="2024-02-01T16:30:15.170" v="3806"/>
          <ac:spMkLst>
            <pc:docMk/>
            <pc:sldMk cId="439422961" sldId="2147482366"/>
            <ac:spMk id="83" creationId="{01BF43BC-1465-4CB3-7829-949F66DF9EFB}"/>
          </ac:spMkLst>
        </pc:spChg>
        <pc:spChg chg="mod">
          <ac:chgData name="Antoine LAFOREST" userId="9365c212-db52-41a7-ab4a-025e62d16201" providerId="ADAL" clId="{61909AA8-2A44-3D40-B3D9-6800D9F1BB14}" dt="2024-02-01T16:30:15.170" v="3806"/>
          <ac:spMkLst>
            <pc:docMk/>
            <pc:sldMk cId="439422961" sldId="2147482366"/>
            <ac:spMk id="84" creationId="{C77DC1FA-C7ED-70D9-16BC-AF86220F2E16}"/>
          </ac:spMkLst>
        </pc:spChg>
        <pc:spChg chg="mod">
          <ac:chgData name="Antoine LAFOREST" userId="9365c212-db52-41a7-ab4a-025e62d16201" providerId="ADAL" clId="{61909AA8-2A44-3D40-B3D9-6800D9F1BB14}" dt="2024-02-01T16:30:15.170" v="3806"/>
          <ac:spMkLst>
            <pc:docMk/>
            <pc:sldMk cId="439422961" sldId="2147482366"/>
            <ac:spMk id="85" creationId="{5ECDD014-BFE2-1056-37FC-EF798115E051}"/>
          </ac:spMkLst>
        </pc:spChg>
        <pc:spChg chg="mod">
          <ac:chgData name="Antoine LAFOREST" userId="9365c212-db52-41a7-ab4a-025e62d16201" providerId="ADAL" clId="{61909AA8-2A44-3D40-B3D9-6800D9F1BB14}" dt="2024-02-01T16:30:15.170" v="3806"/>
          <ac:spMkLst>
            <pc:docMk/>
            <pc:sldMk cId="439422961" sldId="2147482366"/>
            <ac:spMk id="86" creationId="{56E2CBB3-A091-6A6E-05F2-CA5601A86DA9}"/>
          </ac:spMkLst>
        </pc:spChg>
        <pc:spChg chg="mod">
          <ac:chgData name="Antoine LAFOREST" userId="9365c212-db52-41a7-ab4a-025e62d16201" providerId="ADAL" clId="{61909AA8-2A44-3D40-B3D9-6800D9F1BB14}" dt="2024-02-01T16:30:15.170" v="3806"/>
          <ac:spMkLst>
            <pc:docMk/>
            <pc:sldMk cId="439422961" sldId="2147482366"/>
            <ac:spMk id="88" creationId="{CEB99F7B-BA33-0A18-A208-58C583BEC827}"/>
          </ac:spMkLst>
        </pc:spChg>
        <pc:spChg chg="mod">
          <ac:chgData name="Antoine LAFOREST" userId="9365c212-db52-41a7-ab4a-025e62d16201" providerId="ADAL" clId="{61909AA8-2A44-3D40-B3D9-6800D9F1BB14}" dt="2024-02-01T16:30:15.170" v="3806"/>
          <ac:spMkLst>
            <pc:docMk/>
            <pc:sldMk cId="439422961" sldId="2147482366"/>
            <ac:spMk id="89" creationId="{A236EE8F-0104-765D-CB20-7428A4476D0E}"/>
          </ac:spMkLst>
        </pc:spChg>
        <pc:spChg chg="mod">
          <ac:chgData name="Antoine LAFOREST" userId="9365c212-db52-41a7-ab4a-025e62d16201" providerId="ADAL" clId="{61909AA8-2A44-3D40-B3D9-6800D9F1BB14}" dt="2024-02-01T16:30:15.170" v="3806"/>
          <ac:spMkLst>
            <pc:docMk/>
            <pc:sldMk cId="439422961" sldId="2147482366"/>
            <ac:spMk id="91" creationId="{A5F266B8-2C02-C4C4-D66B-6A0611395717}"/>
          </ac:spMkLst>
        </pc:spChg>
        <pc:spChg chg="mod">
          <ac:chgData name="Antoine LAFOREST" userId="9365c212-db52-41a7-ab4a-025e62d16201" providerId="ADAL" clId="{61909AA8-2A44-3D40-B3D9-6800D9F1BB14}" dt="2024-02-01T16:30:15.170" v="3806"/>
          <ac:spMkLst>
            <pc:docMk/>
            <pc:sldMk cId="439422961" sldId="2147482366"/>
            <ac:spMk id="93" creationId="{620FAD30-881E-9D1A-AB33-FF274872CDEC}"/>
          </ac:spMkLst>
        </pc:spChg>
        <pc:spChg chg="mod">
          <ac:chgData name="Antoine LAFOREST" userId="9365c212-db52-41a7-ab4a-025e62d16201" providerId="ADAL" clId="{61909AA8-2A44-3D40-B3D9-6800D9F1BB14}" dt="2024-02-01T16:30:15.170" v="3806"/>
          <ac:spMkLst>
            <pc:docMk/>
            <pc:sldMk cId="439422961" sldId="2147482366"/>
            <ac:spMk id="94" creationId="{7D48AEE1-DB65-DADD-826F-A865E1C6F48A}"/>
          </ac:spMkLst>
        </pc:spChg>
        <pc:spChg chg="mod">
          <ac:chgData name="Antoine LAFOREST" userId="9365c212-db52-41a7-ab4a-025e62d16201" providerId="ADAL" clId="{61909AA8-2A44-3D40-B3D9-6800D9F1BB14}" dt="2024-02-01T16:30:15.170" v="3806"/>
          <ac:spMkLst>
            <pc:docMk/>
            <pc:sldMk cId="439422961" sldId="2147482366"/>
            <ac:spMk id="96" creationId="{EA9E47DC-0A2C-6387-048E-D0905A336176}"/>
          </ac:spMkLst>
        </pc:spChg>
        <pc:spChg chg="mod">
          <ac:chgData name="Antoine LAFOREST" userId="9365c212-db52-41a7-ab4a-025e62d16201" providerId="ADAL" clId="{61909AA8-2A44-3D40-B3D9-6800D9F1BB14}" dt="2024-02-01T16:30:15.170" v="3806"/>
          <ac:spMkLst>
            <pc:docMk/>
            <pc:sldMk cId="439422961" sldId="2147482366"/>
            <ac:spMk id="99" creationId="{1773DA4C-DE15-2969-9174-07CF276E3084}"/>
          </ac:spMkLst>
        </pc:spChg>
        <pc:spChg chg="mod">
          <ac:chgData name="Antoine LAFOREST" userId="9365c212-db52-41a7-ab4a-025e62d16201" providerId="ADAL" clId="{61909AA8-2A44-3D40-B3D9-6800D9F1BB14}" dt="2024-02-01T16:30:15.170" v="3806"/>
          <ac:spMkLst>
            <pc:docMk/>
            <pc:sldMk cId="439422961" sldId="2147482366"/>
            <ac:spMk id="100" creationId="{0971808D-7884-9B48-BE57-91FF32DC6025}"/>
          </ac:spMkLst>
        </pc:spChg>
        <pc:spChg chg="mod">
          <ac:chgData name="Antoine LAFOREST" userId="9365c212-db52-41a7-ab4a-025e62d16201" providerId="ADAL" clId="{61909AA8-2A44-3D40-B3D9-6800D9F1BB14}" dt="2024-02-01T16:30:15.170" v="3806"/>
          <ac:spMkLst>
            <pc:docMk/>
            <pc:sldMk cId="439422961" sldId="2147482366"/>
            <ac:spMk id="101" creationId="{DCDB1CB6-AE91-4B67-AB1E-931A42111E74}"/>
          </ac:spMkLst>
        </pc:spChg>
        <pc:spChg chg="mod">
          <ac:chgData name="Antoine LAFOREST" userId="9365c212-db52-41a7-ab4a-025e62d16201" providerId="ADAL" clId="{61909AA8-2A44-3D40-B3D9-6800D9F1BB14}" dt="2024-02-01T14:15:06.195" v="3180" actId="12788"/>
          <ac:spMkLst>
            <pc:docMk/>
            <pc:sldMk cId="439422961" sldId="2147482366"/>
            <ac:spMk id="108" creationId="{6CB497C4-15D0-10D4-906C-2F0B6BF15CBE}"/>
          </ac:spMkLst>
        </pc:spChg>
        <pc:grpChg chg="mod">
          <ac:chgData name="Antoine LAFOREST" userId="9365c212-db52-41a7-ab4a-025e62d16201" providerId="ADAL" clId="{61909AA8-2A44-3D40-B3D9-6800D9F1BB14}" dt="2024-02-01T14:14:56.926" v="3169" actId="1035"/>
          <ac:grpSpMkLst>
            <pc:docMk/>
            <pc:sldMk cId="439422961" sldId="2147482366"/>
            <ac:grpSpMk id="4" creationId="{B4EDB457-5530-DA9F-23EC-02689ECEDFB6}"/>
          </ac:grpSpMkLst>
        </pc:grpChg>
        <pc:grpChg chg="mod">
          <ac:chgData name="Antoine LAFOREST" userId="9365c212-db52-41a7-ab4a-025e62d16201" providerId="ADAL" clId="{61909AA8-2A44-3D40-B3D9-6800D9F1BB14}" dt="2024-02-01T14:14:56.926" v="3169" actId="1035"/>
          <ac:grpSpMkLst>
            <pc:docMk/>
            <pc:sldMk cId="439422961" sldId="2147482366"/>
            <ac:grpSpMk id="11" creationId="{8B284B0A-142C-DB67-6F1F-60C5055AE2BC}"/>
          </ac:grpSpMkLst>
        </pc:grpChg>
        <pc:grpChg chg="mod">
          <ac:chgData name="Antoine LAFOREST" userId="9365c212-db52-41a7-ab4a-025e62d16201" providerId="ADAL" clId="{61909AA8-2A44-3D40-B3D9-6800D9F1BB14}" dt="2024-02-01T14:14:56.926" v="3169" actId="1035"/>
          <ac:grpSpMkLst>
            <pc:docMk/>
            <pc:sldMk cId="439422961" sldId="2147482366"/>
            <ac:grpSpMk id="14" creationId="{676DB727-5005-149E-E52C-7DAD23DBD1F1}"/>
          </ac:grpSpMkLst>
        </pc:grpChg>
        <pc:grpChg chg="mod">
          <ac:chgData name="Antoine LAFOREST" userId="9365c212-db52-41a7-ab4a-025e62d16201" providerId="ADAL" clId="{61909AA8-2A44-3D40-B3D9-6800D9F1BB14}" dt="2024-02-01T14:14:56.926" v="3169" actId="1035"/>
          <ac:grpSpMkLst>
            <pc:docMk/>
            <pc:sldMk cId="439422961" sldId="2147482366"/>
            <ac:grpSpMk id="23" creationId="{BBDB3C23-9B66-A5EF-4DA5-6C2FD42855AD}"/>
          </ac:grpSpMkLst>
        </pc:grpChg>
        <pc:grpChg chg="add del mod">
          <ac:chgData name="Antoine LAFOREST" userId="9365c212-db52-41a7-ab4a-025e62d16201" providerId="ADAL" clId="{61909AA8-2A44-3D40-B3D9-6800D9F1BB14}" dt="2024-02-01T16:29:59.471" v="3805" actId="478"/>
          <ac:grpSpMkLst>
            <pc:docMk/>
            <pc:sldMk cId="439422961" sldId="2147482366"/>
            <ac:grpSpMk id="46" creationId="{5E10AC97-8898-CB9F-1967-64E0191041E7}"/>
          </ac:grpSpMkLst>
        </pc:grpChg>
        <pc:grpChg chg="mod">
          <ac:chgData name="Antoine LAFOREST" userId="9365c212-db52-41a7-ab4a-025e62d16201" providerId="ADAL" clId="{61909AA8-2A44-3D40-B3D9-6800D9F1BB14}" dt="2024-02-01T16:29:45.693" v="3804"/>
          <ac:grpSpMkLst>
            <pc:docMk/>
            <pc:sldMk cId="439422961" sldId="2147482366"/>
            <ac:grpSpMk id="54" creationId="{FFF0631D-2696-6FB2-D4E1-5E99D16CCC55}"/>
          </ac:grpSpMkLst>
        </pc:grpChg>
        <pc:grpChg chg="mod">
          <ac:chgData name="Antoine LAFOREST" userId="9365c212-db52-41a7-ab4a-025e62d16201" providerId="ADAL" clId="{61909AA8-2A44-3D40-B3D9-6800D9F1BB14}" dt="2024-02-01T14:14:56.926" v="3169" actId="1035"/>
          <ac:grpSpMkLst>
            <pc:docMk/>
            <pc:sldMk cId="439422961" sldId="2147482366"/>
            <ac:grpSpMk id="60" creationId="{1A55A327-1844-6E11-9E84-9D851DAA04E4}"/>
          </ac:grpSpMkLst>
        </pc:grpChg>
        <pc:grpChg chg="add del mod">
          <ac:chgData name="Antoine LAFOREST" userId="9365c212-db52-41a7-ab4a-025e62d16201" providerId="ADAL" clId="{61909AA8-2A44-3D40-B3D9-6800D9F1BB14}" dt="2024-02-01T16:29:59.471" v="3805" actId="478"/>
          <ac:grpSpMkLst>
            <pc:docMk/>
            <pc:sldMk cId="439422961" sldId="2147482366"/>
            <ac:grpSpMk id="66" creationId="{BB56E4C5-7A0D-778D-9EF4-CA9253EBAD72}"/>
          </ac:grpSpMkLst>
        </pc:grpChg>
        <pc:grpChg chg="mod">
          <ac:chgData name="Antoine LAFOREST" userId="9365c212-db52-41a7-ab4a-025e62d16201" providerId="ADAL" clId="{61909AA8-2A44-3D40-B3D9-6800D9F1BB14}" dt="2024-02-01T16:29:45.693" v="3804"/>
          <ac:grpSpMkLst>
            <pc:docMk/>
            <pc:sldMk cId="439422961" sldId="2147482366"/>
            <ac:grpSpMk id="68" creationId="{B6E9BB07-18F4-5DC4-0053-55215B2CA563}"/>
          </ac:grpSpMkLst>
        </pc:grpChg>
        <pc:grpChg chg="mod">
          <ac:chgData name="Antoine LAFOREST" userId="9365c212-db52-41a7-ab4a-025e62d16201" providerId="ADAL" clId="{61909AA8-2A44-3D40-B3D9-6800D9F1BB14}" dt="2024-02-01T14:14:56.926" v="3169" actId="1035"/>
          <ac:grpSpMkLst>
            <pc:docMk/>
            <pc:sldMk cId="439422961" sldId="2147482366"/>
            <ac:grpSpMk id="70" creationId="{AE02FF44-0F90-D038-C9B2-664F86EED3FE}"/>
          </ac:grpSpMkLst>
        </pc:grpChg>
        <pc:grpChg chg="add mod">
          <ac:chgData name="Antoine LAFOREST" userId="9365c212-db52-41a7-ab4a-025e62d16201" providerId="ADAL" clId="{61909AA8-2A44-3D40-B3D9-6800D9F1BB14}" dt="2024-02-01T16:30:15.170" v="3806"/>
          <ac:grpSpMkLst>
            <pc:docMk/>
            <pc:sldMk cId="439422961" sldId="2147482366"/>
            <ac:grpSpMk id="80" creationId="{5BE9EA57-8CA3-99D5-541E-C0DF21D6050A}"/>
          </ac:grpSpMkLst>
        </pc:grpChg>
        <pc:grpChg chg="mod">
          <ac:chgData name="Antoine LAFOREST" userId="9365c212-db52-41a7-ab4a-025e62d16201" providerId="ADAL" clId="{61909AA8-2A44-3D40-B3D9-6800D9F1BB14}" dt="2024-02-01T16:30:15.170" v="3806"/>
          <ac:grpSpMkLst>
            <pc:docMk/>
            <pc:sldMk cId="439422961" sldId="2147482366"/>
            <ac:grpSpMk id="82" creationId="{04B94397-009F-DFAC-01B8-DC5AC16C4237}"/>
          </ac:grpSpMkLst>
        </pc:grpChg>
        <pc:grpChg chg="add mod">
          <ac:chgData name="Antoine LAFOREST" userId="9365c212-db52-41a7-ab4a-025e62d16201" providerId="ADAL" clId="{61909AA8-2A44-3D40-B3D9-6800D9F1BB14}" dt="2024-02-01T16:30:15.170" v="3806"/>
          <ac:grpSpMkLst>
            <pc:docMk/>
            <pc:sldMk cId="439422961" sldId="2147482366"/>
            <ac:grpSpMk id="87" creationId="{611A83BB-346E-8859-7371-339473B01660}"/>
          </ac:grpSpMkLst>
        </pc:grpChg>
        <pc:grpChg chg="add mod">
          <ac:chgData name="Antoine LAFOREST" userId="9365c212-db52-41a7-ab4a-025e62d16201" providerId="ADAL" clId="{61909AA8-2A44-3D40-B3D9-6800D9F1BB14}" dt="2024-02-01T16:30:15.170" v="3806"/>
          <ac:grpSpMkLst>
            <pc:docMk/>
            <pc:sldMk cId="439422961" sldId="2147482366"/>
            <ac:grpSpMk id="90" creationId="{F79902AA-DBA9-D4C5-AA98-F196B3F675E9}"/>
          </ac:grpSpMkLst>
        </pc:grpChg>
        <pc:grpChg chg="mod">
          <ac:chgData name="Antoine LAFOREST" userId="9365c212-db52-41a7-ab4a-025e62d16201" providerId="ADAL" clId="{61909AA8-2A44-3D40-B3D9-6800D9F1BB14}" dt="2024-02-01T16:30:15.170" v="3806"/>
          <ac:grpSpMkLst>
            <pc:docMk/>
            <pc:sldMk cId="439422961" sldId="2147482366"/>
            <ac:grpSpMk id="92" creationId="{1007E26C-A166-6994-1F9C-478C7843A5E6}"/>
          </ac:grpSpMkLst>
        </pc:grpChg>
        <pc:grpChg chg="add mod">
          <ac:chgData name="Antoine LAFOREST" userId="9365c212-db52-41a7-ab4a-025e62d16201" providerId="ADAL" clId="{61909AA8-2A44-3D40-B3D9-6800D9F1BB14}" dt="2024-02-01T16:30:15.170" v="3806"/>
          <ac:grpSpMkLst>
            <pc:docMk/>
            <pc:sldMk cId="439422961" sldId="2147482366"/>
            <ac:grpSpMk id="95" creationId="{1ADF8BFF-7C28-D044-6CD3-1C0457E3ED1B}"/>
          </ac:grpSpMkLst>
        </pc:grpChg>
        <pc:grpChg chg="mod">
          <ac:chgData name="Antoine LAFOREST" userId="9365c212-db52-41a7-ab4a-025e62d16201" providerId="ADAL" clId="{61909AA8-2A44-3D40-B3D9-6800D9F1BB14}" dt="2024-02-01T16:30:15.170" v="3806"/>
          <ac:grpSpMkLst>
            <pc:docMk/>
            <pc:sldMk cId="439422961" sldId="2147482366"/>
            <ac:grpSpMk id="98" creationId="{254ACF76-4B74-3E19-539A-C862B91EADBA}"/>
          </ac:grpSpMkLst>
        </pc:grpChg>
        <pc:picChg chg="mod">
          <ac:chgData name="Antoine LAFOREST" userId="9365c212-db52-41a7-ab4a-025e62d16201" providerId="ADAL" clId="{61909AA8-2A44-3D40-B3D9-6800D9F1BB14}" dt="2024-02-01T14:14:56.926" v="3169" actId="1035"/>
          <ac:picMkLst>
            <pc:docMk/>
            <pc:sldMk cId="439422961" sldId="2147482366"/>
            <ac:picMk id="97" creationId="{2973FEAF-1985-351C-4CE2-4E884276E5FA}"/>
          </ac:picMkLst>
        </pc:picChg>
        <pc:picChg chg="mod">
          <ac:chgData name="Antoine LAFOREST" userId="9365c212-db52-41a7-ab4a-025e62d16201" providerId="ADAL" clId="{61909AA8-2A44-3D40-B3D9-6800D9F1BB14}" dt="2024-02-01T14:14:56.926" v="3169" actId="1035"/>
          <ac:picMkLst>
            <pc:docMk/>
            <pc:sldMk cId="439422961" sldId="2147482366"/>
            <ac:picMk id="107" creationId="{0B1DB2A8-ECD1-B091-4B2E-3E4430FA3C45}"/>
          </ac:picMkLst>
        </pc:picChg>
      </pc:sldChg>
      <pc:sldChg chg="add">
        <pc:chgData name="Antoine LAFOREST" userId="9365c212-db52-41a7-ab4a-025e62d16201" providerId="ADAL" clId="{61909AA8-2A44-3D40-B3D9-6800D9F1BB14}" dt="2024-02-01T16:40:51.504" v="3861"/>
        <pc:sldMkLst>
          <pc:docMk/>
          <pc:sldMk cId="1179137849" sldId="2147482366"/>
        </pc:sldMkLst>
      </pc:sldChg>
      <pc:sldChg chg="modSp mod">
        <pc:chgData name="Antoine LAFOREST" userId="9365c212-db52-41a7-ab4a-025e62d16201" providerId="ADAL" clId="{61909AA8-2A44-3D40-B3D9-6800D9F1BB14}" dt="2024-02-02T18:06:49.654" v="5433" actId="20577"/>
        <pc:sldMkLst>
          <pc:docMk/>
          <pc:sldMk cId="3308541053" sldId="2147482367"/>
        </pc:sldMkLst>
        <pc:spChg chg="mod">
          <ac:chgData name="Antoine LAFOREST" userId="9365c212-db52-41a7-ab4a-025e62d16201" providerId="ADAL" clId="{61909AA8-2A44-3D40-B3D9-6800D9F1BB14}" dt="2024-02-02T18:06:49.654" v="5433" actId="20577"/>
          <ac:spMkLst>
            <pc:docMk/>
            <pc:sldMk cId="3308541053" sldId="2147482367"/>
            <ac:spMk id="45" creationId="{E392A34E-1220-79C0-979B-B06F080A8FD5}"/>
          </ac:spMkLst>
        </pc:spChg>
        <pc:spChg chg="mod">
          <ac:chgData name="Antoine LAFOREST" userId="9365c212-db52-41a7-ab4a-025e62d16201" providerId="ADAL" clId="{61909AA8-2A44-3D40-B3D9-6800D9F1BB14}" dt="2024-02-02T18:06:42.609" v="5430" actId="14100"/>
          <ac:spMkLst>
            <pc:docMk/>
            <pc:sldMk cId="3308541053" sldId="2147482367"/>
            <ac:spMk id="97" creationId="{16817D63-2FD5-1C60-C2BE-428CB3E44517}"/>
          </ac:spMkLst>
        </pc:spChg>
        <pc:grpChg chg="mod">
          <ac:chgData name="Antoine LAFOREST" userId="9365c212-db52-41a7-ab4a-025e62d16201" providerId="ADAL" clId="{61909AA8-2A44-3D40-B3D9-6800D9F1BB14}" dt="2024-02-02T18:06:38.946" v="5429" actId="1036"/>
          <ac:grpSpMkLst>
            <pc:docMk/>
            <pc:sldMk cId="3308541053" sldId="2147482367"/>
            <ac:grpSpMk id="94" creationId="{726B8469-C806-08B1-5AC0-FD61C7E4A89C}"/>
          </ac:grpSpMkLst>
        </pc:grpChg>
        <pc:picChg chg="mod">
          <ac:chgData name="Antoine LAFOREST" userId="9365c212-db52-41a7-ab4a-025e62d16201" providerId="ADAL" clId="{61909AA8-2A44-3D40-B3D9-6800D9F1BB14}" dt="2024-02-02T18:06:38.946" v="5429" actId="1036"/>
          <ac:picMkLst>
            <pc:docMk/>
            <pc:sldMk cId="3308541053" sldId="2147482367"/>
            <ac:picMk id="83" creationId="{BAAE3A21-7983-7474-245B-761576455D1C}"/>
          </ac:picMkLst>
        </pc:picChg>
        <pc:picChg chg="mod">
          <ac:chgData name="Antoine LAFOREST" userId="9365c212-db52-41a7-ab4a-025e62d16201" providerId="ADAL" clId="{61909AA8-2A44-3D40-B3D9-6800D9F1BB14}" dt="2024-02-02T18:06:29.530" v="5416" actId="1035"/>
          <ac:picMkLst>
            <pc:docMk/>
            <pc:sldMk cId="3308541053" sldId="2147482367"/>
            <ac:picMk id="86" creationId="{3583B20B-E534-8599-8010-6CCC5320E9C6}"/>
          </ac:picMkLst>
        </pc:picChg>
        <pc:picChg chg="mod">
          <ac:chgData name="Antoine LAFOREST" userId="9365c212-db52-41a7-ab4a-025e62d16201" providerId="ADAL" clId="{61909AA8-2A44-3D40-B3D9-6800D9F1BB14}" dt="2024-02-02T18:06:29.530" v="5416" actId="1035"/>
          <ac:picMkLst>
            <pc:docMk/>
            <pc:sldMk cId="3308541053" sldId="2147482367"/>
            <ac:picMk id="87" creationId="{F0D9A70F-80B4-B4D3-B940-1CD674B5A39B}"/>
          </ac:picMkLst>
        </pc:picChg>
        <pc:picChg chg="mod">
          <ac:chgData name="Antoine LAFOREST" userId="9365c212-db52-41a7-ab4a-025e62d16201" providerId="ADAL" clId="{61909AA8-2A44-3D40-B3D9-6800D9F1BB14}" dt="2024-02-02T18:06:20.083" v="5390" actId="1036"/>
          <ac:picMkLst>
            <pc:docMk/>
            <pc:sldMk cId="3308541053" sldId="2147482367"/>
            <ac:picMk id="109" creationId="{DF3BA1CB-E075-B98E-2AB4-0D8CFB8ABDC0}"/>
          </ac:picMkLst>
        </pc:picChg>
        <pc:picChg chg="mod">
          <ac:chgData name="Antoine LAFOREST" userId="9365c212-db52-41a7-ab4a-025e62d16201" providerId="ADAL" clId="{61909AA8-2A44-3D40-B3D9-6800D9F1BB14}" dt="2024-02-02T18:06:24.756" v="5404" actId="1035"/>
          <ac:picMkLst>
            <pc:docMk/>
            <pc:sldMk cId="3308541053" sldId="2147482367"/>
            <ac:picMk id="111" creationId="{6392CF50-F8E5-0995-F7A8-9D964399DB15}"/>
          </ac:picMkLst>
        </pc:picChg>
      </pc:sldChg>
      <pc:sldChg chg="addSp delSp modSp del mod">
        <pc:chgData name="Antoine LAFOREST" userId="9365c212-db52-41a7-ab4a-025e62d16201" providerId="ADAL" clId="{61909AA8-2A44-3D40-B3D9-6800D9F1BB14}" dt="2024-02-01T16:40:49.416" v="3860" actId="2696"/>
        <pc:sldMkLst>
          <pc:docMk/>
          <pc:sldMk cId="778890531" sldId="2147482368"/>
        </pc:sldMkLst>
        <pc:spChg chg="mod">
          <ac:chgData name="Antoine LAFOREST" userId="9365c212-db52-41a7-ab4a-025e62d16201" providerId="ADAL" clId="{61909AA8-2A44-3D40-B3D9-6800D9F1BB14}" dt="2024-02-01T16:31:59.702" v="3811" actId="1076"/>
          <ac:spMkLst>
            <pc:docMk/>
            <pc:sldMk cId="778890531" sldId="2147482368"/>
            <ac:spMk id="4" creationId="{4E640376-8601-5D8E-24CC-CD7D457B71B3}"/>
          </ac:spMkLst>
        </pc:spChg>
        <pc:spChg chg="del">
          <ac:chgData name="Antoine LAFOREST" userId="9365c212-db52-41a7-ab4a-025e62d16201" providerId="ADAL" clId="{61909AA8-2A44-3D40-B3D9-6800D9F1BB14}" dt="2024-02-01T16:32:52.661" v="3817" actId="478"/>
          <ac:spMkLst>
            <pc:docMk/>
            <pc:sldMk cId="778890531" sldId="2147482368"/>
            <ac:spMk id="5" creationId="{C8558AF3-43A3-C251-8160-F906BB0955E6}"/>
          </ac:spMkLst>
        </pc:spChg>
        <pc:spChg chg="add mod">
          <ac:chgData name="Antoine LAFOREST" userId="9365c212-db52-41a7-ab4a-025e62d16201" providerId="ADAL" clId="{61909AA8-2A44-3D40-B3D9-6800D9F1BB14}" dt="2024-02-01T16:08:31.516" v="3681" actId="20577"/>
          <ac:spMkLst>
            <pc:docMk/>
            <pc:sldMk cId="778890531" sldId="2147482368"/>
            <ac:spMk id="6" creationId="{0C90B011-DFA4-E407-6C52-4BB84C581A6B}"/>
          </ac:spMkLst>
        </pc:spChg>
        <pc:spChg chg="add del mod">
          <ac:chgData name="Antoine LAFOREST" userId="9365c212-db52-41a7-ab4a-025e62d16201" providerId="ADAL" clId="{61909AA8-2A44-3D40-B3D9-6800D9F1BB14}" dt="2024-02-01T16:32:08.229" v="3813" actId="21"/>
          <ac:spMkLst>
            <pc:docMk/>
            <pc:sldMk cId="778890531" sldId="2147482368"/>
            <ac:spMk id="7" creationId="{EA910DDD-D91D-D0BA-D25F-2BAD3C896A74}"/>
          </ac:spMkLst>
        </pc:spChg>
        <pc:spChg chg="add del mod">
          <ac:chgData name="Antoine LAFOREST" userId="9365c212-db52-41a7-ab4a-025e62d16201" providerId="ADAL" clId="{61909AA8-2A44-3D40-B3D9-6800D9F1BB14}" dt="2024-02-01T16:32:08.229" v="3813" actId="21"/>
          <ac:spMkLst>
            <pc:docMk/>
            <pc:sldMk cId="778890531" sldId="2147482368"/>
            <ac:spMk id="9" creationId="{8BF2F4F5-5205-3E64-2725-EEC52F597485}"/>
          </ac:spMkLst>
        </pc:spChg>
        <pc:spChg chg="add del mod">
          <ac:chgData name="Antoine LAFOREST" userId="9365c212-db52-41a7-ab4a-025e62d16201" providerId="ADAL" clId="{61909AA8-2A44-3D40-B3D9-6800D9F1BB14}" dt="2024-02-01T16:32:08.229" v="3813" actId="21"/>
          <ac:spMkLst>
            <pc:docMk/>
            <pc:sldMk cId="778890531" sldId="2147482368"/>
            <ac:spMk id="11" creationId="{C4C450FF-A83E-7AF2-2B5F-C1346F3858F1}"/>
          </ac:spMkLst>
        </pc:spChg>
        <pc:spChg chg="add del mod">
          <ac:chgData name="Antoine LAFOREST" userId="9365c212-db52-41a7-ab4a-025e62d16201" providerId="ADAL" clId="{61909AA8-2A44-3D40-B3D9-6800D9F1BB14}" dt="2024-02-01T16:32:08.229" v="3813" actId="21"/>
          <ac:spMkLst>
            <pc:docMk/>
            <pc:sldMk cId="778890531" sldId="2147482368"/>
            <ac:spMk id="13" creationId="{28C8FB71-F17D-923C-7C5E-148D4BD7944C}"/>
          </ac:spMkLst>
        </pc:spChg>
        <pc:spChg chg="add del mod">
          <ac:chgData name="Antoine LAFOREST" userId="9365c212-db52-41a7-ab4a-025e62d16201" providerId="ADAL" clId="{61909AA8-2A44-3D40-B3D9-6800D9F1BB14}" dt="2024-02-01T16:32:08.229" v="3813" actId="21"/>
          <ac:spMkLst>
            <pc:docMk/>
            <pc:sldMk cId="778890531" sldId="2147482368"/>
            <ac:spMk id="14" creationId="{BB565D02-99E0-3428-5C13-2B5F7ED4FB1F}"/>
          </ac:spMkLst>
        </pc:spChg>
        <pc:spChg chg="add del mod">
          <ac:chgData name="Antoine LAFOREST" userId="9365c212-db52-41a7-ab4a-025e62d16201" providerId="ADAL" clId="{61909AA8-2A44-3D40-B3D9-6800D9F1BB14}" dt="2024-02-01T16:32:08.229" v="3813" actId="21"/>
          <ac:spMkLst>
            <pc:docMk/>
            <pc:sldMk cId="778890531" sldId="2147482368"/>
            <ac:spMk id="17" creationId="{385F47F4-0A63-3B4B-BDFE-D55A95BE8178}"/>
          </ac:spMkLst>
        </pc:spChg>
        <pc:spChg chg="add del mod">
          <ac:chgData name="Antoine LAFOREST" userId="9365c212-db52-41a7-ab4a-025e62d16201" providerId="ADAL" clId="{61909AA8-2A44-3D40-B3D9-6800D9F1BB14}" dt="2024-02-01T16:32:08.229" v="3813" actId="21"/>
          <ac:spMkLst>
            <pc:docMk/>
            <pc:sldMk cId="778890531" sldId="2147482368"/>
            <ac:spMk id="18" creationId="{C40DF693-AC7B-BDE4-B289-FC81010C57C6}"/>
          </ac:spMkLst>
        </pc:spChg>
        <pc:spChg chg="add del mod">
          <ac:chgData name="Antoine LAFOREST" userId="9365c212-db52-41a7-ab4a-025e62d16201" providerId="ADAL" clId="{61909AA8-2A44-3D40-B3D9-6800D9F1BB14}" dt="2024-02-01T16:32:08.229" v="3813" actId="21"/>
          <ac:spMkLst>
            <pc:docMk/>
            <pc:sldMk cId="778890531" sldId="2147482368"/>
            <ac:spMk id="19" creationId="{17973875-7B63-B16A-0BC8-913846DC8E83}"/>
          </ac:spMkLst>
        </pc:spChg>
        <pc:spChg chg="add del mod">
          <ac:chgData name="Antoine LAFOREST" userId="9365c212-db52-41a7-ab4a-025e62d16201" providerId="ADAL" clId="{61909AA8-2A44-3D40-B3D9-6800D9F1BB14}" dt="2024-02-01T16:32:08.229" v="3813" actId="21"/>
          <ac:spMkLst>
            <pc:docMk/>
            <pc:sldMk cId="778890531" sldId="2147482368"/>
            <ac:spMk id="21" creationId="{ECA23A17-49D5-B10E-3564-E812EC312C49}"/>
          </ac:spMkLst>
        </pc:spChg>
        <pc:spChg chg="add del mod">
          <ac:chgData name="Antoine LAFOREST" userId="9365c212-db52-41a7-ab4a-025e62d16201" providerId="ADAL" clId="{61909AA8-2A44-3D40-B3D9-6800D9F1BB14}" dt="2024-02-01T16:32:08.229" v="3813" actId="21"/>
          <ac:spMkLst>
            <pc:docMk/>
            <pc:sldMk cId="778890531" sldId="2147482368"/>
            <ac:spMk id="23" creationId="{6B3D25D4-B731-FA1E-189A-3967CB3703D0}"/>
          </ac:spMkLst>
        </pc:spChg>
        <pc:spChg chg="add del mod">
          <ac:chgData name="Antoine LAFOREST" userId="9365c212-db52-41a7-ab4a-025e62d16201" providerId="ADAL" clId="{61909AA8-2A44-3D40-B3D9-6800D9F1BB14}" dt="2024-02-01T16:32:08.229" v="3813" actId="21"/>
          <ac:spMkLst>
            <pc:docMk/>
            <pc:sldMk cId="778890531" sldId="2147482368"/>
            <ac:spMk id="28" creationId="{F76FDB62-93B3-D446-98DD-E637F37B2135}"/>
          </ac:spMkLst>
        </pc:spChg>
        <pc:spChg chg="mod">
          <ac:chgData name="Antoine LAFOREST" userId="9365c212-db52-41a7-ab4a-025e62d16201" providerId="ADAL" clId="{61909AA8-2A44-3D40-B3D9-6800D9F1BB14}" dt="2024-02-01T16:39:27.930" v="3855" actId="20577"/>
          <ac:spMkLst>
            <pc:docMk/>
            <pc:sldMk cId="778890531" sldId="2147482368"/>
            <ac:spMk id="57" creationId="{10039D4B-66AD-7E1B-8FEA-D0EC5149FCCD}"/>
          </ac:spMkLst>
        </pc:spChg>
        <pc:picChg chg="add del mod">
          <ac:chgData name="Antoine LAFOREST" userId="9365c212-db52-41a7-ab4a-025e62d16201" providerId="ADAL" clId="{61909AA8-2A44-3D40-B3D9-6800D9F1BB14}" dt="2024-02-01T16:32:08.229" v="3813" actId="21"/>
          <ac:picMkLst>
            <pc:docMk/>
            <pc:sldMk cId="778890531" sldId="2147482368"/>
            <ac:picMk id="8" creationId="{9FBE24D0-5AA2-829F-426A-02B97C379D24}"/>
          </ac:picMkLst>
        </pc:picChg>
        <pc:picChg chg="add del mod">
          <ac:chgData name="Antoine LAFOREST" userId="9365c212-db52-41a7-ab4a-025e62d16201" providerId="ADAL" clId="{61909AA8-2A44-3D40-B3D9-6800D9F1BB14}" dt="2024-02-01T16:32:08.229" v="3813" actId="21"/>
          <ac:picMkLst>
            <pc:docMk/>
            <pc:sldMk cId="778890531" sldId="2147482368"/>
            <ac:picMk id="10" creationId="{6D1319BA-1DF3-FC04-2B02-98060D5AC4A1}"/>
          </ac:picMkLst>
        </pc:picChg>
        <pc:picChg chg="add del mod">
          <ac:chgData name="Antoine LAFOREST" userId="9365c212-db52-41a7-ab4a-025e62d16201" providerId="ADAL" clId="{61909AA8-2A44-3D40-B3D9-6800D9F1BB14}" dt="2024-02-01T16:32:08.229" v="3813" actId="21"/>
          <ac:picMkLst>
            <pc:docMk/>
            <pc:sldMk cId="778890531" sldId="2147482368"/>
            <ac:picMk id="12" creationId="{6A2AB2AF-B95C-CC11-3C08-036ADAE40BE7}"/>
          </ac:picMkLst>
        </pc:picChg>
        <pc:picChg chg="add del mod">
          <ac:chgData name="Antoine LAFOREST" userId="9365c212-db52-41a7-ab4a-025e62d16201" providerId="ADAL" clId="{61909AA8-2A44-3D40-B3D9-6800D9F1BB14}" dt="2024-02-01T16:32:08.229" v="3813" actId="21"/>
          <ac:picMkLst>
            <pc:docMk/>
            <pc:sldMk cId="778890531" sldId="2147482368"/>
            <ac:picMk id="15" creationId="{604B4B79-817F-4719-BE19-48FA17618E68}"/>
          </ac:picMkLst>
        </pc:picChg>
        <pc:picChg chg="add del mod">
          <ac:chgData name="Antoine LAFOREST" userId="9365c212-db52-41a7-ab4a-025e62d16201" providerId="ADAL" clId="{61909AA8-2A44-3D40-B3D9-6800D9F1BB14}" dt="2024-02-01T16:32:08.229" v="3813" actId="21"/>
          <ac:picMkLst>
            <pc:docMk/>
            <pc:sldMk cId="778890531" sldId="2147482368"/>
            <ac:picMk id="16" creationId="{87ACEF41-72C0-6533-B353-3C9FD3FD72EF}"/>
          </ac:picMkLst>
        </pc:picChg>
        <pc:picChg chg="add del mod">
          <ac:chgData name="Antoine LAFOREST" userId="9365c212-db52-41a7-ab4a-025e62d16201" providerId="ADAL" clId="{61909AA8-2A44-3D40-B3D9-6800D9F1BB14}" dt="2024-02-01T16:32:08.229" v="3813" actId="21"/>
          <ac:picMkLst>
            <pc:docMk/>
            <pc:sldMk cId="778890531" sldId="2147482368"/>
            <ac:picMk id="20" creationId="{75EE4D07-3CF6-0751-C99D-7CFB474B2C43}"/>
          </ac:picMkLst>
        </pc:picChg>
        <pc:picChg chg="add del mod">
          <ac:chgData name="Antoine LAFOREST" userId="9365c212-db52-41a7-ab4a-025e62d16201" providerId="ADAL" clId="{61909AA8-2A44-3D40-B3D9-6800D9F1BB14}" dt="2024-02-01T16:32:08.229" v="3813" actId="21"/>
          <ac:picMkLst>
            <pc:docMk/>
            <pc:sldMk cId="778890531" sldId="2147482368"/>
            <ac:picMk id="22" creationId="{BE690379-92CD-3D29-7085-1896FBCEE046}"/>
          </ac:picMkLst>
        </pc:picChg>
        <pc:picChg chg="add del mod">
          <ac:chgData name="Antoine LAFOREST" userId="9365c212-db52-41a7-ab4a-025e62d16201" providerId="ADAL" clId="{61909AA8-2A44-3D40-B3D9-6800D9F1BB14}" dt="2024-02-01T16:32:08.229" v="3813" actId="21"/>
          <ac:picMkLst>
            <pc:docMk/>
            <pc:sldMk cId="778890531" sldId="2147482368"/>
            <ac:picMk id="24" creationId="{CE09F7E2-D7B3-27F5-E46D-38E53D110906}"/>
          </ac:picMkLst>
        </pc:picChg>
        <pc:picChg chg="add del mod">
          <ac:chgData name="Antoine LAFOREST" userId="9365c212-db52-41a7-ab4a-025e62d16201" providerId="ADAL" clId="{61909AA8-2A44-3D40-B3D9-6800D9F1BB14}" dt="2024-02-01T16:32:08.229" v="3813" actId="21"/>
          <ac:picMkLst>
            <pc:docMk/>
            <pc:sldMk cId="778890531" sldId="2147482368"/>
            <ac:picMk id="25" creationId="{B795F9BC-5102-150C-F323-61741596DCC0}"/>
          </ac:picMkLst>
        </pc:picChg>
        <pc:picChg chg="add del mod">
          <ac:chgData name="Antoine LAFOREST" userId="9365c212-db52-41a7-ab4a-025e62d16201" providerId="ADAL" clId="{61909AA8-2A44-3D40-B3D9-6800D9F1BB14}" dt="2024-02-01T16:32:08.229" v="3813" actId="21"/>
          <ac:picMkLst>
            <pc:docMk/>
            <pc:sldMk cId="778890531" sldId="2147482368"/>
            <ac:picMk id="26" creationId="{D28B270F-BB4F-F4C4-44F3-0C7FECFADAD1}"/>
          </ac:picMkLst>
        </pc:picChg>
        <pc:picChg chg="add del mod">
          <ac:chgData name="Antoine LAFOREST" userId="9365c212-db52-41a7-ab4a-025e62d16201" providerId="ADAL" clId="{61909AA8-2A44-3D40-B3D9-6800D9F1BB14}" dt="2024-02-01T16:32:08.229" v="3813" actId="21"/>
          <ac:picMkLst>
            <pc:docMk/>
            <pc:sldMk cId="778890531" sldId="2147482368"/>
            <ac:picMk id="27" creationId="{CC393E37-53FC-9CCF-092B-7721956EE6DC}"/>
          </ac:picMkLst>
        </pc:picChg>
        <pc:picChg chg="add del mod">
          <ac:chgData name="Antoine LAFOREST" userId="9365c212-db52-41a7-ab4a-025e62d16201" providerId="ADAL" clId="{61909AA8-2A44-3D40-B3D9-6800D9F1BB14}" dt="2024-02-01T16:32:08.229" v="3813" actId="21"/>
          <ac:picMkLst>
            <pc:docMk/>
            <pc:sldMk cId="778890531" sldId="2147482368"/>
            <ac:picMk id="29" creationId="{7E5381B6-0698-65BA-AB15-58E2411E09E7}"/>
          </ac:picMkLst>
        </pc:picChg>
        <pc:picChg chg="add mod">
          <ac:chgData name="Antoine LAFOREST" userId="9365c212-db52-41a7-ab4a-025e62d16201" providerId="ADAL" clId="{61909AA8-2A44-3D40-B3D9-6800D9F1BB14}" dt="2024-02-01T16:32:54.674" v="3818" actId="1076"/>
          <ac:picMkLst>
            <pc:docMk/>
            <pc:sldMk cId="778890531" sldId="2147482368"/>
            <ac:picMk id="30" creationId="{D6936186-EDB5-ECE2-FD62-67EB96465D85}"/>
          </ac:picMkLst>
        </pc:picChg>
      </pc:sldChg>
      <pc:sldChg chg="add">
        <pc:chgData name="Antoine LAFOREST" userId="9365c212-db52-41a7-ab4a-025e62d16201" providerId="ADAL" clId="{61909AA8-2A44-3D40-B3D9-6800D9F1BB14}" dt="2024-02-01T16:40:51.504" v="3861"/>
        <pc:sldMkLst>
          <pc:docMk/>
          <pc:sldMk cId="4060980073" sldId="2147482368"/>
        </pc:sldMkLst>
      </pc:sldChg>
      <pc:sldChg chg="addSp delSp modSp mod">
        <pc:chgData name="Antoine LAFOREST" userId="9365c212-db52-41a7-ab4a-025e62d16201" providerId="ADAL" clId="{61909AA8-2A44-3D40-B3D9-6800D9F1BB14}" dt="2024-02-02T15:25:39.411" v="5328" actId="1035"/>
        <pc:sldMkLst>
          <pc:docMk/>
          <pc:sldMk cId="3263934951" sldId="2147482369"/>
        </pc:sldMkLst>
        <pc:spChg chg="add mod">
          <ac:chgData name="Antoine LAFOREST" userId="9365c212-db52-41a7-ab4a-025e62d16201" providerId="ADAL" clId="{61909AA8-2A44-3D40-B3D9-6800D9F1BB14}" dt="2024-02-02T13:46:50.293" v="5207"/>
          <ac:spMkLst>
            <pc:docMk/>
            <pc:sldMk cId="3263934951" sldId="2147482369"/>
            <ac:spMk id="2" creationId="{BEA38F67-F385-2BE4-9892-47FB3402A942}"/>
          </ac:spMkLst>
        </pc:spChg>
        <pc:spChg chg="del mod">
          <ac:chgData name="Antoine LAFOREST" userId="9365c212-db52-41a7-ab4a-025e62d16201" providerId="ADAL" clId="{61909AA8-2A44-3D40-B3D9-6800D9F1BB14}" dt="2024-02-02T13:46:52.361" v="5208" actId="478"/>
          <ac:spMkLst>
            <pc:docMk/>
            <pc:sldMk cId="3263934951" sldId="2147482369"/>
            <ac:spMk id="3" creationId="{1DD85468-970B-4013-D370-EA2A4D5D1BA1}"/>
          </ac:spMkLst>
        </pc:spChg>
        <pc:spChg chg="mod">
          <ac:chgData name="Antoine LAFOREST" userId="9365c212-db52-41a7-ab4a-025e62d16201" providerId="ADAL" clId="{61909AA8-2A44-3D40-B3D9-6800D9F1BB14}" dt="2024-02-01T16:31:41.776" v="3810" actId="14826"/>
          <ac:spMkLst>
            <pc:docMk/>
            <pc:sldMk cId="3263934951" sldId="2147482369"/>
            <ac:spMk id="5" creationId="{FCA95897-6CE9-A167-8E89-B5A0CE4CF57B}"/>
          </ac:spMkLst>
        </pc:spChg>
        <pc:spChg chg="mod">
          <ac:chgData name="Antoine LAFOREST" userId="9365c212-db52-41a7-ab4a-025e62d16201" providerId="ADAL" clId="{61909AA8-2A44-3D40-B3D9-6800D9F1BB14}" dt="2024-02-02T15:20:15.284" v="5266" actId="20577"/>
          <ac:spMkLst>
            <pc:docMk/>
            <pc:sldMk cId="3263934951" sldId="2147482369"/>
            <ac:spMk id="12" creationId="{3F117BDD-C39E-2C8D-19B4-D77EB3FA4402}"/>
          </ac:spMkLst>
        </pc:spChg>
        <pc:spChg chg="mod">
          <ac:chgData name="Antoine LAFOREST" userId="9365c212-db52-41a7-ab4a-025e62d16201" providerId="ADAL" clId="{61909AA8-2A44-3D40-B3D9-6800D9F1BB14}" dt="2024-02-02T15:25:39.411" v="5328" actId="1035"/>
          <ac:spMkLst>
            <pc:docMk/>
            <pc:sldMk cId="3263934951" sldId="2147482369"/>
            <ac:spMk id="23" creationId="{B2B31008-6898-CEAF-D4D6-FCFFC276B9F2}"/>
          </ac:spMkLst>
        </pc:spChg>
        <pc:spChg chg="mod">
          <ac:chgData name="Antoine LAFOREST" userId="9365c212-db52-41a7-ab4a-025e62d16201" providerId="ADAL" clId="{61909AA8-2A44-3D40-B3D9-6800D9F1BB14}" dt="2024-02-02T15:20:11.413" v="5258" actId="20577"/>
          <ac:spMkLst>
            <pc:docMk/>
            <pc:sldMk cId="3263934951" sldId="2147482369"/>
            <ac:spMk id="25" creationId="{04851978-B325-438F-8D1D-2BA9528D0B6E}"/>
          </ac:spMkLst>
        </pc:spChg>
        <pc:spChg chg="mod">
          <ac:chgData name="Antoine LAFOREST" userId="9365c212-db52-41a7-ab4a-025e62d16201" providerId="ADAL" clId="{61909AA8-2A44-3D40-B3D9-6800D9F1BB14}" dt="2024-02-02T15:21:34.326" v="5301" actId="20577"/>
          <ac:spMkLst>
            <pc:docMk/>
            <pc:sldMk cId="3263934951" sldId="2147482369"/>
            <ac:spMk id="29" creationId="{1B7A27FE-BF97-B4CE-C978-83FC3307D569}"/>
          </ac:spMkLst>
        </pc:spChg>
        <pc:spChg chg="mod">
          <ac:chgData name="Antoine LAFOREST" userId="9365c212-db52-41a7-ab4a-025e62d16201" providerId="ADAL" clId="{61909AA8-2A44-3D40-B3D9-6800D9F1BB14}" dt="2024-02-01T16:31:34.648" v="3809" actId="12788"/>
          <ac:spMkLst>
            <pc:docMk/>
            <pc:sldMk cId="3263934951" sldId="2147482369"/>
            <ac:spMk id="34" creationId="{C26CB84A-71A5-62BF-AB7D-17DE4EA1E775}"/>
          </ac:spMkLst>
        </pc:spChg>
        <pc:spChg chg="mod">
          <ac:chgData name="Antoine LAFOREST" userId="9365c212-db52-41a7-ab4a-025e62d16201" providerId="ADAL" clId="{61909AA8-2A44-3D40-B3D9-6800D9F1BB14}" dt="2024-02-02T15:21:32.682" v="5300" actId="20577"/>
          <ac:spMkLst>
            <pc:docMk/>
            <pc:sldMk cId="3263934951" sldId="2147482369"/>
            <ac:spMk id="36" creationId="{D60B7B8D-2595-89E0-47E8-654F4AD07519}"/>
          </ac:spMkLst>
        </pc:spChg>
        <pc:picChg chg="add mod">
          <ac:chgData name="Antoine LAFOREST" userId="9365c212-db52-41a7-ab4a-025e62d16201" providerId="ADAL" clId="{61909AA8-2A44-3D40-B3D9-6800D9F1BB14}" dt="2024-02-01T16:31:41.776" v="3810" actId="14826"/>
          <ac:picMkLst>
            <pc:docMk/>
            <pc:sldMk cId="3263934951" sldId="2147482369"/>
            <ac:picMk id="46" creationId="{F6A6ABF9-E349-58FC-4E7B-E96973F6A1AE}"/>
          </ac:picMkLst>
        </pc:picChg>
      </pc:sldChg>
      <pc:sldChg chg="addSp delSp modSp mod">
        <pc:chgData name="Antoine LAFOREST" userId="9365c212-db52-41a7-ab4a-025e62d16201" providerId="ADAL" clId="{61909AA8-2A44-3D40-B3D9-6800D9F1BB14}" dt="2024-02-02T13:26:31.016" v="4998" actId="14100"/>
        <pc:sldMkLst>
          <pc:docMk/>
          <pc:sldMk cId="536151402" sldId="2147482373"/>
        </pc:sldMkLst>
        <pc:spChg chg="add del mod">
          <ac:chgData name="Antoine LAFOREST" userId="9365c212-db52-41a7-ab4a-025e62d16201" providerId="ADAL" clId="{61909AA8-2A44-3D40-B3D9-6800D9F1BB14}" dt="2024-02-02T13:26:27.429" v="4997" actId="478"/>
          <ac:spMkLst>
            <pc:docMk/>
            <pc:sldMk cId="536151402" sldId="2147482373"/>
            <ac:spMk id="10" creationId="{F316C7E6-55A5-A89B-7BF1-4DDA45E8FB7C}"/>
          </ac:spMkLst>
        </pc:spChg>
        <pc:spChg chg="mod">
          <ac:chgData name="Antoine LAFOREST" userId="9365c212-db52-41a7-ab4a-025e62d16201" providerId="ADAL" clId="{61909AA8-2A44-3D40-B3D9-6800D9F1BB14}" dt="2024-02-02T13:26:31.016" v="4998" actId="14100"/>
          <ac:spMkLst>
            <pc:docMk/>
            <pc:sldMk cId="536151402" sldId="2147482373"/>
            <ac:spMk id="11" creationId="{971A150E-3419-2603-3234-CB4EDBE6293D}"/>
          </ac:spMkLst>
        </pc:spChg>
        <pc:spChg chg="mod">
          <ac:chgData name="Antoine LAFOREST" userId="9365c212-db52-41a7-ab4a-025e62d16201" providerId="ADAL" clId="{61909AA8-2A44-3D40-B3D9-6800D9F1BB14}" dt="2024-02-02T13:05:17.093" v="4628" actId="1038"/>
          <ac:spMkLst>
            <pc:docMk/>
            <pc:sldMk cId="536151402" sldId="2147482373"/>
            <ac:spMk id="12" creationId="{3BC848F9-B044-4878-9360-64CD05B4F22B}"/>
          </ac:spMkLst>
        </pc:spChg>
        <pc:spChg chg="mod">
          <ac:chgData name="Antoine LAFOREST" userId="9365c212-db52-41a7-ab4a-025e62d16201" providerId="ADAL" clId="{61909AA8-2A44-3D40-B3D9-6800D9F1BB14}" dt="2024-02-02T13:05:39.926" v="4639" actId="20577"/>
          <ac:spMkLst>
            <pc:docMk/>
            <pc:sldMk cId="536151402" sldId="2147482373"/>
            <ac:spMk id="14" creationId="{4121C995-0AB9-16DD-4069-591EEE3E89A0}"/>
          </ac:spMkLst>
        </pc:spChg>
      </pc:sldChg>
      <pc:sldChg chg="addSp delSp modSp mod ord">
        <pc:chgData name="Antoine LAFOREST" userId="9365c212-db52-41a7-ab4a-025e62d16201" providerId="ADAL" clId="{61909AA8-2A44-3D40-B3D9-6800D9F1BB14}" dt="2024-02-02T17:11:47.985" v="5362" actId="408"/>
        <pc:sldMkLst>
          <pc:docMk/>
          <pc:sldMk cId="1179137849" sldId="2147482375"/>
        </pc:sldMkLst>
        <pc:spChg chg="mod">
          <ac:chgData name="Antoine LAFOREST" userId="9365c212-db52-41a7-ab4a-025e62d16201" providerId="ADAL" clId="{61909AA8-2A44-3D40-B3D9-6800D9F1BB14}" dt="2024-02-02T10:33:53.700" v="4128" actId="207"/>
          <ac:spMkLst>
            <pc:docMk/>
            <pc:sldMk cId="1179137849" sldId="2147482375"/>
            <ac:spMk id="2" creationId="{86A7019D-60C1-D261-8205-F05D8036FA45}"/>
          </ac:spMkLst>
        </pc:spChg>
        <pc:spChg chg="mod">
          <ac:chgData name="Antoine LAFOREST" userId="9365c212-db52-41a7-ab4a-025e62d16201" providerId="ADAL" clId="{61909AA8-2A44-3D40-B3D9-6800D9F1BB14}" dt="2024-02-02T13:09:13.184" v="4642" actId="20577"/>
          <ac:spMkLst>
            <pc:docMk/>
            <pc:sldMk cId="1179137849" sldId="2147482375"/>
            <ac:spMk id="3" creationId="{084B46FB-EF76-6DA6-BAC9-4388B3A948CB}"/>
          </ac:spMkLst>
        </pc:spChg>
        <pc:spChg chg="mod topLvl">
          <ac:chgData name="Antoine LAFOREST" userId="9365c212-db52-41a7-ab4a-025e62d16201" providerId="ADAL" clId="{61909AA8-2A44-3D40-B3D9-6800D9F1BB14}" dt="2024-02-02T13:09:21.675" v="4644" actId="20577"/>
          <ac:spMkLst>
            <pc:docMk/>
            <pc:sldMk cId="1179137849" sldId="2147482375"/>
            <ac:spMk id="5" creationId="{D35E04FC-D891-243D-A86C-3448119F9392}"/>
          </ac:spMkLst>
        </pc:spChg>
        <pc:spChg chg="mod">
          <ac:chgData name="Antoine LAFOREST" userId="9365c212-db52-41a7-ab4a-025e62d16201" providerId="ADAL" clId="{61909AA8-2A44-3D40-B3D9-6800D9F1BB14}" dt="2024-02-02T10:40:25.824" v="4323" actId="165"/>
          <ac:spMkLst>
            <pc:docMk/>
            <pc:sldMk cId="1179137849" sldId="2147482375"/>
            <ac:spMk id="7" creationId="{415A9B2F-7974-4681-774C-2107BF8EA1D9}"/>
          </ac:spMkLst>
        </pc:spChg>
        <pc:spChg chg="mod">
          <ac:chgData name="Antoine LAFOREST" userId="9365c212-db52-41a7-ab4a-025e62d16201" providerId="ADAL" clId="{61909AA8-2A44-3D40-B3D9-6800D9F1BB14}" dt="2024-02-02T10:40:25.824" v="4323" actId="165"/>
          <ac:spMkLst>
            <pc:docMk/>
            <pc:sldMk cId="1179137849" sldId="2147482375"/>
            <ac:spMk id="8" creationId="{230C58B5-926C-B62B-BC44-F65CC839BEEC}"/>
          </ac:spMkLst>
        </pc:spChg>
        <pc:spChg chg="mod">
          <ac:chgData name="Antoine LAFOREST" userId="9365c212-db52-41a7-ab4a-025e62d16201" providerId="ADAL" clId="{61909AA8-2A44-3D40-B3D9-6800D9F1BB14}" dt="2024-02-02T10:40:25.824" v="4323" actId="165"/>
          <ac:spMkLst>
            <pc:docMk/>
            <pc:sldMk cId="1179137849" sldId="2147482375"/>
            <ac:spMk id="9" creationId="{16BA1B3E-4411-667A-9432-63ABD2A5957F}"/>
          </ac:spMkLst>
        </pc:spChg>
        <pc:spChg chg="mod">
          <ac:chgData name="Antoine LAFOREST" userId="9365c212-db52-41a7-ab4a-025e62d16201" providerId="ADAL" clId="{61909AA8-2A44-3D40-B3D9-6800D9F1BB14}" dt="2024-02-02T10:40:25.824" v="4323" actId="165"/>
          <ac:spMkLst>
            <pc:docMk/>
            <pc:sldMk cId="1179137849" sldId="2147482375"/>
            <ac:spMk id="10" creationId="{CEDFEDB7-D158-A09A-AA63-8B135DA5E536}"/>
          </ac:spMkLst>
        </pc:spChg>
        <pc:spChg chg="add del mod topLvl">
          <ac:chgData name="Antoine LAFOREST" userId="9365c212-db52-41a7-ab4a-025e62d16201" providerId="ADAL" clId="{61909AA8-2A44-3D40-B3D9-6800D9F1BB14}" dt="2024-02-02T10:58:08.741" v="4424" actId="21"/>
          <ac:spMkLst>
            <pc:docMk/>
            <pc:sldMk cId="1179137849" sldId="2147482375"/>
            <ac:spMk id="12" creationId="{546175B7-B9BD-CC13-5097-603671057B7A}"/>
          </ac:spMkLst>
        </pc:spChg>
        <pc:spChg chg="del mod topLvl">
          <ac:chgData name="Antoine LAFOREST" userId="9365c212-db52-41a7-ab4a-025e62d16201" providerId="ADAL" clId="{61909AA8-2A44-3D40-B3D9-6800D9F1BB14}" dt="2024-02-02T10:58:09.746" v="4425" actId="478"/>
          <ac:spMkLst>
            <pc:docMk/>
            <pc:sldMk cId="1179137849" sldId="2147482375"/>
            <ac:spMk id="13" creationId="{B48D0A7B-5B6A-EA1D-0376-F4C42578234D}"/>
          </ac:spMkLst>
        </pc:spChg>
        <pc:spChg chg="mod topLvl">
          <ac:chgData name="Antoine LAFOREST" userId="9365c212-db52-41a7-ab4a-025e62d16201" providerId="ADAL" clId="{61909AA8-2A44-3D40-B3D9-6800D9F1BB14}" dt="2024-02-02T17:11:47.985" v="5362" actId="408"/>
          <ac:spMkLst>
            <pc:docMk/>
            <pc:sldMk cId="1179137849" sldId="2147482375"/>
            <ac:spMk id="15" creationId="{0F8D4CE3-4DF4-F869-7693-E7B4E45033E2}"/>
          </ac:spMkLst>
        </pc:spChg>
        <pc:spChg chg="mod topLvl">
          <ac:chgData name="Antoine LAFOREST" userId="9365c212-db52-41a7-ab4a-025e62d16201" providerId="ADAL" clId="{61909AA8-2A44-3D40-B3D9-6800D9F1BB14}" dt="2024-02-02T17:11:47.985" v="5362" actId="408"/>
          <ac:spMkLst>
            <pc:docMk/>
            <pc:sldMk cId="1179137849" sldId="2147482375"/>
            <ac:spMk id="17" creationId="{674FA070-6C4D-EA73-8492-408070F90129}"/>
          </ac:spMkLst>
        </pc:spChg>
        <pc:spChg chg="mod topLvl">
          <ac:chgData name="Antoine LAFOREST" userId="9365c212-db52-41a7-ab4a-025e62d16201" providerId="ADAL" clId="{61909AA8-2A44-3D40-B3D9-6800D9F1BB14}" dt="2024-02-02T17:11:47.985" v="5362" actId="408"/>
          <ac:spMkLst>
            <pc:docMk/>
            <pc:sldMk cId="1179137849" sldId="2147482375"/>
            <ac:spMk id="19" creationId="{5C166BBB-1E33-BC39-D5E4-4A60401E0B0D}"/>
          </ac:spMkLst>
        </pc:spChg>
        <pc:spChg chg="mod topLvl">
          <ac:chgData name="Antoine LAFOREST" userId="9365c212-db52-41a7-ab4a-025e62d16201" providerId="ADAL" clId="{61909AA8-2A44-3D40-B3D9-6800D9F1BB14}" dt="2024-02-02T17:11:15.034" v="5346" actId="164"/>
          <ac:spMkLst>
            <pc:docMk/>
            <pc:sldMk cId="1179137849" sldId="2147482375"/>
            <ac:spMk id="24" creationId="{2649774D-DCD3-7B54-D728-FC4F269DA2A8}"/>
          </ac:spMkLst>
        </pc:spChg>
        <pc:spChg chg="mod">
          <ac:chgData name="Antoine LAFOREST" userId="9365c212-db52-41a7-ab4a-025e62d16201" providerId="ADAL" clId="{61909AA8-2A44-3D40-B3D9-6800D9F1BB14}" dt="2024-02-02T10:38:24.486" v="4236" actId="1038"/>
          <ac:spMkLst>
            <pc:docMk/>
            <pc:sldMk cId="1179137849" sldId="2147482375"/>
            <ac:spMk id="25" creationId="{9D1F8B42-AAFD-BCA3-5318-8855389F0806}"/>
          </ac:spMkLst>
        </pc:spChg>
        <pc:spChg chg="mod">
          <ac:chgData name="Antoine LAFOREST" userId="9365c212-db52-41a7-ab4a-025e62d16201" providerId="ADAL" clId="{61909AA8-2A44-3D40-B3D9-6800D9F1BB14}" dt="2024-02-02T17:11:42.764" v="5360" actId="12788"/>
          <ac:spMkLst>
            <pc:docMk/>
            <pc:sldMk cId="1179137849" sldId="2147482375"/>
            <ac:spMk id="26" creationId="{3D4B3A41-FEBB-2E51-C616-E1896C45EE55}"/>
          </ac:spMkLst>
        </pc:spChg>
        <pc:spChg chg="mod">
          <ac:chgData name="Antoine LAFOREST" userId="9365c212-db52-41a7-ab4a-025e62d16201" providerId="ADAL" clId="{61909AA8-2A44-3D40-B3D9-6800D9F1BB14}" dt="2024-02-02T10:34:30.453" v="4150" actId="12788"/>
          <ac:spMkLst>
            <pc:docMk/>
            <pc:sldMk cId="1179137849" sldId="2147482375"/>
            <ac:spMk id="28" creationId="{9D5B1F1A-F793-A073-E536-BBC5F93B5036}"/>
          </ac:spMkLst>
        </pc:spChg>
        <pc:spChg chg="mod">
          <ac:chgData name="Antoine LAFOREST" userId="9365c212-db52-41a7-ab4a-025e62d16201" providerId="ADAL" clId="{61909AA8-2A44-3D40-B3D9-6800D9F1BB14}" dt="2024-02-02T10:34:21.719" v="4147" actId="12788"/>
          <ac:spMkLst>
            <pc:docMk/>
            <pc:sldMk cId="1179137849" sldId="2147482375"/>
            <ac:spMk id="30" creationId="{D29B3F74-2428-BF29-5D37-7CD9F9493CA3}"/>
          </ac:spMkLst>
        </pc:spChg>
        <pc:spChg chg="mod">
          <ac:chgData name="Antoine LAFOREST" userId="9365c212-db52-41a7-ab4a-025e62d16201" providerId="ADAL" clId="{61909AA8-2A44-3D40-B3D9-6800D9F1BB14}" dt="2024-02-02T17:10:50.867" v="5345" actId="165"/>
          <ac:spMkLst>
            <pc:docMk/>
            <pc:sldMk cId="1179137849" sldId="2147482375"/>
            <ac:spMk id="31" creationId="{4DB85F2E-0789-7812-8780-466F4FCB41A0}"/>
          </ac:spMkLst>
        </pc:spChg>
        <pc:spChg chg="mod">
          <ac:chgData name="Antoine LAFOREST" userId="9365c212-db52-41a7-ab4a-025e62d16201" providerId="ADAL" clId="{61909AA8-2A44-3D40-B3D9-6800D9F1BB14}" dt="2024-02-01T16:47:58.925" v="4006"/>
          <ac:spMkLst>
            <pc:docMk/>
            <pc:sldMk cId="1179137849" sldId="2147482375"/>
            <ac:spMk id="32" creationId="{D5146ED5-340D-4FA2-3C94-D560729D537B}"/>
          </ac:spMkLst>
        </pc:spChg>
        <pc:spChg chg="mod">
          <ac:chgData name="Antoine LAFOREST" userId="9365c212-db52-41a7-ab4a-025e62d16201" providerId="ADAL" clId="{61909AA8-2A44-3D40-B3D9-6800D9F1BB14}" dt="2024-02-02T17:10:50.867" v="5345" actId="165"/>
          <ac:spMkLst>
            <pc:docMk/>
            <pc:sldMk cId="1179137849" sldId="2147482375"/>
            <ac:spMk id="33" creationId="{D980C66E-5C3D-D99F-323B-20DE9AAC1A5B}"/>
          </ac:spMkLst>
        </pc:spChg>
        <pc:spChg chg="mod">
          <ac:chgData name="Antoine LAFOREST" userId="9365c212-db52-41a7-ab4a-025e62d16201" providerId="ADAL" clId="{61909AA8-2A44-3D40-B3D9-6800D9F1BB14}" dt="2024-02-01T16:47:58.925" v="4006"/>
          <ac:spMkLst>
            <pc:docMk/>
            <pc:sldMk cId="1179137849" sldId="2147482375"/>
            <ac:spMk id="39" creationId="{511029F3-7317-6B70-DA1D-F3E43C86B63F}"/>
          </ac:spMkLst>
        </pc:spChg>
        <pc:spChg chg="add mod">
          <ac:chgData name="Antoine LAFOREST" userId="9365c212-db52-41a7-ab4a-025e62d16201" providerId="ADAL" clId="{61909AA8-2A44-3D40-B3D9-6800D9F1BB14}" dt="2024-02-02T17:11:47.985" v="5362" actId="408"/>
          <ac:spMkLst>
            <pc:docMk/>
            <pc:sldMk cId="1179137849" sldId="2147482375"/>
            <ac:spMk id="41" creationId="{BA70E30A-414A-3112-C3CC-F436709A434A}"/>
          </ac:spMkLst>
        </pc:spChg>
        <pc:spChg chg="mod">
          <ac:chgData name="Antoine LAFOREST" userId="9365c212-db52-41a7-ab4a-025e62d16201" providerId="ADAL" clId="{61909AA8-2A44-3D40-B3D9-6800D9F1BB14}" dt="2024-02-02T17:11:34.935" v="5355" actId="12788"/>
          <ac:spMkLst>
            <pc:docMk/>
            <pc:sldMk cId="1179137849" sldId="2147482375"/>
            <ac:spMk id="43" creationId="{2ACEE416-D6DB-03D8-A979-B30FBBC1D250}"/>
          </ac:spMkLst>
        </pc:spChg>
        <pc:spChg chg="add del mod">
          <ac:chgData name="Antoine LAFOREST" userId="9365c212-db52-41a7-ab4a-025e62d16201" providerId="ADAL" clId="{61909AA8-2A44-3D40-B3D9-6800D9F1BB14}" dt="2024-02-02T17:05:00.565" v="5333"/>
          <ac:spMkLst>
            <pc:docMk/>
            <pc:sldMk cId="1179137849" sldId="2147482375"/>
            <ac:spMk id="45" creationId="{4C3D113F-F478-7D83-1A20-68F852F047FD}"/>
          </ac:spMkLst>
        </pc:spChg>
        <pc:spChg chg="mod">
          <ac:chgData name="Antoine LAFOREST" userId="9365c212-db52-41a7-ab4a-025e62d16201" providerId="ADAL" clId="{61909AA8-2A44-3D40-B3D9-6800D9F1BB14}" dt="2024-02-01T16:47:58.925" v="4006"/>
          <ac:spMkLst>
            <pc:docMk/>
            <pc:sldMk cId="1179137849" sldId="2147482375"/>
            <ac:spMk id="45" creationId="{F5A53B4C-C9FE-0E1D-7615-7B9B919C89DE}"/>
          </ac:spMkLst>
        </pc:spChg>
        <pc:spChg chg="mod">
          <ac:chgData name="Antoine LAFOREST" userId="9365c212-db52-41a7-ab4a-025e62d16201" providerId="ADAL" clId="{61909AA8-2A44-3D40-B3D9-6800D9F1BB14}" dt="2024-02-01T16:47:58.925" v="4006"/>
          <ac:spMkLst>
            <pc:docMk/>
            <pc:sldMk cId="1179137849" sldId="2147482375"/>
            <ac:spMk id="46" creationId="{45C52870-A6DE-5C4B-B082-F215CA90ED9F}"/>
          </ac:spMkLst>
        </pc:spChg>
        <pc:spChg chg="mod">
          <ac:chgData name="Antoine LAFOREST" userId="9365c212-db52-41a7-ab4a-025e62d16201" providerId="ADAL" clId="{61909AA8-2A44-3D40-B3D9-6800D9F1BB14}" dt="2024-02-01T16:47:58.925" v="4006"/>
          <ac:spMkLst>
            <pc:docMk/>
            <pc:sldMk cId="1179137849" sldId="2147482375"/>
            <ac:spMk id="49" creationId="{49F0FF1C-A109-7384-1AF5-B6A8F205C0F9}"/>
          </ac:spMkLst>
        </pc:spChg>
        <pc:spChg chg="mod">
          <ac:chgData name="Antoine LAFOREST" userId="9365c212-db52-41a7-ab4a-025e62d16201" providerId="ADAL" clId="{61909AA8-2A44-3D40-B3D9-6800D9F1BB14}" dt="2024-02-02T10:59:28.085" v="4458" actId="20577"/>
          <ac:spMkLst>
            <pc:docMk/>
            <pc:sldMk cId="1179137849" sldId="2147482375"/>
            <ac:spMk id="55" creationId="{C0315A4E-E1F9-19A7-1063-B8C3FB0A0D87}"/>
          </ac:spMkLst>
        </pc:spChg>
        <pc:spChg chg="mod">
          <ac:chgData name="Antoine LAFOREST" userId="9365c212-db52-41a7-ab4a-025e62d16201" providerId="ADAL" clId="{61909AA8-2A44-3D40-B3D9-6800D9F1BB14}" dt="2024-02-01T16:47:58.925" v="4006"/>
          <ac:spMkLst>
            <pc:docMk/>
            <pc:sldMk cId="1179137849" sldId="2147482375"/>
            <ac:spMk id="56" creationId="{2F4B634C-8F31-F822-D3E4-6D6DE3A97314}"/>
          </ac:spMkLst>
        </pc:spChg>
        <pc:spChg chg="mod">
          <ac:chgData name="Antoine LAFOREST" userId="9365c212-db52-41a7-ab4a-025e62d16201" providerId="ADAL" clId="{61909AA8-2A44-3D40-B3D9-6800D9F1BB14}" dt="2024-02-02T10:34:30.453" v="4150" actId="12788"/>
          <ac:spMkLst>
            <pc:docMk/>
            <pc:sldMk cId="1179137849" sldId="2147482375"/>
            <ac:spMk id="57" creationId="{DC39C9CA-AAAC-033E-C86E-01B5FE2B1AFA}"/>
          </ac:spMkLst>
        </pc:spChg>
        <pc:spChg chg="mod">
          <ac:chgData name="Antoine LAFOREST" userId="9365c212-db52-41a7-ab4a-025e62d16201" providerId="ADAL" clId="{61909AA8-2A44-3D40-B3D9-6800D9F1BB14}" dt="2024-02-02T12:33:08.265" v="4536" actId="20577"/>
          <ac:spMkLst>
            <pc:docMk/>
            <pc:sldMk cId="1179137849" sldId="2147482375"/>
            <ac:spMk id="58" creationId="{794B039B-049B-372E-7021-4F8C1030565D}"/>
          </ac:spMkLst>
        </pc:spChg>
        <pc:spChg chg="mod">
          <ac:chgData name="Antoine LAFOREST" userId="9365c212-db52-41a7-ab4a-025e62d16201" providerId="ADAL" clId="{61909AA8-2A44-3D40-B3D9-6800D9F1BB14}" dt="2024-02-02T10:34:06.872" v="4130" actId="12788"/>
          <ac:spMkLst>
            <pc:docMk/>
            <pc:sldMk cId="1179137849" sldId="2147482375"/>
            <ac:spMk id="59" creationId="{D5C3EC31-015B-82A6-D34D-974DB7C3E510}"/>
          </ac:spMkLst>
        </pc:spChg>
        <pc:spChg chg="mod">
          <ac:chgData name="Antoine LAFOREST" userId="9365c212-db52-41a7-ab4a-025e62d16201" providerId="ADAL" clId="{61909AA8-2A44-3D40-B3D9-6800D9F1BB14}" dt="2024-02-01T16:47:58.925" v="4006"/>
          <ac:spMkLst>
            <pc:docMk/>
            <pc:sldMk cId="1179137849" sldId="2147482375"/>
            <ac:spMk id="63" creationId="{9F4FC4BD-D46B-65AD-D64C-5D9A586B946E}"/>
          </ac:spMkLst>
        </pc:spChg>
        <pc:spChg chg="mod">
          <ac:chgData name="Antoine LAFOREST" userId="9365c212-db52-41a7-ab4a-025e62d16201" providerId="ADAL" clId="{61909AA8-2A44-3D40-B3D9-6800D9F1BB14}" dt="2024-02-01T16:47:58.925" v="4006"/>
          <ac:spMkLst>
            <pc:docMk/>
            <pc:sldMk cId="1179137849" sldId="2147482375"/>
            <ac:spMk id="65" creationId="{C3BE9F71-76B1-5262-D51D-F12BB6E0D20E}"/>
          </ac:spMkLst>
        </pc:spChg>
        <pc:spChg chg="mod">
          <ac:chgData name="Antoine LAFOREST" userId="9365c212-db52-41a7-ab4a-025e62d16201" providerId="ADAL" clId="{61909AA8-2A44-3D40-B3D9-6800D9F1BB14}" dt="2024-02-01T16:47:58.925" v="4006"/>
          <ac:spMkLst>
            <pc:docMk/>
            <pc:sldMk cId="1179137849" sldId="2147482375"/>
            <ac:spMk id="67" creationId="{73DD4663-A3AB-7BB2-E685-64E299DA89D1}"/>
          </ac:spMkLst>
        </pc:spChg>
        <pc:spChg chg="mod">
          <ac:chgData name="Antoine LAFOREST" userId="9365c212-db52-41a7-ab4a-025e62d16201" providerId="ADAL" clId="{61909AA8-2A44-3D40-B3D9-6800D9F1BB14}" dt="2024-02-01T16:47:58.925" v="4006"/>
          <ac:spMkLst>
            <pc:docMk/>
            <pc:sldMk cId="1179137849" sldId="2147482375"/>
            <ac:spMk id="68" creationId="{C35D277B-E321-6FD4-9544-DB9594F4A7EF}"/>
          </ac:spMkLst>
        </pc:spChg>
        <pc:spChg chg="mod">
          <ac:chgData name="Antoine LAFOREST" userId="9365c212-db52-41a7-ab4a-025e62d16201" providerId="ADAL" clId="{61909AA8-2A44-3D40-B3D9-6800D9F1BB14}" dt="2024-02-01T16:47:58.925" v="4006"/>
          <ac:spMkLst>
            <pc:docMk/>
            <pc:sldMk cId="1179137849" sldId="2147482375"/>
            <ac:spMk id="71" creationId="{E9855B9E-D5BC-FAAC-91C3-E6036C3322C1}"/>
          </ac:spMkLst>
        </pc:spChg>
        <pc:spChg chg="mod">
          <ac:chgData name="Antoine LAFOREST" userId="9365c212-db52-41a7-ab4a-025e62d16201" providerId="ADAL" clId="{61909AA8-2A44-3D40-B3D9-6800D9F1BB14}" dt="2024-02-01T16:47:58.925" v="4006"/>
          <ac:spMkLst>
            <pc:docMk/>
            <pc:sldMk cId="1179137849" sldId="2147482375"/>
            <ac:spMk id="102" creationId="{CE3AD7C8-5E8C-006D-6355-5834F8C90288}"/>
          </ac:spMkLst>
        </pc:spChg>
        <pc:spChg chg="mod">
          <ac:chgData name="Antoine LAFOREST" userId="9365c212-db52-41a7-ab4a-025e62d16201" providerId="ADAL" clId="{61909AA8-2A44-3D40-B3D9-6800D9F1BB14}" dt="2024-02-01T16:47:58.925" v="4006"/>
          <ac:spMkLst>
            <pc:docMk/>
            <pc:sldMk cId="1179137849" sldId="2147482375"/>
            <ac:spMk id="103" creationId="{A3BA55D1-CF4B-DC9D-0102-E07046AE6610}"/>
          </ac:spMkLst>
        </pc:spChg>
        <pc:spChg chg="mod">
          <ac:chgData name="Antoine LAFOREST" userId="9365c212-db52-41a7-ab4a-025e62d16201" providerId="ADAL" clId="{61909AA8-2A44-3D40-B3D9-6800D9F1BB14}" dt="2024-02-01T16:47:58.925" v="4006"/>
          <ac:spMkLst>
            <pc:docMk/>
            <pc:sldMk cId="1179137849" sldId="2147482375"/>
            <ac:spMk id="104" creationId="{00C57A1F-F0E2-40D1-F4D3-A9537D05EE4D}"/>
          </ac:spMkLst>
        </pc:spChg>
        <pc:spChg chg="mod">
          <ac:chgData name="Antoine LAFOREST" userId="9365c212-db52-41a7-ab4a-025e62d16201" providerId="ADAL" clId="{61909AA8-2A44-3D40-B3D9-6800D9F1BB14}" dt="2024-02-01T16:48:03.763" v="4008"/>
          <ac:spMkLst>
            <pc:docMk/>
            <pc:sldMk cId="1179137849" sldId="2147482375"/>
            <ac:spMk id="106" creationId="{9DC56B3F-E35F-1AED-3EF7-8F4296450F18}"/>
          </ac:spMkLst>
        </pc:spChg>
        <pc:spChg chg="mod">
          <ac:chgData name="Antoine LAFOREST" userId="9365c212-db52-41a7-ab4a-025e62d16201" providerId="ADAL" clId="{61909AA8-2A44-3D40-B3D9-6800D9F1BB14}" dt="2024-02-01T16:48:03.763" v="4008"/>
          <ac:spMkLst>
            <pc:docMk/>
            <pc:sldMk cId="1179137849" sldId="2147482375"/>
            <ac:spMk id="110" creationId="{2247B3C1-27CB-1F06-92A0-23FA1B986A5F}"/>
          </ac:spMkLst>
        </pc:spChg>
        <pc:spChg chg="mod">
          <ac:chgData name="Antoine LAFOREST" userId="9365c212-db52-41a7-ab4a-025e62d16201" providerId="ADAL" clId="{61909AA8-2A44-3D40-B3D9-6800D9F1BB14}" dt="2024-02-01T16:48:03.763" v="4008"/>
          <ac:spMkLst>
            <pc:docMk/>
            <pc:sldMk cId="1179137849" sldId="2147482375"/>
            <ac:spMk id="111" creationId="{B1CBC071-A29A-FB13-781E-85A9D9261BB9}"/>
          </ac:spMkLst>
        </pc:spChg>
        <pc:spChg chg="mod">
          <ac:chgData name="Antoine LAFOREST" userId="9365c212-db52-41a7-ab4a-025e62d16201" providerId="ADAL" clId="{61909AA8-2A44-3D40-B3D9-6800D9F1BB14}" dt="2024-02-01T16:48:03.763" v="4008"/>
          <ac:spMkLst>
            <pc:docMk/>
            <pc:sldMk cId="1179137849" sldId="2147482375"/>
            <ac:spMk id="112" creationId="{B1BA5A1B-B88C-4039-DEF7-E02DD1948017}"/>
          </ac:spMkLst>
        </pc:spChg>
        <pc:spChg chg="mod">
          <ac:chgData name="Antoine LAFOREST" userId="9365c212-db52-41a7-ab4a-025e62d16201" providerId="ADAL" clId="{61909AA8-2A44-3D40-B3D9-6800D9F1BB14}" dt="2024-02-01T16:48:03.763" v="4008"/>
          <ac:spMkLst>
            <pc:docMk/>
            <pc:sldMk cId="1179137849" sldId="2147482375"/>
            <ac:spMk id="113" creationId="{7659C043-44B4-F83F-7DD6-9128938E3B43}"/>
          </ac:spMkLst>
        </pc:spChg>
        <pc:spChg chg="mod">
          <ac:chgData name="Antoine LAFOREST" userId="9365c212-db52-41a7-ab4a-025e62d16201" providerId="ADAL" clId="{61909AA8-2A44-3D40-B3D9-6800D9F1BB14}" dt="2024-02-01T16:48:03.763" v="4008"/>
          <ac:spMkLst>
            <pc:docMk/>
            <pc:sldMk cId="1179137849" sldId="2147482375"/>
            <ac:spMk id="115" creationId="{59490E7B-84E6-7B6C-8610-5126E719DAF4}"/>
          </ac:spMkLst>
        </pc:spChg>
        <pc:spChg chg="mod">
          <ac:chgData name="Antoine LAFOREST" userId="9365c212-db52-41a7-ab4a-025e62d16201" providerId="ADAL" clId="{61909AA8-2A44-3D40-B3D9-6800D9F1BB14}" dt="2024-02-01T16:48:03.763" v="4008"/>
          <ac:spMkLst>
            <pc:docMk/>
            <pc:sldMk cId="1179137849" sldId="2147482375"/>
            <ac:spMk id="116" creationId="{F9A4E200-CA04-F1FD-A55F-560D8D74AEAA}"/>
          </ac:spMkLst>
        </pc:spChg>
        <pc:spChg chg="mod">
          <ac:chgData name="Antoine LAFOREST" userId="9365c212-db52-41a7-ab4a-025e62d16201" providerId="ADAL" clId="{61909AA8-2A44-3D40-B3D9-6800D9F1BB14}" dt="2024-02-01T16:48:03.763" v="4008"/>
          <ac:spMkLst>
            <pc:docMk/>
            <pc:sldMk cId="1179137849" sldId="2147482375"/>
            <ac:spMk id="118" creationId="{D0334A05-1E03-C339-218A-59441F1DC182}"/>
          </ac:spMkLst>
        </pc:spChg>
        <pc:spChg chg="mod">
          <ac:chgData name="Antoine LAFOREST" userId="9365c212-db52-41a7-ab4a-025e62d16201" providerId="ADAL" clId="{61909AA8-2A44-3D40-B3D9-6800D9F1BB14}" dt="2024-02-01T16:48:03.763" v="4008"/>
          <ac:spMkLst>
            <pc:docMk/>
            <pc:sldMk cId="1179137849" sldId="2147482375"/>
            <ac:spMk id="120" creationId="{CBD9ADBC-C815-B909-3FBB-AAC5864A973F}"/>
          </ac:spMkLst>
        </pc:spChg>
        <pc:spChg chg="mod">
          <ac:chgData name="Antoine LAFOREST" userId="9365c212-db52-41a7-ab4a-025e62d16201" providerId="ADAL" clId="{61909AA8-2A44-3D40-B3D9-6800D9F1BB14}" dt="2024-02-01T16:48:03.763" v="4008"/>
          <ac:spMkLst>
            <pc:docMk/>
            <pc:sldMk cId="1179137849" sldId="2147482375"/>
            <ac:spMk id="121" creationId="{52BC6515-A5B3-0B45-A5D0-4C0130BB6E5F}"/>
          </ac:spMkLst>
        </pc:spChg>
        <pc:spChg chg="mod">
          <ac:chgData name="Antoine LAFOREST" userId="9365c212-db52-41a7-ab4a-025e62d16201" providerId="ADAL" clId="{61909AA8-2A44-3D40-B3D9-6800D9F1BB14}" dt="2024-02-01T16:48:03.763" v="4008"/>
          <ac:spMkLst>
            <pc:docMk/>
            <pc:sldMk cId="1179137849" sldId="2147482375"/>
            <ac:spMk id="123" creationId="{D0C652B3-EB4B-C397-46A8-E4CD911B9B18}"/>
          </ac:spMkLst>
        </pc:spChg>
        <pc:spChg chg="mod">
          <ac:chgData name="Antoine LAFOREST" userId="9365c212-db52-41a7-ab4a-025e62d16201" providerId="ADAL" clId="{61909AA8-2A44-3D40-B3D9-6800D9F1BB14}" dt="2024-02-01T16:48:03.763" v="4008"/>
          <ac:spMkLst>
            <pc:docMk/>
            <pc:sldMk cId="1179137849" sldId="2147482375"/>
            <ac:spMk id="125" creationId="{8BA7331F-2CAC-F302-84B8-CC4852ECCAC8}"/>
          </ac:spMkLst>
        </pc:spChg>
        <pc:spChg chg="mod">
          <ac:chgData name="Antoine LAFOREST" userId="9365c212-db52-41a7-ab4a-025e62d16201" providerId="ADAL" clId="{61909AA8-2A44-3D40-B3D9-6800D9F1BB14}" dt="2024-02-01T16:48:03.763" v="4008"/>
          <ac:spMkLst>
            <pc:docMk/>
            <pc:sldMk cId="1179137849" sldId="2147482375"/>
            <ac:spMk id="126" creationId="{3BADC982-F2BE-1385-C5DE-28DD7B2707D3}"/>
          </ac:spMkLst>
        </pc:spChg>
        <pc:spChg chg="mod">
          <ac:chgData name="Antoine LAFOREST" userId="9365c212-db52-41a7-ab4a-025e62d16201" providerId="ADAL" clId="{61909AA8-2A44-3D40-B3D9-6800D9F1BB14}" dt="2024-02-01T16:48:03.763" v="4008"/>
          <ac:spMkLst>
            <pc:docMk/>
            <pc:sldMk cId="1179137849" sldId="2147482375"/>
            <ac:spMk id="127" creationId="{C2F18F2C-D92C-61BA-AE02-DE70C50ECAF8}"/>
          </ac:spMkLst>
        </pc:spChg>
        <pc:spChg chg="mod">
          <ac:chgData name="Antoine LAFOREST" userId="9365c212-db52-41a7-ab4a-025e62d16201" providerId="ADAL" clId="{61909AA8-2A44-3D40-B3D9-6800D9F1BB14}" dt="2024-02-01T17:40:58.068" v="4011"/>
          <ac:spMkLst>
            <pc:docMk/>
            <pc:sldMk cId="1179137849" sldId="2147482375"/>
            <ac:spMk id="130" creationId="{1ED86353-64DD-7905-3E5F-1362185DCA40}"/>
          </ac:spMkLst>
        </pc:spChg>
        <pc:spChg chg="mod topLvl">
          <ac:chgData name="Antoine LAFOREST" userId="9365c212-db52-41a7-ab4a-025e62d16201" providerId="ADAL" clId="{61909AA8-2A44-3D40-B3D9-6800D9F1BB14}" dt="2024-02-02T10:40:25.824" v="4323" actId="165"/>
          <ac:spMkLst>
            <pc:docMk/>
            <pc:sldMk cId="1179137849" sldId="2147482375"/>
            <ac:spMk id="132" creationId="{849B8D13-9ABF-687E-882E-E65963571767}"/>
          </ac:spMkLst>
        </pc:spChg>
        <pc:spChg chg="mod topLvl">
          <ac:chgData name="Antoine LAFOREST" userId="9365c212-db52-41a7-ab4a-025e62d16201" providerId="ADAL" clId="{61909AA8-2A44-3D40-B3D9-6800D9F1BB14}" dt="2024-02-02T10:40:25.824" v="4323" actId="165"/>
          <ac:spMkLst>
            <pc:docMk/>
            <pc:sldMk cId="1179137849" sldId="2147482375"/>
            <ac:spMk id="133" creationId="{F2B6B5BA-B962-9AE3-03DA-99C689BE65AE}"/>
          </ac:spMkLst>
        </pc:spChg>
        <pc:spChg chg="mod topLvl">
          <ac:chgData name="Antoine LAFOREST" userId="9365c212-db52-41a7-ab4a-025e62d16201" providerId="ADAL" clId="{61909AA8-2A44-3D40-B3D9-6800D9F1BB14}" dt="2024-02-02T10:40:25.824" v="4323" actId="165"/>
          <ac:spMkLst>
            <pc:docMk/>
            <pc:sldMk cId="1179137849" sldId="2147482375"/>
            <ac:spMk id="134" creationId="{10F011AC-A95D-74F3-9308-C987802A086B}"/>
          </ac:spMkLst>
        </pc:spChg>
        <pc:spChg chg="mod topLvl">
          <ac:chgData name="Antoine LAFOREST" userId="9365c212-db52-41a7-ab4a-025e62d16201" providerId="ADAL" clId="{61909AA8-2A44-3D40-B3D9-6800D9F1BB14}" dt="2024-02-02T10:40:25.824" v="4323" actId="165"/>
          <ac:spMkLst>
            <pc:docMk/>
            <pc:sldMk cId="1179137849" sldId="2147482375"/>
            <ac:spMk id="135" creationId="{BE647A1D-93C2-5F26-739B-0E3FC45A9370}"/>
          </ac:spMkLst>
        </pc:spChg>
        <pc:spChg chg="mod">
          <ac:chgData name="Antoine LAFOREST" userId="9365c212-db52-41a7-ab4a-025e62d16201" providerId="ADAL" clId="{61909AA8-2A44-3D40-B3D9-6800D9F1BB14}" dt="2024-02-01T17:40:58.068" v="4011"/>
          <ac:spMkLst>
            <pc:docMk/>
            <pc:sldMk cId="1179137849" sldId="2147482375"/>
            <ac:spMk id="137" creationId="{029E8BE4-6EA2-CB8E-3B69-2FDF671E0C8B}"/>
          </ac:spMkLst>
        </pc:spChg>
        <pc:spChg chg="mod topLvl">
          <ac:chgData name="Antoine LAFOREST" userId="9365c212-db52-41a7-ab4a-025e62d16201" providerId="ADAL" clId="{61909AA8-2A44-3D40-B3D9-6800D9F1BB14}" dt="2024-02-02T17:11:47.985" v="5362" actId="408"/>
          <ac:spMkLst>
            <pc:docMk/>
            <pc:sldMk cId="1179137849" sldId="2147482375"/>
            <ac:spMk id="138" creationId="{751E8FB7-9496-A827-78CE-67BFBBE7F236}"/>
          </ac:spMkLst>
        </pc:spChg>
        <pc:spChg chg="mod">
          <ac:chgData name="Antoine LAFOREST" userId="9365c212-db52-41a7-ab4a-025e62d16201" providerId="ADAL" clId="{61909AA8-2A44-3D40-B3D9-6800D9F1BB14}" dt="2024-02-01T17:40:58.068" v="4011"/>
          <ac:spMkLst>
            <pc:docMk/>
            <pc:sldMk cId="1179137849" sldId="2147482375"/>
            <ac:spMk id="140" creationId="{A1093108-872F-4153-9CD1-DFCF6C2D921E}"/>
          </ac:spMkLst>
        </pc:spChg>
        <pc:spChg chg="mod topLvl">
          <ac:chgData name="Antoine LAFOREST" userId="9365c212-db52-41a7-ab4a-025e62d16201" providerId="ADAL" clId="{61909AA8-2A44-3D40-B3D9-6800D9F1BB14}" dt="2024-02-02T17:11:47.985" v="5362" actId="408"/>
          <ac:spMkLst>
            <pc:docMk/>
            <pc:sldMk cId="1179137849" sldId="2147482375"/>
            <ac:spMk id="142" creationId="{84B7D9E3-C474-1FA9-01AE-91DC03AFFE73}"/>
          </ac:spMkLst>
        </pc:spChg>
        <pc:spChg chg="mod topLvl">
          <ac:chgData name="Antoine LAFOREST" userId="9365c212-db52-41a7-ab4a-025e62d16201" providerId="ADAL" clId="{61909AA8-2A44-3D40-B3D9-6800D9F1BB14}" dt="2024-02-02T17:11:47.985" v="5362" actId="408"/>
          <ac:spMkLst>
            <pc:docMk/>
            <pc:sldMk cId="1179137849" sldId="2147482375"/>
            <ac:spMk id="143" creationId="{5C56C02C-3FE0-A558-3638-8DAF5599A6C4}"/>
          </ac:spMkLst>
        </pc:spChg>
        <pc:spChg chg="mod">
          <ac:chgData name="Antoine LAFOREST" userId="9365c212-db52-41a7-ab4a-025e62d16201" providerId="ADAL" clId="{61909AA8-2A44-3D40-B3D9-6800D9F1BB14}" dt="2024-02-01T17:40:58.068" v="4011"/>
          <ac:spMkLst>
            <pc:docMk/>
            <pc:sldMk cId="1179137849" sldId="2147482375"/>
            <ac:spMk id="145" creationId="{72B7A951-5804-34D1-8ECE-C48E1D6145C3}"/>
          </ac:spMkLst>
        </pc:spChg>
        <pc:spChg chg="mod">
          <ac:chgData name="Antoine LAFOREST" userId="9365c212-db52-41a7-ab4a-025e62d16201" providerId="ADAL" clId="{61909AA8-2A44-3D40-B3D9-6800D9F1BB14}" dt="2024-02-02T17:10:39.417" v="5343" actId="165"/>
          <ac:spMkLst>
            <pc:docMk/>
            <pc:sldMk cId="1179137849" sldId="2147482375"/>
            <ac:spMk id="147" creationId="{1685AA7C-A7AC-D578-4916-C468D7FBC302}"/>
          </ac:spMkLst>
        </pc:spChg>
        <pc:spChg chg="mod">
          <ac:chgData name="Antoine LAFOREST" userId="9365c212-db52-41a7-ab4a-025e62d16201" providerId="ADAL" clId="{61909AA8-2A44-3D40-B3D9-6800D9F1BB14}" dt="2024-02-02T17:10:39.417" v="5343" actId="165"/>
          <ac:spMkLst>
            <pc:docMk/>
            <pc:sldMk cId="1179137849" sldId="2147482375"/>
            <ac:spMk id="148" creationId="{487BA063-8969-D7AB-75E2-A9B9AAAB36A0}"/>
          </ac:spMkLst>
        </pc:spChg>
        <pc:spChg chg="mod">
          <ac:chgData name="Antoine LAFOREST" userId="9365c212-db52-41a7-ab4a-025e62d16201" providerId="ADAL" clId="{61909AA8-2A44-3D40-B3D9-6800D9F1BB14}" dt="2024-02-02T17:10:39.417" v="5343" actId="165"/>
          <ac:spMkLst>
            <pc:docMk/>
            <pc:sldMk cId="1179137849" sldId="2147482375"/>
            <ac:spMk id="149" creationId="{1238092A-B2F2-ADA0-48F7-E9ABD89C05D8}"/>
          </ac:spMkLst>
        </pc:spChg>
        <pc:grpChg chg="add mod">
          <ac:chgData name="Antoine LAFOREST" userId="9365c212-db52-41a7-ab4a-025e62d16201" providerId="ADAL" clId="{61909AA8-2A44-3D40-B3D9-6800D9F1BB14}" dt="2024-02-01T16:47:58.925" v="4006"/>
          <ac:grpSpMkLst>
            <pc:docMk/>
            <pc:sldMk cId="1179137849" sldId="2147482375"/>
            <ac:grpSpMk id="2" creationId="{ADD73B14-B131-2C5C-6537-F3006C482F06}"/>
          </ac:grpSpMkLst>
        </pc:grpChg>
        <pc:grpChg chg="del mod">
          <ac:chgData name="Antoine LAFOREST" userId="9365c212-db52-41a7-ab4a-025e62d16201" providerId="ADAL" clId="{61909AA8-2A44-3D40-B3D9-6800D9F1BB14}" dt="2024-02-02T10:40:28.358" v="4324" actId="164"/>
          <ac:grpSpMkLst>
            <pc:docMk/>
            <pc:sldMk cId="1179137849" sldId="2147482375"/>
            <ac:grpSpMk id="4" creationId="{7A02CAA6-2050-762E-7EE7-B4A191A334A6}"/>
          </ac:grpSpMkLst>
        </pc:grpChg>
        <pc:grpChg chg="mod topLvl">
          <ac:chgData name="Antoine LAFOREST" userId="9365c212-db52-41a7-ab4a-025e62d16201" providerId="ADAL" clId="{61909AA8-2A44-3D40-B3D9-6800D9F1BB14}" dt="2024-02-02T10:40:25.824" v="4323" actId="165"/>
          <ac:grpSpMkLst>
            <pc:docMk/>
            <pc:sldMk cId="1179137849" sldId="2147482375"/>
            <ac:grpSpMk id="6" creationId="{174FDDC4-2F88-2A16-B931-B10F7689A629}"/>
          </ac:grpSpMkLst>
        </pc:grpChg>
        <pc:grpChg chg="add del mod topLvl">
          <ac:chgData name="Antoine LAFOREST" userId="9365c212-db52-41a7-ab4a-025e62d16201" providerId="ADAL" clId="{61909AA8-2A44-3D40-B3D9-6800D9F1BB14}" dt="2024-02-02T10:58:08.741" v="4424" actId="21"/>
          <ac:grpSpMkLst>
            <pc:docMk/>
            <pc:sldMk cId="1179137849" sldId="2147482375"/>
            <ac:grpSpMk id="11" creationId="{FBDB0477-2876-2CA7-90A3-305085A449FC}"/>
          </ac:grpSpMkLst>
        </pc:grpChg>
        <pc:grpChg chg="del mod topLvl">
          <ac:chgData name="Antoine LAFOREST" userId="9365c212-db52-41a7-ab4a-025e62d16201" providerId="ADAL" clId="{61909AA8-2A44-3D40-B3D9-6800D9F1BB14}" dt="2024-02-02T17:10:44.249" v="5344" actId="165"/>
          <ac:grpSpMkLst>
            <pc:docMk/>
            <pc:sldMk cId="1179137849" sldId="2147482375"/>
            <ac:grpSpMk id="14" creationId="{8055EA9A-AC1F-0014-3B03-3CB7949BE46B}"/>
          </ac:grpSpMkLst>
        </pc:grpChg>
        <pc:grpChg chg="add del mod topLvl">
          <ac:chgData name="Antoine LAFOREST" userId="9365c212-db52-41a7-ab4a-025e62d16201" providerId="ADAL" clId="{61909AA8-2A44-3D40-B3D9-6800D9F1BB14}" dt="2024-02-02T17:11:47.985" v="5362" actId="408"/>
          <ac:grpSpMkLst>
            <pc:docMk/>
            <pc:sldMk cId="1179137849" sldId="2147482375"/>
            <ac:grpSpMk id="16" creationId="{C27E012A-403A-F41D-4315-0486DF82097F}"/>
          </ac:grpSpMkLst>
        </pc:grpChg>
        <pc:grpChg chg="del mod topLvl">
          <ac:chgData name="Antoine LAFOREST" userId="9365c212-db52-41a7-ab4a-025e62d16201" providerId="ADAL" clId="{61909AA8-2A44-3D40-B3D9-6800D9F1BB14}" dt="2024-02-02T17:10:50.867" v="5345" actId="165"/>
          <ac:grpSpMkLst>
            <pc:docMk/>
            <pc:sldMk cId="1179137849" sldId="2147482375"/>
            <ac:grpSpMk id="23" creationId="{A406C5D6-2EAB-2401-ADB3-EABC74ABD4D7}"/>
          </ac:grpSpMkLst>
        </pc:grpChg>
        <pc:grpChg chg="mod topLvl">
          <ac:chgData name="Antoine LAFOREST" userId="9365c212-db52-41a7-ab4a-025e62d16201" providerId="ADAL" clId="{61909AA8-2A44-3D40-B3D9-6800D9F1BB14}" dt="2024-02-02T17:11:15.034" v="5346" actId="164"/>
          <ac:grpSpMkLst>
            <pc:docMk/>
            <pc:sldMk cId="1179137849" sldId="2147482375"/>
            <ac:grpSpMk id="27" creationId="{77BF9604-9485-F922-CA2C-38C87FA59156}"/>
          </ac:grpSpMkLst>
        </pc:grpChg>
        <pc:grpChg chg="mod">
          <ac:chgData name="Antoine LAFOREST" userId="9365c212-db52-41a7-ab4a-025e62d16201" providerId="ADAL" clId="{61909AA8-2A44-3D40-B3D9-6800D9F1BB14}" dt="2024-02-01T16:47:58.925" v="4006"/>
          <ac:grpSpMkLst>
            <pc:docMk/>
            <pc:sldMk cId="1179137849" sldId="2147482375"/>
            <ac:grpSpMk id="35" creationId="{91DBACE5-C532-1498-2D03-B501B658AA97}"/>
          </ac:grpSpMkLst>
        </pc:grpChg>
        <pc:grpChg chg="add mod">
          <ac:chgData name="Antoine LAFOREST" userId="9365c212-db52-41a7-ab4a-025e62d16201" providerId="ADAL" clId="{61909AA8-2A44-3D40-B3D9-6800D9F1BB14}" dt="2024-02-02T17:11:47.985" v="5362" actId="408"/>
          <ac:grpSpMkLst>
            <pc:docMk/>
            <pc:sldMk cId="1179137849" sldId="2147482375"/>
            <ac:grpSpMk id="35" creationId="{C0579C96-C93C-8985-168C-EFA900056AE3}"/>
          </ac:grpSpMkLst>
        </pc:grpChg>
        <pc:grpChg chg="add del mod">
          <ac:chgData name="Antoine LAFOREST" userId="9365c212-db52-41a7-ab4a-025e62d16201" providerId="ADAL" clId="{61909AA8-2A44-3D40-B3D9-6800D9F1BB14}" dt="2024-02-02T10:57:45.444" v="4414" actId="165"/>
          <ac:grpSpMkLst>
            <pc:docMk/>
            <pc:sldMk cId="1179137849" sldId="2147482375"/>
            <ac:grpSpMk id="38" creationId="{5D8DFC1F-17DB-90C7-0159-02965C4C6B07}"/>
          </ac:grpSpMkLst>
        </pc:grpChg>
        <pc:grpChg chg="add del mod">
          <ac:chgData name="Antoine LAFOREST" userId="9365c212-db52-41a7-ab4a-025e62d16201" providerId="ADAL" clId="{61909AA8-2A44-3D40-B3D9-6800D9F1BB14}" dt="2024-02-02T10:58:46.211" v="4455" actId="165"/>
          <ac:grpSpMkLst>
            <pc:docMk/>
            <pc:sldMk cId="1179137849" sldId="2147482375"/>
            <ac:grpSpMk id="39" creationId="{888EF282-3034-A6AA-B646-9B26EB52BE87}"/>
          </ac:grpSpMkLst>
        </pc:grpChg>
        <pc:grpChg chg="add del mod">
          <ac:chgData name="Antoine LAFOREST" userId="9365c212-db52-41a7-ab4a-025e62d16201" providerId="ADAL" clId="{61909AA8-2A44-3D40-B3D9-6800D9F1BB14}" dt="2024-02-02T17:10:39.417" v="5343" actId="165"/>
          <ac:grpSpMkLst>
            <pc:docMk/>
            <pc:sldMk cId="1179137849" sldId="2147482375"/>
            <ac:grpSpMk id="40" creationId="{B8607431-7E2C-235B-CC76-A311C1D5C726}"/>
          </ac:grpSpMkLst>
        </pc:grpChg>
        <pc:grpChg chg="add mod">
          <ac:chgData name="Antoine LAFOREST" userId="9365c212-db52-41a7-ab4a-025e62d16201" providerId="ADAL" clId="{61909AA8-2A44-3D40-B3D9-6800D9F1BB14}" dt="2024-02-02T17:11:47.985" v="5362" actId="408"/>
          <ac:grpSpMkLst>
            <pc:docMk/>
            <pc:sldMk cId="1179137849" sldId="2147482375"/>
            <ac:grpSpMk id="42" creationId="{5A7F8C3F-4F30-6A12-EEB6-1DF835A309D6}"/>
          </ac:grpSpMkLst>
        </pc:grpChg>
        <pc:grpChg chg="add mod">
          <ac:chgData name="Antoine LAFOREST" userId="9365c212-db52-41a7-ab4a-025e62d16201" providerId="ADAL" clId="{61909AA8-2A44-3D40-B3D9-6800D9F1BB14}" dt="2024-02-01T16:47:58.925" v="4006"/>
          <ac:grpSpMkLst>
            <pc:docMk/>
            <pc:sldMk cId="1179137849" sldId="2147482375"/>
            <ac:grpSpMk id="54" creationId="{EE456CD1-FD3F-9089-F02D-196DDD298F88}"/>
          </ac:grpSpMkLst>
        </pc:grpChg>
        <pc:grpChg chg="add mod">
          <ac:chgData name="Antoine LAFOREST" userId="9365c212-db52-41a7-ab4a-025e62d16201" providerId="ADAL" clId="{61909AA8-2A44-3D40-B3D9-6800D9F1BB14}" dt="2024-02-01T16:47:58.925" v="4006"/>
          <ac:grpSpMkLst>
            <pc:docMk/>
            <pc:sldMk cId="1179137849" sldId="2147482375"/>
            <ac:grpSpMk id="64" creationId="{E02C60DB-8AE8-FDE9-97DD-4D0D17A9ED23}"/>
          </ac:grpSpMkLst>
        </pc:grpChg>
        <pc:grpChg chg="mod">
          <ac:chgData name="Antoine LAFOREST" userId="9365c212-db52-41a7-ab4a-025e62d16201" providerId="ADAL" clId="{61909AA8-2A44-3D40-B3D9-6800D9F1BB14}" dt="2024-02-01T16:47:58.925" v="4006"/>
          <ac:grpSpMkLst>
            <pc:docMk/>
            <pc:sldMk cId="1179137849" sldId="2147482375"/>
            <ac:grpSpMk id="66" creationId="{1C473CCE-E18E-0F34-EDB1-459CA5988B26}"/>
          </ac:grpSpMkLst>
        </pc:grpChg>
        <pc:grpChg chg="add mod">
          <ac:chgData name="Antoine LAFOREST" userId="9365c212-db52-41a7-ab4a-025e62d16201" providerId="ADAL" clId="{61909AA8-2A44-3D40-B3D9-6800D9F1BB14}" dt="2024-02-01T16:47:58.925" v="4006"/>
          <ac:grpSpMkLst>
            <pc:docMk/>
            <pc:sldMk cId="1179137849" sldId="2147482375"/>
            <ac:grpSpMk id="69" creationId="{394698C4-8CF6-3B6F-32F0-FDAEDDB3FFA8}"/>
          </ac:grpSpMkLst>
        </pc:grpChg>
        <pc:grpChg chg="mod">
          <ac:chgData name="Antoine LAFOREST" userId="9365c212-db52-41a7-ab4a-025e62d16201" providerId="ADAL" clId="{61909AA8-2A44-3D40-B3D9-6800D9F1BB14}" dt="2024-02-01T16:47:58.925" v="4006"/>
          <ac:grpSpMkLst>
            <pc:docMk/>
            <pc:sldMk cId="1179137849" sldId="2147482375"/>
            <ac:grpSpMk id="79" creationId="{94D4C739-C213-1F3E-1275-EAC8E112FB4C}"/>
          </ac:grpSpMkLst>
        </pc:grpChg>
        <pc:grpChg chg="del">
          <ac:chgData name="Antoine LAFOREST" userId="9365c212-db52-41a7-ab4a-025e62d16201" providerId="ADAL" clId="{61909AA8-2A44-3D40-B3D9-6800D9F1BB14}" dt="2024-02-01T16:48:03.471" v="4007" actId="478"/>
          <ac:grpSpMkLst>
            <pc:docMk/>
            <pc:sldMk cId="1179137849" sldId="2147482375"/>
            <ac:grpSpMk id="80" creationId="{A0B016B3-E3AF-4451-02FC-C08AF42DC2A9}"/>
          </ac:grpSpMkLst>
        </pc:grpChg>
        <pc:grpChg chg="del">
          <ac:chgData name="Antoine LAFOREST" userId="9365c212-db52-41a7-ab4a-025e62d16201" providerId="ADAL" clId="{61909AA8-2A44-3D40-B3D9-6800D9F1BB14}" dt="2024-02-01T16:48:03.471" v="4007" actId="478"/>
          <ac:grpSpMkLst>
            <pc:docMk/>
            <pc:sldMk cId="1179137849" sldId="2147482375"/>
            <ac:grpSpMk id="87" creationId="{455877E8-A8B5-9315-3117-DDE0247BBD48}"/>
          </ac:grpSpMkLst>
        </pc:grpChg>
        <pc:grpChg chg="del">
          <ac:chgData name="Antoine LAFOREST" userId="9365c212-db52-41a7-ab4a-025e62d16201" providerId="ADAL" clId="{61909AA8-2A44-3D40-B3D9-6800D9F1BB14}" dt="2024-02-01T16:48:03.471" v="4007" actId="478"/>
          <ac:grpSpMkLst>
            <pc:docMk/>
            <pc:sldMk cId="1179137849" sldId="2147482375"/>
            <ac:grpSpMk id="90" creationId="{ED1E4F3D-BAD6-BF37-C46A-36E4609EA9D9}"/>
          </ac:grpSpMkLst>
        </pc:grpChg>
        <pc:grpChg chg="add mod">
          <ac:chgData name="Antoine LAFOREST" userId="9365c212-db52-41a7-ab4a-025e62d16201" providerId="ADAL" clId="{61909AA8-2A44-3D40-B3D9-6800D9F1BB14}" dt="2024-02-02T17:11:47.985" v="5362" actId="408"/>
          <ac:grpSpMkLst>
            <pc:docMk/>
            <pc:sldMk cId="1179137849" sldId="2147482375"/>
            <ac:grpSpMk id="92" creationId="{F8BA0EE8-3ACF-4092-A270-AFF5FA91EAAD}"/>
          </ac:grpSpMkLst>
        </pc:grpChg>
        <pc:grpChg chg="add mod">
          <ac:chgData name="Antoine LAFOREST" userId="9365c212-db52-41a7-ab4a-025e62d16201" providerId="ADAL" clId="{61909AA8-2A44-3D40-B3D9-6800D9F1BB14}" dt="2024-02-02T17:11:23.997" v="5349" actId="164"/>
          <ac:grpSpMkLst>
            <pc:docMk/>
            <pc:sldMk cId="1179137849" sldId="2147482375"/>
            <ac:grpSpMk id="93" creationId="{298A31EB-8856-78D3-1949-7CA49B873934}"/>
          </ac:grpSpMkLst>
        </pc:grpChg>
        <pc:grpChg chg="add mod">
          <ac:chgData name="Antoine LAFOREST" userId="9365c212-db52-41a7-ab4a-025e62d16201" providerId="ADAL" clId="{61909AA8-2A44-3D40-B3D9-6800D9F1BB14}" dt="2024-02-02T17:11:47.985" v="5362" actId="408"/>
          <ac:grpSpMkLst>
            <pc:docMk/>
            <pc:sldMk cId="1179137849" sldId="2147482375"/>
            <ac:grpSpMk id="94" creationId="{00B02165-ECA6-4E65-3693-6BF1EFFF1CBD}"/>
          </ac:grpSpMkLst>
        </pc:grpChg>
        <pc:grpChg chg="del">
          <ac:chgData name="Antoine LAFOREST" userId="9365c212-db52-41a7-ab4a-025e62d16201" providerId="ADAL" clId="{61909AA8-2A44-3D40-B3D9-6800D9F1BB14}" dt="2024-02-01T16:48:03.471" v="4007" actId="478"/>
          <ac:grpSpMkLst>
            <pc:docMk/>
            <pc:sldMk cId="1179137849" sldId="2147482375"/>
            <ac:grpSpMk id="95" creationId="{3CE6D496-EDC6-929C-B6E2-B143F3CCAA4C}"/>
          </ac:grpSpMkLst>
        </pc:grpChg>
        <pc:grpChg chg="add mod">
          <ac:chgData name="Antoine LAFOREST" userId="9365c212-db52-41a7-ab4a-025e62d16201" providerId="ADAL" clId="{61909AA8-2A44-3D40-B3D9-6800D9F1BB14}" dt="2024-02-01T16:48:03.763" v="4008"/>
          <ac:grpSpMkLst>
            <pc:docMk/>
            <pc:sldMk cId="1179137849" sldId="2147482375"/>
            <ac:grpSpMk id="105" creationId="{06F01F0A-440C-EDAA-F4B1-F652A9E4333D}"/>
          </ac:grpSpMkLst>
        </pc:grpChg>
        <pc:grpChg chg="mod">
          <ac:chgData name="Antoine LAFOREST" userId="9365c212-db52-41a7-ab4a-025e62d16201" providerId="ADAL" clId="{61909AA8-2A44-3D40-B3D9-6800D9F1BB14}" dt="2024-02-01T16:48:03.763" v="4008"/>
          <ac:grpSpMkLst>
            <pc:docMk/>
            <pc:sldMk cId="1179137849" sldId="2147482375"/>
            <ac:grpSpMk id="109" creationId="{FD772797-F6BE-A8BA-0700-098B69AE4F02}"/>
          </ac:grpSpMkLst>
        </pc:grpChg>
        <pc:grpChg chg="add mod">
          <ac:chgData name="Antoine LAFOREST" userId="9365c212-db52-41a7-ab4a-025e62d16201" providerId="ADAL" clId="{61909AA8-2A44-3D40-B3D9-6800D9F1BB14}" dt="2024-02-01T16:48:03.763" v="4008"/>
          <ac:grpSpMkLst>
            <pc:docMk/>
            <pc:sldMk cId="1179137849" sldId="2147482375"/>
            <ac:grpSpMk id="114" creationId="{397739C1-0839-FB6A-11CC-02722A16291D}"/>
          </ac:grpSpMkLst>
        </pc:grpChg>
        <pc:grpChg chg="add mod">
          <ac:chgData name="Antoine LAFOREST" userId="9365c212-db52-41a7-ab4a-025e62d16201" providerId="ADAL" clId="{61909AA8-2A44-3D40-B3D9-6800D9F1BB14}" dt="2024-02-01T16:48:03.763" v="4008"/>
          <ac:grpSpMkLst>
            <pc:docMk/>
            <pc:sldMk cId="1179137849" sldId="2147482375"/>
            <ac:grpSpMk id="117" creationId="{208D1719-431B-03C8-705D-C295388AB6C4}"/>
          </ac:grpSpMkLst>
        </pc:grpChg>
        <pc:grpChg chg="mod">
          <ac:chgData name="Antoine LAFOREST" userId="9365c212-db52-41a7-ab4a-025e62d16201" providerId="ADAL" clId="{61909AA8-2A44-3D40-B3D9-6800D9F1BB14}" dt="2024-02-01T16:48:03.763" v="4008"/>
          <ac:grpSpMkLst>
            <pc:docMk/>
            <pc:sldMk cId="1179137849" sldId="2147482375"/>
            <ac:grpSpMk id="119" creationId="{AA52B83D-EC34-4A03-89CC-1D2824D08987}"/>
          </ac:grpSpMkLst>
        </pc:grpChg>
        <pc:grpChg chg="add mod">
          <ac:chgData name="Antoine LAFOREST" userId="9365c212-db52-41a7-ab4a-025e62d16201" providerId="ADAL" clId="{61909AA8-2A44-3D40-B3D9-6800D9F1BB14}" dt="2024-02-01T16:48:03.763" v="4008"/>
          <ac:grpSpMkLst>
            <pc:docMk/>
            <pc:sldMk cId="1179137849" sldId="2147482375"/>
            <ac:grpSpMk id="122" creationId="{021D6796-EBF6-20A4-2A69-4FF705726694}"/>
          </ac:grpSpMkLst>
        </pc:grpChg>
        <pc:grpChg chg="mod">
          <ac:chgData name="Antoine LAFOREST" userId="9365c212-db52-41a7-ab4a-025e62d16201" providerId="ADAL" clId="{61909AA8-2A44-3D40-B3D9-6800D9F1BB14}" dt="2024-02-01T16:48:03.763" v="4008"/>
          <ac:grpSpMkLst>
            <pc:docMk/>
            <pc:sldMk cId="1179137849" sldId="2147482375"/>
            <ac:grpSpMk id="124" creationId="{BCD12752-5E46-562C-2AC5-F1778D2963A4}"/>
          </ac:grpSpMkLst>
        </pc:grpChg>
        <pc:grpChg chg="add mod">
          <ac:chgData name="Antoine LAFOREST" userId="9365c212-db52-41a7-ab4a-025e62d16201" providerId="ADAL" clId="{61909AA8-2A44-3D40-B3D9-6800D9F1BB14}" dt="2024-02-01T17:40:58.068" v="4011"/>
          <ac:grpSpMkLst>
            <pc:docMk/>
            <pc:sldMk cId="1179137849" sldId="2147482375"/>
            <ac:grpSpMk id="129" creationId="{CD1C3626-7A88-14FE-8C4B-E15C1328A030}"/>
          </ac:grpSpMkLst>
        </pc:grpChg>
        <pc:grpChg chg="del mod">
          <ac:chgData name="Antoine LAFOREST" userId="9365c212-db52-41a7-ab4a-025e62d16201" providerId="ADAL" clId="{61909AA8-2A44-3D40-B3D9-6800D9F1BB14}" dt="2024-02-02T10:40:28.358" v="4324" actId="164"/>
          <ac:grpSpMkLst>
            <pc:docMk/>
            <pc:sldMk cId="1179137849" sldId="2147482375"/>
            <ac:grpSpMk id="131" creationId="{640A122F-8A6B-4122-E45A-F5D85F265713}"/>
          </ac:grpSpMkLst>
        </pc:grpChg>
        <pc:grpChg chg="add mod">
          <ac:chgData name="Antoine LAFOREST" userId="9365c212-db52-41a7-ab4a-025e62d16201" providerId="ADAL" clId="{61909AA8-2A44-3D40-B3D9-6800D9F1BB14}" dt="2024-02-01T17:40:58.068" v="4011"/>
          <ac:grpSpMkLst>
            <pc:docMk/>
            <pc:sldMk cId="1179137849" sldId="2147482375"/>
            <ac:grpSpMk id="136" creationId="{8DF9F9FD-17A3-6353-C4F3-4A815015243D}"/>
          </ac:grpSpMkLst>
        </pc:grpChg>
        <pc:grpChg chg="add mod">
          <ac:chgData name="Antoine LAFOREST" userId="9365c212-db52-41a7-ab4a-025e62d16201" providerId="ADAL" clId="{61909AA8-2A44-3D40-B3D9-6800D9F1BB14}" dt="2024-02-01T17:40:58.068" v="4011"/>
          <ac:grpSpMkLst>
            <pc:docMk/>
            <pc:sldMk cId="1179137849" sldId="2147482375"/>
            <ac:grpSpMk id="139" creationId="{F9F397CD-D302-4238-FE5F-B6AE89CC53E6}"/>
          </ac:grpSpMkLst>
        </pc:grpChg>
        <pc:grpChg chg="add del mod topLvl">
          <ac:chgData name="Antoine LAFOREST" userId="9365c212-db52-41a7-ab4a-025e62d16201" providerId="ADAL" clId="{61909AA8-2A44-3D40-B3D9-6800D9F1BB14}" dt="2024-02-02T17:11:47.985" v="5362" actId="408"/>
          <ac:grpSpMkLst>
            <pc:docMk/>
            <pc:sldMk cId="1179137849" sldId="2147482375"/>
            <ac:grpSpMk id="141" creationId="{A514B220-DA58-D15D-E03A-2A3C5BCB4BEA}"/>
          </ac:grpSpMkLst>
        </pc:grpChg>
        <pc:grpChg chg="add mod">
          <ac:chgData name="Antoine LAFOREST" userId="9365c212-db52-41a7-ab4a-025e62d16201" providerId="ADAL" clId="{61909AA8-2A44-3D40-B3D9-6800D9F1BB14}" dt="2024-02-01T17:40:58.068" v="4011"/>
          <ac:grpSpMkLst>
            <pc:docMk/>
            <pc:sldMk cId="1179137849" sldId="2147482375"/>
            <ac:grpSpMk id="144" creationId="{7EB87D0B-763D-44F0-DBFD-33F7D3875FF5}"/>
          </ac:grpSpMkLst>
        </pc:grpChg>
        <pc:grpChg chg="mod topLvl">
          <ac:chgData name="Antoine LAFOREST" userId="9365c212-db52-41a7-ab4a-025e62d16201" providerId="ADAL" clId="{61909AA8-2A44-3D40-B3D9-6800D9F1BB14}" dt="2024-02-02T17:11:15.034" v="5346" actId="164"/>
          <ac:grpSpMkLst>
            <pc:docMk/>
            <pc:sldMk cId="1179137849" sldId="2147482375"/>
            <ac:grpSpMk id="146" creationId="{AEEF124A-3131-F44C-5090-994A29C4EA33}"/>
          </ac:grpSpMkLst>
        </pc:grpChg>
        <pc:picChg chg="mod">
          <ac:chgData name="Antoine LAFOREST" userId="9365c212-db52-41a7-ab4a-025e62d16201" providerId="ADAL" clId="{61909AA8-2A44-3D40-B3D9-6800D9F1BB14}" dt="2024-02-02T10:35:17.923" v="4163" actId="208"/>
          <ac:picMkLst>
            <pc:docMk/>
            <pc:sldMk cId="1179137849" sldId="2147482375"/>
            <ac:picMk id="107" creationId="{615F0EE2-5343-621E-A16A-65EDA9B80B65}"/>
          </ac:picMkLst>
        </pc:picChg>
        <pc:picChg chg="mod">
          <ac:chgData name="Antoine LAFOREST" userId="9365c212-db52-41a7-ab4a-025e62d16201" providerId="ADAL" clId="{61909AA8-2A44-3D40-B3D9-6800D9F1BB14}" dt="2024-02-02T13:27:10.221" v="5026" actId="1035"/>
          <ac:picMkLst>
            <pc:docMk/>
            <pc:sldMk cId="1179137849" sldId="2147482375"/>
            <ac:picMk id="1026" creationId="{F231700B-8C94-C0EE-8695-7125E772820F}"/>
          </ac:picMkLst>
        </pc:picChg>
      </pc:sldChg>
      <pc:sldChg chg="addSp delSp modSp mod">
        <pc:chgData name="Antoine LAFOREST" userId="9365c212-db52-41a7-ab4a-025e62d16201" providerId="ADAL" clId="{61909AA8-2A44-3D40-B3D9-6800D9F1BB14}" dt="2024-02-02T17:05:07.105" v="5340" actId="1035"/>
        <pc:sldMkLst>
          <pc:docMk/>
          <pc:sldMk cId="3722675707" sldId="2147482376"/>
        </pc:sldMkLst>
        <pc:spChg chg="mod">
          <ac:chgData name="Antoine LAFOREST" userId="9365c212-db52-41a7-ab4a-025e62d16201" providerId="ADAL" clId="{61909AA8-2A44-3D40-B3D9-6800D9F1BB14}" dt="2024-02-02T13:21:13.751" v="4887" actId="20577"/>
          <ac:spMkLst>
            <pc:docMk/>
            <pc:sldMk cId="3722675707" sldId="2147482376"/>
            <ac:spMk id="3" creationId="{D48881F7-4135-770F-122A-86ED4FFC84F9}"/>
          </ac:spMkLst>
        </pc:spChg>
        <pc:spChg chg="add mod">
          <ac:chgData name="Antoine LAFOREST" userId="9365c212-db52-41a7-ab4a-025e62d16201" providerId="ADAL" clId="{61909AA8-2A44-3D40-B3D9-6800D9F1BB14}" dt="2024-02-02T17:05:07.105" v="5340" actId="1035"/>
          <ac:spMkLst>
            <pc:docMk/>
            <pc:sldMk cId="3722675707" sldId="2147482376"/>
            <ac:spMk id="12" creationId="{BFAC6964-C783-8E7E-F855-18DB6563CA27}"/>
          </ac:spMkLst>
        </pc:spChg>
        <pc:spChg chg="mod">
          <ac:chgData name="Antoine LAFOREST" userId="9365c212-db52-41a7-ab4a-025e62d16201" providerId="ADAL" clId="{61909AA8-2A44-3D40-B3D9-6800D9F1BB14}" dt="2024-02-02T10:38:17.013" v="4202" actId="1037"/>
          <ac:spMkLst>
            <pc:docMk/>
            <pc:sldMk cId="3722675707" sldId="2147482376"/>
            <ac:spMk id="25" creationId="{5BDEB673-511D-8971-EE58-BC130C723C75}"/>
          </ac:spMkLst>
        </pc:spChg>
        <pc:spChg chg="del">
          <ac:chgData name="Antoine LAFOREST" userId="9365c212-db52-41a7-ab4a-025e62d16201" providerId="ADAL" clId="{61909AA8-2A44-3D40-B3D9-6800D9F1BB14}" dt="2024-02-02T10:38:08.759" v="4175" actId="478"/>
          <ac:spMkLst>
            <pc:docMk/>
            <pc:sldMk cId="3722675707" sldId="2147482376"/>
            <ac:spMk id="27" creationId="{7D2A94EB-156D-0C0C-6E65-A5564911D7EE}"/>
          </ac:spMkLst>
        </pc:spChg>
        <pc:spChg chg="mod">
          <ac:chgData name="Antoine LAFOREST" userId="9365c212-db52-41a7-ab4a-025e62d16201" providerId="ADAL" clId="{61909AA8-2A44-3D40-B3D9-6800D9F1BB14}" dt="2024-02-02T17:05:07.105" v="5340" actId="1035"/>
          <ac:spMkLst>
            <pc:docMk/>
            <pc:sldMk cId="3722675707" sldId="2147482376"/>
            <ac:spMk id="28" creationId="{B8318679-2477-662B-2055-9540C845E3BB}"/>
          </ac:spMkLst>
        </pc:spChg>
        <pc:spChg chg="mod">
          <ac:chgData name="Antoine LAFOREST" userId="9365c212-db52-41a7-ab4a-025e62d16201" providerId="ADAL" clId="{61909AA8-2A44-3D40-B3D9-6800D9F1BB14}" dt="2024-02-02T17:05:07.105" v="5340" actId="1035"/>
          <ac:spMkLst>
            <pc:docMk/>
            <pc:sldMk cId="3722675707" sldId="2147482376"/>
            <ac:spMk id="29" creationId="{D665831F-8946-0839-6638-8AEED4A71689}"/>
          </ac:spMkLst>
        </pc:spChg>
        <pc:spChg chg="mod">
          <ac:chgData name="Antoine LAFOREST" userId="9365c212-db52-41a7-ab4a-025e62d16201" providerId="ADAL" clId="{61909AA8-2A44-3D40-B3D9-6800D9F1BB14}" dt="2024-02-02T17:05:07.105" v="5340" actId="1035"/>
          <ac:spMkLst>
            <pc:docMk/>
            <pc:sldMk cId="3722675707" sldId="2147482376"/>
            <ac:spMk id="30" creationId="{BCCB4956-3174-B1B6-BFF7-F63E44703DF7}"/>
          </ac:spMkLst>
        </pc:spChg>
        <pc:spChg chg="mod">
          <ac:chgData name="Antoine LAFOREST" userId="9365c212-db52-41a7-ab4a-025e62d16201" providerId="ADAL" clId="{61909AA8-2A44-3D40-B3D9-6800D9F1BB14}" dt="2024-02-02T17:05:07.105" v="5340" actId="1035"/>
          <ac:spMkLst>
            <pc:docMk/>
            <pc:sldMk cId="3722675707" sldId="2147482376"/>
            <ac:spMk id="31" creationId="{880B1606-8270-F5BF-E2AC-9F1350C320B2}"/>
          </ac:spMkLst>
        </pc:spChg>
        <pc:spChg chg="mod">
          <ac:chgData name="Antoine LAFOREST" userId="9365c212-db52-41a7-ab4a-025e62d16201" providerId="ADAL" clId="{61909AA8-2A44-3D40-B3D9-6800D9F1BB14}" dt="2024-02-02T17:05:07.105" v="5340" actId="1035"/>
          <ac:spMkLst>
            <pc:docMk/>
            <pc:sldMk cId="3722675707" sldId="2147482376"/>
            <ac:spMk id="34" creationId="{4ADA6757-9A9E-D7B1-54F1-D4EBB6C1D7B2}"/>
          </ac:spMkLst>
        </pc:spChg>
        <pc:spChg chg="mod">
          <ac:chgData name="Antoine LAFOREST" userId="9365c212-db52-41a7-ab4a-025e62d16201" providerId="ADAL" clId="{61909AA8-2A44-3D40-B3D9-6800D9F1BB14}" dt="2024-02-02T17:05:07.105" v="5340" actId="1035"/>
          <ac:spMkLst>
            <pc:docMk/>
            <pc:sldMk cId="3722675707" sldId="2147482376"/>
            <ac:spMk id="35" creationId="{F60FBC00-FEF0-A7FA-831A-40480F303C78}"/>
          </ac:spMkLst>
        </pc:spChg>
        <pc:spChg chg="mod">
          <ac:chgData name="Antoine LAFOREST" userId="9365c212-db52-41a7-ab4a-025e62d16201" providerId="ADAL" clId="{61909AA8-2A44-3D40-B3D9-6800D9F1BB14}" dt="2024-02-02T17:05:07.105" v="5340" actId="1035"/>
          <ac:spMkLst>
            <pc:docMk/>
            <pc:sldMk cId="3722675707" sldId="2147482376"/>
            <ac:spMk id="40" creationId="{EA216833-C012-19F0-1968-6260BF801340}"/>
          </ac:spMkLst>
        </pc:spChg>
        <pc:spChg chg="mod">
          <ac:chgData name="Antoine LAFOREST" userId="9365c212-db52-41a7-ab4a-025e62d16201" providerId="ADAL" clId="{61909AA8-2A44-3D40-B3D9-6800D9F1BB14}" dt="2024-02-02T17:05:07.105" v="5340" actId="1035"/>
          <ac:spMkLst>
            <pc:docMk/>
            <pc:sldMk cId="3722675707" sldId="2147482376"/>
            <ac:spMk id="41" creationId="{6C6C1A0B-C32E-1E94-2304-C1631D8F5722}"/>
          </ac:spMkLst>
        </pc:spChg>
        <pc:spChg chg="del mod">
          <ac:chgData name="Antoine LAFOREST" userId="9365c212-db52-41a7-ab4a-025e62d16201" providerId="ADAL" clId="{61909AA8-2A44-3D40-B3D9-6800D9F1BB14}" dt="2024-02-02T10:56:32.910" v="4383" actId="478"/>
          <ac:spMkLst>
            <pc:docMk/>
            <pc:sldMk cId="3722675707" sldId="2147482376"/>
            <ac:spMk id="49" creationId="{8C939529-7BF0-A243-7B39-58B75098654B}"/>
          </ac:spMkLst>
        </pc:spChg>
        <pc:grpChg chg="mod">
          <ac:chgData name="Antoine LAFOREST" userId="9365c212-db52-41a7-ab4a-025e62d16201" providerId="ADAL" clId="{61909AA8-2A44-3D40-B3D9-6800D9F1BB14}" dt="2024-02-02T17:05:07.105" v="5340" actId="1035"/>
          <ac:grpSpMkLst>
            <pc:docMk/>
            <pc:sldMk cId="3722675707" sldId="2147482376"/>
            <ac:grpSpMk id="69" creationId="{F7FFF798-F006-DE30-7B28-2CF7691E9844}"/>
          </ac:grpSpMkLst>
        </pc:grpChg>
        <pc:picChg chg="mod">
          <ac:chgData name="Antoine LAFOREST" userId="9365c212-db52-41a7-ab4a-025e62d16201" providerId="ADAL" clId="{61909AA8-2A44-3D40-B3D9-6800D9F1BB14}" dt="2024-02-02T11:00:13.452" v="4494" actId="1035"/>
          <ac:picMkLst>
            <pc:docMk/>
            <pc:sldMk cId="3722675707" sldId="2147482376"/>
            <ac:picMk id="68" creationId="{04C52324-AAC8-CBA7-987A-1DDF4BC97C52}"/>
          </ac:picMkLst>
        </pc:picChg>
        <pc:picChg chg="mod">
          <ac:chgData name="Antoine LAFOREST" userId="9365c212-db52-41a7-ab4a-025e62d16201" providerId="ADAL" clId="{61909AA8-2A44-3D40-B3D9-6800D9F1BB14}" dt="2024-02-02T17:05:07.105" v="5340" actId="1035"/>
          <ac:picMkLst>
            <pc:docMk/>
            <pc:sldMk cId="3722675707" sldId="2147482376"/>
            <ac:picMk id="154" creationId="{89FF0C5A-BD5F-16B5-93AF-03E229AC1CF1}"/>
          </ac:picMkLst>
        </pc:picChg>
      </pc:sldChg>
      <pc:sldChg chg="addSp delSp modSp mod">
        <pc:chgData name="Antoine LAFOREST" userId="9365c212-db52-41a7-ab4a-025e62d16201" providerId="ADAL" clId="{61909AA8-2A44-3D40-B3D9-6800D9F1BB14}" dt="2024-02-02T16:08:23.149" v="5330" actId="20577"/>
        <pc:sldMkLst>
          <pc:docMk/>
          <pc:sldMk cId="4060980073" sldId="2147482377"/>
        </pc:sldMkLst>
        <pc:spChg chg="del mod">
          <ac:chgData name="Antoine LAFOREST" userId="9365c212-db52-41a7-ab4a-025e62d16201" providerId="ADAL" clId="{61909AA8-2A44-3D40-B3D9-6800D9F1BB14}" dt="2024-02-02T10:37:29.532" v="4171" actId="478"/>
          <ac:spMkLst>
            <pc:docMk/>
            <pc:sldMk cId="4060980073" sldId="2147482377"/>
            <ac:spMk id="2" creationId="{C3C9B16C-EF3E-7B84-C65A-636CF27F5E3A}"/>
          </ac:spMkLst>
        </pc:spChg>
        <pc:spChg chg="add mod">
          <ac:chgData name="Antoine LAFOREST" userId="9365c212-db52-41a7-ab4a-025e62d16201" providerId="ADAL" clId="{61909AA8-2A44-3D40-B3D9-6800D9F1BB14}" dt="2024-02-02T13:21:42.265" v="4939" actId="14100"/>
          <ac:spMkLst>
            <pc:docMk/>
            <pc:sldMk cId="4060980073" sldId="2147482377"/>
            <ac:spMk id="3" creationId="{F4827A16-CAB2-F1E7-8099-D3FEED113BAE}"/>
          </ac:spMkLst>
        </pc:spChg>
        <pc:spChg chg="del mod">
          <ac:chgData name="Antoine LAFOREST" userId="9365c212-db52-41a7-ab4a-025e62d16201" providerId="ADAL" clId="{61909AA8-2A44-3D40-B3D9-6800D9F1BB14}" dt="2024-02-02T13:21:47.959" v="4940" actId="478"/>
          <ac:spMkLst>
            <pc:docMk/>
            <pc:sldMk cId="4060980073" sldId="2147482377"/>
            <ac:spMk id="5" creationId="{4F62D9B9-7C12-AEDB-6FF6-83950E364800}"/>
          </ac:spMkLst>
        </pc:spChg>
        <pc:spChg chg="mod">
          <ac:chgData name="Antoine LAFOREST" userId="9365c212-db52-41a7-ab4a-025e62d16201" providerId="ADAL" clId="{61909AA8-2A44-3D40-B3D9-6800D9F1BB14}" dt="2024-02-02T10:38:44.360" v="4313" actId="1038"/>
          <ac:spMkLst>
            <pc:docMk/>
            <pc:sldMk cId="4060980073" sldId="2147482377"/>
            <ac:spMk id="6" creationId="{06D2A13C-4C1E-E084-EFA4-49C61C372EB9}"/>
          </ac:spMkLst>
        </pc:spChg>
        <pc:spChg chg="add del mod">
          <ac:chgData name="Antoine LAFOREST" userId="9365c212-db52-41a7-ab4a-025e62d16201" providerId="ADAL" clId="{61909AA8-2A44-3D40-B3D9-6800D9F1BB14}" dt="2024-02-02T10:37:32.799" v="4172" actId="478"/>
          <ac:spMkLst>
            <pc:docMk/>
            <pc:sldMk cId="4060980073" sldId="2147482377"/>
            <ac:spMk id="7" creationId="{2D76CDEC-45E7-D1A7-0545-82AEACB0C5F6}"/>
          </ac:spMkLst>
        </pc:spChg>
        <pc:spChg chg="mod">
          <ac:chgData name="Antoine LAFOREST" userId="9365c212-db52-41a7-ab4a-025e62d16201" providerId="ADAL" clId="{61909AA8-2A44-3D40-B3D9-6800D9F1BB14}" dt="2024-02-02T10:55:00.692" v="4361" actId="1076"/>
          <ac:spMkLst>
            <pc:docMk/>
            <pc:sldMk cId="4060980073" sldId="2147482377"/>
            <ac:spMk id="44" creationId="{23C643BE-B132-C34A-64B9-D222C47888DE}"/>
          </ac:spMkLst>
        </pc:spChg>
        <pc:spChg chg="mod">
          <ac:chgData name="Antoine LAFOREST" userId="9365c212-db52-41a7-ab4a-025e62d16201" providerId="ADAL" clId="{61909AA8-2A44-3D40-B3D9-6800D9F1BB14}" dt="2024-02-02T10:55:07.977" v="4372" actId="1037"/>
          <ac:spMkLst>
            <pc:docMk/>
            <pc:sldMk cId="4060980073" sldId="2147482377"/>
            <ac:spMk id="45" creationId="{98468AA6-AA08-E330-8A12-C2DB7ACFD774}"/>
          </ac:spMkLst>
        </pc:spChg>
        <pc:spChg chg="mod">
          <ac:chgData name="Antoine LAFOREST" userId="9365c212-db52-41a7-ab4a-025e62d16201" providerId="ADAL" clId="{61909AA8-2A44-3D40-B3D9-6800D9F1BB14}" dt="2024-02-01T16:42:01.011" v="3866" actId="20577"/>
          <ac:spMkLst>
            <pc:docMk/>
            <pc:sldMk cId="4060980073" sldId="2147482377"/>
            <ac:spMk id="57" creationId="{C25972A8-F1E3-9EBE-DB4E-92F18428CED2}"/>
          </ac:spMkLst>
        </pc:spChg>
        <pc:spChg chg="mod">
          <ac:chgData name="Antoine LAFOREST" userId="9365c212-db52-41a7-ab4a-025e62d16201" providerId="ADAL" clId="{61909AA8-2A44-3D40-B3D9-6800D9F1BB14}" dt="2024-02-02T10:54:17.716" v="4342" actId="1035"/>
          <ac:spMkLst>
            <pc:docMk/>
            <pc:sldMk cId="4060980073" sldId="2147482377"/>
            <ac:spMk id="210" creationId="{DC076779-930A-9A24-B296-C3B84CC876B6}"/>
          </ac:spMkLst>
        </pc:spChg>
        <pc:spChg chg="mod">
          <ac:chgData name="Antoine LAFOREST" userId="9365c212-db52-41a7-ab4a-025e62d16201" providerId="ADAL" clId="{61909AA8-2A44-3D40-B3D9-6800D9F1BB14}" dt="2024-02-02T13:18:23.568" v="4885" actId="20577"/>
          <ac:spMkLst>
            <pc:docMk/>
            <pc:sldMk cId="4060980073" sldId="2147482377"/>
            <ac:spMk id="211" creationId="{F61F26FB-F00A-DAF5-B662-6ED8F5F8D49E}"/>
          </ac:spMkLst>
        </pc:spChg>
        <pc:spChg chg="mod">
          <ac:chgData name="Antoine LAFOREST" userId="9365c212-db52-41a7-ab4a-025e62d16201" providerId="ADAL" clId="{61909AA8-2A44-3D40-B3D9-6800D9F1BB14}" dt="2024-02-02T16:08:23.149" v="5330" actId="20577"/>
          <ac:spMkLst>
            <pc:docMk/>
            <pc:sldMk cId="4060980073" sldId="2147482377"/>
            <ac:spMk id="212" creationId="{DF955088-4304-D23D-56F0-1DB222F32CCE}"/>
          </ac:spMkLst>
        </pc:spChg>
        <pc:spChg chg="mod">
          <ac:chgData name="Antoine LAFOREST" userId="9365c212-db52-41a7-ab4a-025e62d16201" providerId="ADAL" clId="{61909AA8-2A44-3D40-B3D9-6800D9F1BB14}" dt="2024-02-02T13:59:10.143" v="5245" actId="20577"/>
          <ac:spMkLst>
            <pc:docMk/>
            <pc:sldMk cId="4060980073" sldId="2147482377"/>
            <ac:spMk id="213" creationId="{5328E07C-6E10-144D-794E-6082113538C5}"/>
          </ac:spMkLst>
        </pc:spChg>
        <pc:spChg chg="mod">
          <ac:chgData name="Antoine LAFOREST" userId="9365c212-db52-41a7-ab4a-025e62d16201" providerId="ADAL" clId="{61909AA8-2A44-3D40-B3D9-6800D9F1BB14}" dt="2024-02-02T10:54:01.909" v="4332" actId="207"/>
          <ac:spMkLst>
            <pc:docMk/>
            <pc:sldMk cId="4060980073" sldId="2147482377"/>
            <ac:spMk id="214" creationId="{E1667487-2DFE-AEA1-B697-B843AD5E8E82}"/>
          </ac:spMkLst>
        </pc:spChg>
        <pc:grpChg chg="add mod">
          <ac:chgData name="Antoine LAFOREST" userId="9365c212-db52-41a7-ab4a-025e62d16201" providerId="ADAL" clId="{61909AA8-2A44-3D40-B3D9-6800D9F1BB14}" dt="2024-02-02T10:54:47.823" v="4344" actId="164"/>
          <ac:grpSpMkLst>
            <pc:docMk/>
            <pc:sldMk cId="4060980073" sldId="2147482377"/>
            <ac:grpSpMk id="8" creationId="{A697014C-BC90-6030-A547-0110D400EF3F}"/>
          </ac:grpSpMkLst>
        </pc:grpChg>
        <pc:grpChg chg="mod">
          <ac:chgData name="Antoine LAFOREST" userId="9365c212-db52-41a7-ab4a-025e62d16201" providerId="ADAL" clId="{61909AA8-2A44-3D40-B3D9-6800D9F1BB14}" dt="2024-02-02T10:55:26.632" v="4377" actId="1035"/>
          <ac:grpSpMkLst>
            <pc:docMk/>
            <pc:sldMk cId="4060980073" sldId="2147482377"/>
            <ac:grpSpMk id="220" creationId="{D255B99D-377E-DB42-2543-73A363EF66D3}"/>
          </ac:grpSpMkLst>
        </pc:grpChg>
        <pc:picChg chg="del mod">
          <ac:chgData name="Antoine LAFOREST" userId="9365c212-db52-41a7-ab4a-025e62d16201" providerId="ADAL" clId="{61909AA8-2A44-3D40-B3D9-6800D9F1BB14}" dt="2024-02-02T15:22:02.282" v="5308" actId="478"/>
          <ac:picMkLst>
            <pc:docMk/>
            <pc:sldMk cId="4060980073" sldId="2147482377"/>
            <ac:picMk id="7" creationId="{2BA0C382-16CE-1ECA-DD92-BA5A7C0F99F9}"/>
          </ac:picMkLst>
        </pc:picChg>
        <pc:picChg chg="add del mod">
          <ac:chgData name="Antoine LAFOREST" userId="9365c212-db52-41a7-ab4a-025e62d16201" providerId="ADAL" clId="{61909AA8-2A44-3D40-B3D9-6800D9F1BB14}" dt="2024-02-02T15:20:36.940" v="5269" actId="478"/>
          <ac:picMkLst>
            <pc:docMk/>
            <pc:sldMk cId="4060980073" sldId="2147482377"/>
            <ac:picMk id="12" creationId="{C77A4A3C-431C-64ED-DAC9-E2D4362575B8}"/>
          </ac:picMkLst>
        </pc:picChg>
        <pc:picChg chg="add del mod">
          <ac:chgData name="Antoine LAFOREST" userId="9365c212-db52-41a7-ab4a-025e62d16201" providerId="ADAL" clId="{61909AA8-2A44-3D40-B3D9-6800D9F1BB14}" dt="2024-02-02T15:22:01.541" v="5307" actId="21"/>
          <ac:picMkLst>
            <pc:docMk/>
            <pc:sldMk cId="4060980073" sldId="2147482377"/>
            <ac:picMk id="13" creationId="{BF6015FD-E157-06E2-6B74-6400F2A96FA8}"/>
          </ac:picMkLst>
        </pc:picChg>
        <pc:picChg chg="add mod">
          <ac:chgData name="Antoine LAFOREST" userId="9365c212-db52-41a7-ab4a-025e62d16201" providerId="ADAL" clId="{61909AA8-2A44-3D40-B3D9-6800D9F1BB14}" dt="2024-02-02T15:22:02.548" v="5309"/>
          <ac:picMkLst>
            <pc:docMk/>
            <pc:sldMk cId="4060980073" sldId="2147482377"/>
            <ac:picMk id="14" creationId="{F9A99BE8-AB02-70A1-2E67-0FA50DDD7BF3}"/>
          </ac:picMkLst>
        </pc:picChg>
        <pc:picChg chg="add mod">
          <ac:chgData name="Antoine LAFOREST" userId="9365c212-db52-41a7-ab4a-025e62d16201" providerId="ADAL" clId="{61909AA8-2A44-3D40-B3D9-6800D9F1BB14}" dt="2024-02-02T15:22:06.809" v="5310"/>
          <ac:picMkLst>
            <pc:docMk/>
            <pc:sldMk cId="4060980073" sldId="2147482377"/>
            <ac:picMk id="15" creationId="{DA684E6D-A704-0E22-DAC5-2D7F92F84FC4}"/>
          </ac:picMkLst>
        </pc:picChg>
      </pc:sldChg>
      <pc:sldChg chg="mod modShow">
        <pc:chgData name="Antoine LAFOREST" userId="9365c212-db52-41a7-ab4a-025e62d16201" providerId="ADAL" clId="{61909AA8-2A44-3D40-B3D9-6800D9F1BB14}" dt="2024-02-02T13:53:39.194" v="5217" actId="729"/>
        <pc:sldMkLst>
          <pc:docMk/>
          <pc:sldMk cId="3741438624" sldId="2147482379"/>
        </pc:sldMkLst>
      </pc:sldChg>
      <pc:sldChg chg="modSp mod modShow">
        <pc:chgData name="Antoine LAFOREST" userId="9365c212-db52-41a7-ab4a-025e62d16201" providerId="ADAL" clId="{61909AA8-2A44-3D40-B3D9-6800D9F1BB14}" dt="2024-02-02T15:21:18.667" v="5299" actId="20577"/>
        <pc:sldMkLst>
          <pc:docMk/>
          <pc:sldMk cId="3284455612" sldId="2147482381"/>
        </pc:sldMkLst>
        <pc:spChg chg="mod">
          <ac:chgData name="Antoine LAFOREST" userId="9365c212-db52-41a7-ab4a-025e62d16201" providerId="ADAL" clId="{61909AA8-2A44-3D40-B3D9-6800D9F1BB14}" dt="2024-02-02T15:21:08.180" v="5297" actId="20577"/>
          <ac:spMkLst>
            <pc:docMk/>
            <pc:sldMk cId="3284455612" sldId="2147482381"/>
            <ac:spMk id="22" creationId="{F0806D78-60A9-D194-1E8E-5B3BA07AA349}"/>
          </ac:spMkLst>
        </pc:spChg>
        <pc:spChg chg="mod">
          <ac:chgData name="Antoine LAFOREST" userId="9365c212-db52-41a7-ab4a-025e62d16201" providerId="ADAL" clId="{61909AA8-2A44-3D40-B3D9-6800D9F1BB14}" dt="2024-02-02T15:20:59.516" v="5283" actId="20577"/>
          <ac:spMkLst>
            <pc:docMk/>
            <pc:sldMk cId="3284455612" sldId="2147482381"/>
            <ac:spMk id="26" creationId="{4207FB87-BB4C-15E4-A529-78427D055B25}"/>
          </ac:spMkLst>
        </pc:spChg>
        <pc:spChg chg="mod">
          <ac:chgData name="Antoine LAFOREST" userId="9365c212-db52-41a7-ab4a-025e62d16201" providerId="ADAL" clId="{61909AA8-2A44-3D40-B3D9-6800D9F1BB14}" dt="2024-02-02T15:21:18.667" v="5299" actId="20577"/>
          <ac:spMkLst>
            <pc:docMk/>
            <pc:sldMk cId="3284455612" sldId="2147482381"/>
            <ac:spMk id="31" creationId="{BF63F2FB-77C7-2627-FA24-93A44D5EEE85}"/>
          </ac:spMkLst>
        </pc:spChg>
        <pc:spChg chg="mod">
          <ac:chgData name="Antoine LAFOREST" userId="9365c212-db52-41a7-ab4a-025e62d16201" providerId="ADAL" clId="{61909AA8-2A44-3D40-B3D9-6800D9F1BB14}" dt="2024-02-02T15:21:16.479" v="5298" actId="20577"/>
          <ac:spMkLst>
            <pc:docMk/>
            <pc:sldMk cId="3284455612" sldId="2147482381"/>
            <ac:spMk id="3139" creationId="{A68A7EA7-ABC1-E97C-EAFD-BC64ED79778F}"/>
          </ac:spMkLst>
        </pc:spChg>
      </pc:sldChg>
      <pc:sldChg chg="add mod modShow">
        <pc:chgData name="Antoine LAFOREST" userId="9365c212-db52-41a7-ab4a-025e62d16201" providerId="ADAL" clId="{61909AA8-2A44-3D40-B3D9-6800D9F1BB14}" dt="2024-02-02T10:30:20.206" v="4061" actId="729"/>
        <pc:sldMkLst>
          <pc:docMk/>
          <pc:sldMk cId="2663546212" sldId="2147482386"/>
        </pc:sldMkLst>
      </pc:sldChg>
      <pc:sldChg chg="addSp delSp modSp mod">
        <pc:chgData name="Antoine LAFOREST" userId="9365c212-db52-41a7-ab4a-025e62d16201" providerId="ADAL" clId="{61909AA8-2A44-3D40-B3D9-6800D9F1BB14}" dt="2024-02-02T15:13:21.382" v="5250" actId="478"/>
        <pc:sldMkLst>
          <pc:docMk/>
          <pc:sldMk cId="2566787782" sldId="2147482387"/>
        </pc:sldMkLst>
        <pc:spChg chg="del mod">
          <ac:chgData name="Antoine LAFOREST" userId="9365c212-db52-41a7-ab4a-025e62d16201" providerId="ADAL" clId="{61909AA8-2A44-3D40-B3D9-6800D9F1BB14}" dt="2024-02-02T15:13:21.382" v="5250" actId="478"/>
          <ac:spMkLst>
            <pc:docMk/>
            <pc:sldMk cId="2566787782" sldId="2147482387"/>
            <ac:spMk id="48" creationId="{FBE732E5-DD43-821F-FB5A-CBF7BE6301AE}"/>
          </ac:spMkLst>
        </pc:spChg>
        <pc:spChg chg="add mod">
          <ac:chgData name="Antoine LAFOREST" userId="9365c212-db52-41a7-ab4a-025e62d16201" providerId="ADAL" clId="{61909AA8-2A44-3D40-B3D9-6800D9F1BB14}" dt="2024-02-02T15:13:19.776" v="5249"/>
          <ac:spMkLst>
            <pc:docMk/>
            <pc:sldMk cId="2566787782" sldId="2147482387"/>
            <ac:spMk id="57" creationId="{BFBDA8B8-6701-0727-76F4-7E5CEBEC955A}"/>
          </ac:spMkLst>
        </pc:spChg>
      </pc:sldChg>
      <pc:sldMasterChg chg="delSldLayout">
        <pc:chgData name="Antoine LAFOREST" userId="9365c212-db52-41a7-ab4a-025e62d16201" providerId="ADAL" clId="{61909AA8-2A44-3D40-B3D9-6800D9F1BB14}" dt="2024-02-01T16:38:50.072" v="3819" actId="2696"/>
        <pc:sldMasterMkLst>
          <pc:docMk/>
          <pc:sldMasterMk cId="2531651770" sldId="2147483701"/>
        </pc:sldMasterMkLst>
        <pc:sldLayoutChg chg="del">
          <pc:chgData name="Antoine LAFOREST" userId="9365c212-db52-41a7-ab4a-025e62d16201" providerId="ADAL" clId="{61909AA8-2A44-3D40-B3D9-6800D9F1BB14}" dt="2024-02-01T16:38:50.072" v="3819" actId="2696"/>
          <pc:sldLayoutMkLst>
            <pc:docMk/>
            <pc:sldMasterMk cId="2531651770" sldId="2147483701"/>
            <pc:sldLayoutMk cId="3747014173" sldId="2147483988"/>
          </pc:sldLayoutMkLst>
        </pc:sldLayoutChg>
      </pc:sldMasterChg>
      <pc:sldMasterChg chg="del delSldLayout">
        <pc:chgData name="Antoine LAFOREST" userId="9365c212-db52-41a7-ab4a-025e62d16201" providerId="ADAL" clId="{61909AA8-2A44-3D40-B3D9-6800D9F1BB14}" dt="2024-01-31T17:52:00.609" v="435" actId="2696"/>
        <pc:sldMasterMkLst>
          <pc:docMk/>
          <pc:sldMasterMk cId="864338709" sldId="2147483918"/>
        </pc:sldMasterMkLst>
        <pc:sldLayoutChg chg="del">
          <pc:chgData name="Antoine LAFOREST" userId="9365c212-db52-41a7-ab4a-025e62d16201" providerId="ADAL" clId="{61909AA8-2A44-3D40-B3D9-6800D9F1BB14}" dt="2024-01-31T17:52:00.609" v="435" actId="2696"/>
          <pc:sldLayoutMkLst>
            <pc:docMk/>
            <pc:sldMasterMk cId="864338709" sldId="2147483918"/>
            <pc:sldLayoutMk cId="1183213558" sldId="2147483919"/>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615194249" sldId="2147483920"/>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614650409" sldId="2147483921"/>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527114912" sldId="2147483922"/>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918708791" sldId="2147483923"/>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912079996" sldId="2147483924"/>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667631050" sldId="2147483925"/>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492824040" sldId="2147483926"/>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635337142" sldId="2147483927"/>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062066257" sldId="2147483928"/>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640031722" sldId="2147483929"/>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653647167" sldId="2147483930"/>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866810270" sldId="2147483931"/>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599349385" sldId="2147483932"/>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51534658" sldId="2147483933"/>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977540036" sldId="2147483934"/>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690598730" sldId="2147483935"/>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002538354" sldId="2147483936"/>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04122603" sldId="2147483937"/>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960092966" sldId="2147483938"/>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173474194" sldId="2147483939"/>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569964926" sldId="2147483940"/>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21993378" sldId="2147483941"/>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504288142" sldId="2147483942"/>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852787645" sldId="2147483943"/>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108242281" sldId="2147483944"/>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927435592" sldId="2147483945"/>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318887815" sldId="2147483946"/>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270027295" sldId="2147483947"/>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311936807" sldId="2147483948"/>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259985765" sldId="2147483949"/>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675672987" sldId="2147483950"/>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807168145" sldId="2147483951"/>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217726998" sldId="2147483952"/>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280204318" sldId="2147483953"/>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070792032" sldId="2147483954"/>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621998241" sldId="2147483955"/>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094378204" sldId="2147483956"/>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956894451" sldId="2147483957"/>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213310765" sldId="2147483958"/>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886292460" sldId="2147483959"/>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618910139" sldId="2147483960"/>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509765468" sldId="2147483961"/>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163172368" sldId="2147483962"/>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123894698" sldId="2147483963"/>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205756005" sldId="2147483964"/>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78665517" sldId="2147483965"/>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289871342" sldId="2147483966"/>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470522371" sldId="2147483967"/>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555172413" sldId="2147483968"/>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752141865" sldId="2147483969"/>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824156969" sldId="2147483970"/>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04550778" sldId="2147483971"/>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635163657" sldId="2147483972"/>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2792885483" sldId="2147483973"/>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1898822250" sldId="2147483974"/>
          </pc:sldLayoutMkLst>
        </pc:sldLayoutChg>
        <pc:sldLayoutChg chg="del">
          <pc:chgData name="Antoine LAFOREST" userId="9365c212-db52-41a7-ab4a-025e62d16201" providerId="ADAL" clId="{61909AA8-2A44-3D40-B3D9-6800D9F1BB14}" dt="2024-01-31T17:52:00.609" v="435" actId="2696"/>
          <pc:sldLayoutMkLst>
            <pc:docMk/>
            <pc:sldMasterMk cId="864338709" sldId="2147483918"/>
            <pc:sldLayoutMk cId="3413909594" sldId="2147483975"/>
          </pc:sldLayoutMkLst>
        </pc:sldLayoutChg>
      </pc:sldMasterChg>
      <pc:sldMasterChg chg="del delSldLayout">
        <pc:chgData name="Antoine LAFOREST" userId="9365c212-db52-41a7-ab4a-025e62d16201" providerId="ADAL" clId="{61909AA8-2A44-3D40-B3D9-6800D9F1BB14}" dt="2024-02-01T16:40:49.416" v="3860" actId="2696"/>
        <pc:sldMasterMkLst>
          <pc:docMk/>
          <pc:sldMasterMk cId="1171323745" sldId="2147483918"/>
        </pc:sldMasterMkLst>
        <pc:sldLayoutChg chg="del">
          <pc:chgData name="Antoine LAFOREST" userId="9365c212-db52-41a7-ab4a-025e62d16201" providerId="ADAL" clId="{61909AA8-2A44-3D40-B3D9-6800D9F1BB14}" dt="2024-02-01T16:40:49.416" v="3860" actId="2696"/>
          <pc:sldLayoutMkLst>
            <pc:docMk/>
            <pc:sldMasterMk cId="1171323745" sldId="2147483918"/>
            <pc:sldLayoutMk cId="370969393" sldId="2147483919"/>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446961721" sldId="2147483920"/>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615900115" sldId="2147483921"/>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894692974" sldId="2147483922"/>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225343323" sldId="2147483923"/>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928467632" sldId="2147483924"/>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148441933" sldId="2147483925"/>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087434886" sldId="2147483926"/>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557763501" sldId="2147483927"/>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934759358" sldId="2147483928"/>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171290350" sldId="2147483929"/>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651880674" sldId="2147483930"/>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041367590" sldId="2147483931"/>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77808508" sldId="2147483932"/>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730775491" sldId="2147483933"/>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260427669" sldId="2147483934"/>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994453689" sldId="2147483935"/>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607943586" sldId="2147483936"/>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956769152" sldId="2147483937"/>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266953676" sldId="2147483938"/>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274424992" sldId="2147483939"/>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834741559" sldId="2147483940"/>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951534100" sldId="2147483941"/>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833510619" sldId="2147483942"/>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867708785" sldId="2147483943"/>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204320217" sldId="2147483944"/>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972090814" sldId="2147483945"/>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646471847" sldId="2147483946"/>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206829006" sldId="2147483947"/>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405957635" sldId="2147483948"/>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799696564" sldId="2147483949"/>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206862904" sldId="2147483950"/>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467024557" sldId="2147483951"/>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666915811" sldId="2147483952"/>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54241627" sldId="2147483953"/>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557955264" sldId="2147483954"/>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0309977" sldId="2147483955"/>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438534497" sldId="2147483956"/>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630257532" sldId="2147483957"/>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51848032" sldId="2147483958"/>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83272488" sldId="2147483959"/>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292298635" sldId="2147483960"/>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015871533" sldId="2147483961"/>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339727030" sldId="2147483962"/>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554646435" sldId="2147483963"/>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102323056" sldId="2147483964"/>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987786149" sldId="2147483965"/>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443555060" sldId="2147483966"/>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881086152" sldId="2147483967"/>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116182002" sldId="2147483968"/>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34544554" sldId="2147483969"/>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608823212" sldId="2147483970"/>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658078336" sldId="2147483971"/>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695572392" sldId="2147483972"/>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3281831580" sldId="2147483973"/>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422056286" sldId="2147483974"/>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2935782953" sldId="2147483975"/>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1468875330" sldId="2147483976"/>
          </pc:sldLayoutMkLst>
        </pc:sldLayoutChg>
        <pc:sldLayoutChg chg="del">
          <pc:chgData name="Antoine LAFOREST" userId="9365c212-db52-41a7-ab4a-025e62d16201" providerId="ADAL" clId="{61909AA8-2A44-3D40-B3D9-6800D9F1BB14}" dt="2024-02-01T16:40:49.416" v="3860" actId="2696"/>
          <pc:sldLayoutMkLst>
            <pc:docMk/>
            <pc:sldMasterMk cId="1171323745" sldId="2147483918"/>
            <pc:sldLayoutMk cId="498708407" sldId="2147483977"/>
          </pc:sldLayoutMkLst>
        </pc:sldLayoutChg>
      </pc:sldMasterChg>
    </pc:docChg>
  </pc:docChgLst>
  <pc:docChgLst>
    <pc:chgData name="Jean-Jacques SCEMAMA" userId="S::jean-jacques.scemama@talan.com::64aa6dc7-44f3-4aeb-9629-39d94f9b55cd" providerId="AD" clId="Web-{916D9E55-28AC-0059-6700-8AA5AB52913E}"/>
    <pc:docChg chg="modSld">
      <pc:chgData name="Jean-Jacques SCEMAMA" userId="S::jean-jacques.scemama@talan.com::64aa6dc7-44f3-4aeb-9629-39d94f9b55cd" providerId="AD" clId="Web-{916D9E55-28AC-0059-6700-8AA5AB52913E}" dt="2024-02-01T12:52:56.794" v="1081" actId="20577"/>
      <pc:docMkLst>
        <pc:docMk/>
      </pc:docMkLst>
      <pc:sldChg chg="modSp">
        <pc:chgData name="Jean-Jacques SCEMAMA" userId="S::jean-jacques.scemama@talan.com::64aa6dc7-44f3-4aeb-9629-39d94f9b55cd" providerId="AD" clId="Web-{916D9E55-28AC-0059-6700-8AA5AB52913E}" dt="2024-02-01T12:52:53.544" v="1079" actId="20577"/>
        <pc:sldMkLst>
          <pc:docMk/>
          <pc:sldMk cId="2764221416" sldId="2147482354"/>
        </pc:sldMkLst>
        <pc:spChg chg="mod">
          <ac:chgData name="Jean-Jacques SCEMAMA" userId="S::jean-jacques.scemama@talan.com::64aa6dc7-44f3-4aeb-9629-39d94f9b55cd" providerId="AD" clId="Web-{916D9E55-28AC-0059-6700-8AA5AB52913E}" dt="2024-02-01T12:52:53.544" v="1079" actId="20577"/>
          <ac:spMkLst>
            <pc:docMk/>
            <pc:sldMk cId="2764221416" sldId="2147482354"/>
            <ac:spMk id="10" creationId="{D14BB2B0-040E-3510-DFE5-855F08829352}"/>
          </ac:spMkLst>
        </pc:spChg>
        <pc:spChg chg="mod">
          <ac:chgData name="Jean-Jacques SCEMAMA" userId="S::jean-jacques.scemama@talan.com::64aa6dc7-44f3-4aeb-9629-39d94f9b55cd" providerId="AD" clId="Web-{916D9E55-28AC-0059-6700-8AA5AB52913E}" dt="2024-02-01T12:52:30.027" v="1076" actId="20577"/>
          <ac:spMkLst>
            <pc:docMk/>
            <pc:sldMk cId="2764221416" sldId="2147482354"/>
            <ac:spMk id="12" creationId="{748E64C8-4429-B3A9-1B63-62F518C01507}"/>
          </ac:spMkLst>
        </pc:spChg>
        <pc:spChg chg="mod">
          <ac:chgData name="Jean-Jacques SCEMAMA" userId="S::jean-jacques.scemama@talan.com::64aa6dc7-44f3-4aeb-9629-39d94f9b55cd" providerId="AD" clId="Web-{916D9E55-28AC-0059-6700-8AA5AB52913E}" dt="2024-02-01T12:37:58.168" v="763" actId="20577"/>
          <ac:spMkLst>
            <pc:docMk/>
            <pc:sldMk cId="2764221416" sldId="2147482354"/>
            <ac:spMk id="28" creationId="{1BEA906E-E828-1E91-5BDB-3581F439F0FC}"/>
          </ac:spMkLst>
        </pc:spChg>
      </pc:sldChg>
      <pc:sldChg chg="modSp">
        <pc:chgData name="Jean-Jacques SCEMAMA" userId="S::jean-jacques.scemama@talan.com::64aa6dc7-44f3-4aeb-9629-39d94f9b55cd" providerId="AD" clId="Web-{916D9E55-28AC-0059-6700-8AA5AB52913E}" dt="2024-02-01T12:52:56.794" v="1081" actId="20577"/>
        <pc:sldMkLst>
          <pc:docMk/>
          <pc:sldMk cId="3762552109" sldId="2147482363"/>
        </pc:sldMkLst>
        <pc:spChg chg="mod">
          <ac:chgData name="Jean-Jacques SCEMAMA" userId="S::jean-jacques.scemama@talan.com::64aa6dc7-44f3-4aeb-9629-39d94f9b55cd" providerId="AD" clId="Web-{916D9E55-28AC-0059-6700-8AA5AB52913E}" dt="2024-02-01T12:52:56.794" v="1081" actId="20577"/>
          <ac:spMkLst>
            <pc:docMk/>
            <pc:sldMk cId="3762552109" sldId="2147482363"/>
            <ac:spMk id="3141" creationId="{E7D7CA92-B679-6DE8-1633-8A8D81D0FAAD}"/>
          </ac:spMkLst>
        </pc:spChg>
      </pc:sldChg>
    </pc:docChg>
  </pc:docChgLst>
  <pc:docChgLst>
    <pc:chgData name="Soumaya ZERHOUNI" userId="690e4aa6-586b-4341-8f1a-54a3e7457441" providerId="ADAL" clId="{69AAD651-E566-4914-B951-51E57822A563}"/>
    <pc:docChg chg="undo redo custSel addSld delSld modSld sldOrd delMainMaster modMainMaster modNotesMaster modHandout">
      <pc:chgData name="Soumaya ZERHOUNI" userId="690e4aa6-586b-4341-8f1a-54a3e7457441" providerId="ADAL" clId="{69AAD651-E566-4914-B951-51E57822A563}" dt="2024-02-15T13:28:23.010" v="13096" actId="478"/>
      <pc:docMkLst>
        <pc:docMk/>
      </pc:docMkLst>
      <pc:sldChg chg="modSp mod modNotes">
        <pc:chgData name="Soumaya ZERHOUNI" userId="690e4aa6-586b-4341-8f1a-54a3e7457441" providerId="ADAL" clId="{69AAD651-E566-4914-B951-51E57822A563}" dt="2024-02-14T11:27:45.076" v="12958" actId="20577"/>
        <pc:sldMkLst>
          <pc:docMk/>
          <pc:sldMk cId="0" sldId="257"/>
        </pc:sldMkLst>
        <pc:spChg chg="mod">
          <ac:chgData name="Soumaya ZERHOUNI" userId="690e4aa6-586b-4341-8f1a-54a3e7457441" providerId="ADAL" clId="{69AAD651-E566-4914-B951-51E57822A563}" dt="2024-02-14T11:27:45.076" v="12958" actId="20577"/>
          <ac:spMkLst>
            <pc:docMk/>
            <pc:sldMk cId="0" sldId="257"/>
            <ac:spMk id="4" creationId="{8CE7BE52-3F52-4BBA-9510-A74BF5FE88E0}"/>
          </ac:spMkLst>
        </pc:spChg>
      </pc:sldChg>
      <pc:sldChg chg="add">
        <pc:chgData name="Soumaya ZERHOUNI" userId="690e4aa6-586b-4341-8f1a-54a3e7457441" providerId="ADAL" clId="{69AAD651-E566-4914-B951-51E57822A563}" dt="2024-01-30T18:01:37.992" v="5028"/>
        <pc:sldMkLst>
          <pc:docMk/>
          <pc:sldMk cId="66010817" sldId="332"/>
        </pc:sldMkLst>
      </pc:sldChg>
      <pc:sldChg chg="add">
        <pc:chgData name="Soumaya ZERHOUNI" userId="690e4aa6-586b-4341-8f1a-54a3e7457441" providerId="ADAL" clId="{69AAD651-E566-4914-B951-51E57822A563}" dt="2024-01-30T17:55:34.431" v="5017"/>
        <pc:sldMkLst>
          <pc:docMk/>
          <pc:sldMk cId="1408279558" sldId="333"/>
        </pc:sldMkLst>
      </pc:sldChg>
      <pc:sldChg chg="add">
        <pc:chgData name="Soumaya ZERHOUNI" userId="690e4aa6-586b-4341-8f1a-54a3e7457441" providerId="ADAL" clId="{69AAD651-E566-4914-B951-51E57822A563}" dt="2024-01-30T17:58:27.395" v="5024"/>
        <pc:sldMkLst>
          <pc:docMk/>
          <pc:sldMk cId="2620030195" sldId="337"/>
        </pc:sldMkLst>
      </pc:sldChg>
      <pc:sldChg chg="add">
        <pc:chgData name="Soumaya ZERHOUNI" userId="690e4aa6-586b-4341-8f1a-54a3e7457441" providerId="ADAL" clId="{69AAD651-E566-4914-B951-51E57822A563}" dt="2024-01-30T17:54:40.810" v="5015"/>
        <pc:sldMkLst>
          <pc:docMk/>
          <pc:sldMk cId="1820046800" sldId="1609"/>
        </pc:sldMkLst>
      </pc:sldChg>
      <pc:sldChg chg="add">
        <pc:chgData name="Soumaya ZERHOUNI" userId="690e4aa6-586b-4341-8f1a-54a3e7457441" providerId="ADAL" clId="{69AAD651-E566-4914-B951-51E57822A563}" dt="2024-01-30T17:54:40.810" v="5015"/>
        <pc:sldMkLst>
          <pc:docMk/>
          <pc:sldMk cId="2408047115" sldId="1610"/>
        </pc:sldMkLst>
      </pc:sldChg>
      <pc:sldChg chg="add">
        <pc:chgData name="Soumaya ZERHOUNI" userId="690e4aa6-586b-4341-8f1a-54a3e7457441" providerId="ADAL" clId="{69AAD651-E566-4914-B951-51E57822A563}" dt="2024-01-30T17:54:40.810" v="5015"/>
        <pc:sldMkLst>
          <pc:docMk/>
          <pc:sldMk cId="1561969959" sldId="1611"/>
        </pc:sldMkLst>
      </pc:sldChg>
      <pc:sldChg chg="add">
        <pc:chgData name="Soumaya ZERHOUNI" userId="690e4aa6-586b-4341-8f1a-54a3e7457441" providerId="ADAL" clId="{69AAD651-E566-4914-B951-51E57822A563}" dt="2024-01-30T17:54:40.810" v="5015"/>
        <pc:sldMkLst>
          <pc:docMk/>
          <pc:sldMk cId="1180710134" sldId="1613"/>
        </pc:sldMkLst>
      </pc:sldChg>
      <pc:sldChg chg="add">
        <pc:chgData name="Soumaya ZERHOUNI" userId="690e4aa6-586b-4341-8f1a-54a3e7457441" providerId="ADAL" clId="{69AAD651-E566-4914-B951-51E57822A563}" dt="2024-01-30T17:55:10.020" v="5016"/>
        <pc:sldMkLst>
          <pc:docMk/>
          <pc:sldMk cId="1812049774" sldId="1616"/>
        </pc:sldMkLst>
      </pc:sldChg>
      <pc:sldChg chg="add">
        <pc:chgData name="Soumaya ZERHOUNI" userId="690e4aa6-586b-4341-8f1a-54a3e7457441" providerId="ADAL" clId="{69AAD651-E566-4914-B951-51E57822A563}" dt="2024-01-30T17:55:10.020" v="5016"/>
        <pc:sldMkLst>
          <pc:docMk/>
          <pc:sldMk cId="1203037579" sldId="1619"/>
        </pc:sldMkLst>
      </pc:sldChg>
      <pc:sldChg chg="modSp del mod ord">
        <pc:chgData name="Soumaya ZERHOUNI" userId="690e4aa6-586b-4341-8f1a-54a3e7457441" providerId="ADAL" clId="{69AAD651-E566-4914-B951-51E57822A563}" dt="2024-01-30T14:29:19.698" v="4450" actId="47"/>
        <pc:sldMkLst>
          <pc:docMk/>
          <pc:sldMk cId="2216374101" sldId="1704"/>
        </pc:sldMkLst>
        <pc:spChg chg="mod">
          <ac:chgData name="Soumaya ZERHOUNI" userId="690e4aa6-586b-4341-8f1a-54a3e7457441" providerId="ADAL" clId="{69AAD651-E566-4914-B951-51E57822A563}" dt="2024-01-30T14:29:12.224" v="4449" actId="1076"/>
          <ac:spMkLst>
            <pc:docMk/>
            <pc:sldMk cId="2216374101" sldId="1704"/>
            <ac:spMk id="4" creationId="{627F6239-5520-474E-8B33-089D186F281A}"/>
          </ac:spMkLst>
        </pc:spChg>
        <pc:spChg chg="mod">
          <ac:chgData name="Soumaya ZERHOUNI" userId="690e4aa6-586b-4341-8f1a-54a3e7457441" providerId="ADAL" clId="{69AAD651-E566-4914-B951-51E57822A563}" dt="2024-01-30T14:29:12.224" v="4449" actId="1076"/>
          <ac:spMkLst>
            <pc:docMk/>
            <pc:sldMk cId="2216374101" sldId="1704"/>
            <ac:spMk id="6" creationId="{A43601EF-CEF8-415F-91C8-A37C8CCD1C00}"/>
          </ac:spMkLst>
        </pc:spChg>
      </pc:sldChg>
      <pc:sldChg chg="add">
        <pc:chgData name="Soumaya ZERHOUNI" userId="690e4aa6-586b-4341-8f1a-54a3e7457441" providerId="ADAL" clId="{69AAD651-E566-4914-B951-51E57822A563}" dt="2024-01-30T17:54:12.333" v="5014"/>
        <pc:sldMkLst>
          <pc:docMk/>
          <pc:sldMk cId="2196020231" sldId="1859"/>
        </pc:sldMkLst>
      </pc:sldChg>
      <pc:sldChg chg="add">
        <pc:chgData name="Soumaya ZERHOUNI" userId="690e4aa6-586b-4341-8f1a-54a3e7457441" providerId="ADAL" clId="{69AAD651-E566-4914-B951-51E57822A563}" dt="2024-01-30T17:54:12.333" v="5014"/>
        <pc:sldMkLst>
          <pc:docMk/>
          <pc:sldMk cId="505205297" sldId="1860"/>
        </pc:sldMkLst>
      </pc:sldChg>
      <pc:sldChg chg="addSp modSp mod">
        <pc:chgData name="Soumaya ZERHOUNI" userId="690e4aa6-586b-4341-8f1a-54a3e7457441" providerId="ADAL" clId="{69AAD651-E566-4914-B951-51E57822A563}" dt="2024-02-02T15:51:27.871" v="12348" actId="1035"/>
        <pc:sldMkLst>
          <pc:docMk/>
          <pc:sldMk cId="390129520" sldId="1895"/>
        </pc:sldMkLst>
        <pc:spChg chg="add mod">
          <ac:chgData name="Soumaya ZERHOUNI" userId="690e4aa6-586b-4341-8f1a-54a3e7457441" providerId="ADAL" clId="{69AAD651-E566-4914-B951-51E57822A563}" dt="2024-02-02T15:51:11.186" v="12341"/>
          <ac:spMkLst>
            <pc:docMk/>
            <pc:sldMk cId="390129520" sldId="1895"/>
            <ac:spMk id="2" creationId="{788E0113-6E4E-A257-CC26-18F42944D0C6}"/>
          </ac:spMkLst>
        </pc:spChg>
        <pc:spChg chg="mod">
          <ac:chgData name="Soumaya ZERHOUNI" userId="690e4aa6-586b-4341-8f1a-54a3e7457441" providerId="ADAL" clId="{69AAD651-E566-4914-B951-51E57822A563}" dt="2024-02-02T15:51:17.270" v="12342" actId="14100"/>
          <ac:spMkLst>
            <pc:docMk/>
            <pc:sldMk cId="390129520" sldId="1895"/>
            <ac:spMk id="4" creationId="{838EBBA7-7E4F-42BC-8E41-2A03A9BEEF3C}"/>
          </ac:spMkLst>
        </pc:spChg>
        <pc:spChg chg="add mod">
          <ac:chgData name="Soumaya ZERHOUNI" userId="690e4aa6-586b-4341-8f1a-54a3e7457441" providerId="ADAL" clId="{69AAD651-E566-4914-B951-51E57822A563}" dt="2024-02-02T15:51:11.186" v="12341"/>
          <ac:spMkLst>
            <pc:docMk/>
            <pc:sldMk cId="390129520" sldId="1895"/>
            <ac:spMk id="6" creationId="{CDF7FCD6-922B-476A-B5BD-93E1A1FE1CC4}"/>
          </ac:spMkLst>
        </pc:spChg>
        <pc:spChg chg="mod">
          <ac:chgData name="Soumaya ZERHOUNI" userId="690e4aa6-586b-4341-8f1a-54a3e7457441" providerId="ADAL" clId="{69AAD651-E566-4914-B951-51E57822A563}" dt="2024-02-02T15:51:27.871" v="12348" actId="1035"/>
          <ac:spMkLst>
            <pc:docMk/>
            <pc:sldMk cId="390129520" sldId="1895"/>
            <ac:spMk id="8" creationId="{A88F42B5-C903-4A7A-8686-786C26A449D7}"/>
          </ac:spMkLst>
        </pc:spChg>
        <pc:spChg chg="mod">
          <ac:chgData name="Soumaya ZERHOUNI" userId="690e4aa6-586b-4341-8f1a-54a3e7457441" providerId="ADAL" clId="{69AAD651-E566-4914-B951-51E57822A563}" dt="2024-02-02T15:51:27.871" v="12348" actId="1035"/>
          <ac:spMkLst>
            <pc:docMk/>
            <pc:sldMk cId="390129520" sldId="1895"/>
            <ac:spMk id="30" creationId="{7C2CAD52-F9A9-4FA7-BCED-C0DC49599689}"/>
          </ac:spMkLst>
        </pc:spChg>
        <pc:spChg chg="mod">
          <ac:chgData name="Soumaya ZERHOUNI" userId="690e4aa6-586b-4341-8f1a-54a3e7457441" providerId="ADAL" clId="{69AAD651-E566-4914-B951-51E57822A563}" dt="2024-02-02T15:51:27.871" v="12348" actId="1035"/>
          <ac:spMkLst>
            <pc:docMk/>
            <pc:sldMk cId="390129520" sldId="1895"/>
            <ac:spMk id="31" creationId="{E9868349-57E5-40F2-AF63-2F695C829E60}"/>
          </ac:spMkLst>
        </pc:spChg>
        <pc:spChg chg="mod">
          <ac:chgData name="Soumaya ZERHOUNI" userId="690e4aa6-586b-4341-8f1a-54a3e7457441" providerId="ADAL" clId="{69AAD651-E566-4914-B951-51E57822A563}" dt="2024-02-02T15:51:27.871" v="12348" actId="1035"/>
          <ac:spMkLst>
            <pc:docMk/>
            <pc:sldMk cId="390129520" sldId="1895"/>
            <ac:spMk id="32" creationId="{FDADA1AD-8E7B-4F07-828F-30A80AB76DFD}"/>
          </ac:spMkLst>
        </pc:spChg>
        <pc:spChg chg="mod">
          <ac:chgData name="Soumaya ZERHOUNI" userId="690e4aa6-586b-4341-8f1a-54a3e7457441" providerId="ADAL" clId="{69AAD651-E566-4914-B951-51E57822A563}" dt="2024-02-02T15:51:27.871" v="12348" actId="1035"/>
          <ac:spMkLst>
            <pc:docMk/>
            <pc:sldMk cId="390129520" sldId="1895"/>
            <ac:spMk id="33" creationId="{A9F160CE-737A-44F3-992B-30C9D7570701}"/>
          </ac:spMkLst>
        </pc:spChg>
        <pc:spChg chg="mod">
          <ac:chgData name="Soumaya ZERHOUNI" userId="690e4aa6-586b-4341-8f1a-54a3e7457441" providerId="ADAL" clId="{69AAD651-E566-4914-B951-51E57822A563}" dt="2024-02-02T15:51:27.871" v="12348" actId="1035"/>
          <ac:spMkLst>
            <pc:docMk/>
            <pc:sldMk cId="390129520" sldId="1895"/>
            <ac:spMk id="34" creationId="{CCF6075E-400F-4627-9721-B63D76DE9687}"/>
          </ac:spMkLst>
        </pc:spChg>
        <pc:spChg chg="mod">
          <ac:chgData name="Soumaya ZERHOUNI" userId="690e4aa6-586b-4341-8f1a-54a3e7457441" providerId="ADAL" clId="{69AAD651-E566-4914-B951-51E57822A563}" dt="2024-02-02T15:51:27.871" v="12348" actId="1035"/>
          <ac:spMkLst>
            <pc:docMk/>
            <pc:sldMk cId="390129520" sldId="1895"/>
            <ac:spMk id="35" creationId="{1A034AE1-689A-4E4B-BA70-0DC5C92545DE}"/>
          </ac:spMkLst>
        </pc:spChg>
        <pc:spChg chg="mod">
          <ac:chgData name="Soumaya ZERHOUNI" userId="690e4aa6-586b-4341-8f1a-54a3e7457441" providerId="ADAL" clId="{69AAD651-E566-4914-B951-51E57822A563}" dt="2024-02-02T15:51:27.871" v="12348" actId="1035"/>
          <ac:spMkLst>
            <pc:docMk/>
            <pc:sldMk cId="390129520" sldId="1895"/>
            <ac:spMk id="36" creationId="{E2AC9D62-469A-4292-B4C6-D52A09DC96C9}"/>
          </ac:spMkLst>
        </pc:spChg>
        <pc:graphicFrameChg chg="mod">
          <ac:chgData name="Soumaya ZERHOUNI" userId="690e4aa6-586b-4341-8f1a-54a3e7457441" providerId="ADAL" clId="{69AAD651-E566-4914-B951-51E57822A563}" dt="2024-02-02T15:51:27.871" v="12348" actId="1035"/>
          <ac:graphicFrameMkLst>
            <pc:docMk/>
            <pc:sldMk cId="390129520" sldId="1895"/>
            <ac:graphicFrameMk id="5" creationId="{BA190318-D5D7-40F7-B44A-C82D981946BE}"/>
          </ac:graphicFrameMkLst>
        </pc:graphicFrameChg>
        <pc:graphicFrameChg chg="mod">
          <ac:chgData name="Soumaya ZERHOUNI" userId="690e4aa6-586b-4341-8f1a-54a3e7457441" providerId="ADAL" clId="{69AAD651-E566-4914-B951-51E57822A563}" dt="2024-02-02T15:51:27.871" v="12348" actId="1035"/>
          <ac:graphicFrameMkLst>
            <pc:docMk/>
            <pc:sldMk cId="390129520" sldId="1895"/>
            <ac:graphicFrameMk id="23" creationId="{6939B8F5-6BBF-45B8-A1E2-00D9E3132DAB}"/>
          </ac:graphicFrameMkLst>
        </pc:graphicFrameChg>
        <pc:picChg chg="mod">
          <ac:chgData name="Soumaya ZERHOUNI" userId="690e4aa6-586b-4341-8f1a-54a3e7457441" providerId="ADAL" clId="{69AAD651-E566-4914-B951-51E57822A563}" dt="2024-02-02T15:51:27.871" v="12348" actId="1035"/>
          <ac:picMkLst>
            <pc:docMk/>
            <pc:sldMk cId="390129520" sldId="1895"/>
            <ac:picMk id="26" creationId="{0EFD7055-0878-4D06-B396-0229166331A7}"/>
          </ac:picMkLst>
        </pc:picChg>
        <pc:picChg chg="mod">
          <ac:chgData name="Soumaya ZERHOUNI" userId="690e4aa6-586b-4341-8f1a-54a3e7457441" providerId="ADAL" clId="{69AAD651-E566-4914-B951-51E57822A563}" dt="2024-02-02T15:51:27.871" v="12348" actId="1035"/>
          <ac:picMkLst>
            <pc:docMk/>
            <pc:sldMk cId="390129520" sldId="1895"/>
            <ac:picMk id="27" creationId="{97520B72-6AA0-4CF6-BCB9-886321565E10}"/>
          </ac:picMkLst>
        </pc:picChg>
        <pc:picChg chg="mod">
          <ac:chgData name="Soumaya ZERHOUNI" userId="690e4aa6-586b-4341-8f1a-54a3e7457441" providerId="ADAL" clId="{69AAD651-E566-4914-B951-51E57822A563}" dt="2024-02-02T15:51:27.871" v="12348" actId="1035"/>
          <ac:picMkLst>
            <pc:docMk/>
            <pc:sldMk cId="390129520" sldId="1895"/>
            <ac:picMk id="28" creationId="{A90D3575-D0ED-4038-AFA3-095D41D67569}"/>
          </ac:picMkLst>
        </pc:picChg>
        <pc:picChg chg="mod">
          <ac:chgData name="Soumaya ZERHOUNI" userId="690e4aa6-586b-4341-8f1a-54a3e7457441" providerId="ADAL" clId="{69AAD651-E566-4914-B951-51E57822A563}" dt="2024-02-02T15:51:27.871" v="12348" actId="1035"/>
          <ac:picMkLst>
            <pc:docMk/>
            <pc:sldMk cId="390129520" sldId="1895"/>
            <ac:picMk id="29" creationId="{94C3BDA3-35DE-412D-AE20-B21FEDEF2BFF}"/>
          </ac:picMkLst>
        </pc:picChg>
        <pc:picChg chg="mod">
          <ac:chgData name="Soumaya ZERHOUNI" userId="690e4aa6-586b-4341-8f1a-54a3e7457441" providerId="ADAL" clId="{69AAD651-E566-4914-B951-51E57822A563}" dt="2024-02-02T15:51:27.871" v="12348" actId="1035"/>
          <ac:picMkLst>
            <pc:docMk/>
            <pc:sldMk cId="390129520" sldId="1895"/>
            <ac:picMk id="37" creationId="{A76D9F3A-AF3F-465D-991F-43CC6FABCD92}"/>
          </ac:picMkLst>
        </pc:picChg>
        <pc:picChg chg="mod">
          <ac:chgData name="Soumaya ZERHOUNI" userId="690e4aa6-586b-4341-8f1a-54a3e7457441" providerId="ADAL" clId="{69AAD651-E566-4914-B951-51E57822A563}" dt="2024-02-02T15:51:27.871" v="12348" actId="1035"/>
          <ac:picMkLst>
            <pc:docMk/>
            <pc:sldMk cId="390129520" sldId="1895"/>
            <ac:picMk id="38" creationId="{D3F626EA-DD5B-4360-A605-35EBB420E2C4}"/>
          </ac:picMkLst>
        </pc:picChg>
        <pc:picChg chg="mod">
          <ac:chgData name="Soumaya ZERHOUNI" userId="690e4aa6-586b-4341-8f1a-54a3e7457441" providerId="ADAL" clId="{69AAD651-E566-4914-B951-51E57822A563}" dt="2024-02-02T15:51:27.871" v="12348" actId="1035"/>
          <ac:picMkLst>
            <pc:docMk/>
            <pc:sldMk cId="390129520" sldId="1895"/>
            <ac:picMk id="39" creationId="{E0F379BB-787D-45A0-B5DE-799E4D4F091F}"/>
          </ac:picMkLst>
        </pc:picChg>
        <pc:picChg chg="mod">
          <ac:chgData name="Soumaya ZERHOUNI" userId="690e4aa6-586b-4341-8f1a-54a3e7457441" providerId="ADAL" clId="{69AAD651-E566-4914-B951-51E57822A563}" dt="2024-02-02T15:51:27.871" v="12348" actId="1035"/>
          <ac:picMkLst>
            <pc:docMk/>
            <pc:sldMk cId="390129520" sldId="1895"/>
            <ac:picMk id="40" creationId="{6C3D15FC-B758-4DC6-83C4-F867D10A565A}"/>
          </ac:picMkLst>
        </pc:picChg>
      </pc:sldChg>
      <pc:sldChg chg="addSp delSp modSp mod">
        <pc:chgData name="Soumaya ZERHOUNI" userId="690e4aa6-586b-4341-8f1a-54a3e7457441" providerId="ADAL" clId="{69AAD651-E566-4914-B951-51E57822A563}" dt="2024-02-02T17:28:42.284" v="12879" actId="2"/>
        <pc:sldMkLst>
          <pc:docMk/>
          <pc:sldMk cId="4028295010" sldId="8008"/>
        </pc:sldMkLst>
        <pc:spChg chg="mod">
          <ac:chgData name="Soumaya ZERHOUNI" userId="690e4aa6-586b-4341-8f1a-54a3e7457441" providerId="ADAL" clId="{69AAD651-E566-4914-B951-51E57822A563}" dt="2024-01-31T15:30:41.337" v="5613" actId="554"/>
          <ac:spMkLst>
            <pc:docMk/>
            <pc:sldMk cId="4028295010" sldId="8008"/>
            <ac:spMk id="42" creationId="{2E761A34-DCE4-4809-8CE6-42F91F503F4E}"/>
          </ac:spMkLst>
        </pc:spChg>
        <pc:spChg chg="add del mod">
          <ac:chgData name="Soumaya ZERHOUNI" userId="690e4aa6-586b-4341-8f1a-54a3e7457441" providerId="ADAL" clId="{69AAD651-E566-4914-B951-51E57822A563}" dt="2024-01-31T15:30:44.063" v="5614" actId="21"/>
          <ac:spMkLst>
            <pc:docMk/>
            <pc:sldMk cId="4028295010" sldId="8008"/>
            <ac:spMk id="67" creationId="{C124D77C-535F-5AC4-1115-2BDE686461FD}"/>
          </ac:spMkLst>
        </pc:spChg>
        <pc:graphicFrameChg chg="modGraphic">
          <ac:chgData name="Soumaya ZERHOUNI" userId="690e4aa6-586b-4341-8f1a-54a3e7457441" providerId="ADAL" clId="{69AAD651-E566-4914-B951-51E57822A563}" dt="2024-02-02T17:28:42.284" v="12879" actId="2"/>
          <ac:graphicFrameMkLst>
            <pc:docMk/>
            <pc:sldMk cId="4028295010" sldId="8008"/>
            <ac:graphicFrameMk id="66" creationId="{8B4DDF8D-5451-4B9A-BCF8-057011D0841C}"/>
          </ac:graphicFrameMkLst>
        </pc:graphicFrameChg>
      </pc:sldChg>
      <pc:sldChg chg="addSp delSp modSp del mod">
        <pc:chgData name="Soumaya ZERHOUNI" userId="690e4aa6-586b-4341-8f1a-54a3e7457441" providerId="ADAL" clId="{69AAD651-E566-4914-B951-51E57822A563}" dt="2024-01-30T13:20:52.642" v="4185" actId="47"/>
        <pc:sldMkLst>
          <pc:docMk/>
          <pc:sldMk cId="427153244" sldId="8974"/>
        </pc:sldMkLst>
        <pc:spChg chg="add del mod">
          <ac:chgData name="Soumaya ZERHOUNI" userId="690e4aa6-586b-4341-8f1a-54a3e7457441" providerId="ADAL" clId="{69AAD651-E566-4914-B951-51E57822A563}" dt="2024-01-30T13:20:45.542" v="4183" actId="21"/>
          <ac:spMkLst>
            <pc:docMk/>
            <pc:sldMk cId="427153244" sldId="8974"/>
            <ac:spMk id="2" creationId="{9940A912-BE9E-4970-85E3-88FFEA3B000F}"/>
          </ac:spMkLst>
        </pc:spChg>
        <pc:spChg chg="add del mod">
          <ac:chgData name="Soumaya ZERHOUNI" userId="690e4aa6-586b-4341-8f1a-54a3e7457441" providerId="ADAL" clId="{69AAD651-E566-4914-B951-51E57822A563}" dt="2024-01-30T13:20:45.542" v="4183" actId="21"/>
          <ac:spMkLst>
            <pc:docMk/>
            <pc:sldMk cId="427153244" sldId="8974"/>
            <ac:spMk id="3" creationId="{4B207A4D-9CB5-4BEC-9EF6-91EF6E2F825B}"/>
          </ac:spMkLst>
        </pc:spChg>
        <pc:spChg chg="add del mod">
          <ac:chgData name="Soumaya ZERHOUNI" userId="690e4aa6-586b-4341-8f1a-54a3e7457441" providerId="ADAL" clId="{69AAD651-E566-4914-B951-51E57822A563}" dt="2024-01-30T13:20:45.542" v="4183" actId="21"/>
          <ac:spMkLst>
            <pc:docMk/>
            <pc:sldMk cId="427153244" sldId="8974"/>
            <ac:spMk id="7" creationId="{55DDCD24-0416-314F-92D9-23A4B5AB85B6}"/>
          </ac:spMkLst>
        </pc:spChg>
        <pc:spChg chg="add del mod">
          <ac:chgData name="Soumaya ZERHOUNI" userId="690e4aa6-586b-4341-8f1a-54a3e7457441" providerId="ADAL" clId="{69AAD651-E566-4914-B951-51E57822A563}" dt="2024-01-30T13:20:45.542" v="4183" actId="21"/>
          <ac:spMkLst>
            <pc:docMk/>
            <pc:sldMk cId="427153244" sldId="8974"/>
            <ac:spMk id="8" creationId="{45B79E89-16BF-12FA-2D7A-F7B23F1C29C7}"/>
          </ac:spMkLst>
        </pc:spChg>
        <pc:spChg chg="add del mod">
          <ac:chgData name="Soumaya ZERHOUNI" userId="690e4aa6-586b-4341-8f1a-54a3e7457441" providerId="ADAL" clId="{69AAD651-E566-4914-B951-51E57822A563}" dt="2024-01-30T13:16:12.124" v="4118" actId="478"/>
          <ac:spMkLst>
            <pc:docMk/>
            <pc:sldMk cId="427153244" sldId="8974"/>
            <ac:spMk id="9" creationId="{B4875B48-6B3E-241E-DE8D-93DA986871DF}"/>
          </ac:spMkLst>
        </pc:spChg>
        <pc:spChg chg="add del mod">
          <ac:chgData name="Soumaya ZERHOUNI" userId="690e4aa6-586b-4341-8f1a-54a3e7457441" providerId="ADAL" clId="{69AAD651-E566-4914-B951-51E57822A563}" dt="2024-01-30T13:16:12.124" v="4118" actId="478"/>
          <ac:spMkLst>
            <pc:docMk/>
            <pc:sldMk cId="427153244" sldId="8974"/>
            <ac:spMk id="10" creationId="{8AC87673-324A-A0DB-F264-BE774E0D1A6E}"/>
          </ac:spMkLst>
        </pc:spChg>
        <pc:spChg chg="add del mod">
          <ac:chgData name="Soumaya ZERHOUNI" userId="690e4aa6-586b-4341-8f1a-54a3e7457441" providerId="ADAL" clId="{69AAD651-E566-4914-B951-51E57822A563}" dt="2024-01-30T13:20:45.542" v="4183" actId="21"/>
          <ac:spMkLst>
            <pc:docMk/>
            <pc:sldMk cId="427153244" sldId="8974"/>
            <ac:spMk id="11" creationId="{1486F9D1-E97B-8BD4-F02B-6D693EE6B145}"/>
          </ac:spMkLst>
        </pc:spChg>
        <pc:spChg chg="add del mod">
          <ac:chgData name="Soumaya ZERHOUNI" userId="690e4aa6-586b-4341-8f1a-54a3e7457441" providerId="ADAL" clId="{69AAD651-E566-4914-B951-51E57822A563}" dt="2024-01-30T13:20:45.542" v="4183" actId="21"/>
          <ac:spMkLst>
            <pc:docMk/>
            <pc:sldMk cId="427153244" sldId="8974"/>
            <ac:spMk id="12" creationId="{1354EB9E-787B-D01A-66D5-494FEE24289F}"/>
          </ac:spMkLst>
        </pc:spChg>
        <pc:spChg chg="add del mod">
          <ac:chgData name="Soumaya ZERHOUNI" userId="690e4aa6-586b-4341-8f1a-54a3e7457441" providerId="ADAL" clId="{69AAD651-E566-4914-B951-51E57822A563}" dt="2024-01-30T13:20:45.542" v="4183" actId="21"/>
          <ac:spMkLst>
            <pc:docMk/>
            <pc:sldMk cId="427153244" sldId="8974"/>
            <ac:spMk id="13" creationId="{2CC6A5BF-99F5-A772-990E-2EC800C7BA69}"/>
          </ac:spMkLst>
        </pc:spChg>
        <pc:spChg chg="add del mod">
          <ac:chgData name="Soumaya ZERHOUNI" userId="690e4aa6-586b-4341-8f1a-54a3e7457441" providerId="ADAL" clId="{69AAD651-E566-4914-B951-51E57822A563}" dt="2024-01-30T13:20:45.542" v="4183" actId="21"/>
          <ac:spMkLst>
            <pc:docMk/>
            <pc:sldMk cId="427153244" sldId="8974"/>
            <ac:spMk id="14" creationId="{632C5C44-0B1A-0410-05E8-CE6AFA5D73C4}"/>
          </ac:spMkLst>
        </pc:spChg>
        <pc:spChg chg="add del mod">
          <ac:chgData name="Soumaya ZERHOUNI" userId="690e4aa6-586b-4341-8f1a-54a3e7457441" providerId="ADAL" clId="{69AAD651-E566-4914-B951-51E57822A563}" dt="2024-01-30T13:19:01.901" v="4165" actId="478"/>
          <ac:spMkLst>
            <pc:docMk/>
            <pc:sldMk cId="427153244" sldId="8974"/>
            <ac:spMk id="15" creationId="{64CFE766-8982-BFB8-5C5F-613EB9030DF4}"/>
          </ac:spMkLst>
        </pc:spChg>
        <pc:spChg chg="add del mod">
          <ac:chgData name="Soumaya ZERHOUNI" userId="690e4aa6-586b-4341-8f1a-54a3e7457441" providerId="ADAL" clId="{69AAD651-E566-4914-B951-51E57822A563}" dt="2024-01-30T13:19:01.901" v="4165" actId="478"/>
          <ac:spMkLst>
            <pc:docMk/>
            <pc:sldMk cId="427153244" sldId="8974"/>
            <ac:spMk id="16" creationId="{0748370F-CCC0-C0A2-F84C-74606F47D9FE}"/>
          </ac:spMkLst>
        </pc:spChg>
        <pc:spChg chg="add del mod">
          <ac:chgData name="Soumaya ZERHOUNI" userId="690e4aa6-586b-4341-8f1a-54a3e7457441" providerId="ADAL" clId="{69AAD651-E566-4914-B951-51E57822A563}" dt="2024-01-30T13:19:01.901" v="4165" actId="478"/>
          <ac:spMkLst>
            <pc:docMk/>
            <pc:sldMk cId="427153244" sldId="8974"/>
            <ac:spMk id="17" creationId="{A7AFEC89-5E67-C196-2977-AF5AEB98F9E2}"/>
          </ac:spMkLst>
        </pc:spChg>
        <pc:spChg chg="add del mod">
          <ac:chgData name="Soumaya ZERHOUNI" userId="690e4aa6-586b-4341-8f1a-54a3e7457441" providerId="ADAL" clId="{69AAD651-E566-4914-B951-51E57822A563}" dt="2024-01-30T13:19:01.901" v="4165" actId="478"/>
          <ac:spMkLst>
            <pc:docMk/>
            <pc:sldMk cId="427153244" sldId="8974"/>
            <ac:spMk id="18" creationId="{B7207EA8-77AB-A2EA-55B6-1A08F92F903A}"/>
          </ac:spMkLst>
        </pc:spChg>
        <pc:spChg chg="add del mod">
          <ac:chgData name="Soumaya ZERHOUNI" userId="690e4aa6-586b-4341-8f1a-54a3e7457441" providerId="ADAL" clId="{69AAD651-E566-4914-B951-51E57822A563}" dt="2024-01-30T13:19:01.901" v="4165" actId="478"/>
          <ac:spMkLst>
            <pc:docMk/>
            <pc:sldMk cId="427153244" sldId="8974"/>
            <ac:spMk id="19" creationId="{2519B479-4B28-D8FF-0668-A2F8A2D43147}"/>
          </ac:spMkLst>
        </pc:spChg>
        <pc:spChg chg="add del mod">
          <ac:chgData name="Soumaya ZERHOUNI" userId="690e4aa6-586b-4341-8f1a-54a3e7457441" providerId="ADAL" clId="{69AAD651-E566-4914-B951-51E57822A563}" dt="2024-01-30T13:19:01.901" v="4165" actId="478"/>
          <ac:spMkLst>
            <pc:docMk/>
            <pc:sldMk cId="427153244" sldId="8974"/>
            <ac:spMk id="20" creationId="{24C20D0B-CA77-51F2-7601-E53DAF2C5FF4}"/>
          </ac:spMkLst>
        </pc:spChg>
        <pc:spChg chg="add del mod">
          <ac:chgData name="Soumaya ZERHOUNI" userId="690e4aa6-586b-4341-8f1a-54a3e7457441" providerId="ADAL" clId="{69AAD651-E566-4914-B951-51E57822A563}" dt="2024-01-30T13:19:01.901" v="4165" actId="478"/>
          <ac:spMkLst>
            <pc:docMk/>
            <pc:sldMk cId="427153244" sldId="8974"/>
            <ac:spMk id="21" creationId="{BE2E2B9D-A046-81B8-534B-D1A2D7AED47B}"/>
          </ac:spMkLst>
        </pc:spChg>
        <pc:spChg chg="add del mod">
          <ac:chgData name="Soumaya ZERHOUNI" userId="690e4aa6-586b-4341-8f1a-54a3e7457441" providerId="ADAL" clId="{69AAD651-E566-4914-B951-51E57822A563}" dt="2024-01-30T13:19:01.901" v="4165" actId="478"/>
          <ac:spMkLst>
            <pc:docMk/>
            <pc:sldMk cId="427153244" sldId="8974"/>
            <ac:spMk id="22" creationId="{663063C5-055D-6D57-44F1-0D6FFD63B1ED}"/>
          </ac:spMkLst>
        </pc:spChg>
        <pc:spChg chg="add mod">
          <ac:chgData name="Soumaya ZERHOUNI" userId="690e4aa6-586b-4341-8f1a-54a3e7457441" providerId="ADAL" clId="{69AAD651-E566-4914-B951-51E57822A563}" dt="2024-01-30T13:20:38.182" v="4179" actId="21"/>
          <ac:spMkLst>
            <pc:docMk/>
            <pc:sldMk cId="427153244" sldId="8974"/>
            <ac:spMk id="23" creationId="{3E7608C2-CB1E-4671-E5CA-CE97D150059B}"/>
          </ac:spMkLst>
        </pc:spChg>
        <pc:spChg chg="add mod">
          <ac:chgData name="Soumaya ZERHOUNI" userId="690e4aa6-586b-4341-8f1a-54a3e7457441" providerId="ADAL" clId="{69AAD651-E566-4914-B951-51E57822A563}" dt="2024-01-30T13:20:45.542" v="4183" actId="21"/>
          <ac:spMkLst>
            <pc:docMk/>
            <pc:sldMk cId="427153244" sldId="8974"/>
            <ac:spMk id="24" creationId="{7D2E1E84-9AE6-105B-CB54-C06B6E26C619}"/>
          </ac:spMkLst>
        </pc:spChg>
        <pc:spChg chg="del mod topLvl">
          <ac:chgData name="Soumaya ZERHOUNI" userId="690e4aa6-586b-4341-8f1a-54a3e7457441" providerId="ADAL" clId="{69AAD651-E566-4914-B951-51E57822A563}" dt="2024-01-30T13:20:45.542" v="4183" actId="21"/>
          <ac:spMkLst>
            <pc:docMk/>
            <pc:sldMk cId="427153244" sldId="8974"/>
            <ac:spMk id="44" creationId="{381D68D5-EF98-4E1A-B58B-B2AFB252E723}"/>
          </ac:spMkLst>
        </pc:spChg>
        <pc:spChg chg="add del mod topLvl">
          <ac:chgData name="Soumaya ZERHOUNI" userId="690e4aa6-586b-4341-8f1a-54a3e7457441" providerId="ADAL" clId="{69AAD651-E566-4914-B951-51E57822A563}" dt="2024-01-30T13:20:45.542" v="4183" actId="21"/>
          <ac:spMkLst>
            <pc:docMk/>
            <pc:sldMk cId="427153244" sldId="8974"/>
            <ac:spMk id="46" creationId="{E0CD3B1A-B38A-49E7-833F-8FC61957E34A}"/>
          </ac:spMkLst>
        </pc:spChg>
        <pc:spChg chg="add del mod topLvl">
          <ac:chgData name="Soumaya ZERHOUNI" userId="690e4aa6-586b-4341-8f1a-54a3e7457441" providerId="ADAL" clId="{69AAD651-E566-4914-B951-51E57822A563}" dt="2024-01-30T13:20:45.542" v="4183" actId="21"/>
          <ac:spMkLst>
            <pc:docMk/>
            <pc:sldMk cId="427153244" sldId="8974"/>
            <ac:spMk id="47" creationId="{01A1F0F9-00F1-4FD5-A844-5AA8D0EE1C96}"/>
          </ac:spMkLst>
        </pc:spChg>
        <pc:spChg chg="add del mod topLvl">
          <ac:chgData name="Soumaya ZERHOUNI" userId="690e4aa6-586b-4341-8f1a-54a3e7457441" providerId="ADAL" clId="{69AAD651-E566-4914-B951-51E57822A563}" dt="2024-01-30T13:20:45.542" v="4183" actId="21"/>
          <ac:spMkLst>
            <pc:docMk/>
            <pc:sldMk cId="427153244" sldId="8974"/>
            <ac:spMk id="49" creationId="{B04AF26F-FCFC-42C9-9E19-BDA33101B169}"/>
          </ac:spMkLst>
        </pc:spChg>
        <pc:spChg chg="add del mod topLvl">
          <ac:chgData name="Soumaya ZERHOUNI" userId="690e4aa6-586b-4341-8f1a-54a3e7457441" providerId="ADAL" clId="{69AAD651-E566-4914-B951-51E57822A563}" dt="2024-01-30T13:20:45.542" v="4183" actId="21"/>
          <ac:spMkLst>
            <pc:docMk/>
            <pc:sldMk cId="427153244" sldId="8974"/>
            <ac:spMk id="50" creationId="{FDFFEB65-5744-47A2-A5B0-1C0DECCF9790}"/>
          </ac:spMkLst>
        </pc:spChg>
        <pc:spChg chg="add del mod topLvl">
          <ac:chgData name="Soumaya ZERHOUNI" userId="690e4aa6-586b-4341-8f1a-54a3e7457441" providerId="ADAL" clId="{69AAD651-E566-4914-B951-51E57822A563}" dt="2024-01-30T13:20:45.542" v="4183" actId="21"/>
          <ac:spMkLst>
            <pc:docMk/>
            <pc:sldMk cId="427153244" sldId="8974"/>
            <ac:spMk id="52" creationId="{06C0C5D0-C23E-427F-938D-E12B610AB4E8}"/>
          </ac:spMkLst>
        </pc:spChg>
        <pc:spChg chg="add del mod topLvl">
          <ac:chgData name="Soumaya ZERHOUNI" userId="690e4aa6-586b-4341-8f1a-54a3e7457441" providerId="ADAL" clId="{69AAD651-E566-4914-B951-51E57822A563}" dt="2024-01-30T13:20:45.542" v="4183" actId="21"/>
          <ac:spMkLst>
            <pc:docMk/>
            <pc:sldMk cId="427153244" sldId="8974"/>
            <ac:spMk id="53" creationId="{D222F695-2C78-4213-9B65-95434E70EF0D}"/>
          </ac:spMkLst>
        </pc:spChg>
        <pc:spChg chg="add del mod topLvl">
          <ac:chgData name="Soumaya ZERHOUNI" userId="690e4aa6-586b-4341-8f1a-54a3e7457441" providerId="ADAL" clId="{69AAD651-E566-4914-B951-51E57822A563}" dt="2024-01-30T13:20:45.542" v="4183" actId="21"/>
          <ac:spMkLst>
            <pc:docMk/>
            <pc:sldMk cId="427153244" sldId="8974"/>
            <ac:spMk id="55" creationId="{ACFD07E3-C2B0-4BA0-9AD2-C707B50FC98F}"/>
          </ac:spMkLst>
        </pc:spChg>
        <pc:spChg chg="add del mod topLvl">
          <ac:chgData name="Soumaya ZERHOUNI" userId="690e4aa6-586b-4341-8f1a-54a3e7457441" providerId="ADAL" clId="{69AAD651-E566-4914-B951-51E57822A563}" dt="2024-01-30T13:20:45.542" v="4183" actId="21"/>
          <ac:spMkLst>
            <pc:docMk/>
            <pc:sldMk cId="427153244" sldId="8974"/>
            <ac:spMk id="56" creationId="{6E013D63-EB0D-4C65-A135-08C902C8525B}"/>
          </ac:spMkLst>
        </pc:spChg>
        <pc:spChg chg="add del mod topLvl">
          <ac:chgData name="Soumaya ZERHOUNI" userId="690e4aa6-586b-4341-8f1a-54a3e7457441" providerId="ADAL" clId="{69AAD651-E566-4914-B951-51E57822A563}" dt="2024-01-30T13:20:45.542" v="4183" actId="21"/>
          <ac:spMkLst>
            <pc:docMk/>
            <pc:sldMk cId="427153244" sldId="8974"/>
            <ac:spMk id="58" creationId="{6994145D-1322-4D64-9221-A72D22EA55A3}"/>
          </ac:spMkLst>
        </pc:spChg>
        <pc:spChg chg="add del mod topLvl">
          <ac:chgData name="Soumaya ZERHOUNI" userId="690e4aa6-586b-4341-8f1a-54a3e7457441" providerId="ADAL" clId="{69AAD651-E566-4914-B951-51E57822A563}" dt="2024-01-30T13:20:45.542" v="4183" actId="21"/>
          <ac:spMkLst>
            <pc:docMk/>
            <pc:sldMk cId="427153244" sldId="8974"/>
            <ac:spMk id="59" creationId="{4BD7BEEB-DE28-B743-A581-512AC52B1F01}"/>
          </ac:spMkLst>
        </pc:spChg>
        <pc:spChg chg="add del mod topLvl">
          <ac:chgData name="Soumaya ZERHOUNI" userId="690e4aa6-586b-4341-8f1a-54a3e7457441" providerId="ADAL" clId="{69AAD651-E566-4914-B951-51E57822A563}" dt="2024-01-30T13:20:45.542" v="4183" actId="21"/>
          <ac:spMkLst>
            <pc:docMk/>
            <pc:sldMk cId="427153244" sldId="8974"/>
            <ac:spMk id="61" creationId="{3DB27545-BF0C-4FCE-B3EA-F486F2A72725}"/>
          </ac:spMkLst>
        </pc:spChg>
        <pc:spChg chg="add del mod topLvl">
          <ac:chgData name="Soumaya ZERHOUNI" userId="690e4aa6-586b-4341-8f1a-54a3e7457441" providerId="ADAL" clId="{69AAD651-E566-4914-B951-51E57822A563}" dt="2024-01-30T13:20:45.542" v="4183" actId="21"/>
          <ac:spMkLst>
            <pc:docMk/>
            <pc:sldMk cId="427153244" sldId="8974"/>
            <ac:spMk id="62" creationId="{F18F2E4B-78DC-5747-8231-3863BBD84E03}"/>
          </ac:spMkLst>
        </pc:spChg>
        <pc:spChg chg="add del mod topLvl">
          <ac:chgData name="Soumaya ZERHOUNI" userId="690e4aa6-586b-4341-8f1a-54a3e7457441" providerId="ADAL" clId="{69AAD651-E566-4914-B951-51E57822A563}" dt="2024-01-30T13:20:45.542" v="4183" actId="21"/>
          <ac:spMkLst>
            <pc:docMk/>
            <pc:sldMk cId="427153244" sldId="8974"/>
            <ac:spMk id="63" creationId="{1B3CDA94-8180-B242-A264-3CE5FBE207E9}"/>
          </ac:spMkLst>
        </pc:spChg>
        <pc:spChg chg="add del mod topLvl">
          <ac:chgData name="Soumaya ZERHOUNI" userId="690e4aa6-586b-4341-8f1a-54a3e7457441" providerId="ADAL" clId="{69AAD651-E566-4914-B951-51E57822A563}" dt="2024-01-30T13:20:45.542" v="4183" actId="21"/>
          <ac:spMkLst>
            <pc:docMk/>
            <pc:sldMk cId="427153244" sldId="8974"/>
            <ac:spMk id="64" creationId="{A39B42C6-FB11-4185-B9AD-A3E72363A118}"/>
          </ac:spMkLst>
        </pc:spChg>
        <pc:spChg chg="add del mod topLvl">
          <ac:chgData name="Soumaya ZERHOUNI" userId="690e4aa6-586b-4341-8f1a-54a3e7457441" providerId="ADAL" clId="{69AAD651-E566-4914-B951-51E57822A563}" dt="2024-01-30T13:20:45.542" v="4183" actId="21"/>
          <ac:spMkLst>
            <pc:docMk/>
            <pc:sldMk cId="427153244" sldId="8974"/>
            <ac:spMk id="67" creationId="{44D1EAD4-36FA-4C46-90F9-9E89489B24A7}"/>
          </ac:spMkLst>
        </pc:spChg>
        <pc:spChg chg="add del mod topLvl">
          <ac:chgData name="Soumaya ZERHOUNI" userId="690e4aa6-586b-4341-8f1a-54a3e7457441" providerId="ADAL" clId="{69AAD651-E566-4914-B951-51E57822A563}" dt="2024-01-30T13:20:45.542" v="4183" actId="21"/>
          <ac:spMkLst>
            <pc:docMk/>
            <pc:sldMk cId="427153244" sldId="8974"/>
            <ac:spMk id="72" creationId="{E33CA6FC-E53F-4A66-A4F9-A95B52081E68}"/>
          </ac:spMkLst>
        </pc:spChg>
        <pc:spChg chg="add del mod topLvl">
          <ac:chgData name="Soumaya ZERHOUNI" userId="690e4aa6-586b-4341-8f1a-54a3e7457441" providerId="ADAL" clId="{69AAD651-E566-4914-B951-51E57822A563}" dt="2024-01-30T13:20:45.542" v="4183" actId="21"/>
          <ac:spMkLst>
            <pc:docMk/>
            <pc:sldMk cId="427153244" sldId="8974"/>
            <ac:spMk id="75" creationId="{C795936C-CBD5-4DAC-B44F-8A00863C9DC1}"/>
          </ac:spMkLst>
        </pc:spChg>
        <pc:spChg chg="add del mod topLvl">
          <ac:chgData name="Soumaya ZERHOUNI" userId="690e4aa6-586b-4341-8f1a-54a3e7457441" providerId="ADAL" clId="{69AAD651-E566-4914-B951-51E57822A563}" dt="2024-01-30T13:20:45.542" v="4183" actId="21"/>
          <ac:spMkLst>
            <pc:docMk/>
            <pc:sldMk cId="427153244" sldId="8974"/>
            <ac:spMk id="76" creationId="{191A8352-CAAE-4665-AD2C-3F67231027A6}"/>
          </ac:spMkLst>
        </pc:spChg>
        <pc:grpChg chg="add del mod topLvl">
          <ac:chgData name="Soumaya ZERHOUNI" userId="690e4aa6-586b-4341-8f1a-54a3e7457441" providerId="ADAL" clId="{69AAD651-E566-4914-B951-51E57822A563}" dt="2024-01-30T13:14:30.249" v="4099" actId="165"/>
          <ac:grpSpMkLst>
            <pc:docMk/>
            <pc:sldMk cId="427153244" sldId="8974"/>
            <ac:grpSpMk id="5" creationId="{41697B44-F80F-06C7-5BEC-869F7F1BFD6B}"/>
          </ac:grpSpMkLst>
        </pc:grpChg>
        <pc:grpChg chg="add del mod">
          <ac:chgData name="Soumaya ZERHOUNI" userId="690e4aa6-586b-4341-8f1a-54a3e7457441" providerId="ADAL" clId="{69AAD651-E566-4914-B951-51E57822A563}" dt="2024-01-30T13:14:05.313" v="4096" actId="165"/>
          <ac:grpSpMkLst>
            <pc:docMk/>
            <pc:sldMk cId="427153244" sldId="8974"/>
            <ac:grpSpMk id="6" creationId="{C8EDD0D9-708B-3E5C-13C0-737E3B9ED8CC}"/>
          </ac:grpSpMkLst>
        </pc:grpChg>
        <pc:grpChg chg="del">
          <ac:chgData name="Soumaya ZERHOUNI" userId="690e4aa6-586b-4341-8f1a-54a3e7457441" providerId="ADAL" clId="{69AAD651-E566-4914-B951-51E57822A563}" dt="2024-01-30T13:09:57.445" v="3951" actId="165"/>
          <ac:grpSpMkLst>
            <pc:docMk/>
            <pc:sldMk cId="427153244" sldId="8974"/>
            <ac:grpSpMk id="45" creationId="{E96F566D-B6B3-4EBE-A3E9-8563F620579A}"/>
          </ac:grpSpMkLst>
        </pc:grpChg>
        <pc:grpChg chg="del">
          <ac:chgData name="Soumaya ZERHOUNI" userId="690e4aa6-586b-4341-8f1a-54a3e7457441" providerId="ADAL" clId="{69AAD651-E566-4914-B951-51E57822A563}" dt="2024-01-30T13:11:39.981" v="4004" actId="165"/>
          <ac:grpSpMkLst>
            <pc:docMk/>
            <pc:sldMk cId="427153244" sldId="8974"/>
            <ac:grpSpMk id="48" creationId="{53394E0E-98DA-4F95-9F8A-3CCA8AEE5E8C}"/>
          </ac:grpSpMkLst>
        </pc:grpChg>
        <pc:grpChg chg="del">
          <ac:chgData name="Soumaya ZERHOUNI" userId="690e4aa6-586b-4341-8f1a-54a3e7457441" providerId="ADAL" clId="{69AAD651-E566-4914-B951-51E57822A563}" dt="2024-01-30T13:11:46.873" v="4005" actId="165"/>
          <ac:grpSpMkLst>
            <pc:docMk/>
            <pc:sldMk cId="427153244" sldId="8974"/>
            <ac:grpSpMk id="51" creationId="{26D3E0CF-4868-4CF2-AC9C-2B95DBBBF2F2}"/>
          </ac:grpSpMkLst>
        </pc:grpChg>
        <pc:grpChg chg="del">
          <ac:chgData name="Soumaya ZERHOUNI" userId="690e4aa6-586b-4341-8f1a-54a3e7457441" providerId="ADAL" clId="{69AAD651-E566-4914-B951-51E57822A563}" dt="2024-01-30T13:12:13.752" v="4010" actId="165"/>
          <ac:grpSpMkLst>
            <pc:docMk/>
            <pc:sldMk cId="427153244" sldId="8974"/>
            <ac:grpSpMk id="54" creationId="{2BC2F531-56A7-4973-8CC9-E742668A0523}"/>
          </ac:grpSpMkLst>
        </pc:grpChg>
        <pc:grpChg chg="del">
          <ac:chgData name="Soumaya ZERHOUNI" userId="690e4aa6-586b-4341-8f1a-54a3e7457441" providerId="ADAL" clId="{69AAD651-E566-4914-B951-51E57822A563}" dt="2024-01-30T13:11:50.616" v="4007" actId="165"/>
          <ac:grpSpMkLst>
            <pc:docMk/>
            <pc:sldMk cId="427153244" sldId="8974"/>
            <ac:grpSpMk id="60" creationId="{88A40FC9-BD1A-164F-BAF1-B5C121B93FB8}"/>
          </ac:grpSpMkLst>
        </pc:grpChg>
        <pc:grpChg chg="del">
          <ac:chgData name="Soumaya ZERHOUNI" userId="690e4aa6-586b-4341-8f1a-54a3e7457441" providerId="ADAL" clId="{69AAD651-E566-4914-B951-51E57822A563}" dt="2024-01-30T13:11:25.014" v="4001" actId="478"/>
          <ac:grpSpMkLst>
            <pc:docMk/>
            <pc:sldMk cId="427153244" sldId="8974"/>
            <ac:grpSpMk id="65" creationId="{5C22ACEB-8147-2349-9651-BFF2B560C759}"/>
          </ac:grpSpMkLst>
        </pc:grpChg>
        <pc:grpChg chg="del">
          <ac:chgData name="Soumaya ZERHOUNI" userId="690e4aa6-586b-4341-8f1a-54a3e7457441" providerId="ADAL" clId="{69AAD651-E566-4914-B951-51E57822A563}" dt="2024-01-30T13:11:48.554" v="4006" actId="165"/>
          <ac:grpSpMkLst>
            <pc:docMk/>
            <pc:sldMk cId="427153244" sldId="8974"/>
            <ac:grpSpMk id="74" creationId="{B3381A17-C749-4891-B9A5-3C002E2C9C1A}"/>
          </ac:grpSpMkLst>
        </pc:grpChg>
        <pc:grpChg chg="add del">
          <ac:chgData name="Soumaya ZERHOUNI" userId="690e4aa6-586b-4341-8f1a-54a3e7457441" providerId="ADAL" clId="{69AAD651-E566-4914-B951-51E57822A563}" dt="2024-01-30T13:20:45.542" v="4183" actId="21"/>
          <ac:grpSpMkLst>
            <pc:docMk/>
            <pc:sldMk cId="427153244" sldId="8974"/>
            <ac:grpSpMk id="86" creationId="{8857EBA3-33EE-40C0-8389-C1C0520FF04D}"/>
          </ac:grpSpMkLst>
        </pc:grpChg>
        <pc:grpChg chg="del">
          <ac:chgData name="Soumaya ZERHOUNI" userId="690e4aa6-586b-4341-8f1a-54a3e7457441" providerId="ADAL" clId="{69AAD651-E566-4914-B951-51E57822A563}" dt="2024-01-30T13:09:30.723" v="3948" actId="478"/>
          <ac:grpSpMkLst>
            <pc:docMk/>
            <pc:sldMk cId="427153244" sldId="8974"/>
            <ac:grpSpMk id="94" creationId="{25F638E9-55F7-478E-A1E6-CBDBEEF042D4}"/>
          </ac:grpSpMkLst>
        </pc:grpChg>
        <pc:grpChg chg="del">
          <ac:chgData name="Soumaya ZERHOUNI" userId="690e4aa6-586b-4341-8f1a-54a3e7457441" providerId="ADAL" clId="{69AAD651-E566-4914-B951-51E57822A563}" dt="2024-01-30T13:11:27.385" v="4003" actId="478"/>
          <ac:grpSpMkLst>
            <pc:docMk/>
            <pc:sldMk cId="427153244" sldId="8974"/>
            <ac:grpSpMk id="97" creationId="{DC6D7A4E-E354-471D-BACF-940D4A4C108F}"/>
          </ac:grpSpMkLst>
        </pc:grpChg>
        <pc:grpChg chg="del">
          <ac:chgData name="Soumaya ZERHOUNI" userId="690e4aa6-586b-4341-8f1a-54a3e7457441" providerId="ADAL" clId="{69AAD651-E566-4914-B951-51E57822A563}" dt="2024-01-30T13:11:21.675" v="4000" actId="478"/>
          <ac:grpSpMkLst>
            <pc:docMk/>
            <pc:sldMk cId="427153244" sldId="8974"/>
            <ac:grpSpMk id="100" creationId="{4395F582-9B65-484E-889F-2487BAF1402C}"/>
          </ac:grpSpMkLst>
        </pc:grpChg>
        <pc:grpChg chg="del">
          <ac:chgData name="Soumaya ZERHOUNI" userId="690e4aa6-586b-4341-8f1a-54a3e7457441" providerId="ADAL" clId="{69AAD651-E566-4914-B951-51E57822A563}" dt="2024-01-30T13:11:18.339" v="3999" actId="478"/>
          <ac:grpSpMkLst>
            <pc:docMk/>
            <pc:sldMk cId="427153244" sldId="8974"/>
            <ac:grpSpMk id="103" creationId="{C8A03B14-7101-41DF-8921-35CE618C75BB}"/>
          </ac:grpSpMkLst>
        </pc:grpChg>
        <pc:grpChg chg="del">
          <ac:chgData name="Soumaya ZERHOUNI" userId="690e4aa6-586b-4341-8f1a-54a3e7457441" providerId="ADAL" clId="{69AAD651-E566-4914-B951-51E57822A563}" dt="2024-01-30T13:11:26.530" v="4002" actId="478"/>
          <ac:grpSpMkLst>
            <pc:docMk/>
            <pc:sldMk cId="427153244" sldId="8974"/>
            <ac:grpSpMk id="106" creationId="{1C14D71D-8321-4694-9019-4B4435C17FE6}"/>
          </ac:grpSpMkLst>
        </pc:grpChg>
      </pc:sldChg>
      <pc:sldChg chg="delSp modSp mod">
        <pc:chgData name="Soumaya ZERHOUNI" userId="690e4aa6-586b-4341-8f1a-54a3e7457441" providerId="ADAL" clId="{69AAD651-E566-4914-B951-51E57822A563}" dt="2024-01-29T15:34:03.399" v="2346" actId="478"/>
        <pc:sldMkLst>
          <pc:docMk/>
          <pc:sldMk cId="3024221530" sldId="9003"/>
        </pc:sldMkLst>
        <pc:spChg chg="del">
          <ac:chgData name="Soumaya ZERHOUNI" userId="690e4aa6-586b-4341-8f1a-54a3e7457441" providerId="ADAL" clId="{69AAD651-E566-4914-B951-51E57822A563}" dt="2024-01-29T15:34:03.399" v="2346" actId="478"/>
          <ac:spMkLst>
            <pc:docMk/>
            <pc:sldMk cId="3024221530" sldId="9003"/>
            <ac:spMk id="4" creationId="{611B54D2-930B-C1FB-0006-EB962D6A9529}"/>
          </ac:spMkLst>
        </pc:spChg>
        <pc:graphicFrameChg chg="mod modGraphic">
          <ac:chgData name="Soumaya ZERHOUNI" userId="690e4aa6-586b-4341-8f1a-54a3e7457441" providerId="ADAL" clId="{69AAD651-E566-4914-B951-51E57822A563}" dt="2024-01-29T15:33:19.026" v="2345"/>
          <ac:graphicFrameMkLst>
            <pc:docMk/>
            <pc:sldMk cId="3024221530" sldId="9003"/>
            <ac:graphicFrameMk id="6" creationId="{F49AD9D9-8EB9-40C8-817E-797AEF95B20C}"/>
          </ac:graphicFrameMkLst>
        </pc:graphicFrameChg>
      </pc:sldChg>
      <pc:sldChg chg="modSp mod modNotes">
        <pc:chgData name="Soumaya ZERHOUNI" userId="690e4aa6-586b-4341-8f1a-54a3e7457441" providerId="ADAL" clId="{69AAD651-E566-4914-B951-51E57822A563}" dt="2024-02-02T16:32:11.001" v="12828" actId="20577"/>
        <pc:sldMkLst>
          <pc:docMk/>
          <pc:sldMk cId="3662488934" sldId="9006"/>
        </pc:sldMkLst>
        <pc:spChg chg="mod">
          <ac:chgData name="Soumaya ZERHOUNI" userId="690e4aa6-586b-4341-8f1a-54a3e7457441" providerId="ADAL" clId="{69AAD651-E566-4914-B951-51E57822A563}" dt="2024-01-31T17:22:12.096" v="6702" actId="2711"/>
          <ac:spMkLst>
            <pc:docMk/>
            <pc:sldMk cId="3662488934" sldId="9006"/>
            <ac:spMk id="10" creationId="{314DE2EA-A579-49B8-A19A-21D280F735F1}"/>
          </ac:spMkLst>
        </pc:spChg>
        <pc:spChg chg="mod">
          <ac:chgData name="Soumaya ZERHOUNI" userId="690e4aa6-586b-4341-8f1a-54a3e7457441" providerId="ADAL" clId="{69AAD651-E566-4914-B951-51E57822A563}" dt="2024-02-02T16:32:11.001" v="12828" actId="20577"/>
          <ac:spMkLst>
            <pc:docMk/>
            <pc:sldMk cId="3662488934" sldId="9006"/>
            <ac:spMk id="12" creationId="{6949D553-9B02-42D7-9487-5D76097EDB8C}"/>
          </ac:spMkLst>
        </pc:spChg>
      </pc:sldChg>
      <pc:sldChg chg="del">
        <pc:chgData name="Soumaya ZERHOUNI" userId="690e4aa6-586b-4341-8f1a-54a3e7457441" providerId="ADAL" clId="{69AAD651-E566-4914-B951-51E57822A563}" dt="2024-01-29T15:37:55.611" v="2368" actId="47"/>
        <pc:sldMkLst>
          <pc:docMk/>
          <pc:sldMk cId="320320174" sldId="9011"/>
        </pc:sldMkLst>
      </pc:sldChg>
      <pc:sldChg chg="del">
        <pc:chgData name="Soumaya ZERHOUNI" userId="690e4aa6-586b-4341-8f1a-54a3e7457441" providerId="ADAL" clId="{69AAD651-E566-4914-B951-51E57822A563}" dt="2024-01-29T15:38:13.821" v="2370" actId="47"/>
        <pc:sldMkLst>
          <pc:docMk/>
          <pc:sldMk cId="3703637770" sldId="9012"/>
        </pc:sldMkLst>
      </pc:sldChg>
      <pc:sldChg chg="addSp delSp modSp mod">
        <pc:chgData name="Soumaya ZERHOUNI" userId="690e4aa6-586b-4341-8f1a-54a3e7457441" providerId="ADAL" clId="{69AAD651-E566-4914-B951-51E57822A563}" dt="2024-01-31T16:11:01.909" v="6079" actId="732"/>
        <pc:sldMkLst>
          <pc:docMk/>
          <pc:sldMk cId="3851078281" sldId="2076137166"/>
        </pc:sldMkLst>
        <pc:spChg chg="mod">
          <ac:chgData name="Soumaya ZERHOUNI" userId="690e4aa6-586b-4341-8f1a-54a3e7457441" providerId="ADAL" clId="{69AAD651-E566-4914-B951-51E57822A563}" dt="2024-01-31T15:47:15.161" v="5775" actId="1076"/>
          <ac:spMkLst>
            <pc:docMk/>
            <pc:sldMk cId="3851078281" sldId="2076137166"/>
            <ac:spMk id="2" creationId="{753ECB55-805E-4D84-8104-D3179B11CE2F}"/>
          </ac:spMkLst>
        </pc:spChg>
        <pc:spChg chg="mod">
          <ac:chgData name="Soumaya ZERHOUNI" userId="690e4aa6-586b-4341-8f1a-54a3e7457441" providerId="ADAL" clId="{69AAD651-E566-4914-B951-51E57822A563}" dt="2024-01-31T15:47:01.650" v="5774" actId="108"/>
          <ac:spMkLst>
            <pc:docMk/>
            <pc:sldMk cId="3851078281" sldId="2076137166"/>
            <ac:spMk id="3" creationId="{369A1818-1D34-4722-8C5C-5459B5E5151A}"/>
          </ac:spMkLst>
        </pc:spChg>
        <pc:spChg chg="add del mod">
          <ac:chgData name="Soumaya ZERHOUNI" userId="690e4aa6-586b-4341-8f1a-54a3e7457441" providerId="ADAL" clId="{69AAD651-E566-4914-B951-51E57822A563}" dt="2024-01-31T16:05:55.778" v="6056" actId="478"/>
          <ac:spMkLst>
            <pc:docMk/>
            <pc:sldMk cId="3851078281" sldId="2076137166"/>
            <ac:spMk id="4" creationId="{E96665F7-4C1F-33CE-5111-1F72053E03AE}"/>
          </ac:spMkLst>
        </pc:spChg>
        <pc:picChg chg="add del mod">
          <ac:chgData name="Soumaya ZERHOUNI" userId="690e4aa6-586b-4341-8f1a-54a3e7457441" providerId="ADAL" clId="{69AAD651-E566-4914-B951-51E57822A563}" dt="2024-01-31T16:07:52.851" v="6062" actId="21"/>
          <ac:picMkLst>
            <pc:docMk/>
            <pc:sldMk cId="3851078281" sldId="2076137166"/>
            <ac:picMk id="7" creationId="{114BA55C-C015-3A74-C223-96B343112561}"/>
          </ac:picMkLst>
        </pc:picChg>
        <pc:picChg chg="add mod modCrop">
          <ac:chgData name="Soumaya ZERHOUNI" userId="690e4aa6-586b-4341-8f1a-54a3e7457441" providerId="ADAL" clId="{69AAD651-E566-4914-B951-51E57822A563}" dt="2024-01-31T16:11:01.909" v="6079" actId="732"/>
          <ac:picMkLst>
            <pc:docMk/>
            <pc:sldMk cId="3851078281" sldId="2076137166"/>
            <ac:picMk id="24" creationId="{114BA55C-C015-3A74-C223-96B343112561}"/>
          </ac:picMkLst>
        </pc:picChg>
      </pc:sldChg>
      <pc:sldChg chg="modNotes">
        <pc:chgData name="Soumaya ZERHOUNI" userId="690e4aa6-586b-4341-8f1a-54a3e7457441" providerId="ADAL" clId="{69AAD651-E566-4914-B951-51E57822A563}" dt="2024-01-29T13:40:41.567" v="2226"/>
        <pc:sldMkLst>
          <pc:docMk/>
          <pc:sldMk cId="3338283755" sldId="2076137969"/>
        </pc:sldMkLst>
      </pc:sldChg>
      <pc:sldChg chg="modSp mod">
        <pc:chgData name="Soumaya ZERHOUNI" userId="690e4aa6-586b-4341-8f1a-54a3e7457441" providerId="ADAL" clId="{69AAD651-E566-4914-B951-51E57822A563}" dt="2024-01-26T17:47:33.570" v="2225" actId="113"/>
        <pc:sldMkLst>
          <pc:docMk/>
          <pc:sldMk cId="1240652411" sldId="2076138007"/>
        </pc:sldMkLst>
        <pc:spChg chg="mod">
          <ac:chgData name="Soumaya ZERHOUNI" userId="690e4aa6-586b-4341-8f1a-54a3e7457441" providerId="ADAL" clId="{69AAD651-E566-4914-B951-51E57822A563}" dt="2024-01-26T17:44:54.643" v="2206" actId="20577"/>
          <ac:spMkLst>
            <pc:docMk/>
            <pc:sldMk cId="1240652411" sldId="2076138007"/>
            <ac:spMk id="3" creationId="{23C1427D-4CD2-A230-7633-41DBE8EAE66F}"/>
          </ac:spMkLst>
        </pc:spChg>
        <pc:spChg chg="mod">
          <ac:chgData name="Soumaya ZERHOUNI" userId="690e4aa6-586b-4341-8f1a-54a3e7457441" providerId="ADAL" clId="{69AAD651-E566-4914-B951-51E57822A563}" dt="2024-01-26T16:29:12.867" v="1804" actId="20577"/>
          <ac:spMkLst>
            <pc:docMk/>
            <pc:sldMk cId="1240652411" sldId="2076138007"/>
            <ac:spMk id="17" creationId="{39DA8F7D-E217-4C1E-BD78-1E48558077C5}"/>
          </ac:spMkLst>
        </pc:spChg>
        <pc:spChg chg="mod">
          <ac:chgData name="Soumaya ZERHOUNI" userId="690e4aa6-586b-4341-8f1a-54a3e7457441" providerId="ADAL" clId="{69AAD651-E566-4914-B951-51E57822A563}" dt="2024-01-26T15:49:08.978" v="1516" actId="20577"/>
          <ac:spMkLst>
            <pc:docMk/>
            <pc:sldMk cId="1240652411" sldId="2076138007"/>
            <ac:spMk id="18" creationId="{5B80A660-9885-40BF-AE92-E527A0345742}"/>
          </ac:spMkLst>
        </pc:spChg>
        <pc:spChg chg="mod">
          <ac:chgData name="Soumaya ZERHOUNI" userId="690e4aa6-586b-4341-8f1a-54a3e7457441" providerId="ADAL" clId="{69AAD651-E566-4914-B951-51E57822A563}" dt="2024-01-26T15:49:33.809" v="1518" actId="13926"/>
          <ac:spMkLst>
            <pc:docMk/>
            <pc:sldMk cId="1240652411" sldId="2076138007"/>
            <ac:spMk id="19" creationId="{7E04B2DC-3235-4DAB-A26B-BB59AFFC51AF}"/>
          </ac:spMkLst>
        </pc:spChg>
        <pc:spChg chg="mod">
          <ac:chgData name="Soumaya ZERHOUNI" userId="690e4aa6-586b-4341-8f1a-54a3e7457441" providerId="ADAL" clId="{69AAD651-E566-4914-B951-51E57822A563}" dt="2024-01-26T16:04:21.077" v="1591" actId="13926"/>
          <ac:spMkLst>
            <pc:docMk/>
            <pc:sldMk cId="1240652411" sldId="2076138007"/>
            <ac:spMk id="20" creationId="{468BEB28-578F-404D-927D-91C087EE48B8}"/>
          </ac:spMkLst>
        </pc:spChg>
        <pc:spChg chg="mod">
          <ac:chgData name="Soumaya ZERHOUNI" userId="690e4aa6-586b-4341-8f1a-54a3e7457441" providerId="ADAL" clId="{69AAD651-E566-4914-B951-51E57822A563}" dt="2024-01-26T17:47:33.570" v="2225" actId="113"/>
          <ac:spMkLst>
            <pc:docMk/>
            <pc:sldMk cId="1240652411" sldId="2076138007"/>
            <ac:spMk id="31" creationId="{C919C877-E524-4885-8868-861443F84590}"/>
          </ac:spMkLst>
        </pc:spChg>
        <pc:spChg chg="mod">
          <ac:chgData name="Soumaya ZERHOUNI" userId="690e4aa6-586b-4341-8f1a-54a3e7457441" providerId="ADAL" clId="{69AAD651-E566-4914-B951-51E57822A563}" dt="2024-01-26T17:47:05.384" v="2220" actId="948"/>
          <ac:spMkLst>
            <pc:docMk/>
            <pc:sldMk cId="1240652411" sldId="2076138007"/>
            <ac:spMk id="32" creationId="{86ECC121-9ACA-44F5-B756-EF2D804C294B}"/>
          </ac:spMkLst>
        </pc:spChg>
        <pc:spChg chg="mod">
          <ac:chgData name="Soumaya ZERHOUNI" userId="690e4aa6-586b-4341-8f1a-54a3e7457441" providerId="ADAL" clId="{69AAD651-E566-4914-B951-51E57822A563}" dt="2024-01-26T17:47:13.165" v="2223" actId="948"/>
          <ac:spMkLst>
            <pc:docMk/>
            <pc:sldMk cId="1240652411" sldId="2076138007"/>
            <ac:spMk id="33" creationId="{51431B3A-94F0-4C16-838E-112268BE443C}"/>
          </ac:spMkLst>
        </pc:spChg>
        <pc:spChg chg="mod">
          <ac:chgData name="Soumaya ZERHOUNI" userId="690e4aa6-586b-4341-8f1a-54a3e7457441" providerId="ADAL" clId="{69AAD651-E566-4914-B951-51E57822A563}" dt="2024-01-26T17:47:11.429" v="2222" actId="948"/>
          <ac:spMkLst>
            <pc:docMk/>
            <pc:sldMk cId="1240652411" sldId="2076138007"/>
            <ac:spMk id="47" creationId="{C7742422-D3FE-4514-9E23-B649922E59E3}"/>
          </ac:spMkLst>
        </pc:spChg>
        <pc:spChg chg="mod">
          <ac:chgData name="Soumaya ZERHOUNI" userId="690e4aa6-586b-4341-8f1a-54a3e7457441" providerId="ADAL" clId="{69AAD651-E566-4914-B951-51E57822A563}" dt="2024-01-26T16:52:39.242" v="1993" actId="20577"/>
          <ac:spMkLst>
            <pc:docMk/>
            <pc:sldMk cId="1240652411" sldId="2076138007"/>
            <ac:spMk id="51" creationId="{2C55004C-C335-4A3A-9753-4EC4E49A85A9}"/>
          </ac:spMkLst>
        </pc:spChg>
      </pc:sldChg>
      <pc:sldChg chg="addSp modSp">
        <pc:chgData name="Soumaya ZERHOUNI" userId="690e4aa6-586b-4341-8f1a-54a3e7457441" providerId="ADAL" clId="{69AAD651-E566-4914-B951-51E57822A563}" dt="2024-01-31T15:26:51.356" v="5560"/>
        <pc:sldMkLst>
          <pc:docMk/>
          <pc:sldMk cId="3866936782" sldId="2076138104"/>
        </pc:sldMkLst>
        <pc:spChg chg="add mod">
          <ac:chgData name="Soumaya ZERHOUNI" userId="690e4aa6-586b-4341-8f1a-54a3e7457441" providerId="ADAL" clId="{69AAD651-E566-4914-B951-51E57822A563}" dt="2024-01-31T15:26:51.356" v="5560"/>
          <ac:spMkLst>
            <pc:docMk/>
            <pc:sldMk cId="3866936782" sldId="2076138104"/>
            <ac:spMk id="30" creationId="{777EE9C9-8D48-C3FB-7B08-B34E86458197}"/>
          </ac:spMkLst>
        </pc:spChg>
      </pc:sldChg>
      <pc:sldChg chg="addSp delSp modSp mod">
        <pc:chgData name="Soumaya ZERHOUNI" userId="690e4aa6-586b-4341-8f1a-54a3e7457441" providerId="ADAL" clId="{69AAD651-E566-4914-B951-51E57822A563}" dt="2024-01-31T15:28:53.784" v="5589" actId="21"/>
        <pc:sldMkLst>
          <pc:docMk/>
          <pc:sldMk cId="549485756" sldId="2142532689"/>
        </pc:sldMkLst>
        <pc:spChg chg="add del mod">
          <ac:chgData name="Soumaya ZERHOUNI" userId="690e4aa6-586b-4341-8f1a-54a3e7457441" providerId="ADAL" clId="{69AAD651-E566-4914-B951-51E57822A563}" dt="2024-01-31T15:28:53.784" v="5589" actId="21"/>
          <ac:spMkLst>
            <pc:docMk/>
            <pc:sldMk cId="549485756" sldId="2142532689"/>
            <ac:spMk id="11" creationId="{C124D77C-535F-5AC4-1115-2BDE686461FD}"/>
          </ac:spMkLst>
        </pc:spChg>
        <pc:spChg chg="mod">
          <ac:chgData name="Soumaya ZERHOUNI" userId="690e4aa6-586b-4341-8f1a-54a3e7457441" providerId="ADAL" clId="{69AAD651-E566-4914-B951-51E57822A563}" dt="2024-01-31T15:28:51.256" v="5588" actId="554"/>
          <ac:spMkLst>
            <pc:docMk/>
            <pc:sldMk cId="549485756" sldId="2142532689"/>
            <ac:spMk id="31" creationId="{DCE0C919-2FF0-B960-B4CB-977F62465439}"/>
          </ac:spMkLst>
        </pc:spChg>
      </pc:sldChg>
      <pc:sldChg chg="del">
        <pc:chgData name="Soumaya ZERHOUNI" userId="690e4aa6-586b-4341-8f1a-54a3e7457441" providerId="ADAL" clId="{69AAD651-E566-4914-B951-51E57822A563}" dt="2024-01-29T15:39:27.286" v="2379" actId="47"/>
        <pc:sldMkLst>
          <pc:docMk/>
          <pc:sldMk cId="66151116" sldId="2142533073"/>
        </pc:sldMkLst>
      </pc:sldChg>
      <pc:sldChg chg="del">
        <pc:chgData name="Soumaya ZERHOUNI" userId="690e4aa6-586b-4341-8f1a-54a3e7457441" providerId="ADAL" clId="{69AAD651-E566-4914-B951-51E57822A563}" dt="2024-01-29T15:40:48.327" v="2396" actId="47"/>
        <pc:sldMkLst>
          <pc:docMk/>
          <pc:sldMk cId="3185406215" sldId="2142533074"/>
        </pc:sldMkLst>
      </pc:sldChg>
      <pc:sldChg chg="del">
        <pc:chgData name="Soumaya ZERHOUNI" userId="690e4aa6-586b-4341-8f1a-54a3e7457441" providerId="ADAL" clId="{69AAD651-E566-4914-B951-51E57822A563}" dt="2024-01-29T15:41:02.296" v="2398" actId="47"/>
        <pc:sldMkLst>
          <pc:docMk/>
          <pc:sldMk cId="2838154252" sldId="2142533077"/>
        </pc:sldMkLst>
      </pc:sldChg>
      <pc:sldChg chg="addSp delSp modSp mod addCm">
        <pc:chgData name="Soumaya ZERHOUNI" userId="690e4aa6-586b-4341-8f1a-54a3e7457441" providerId="ADAL" clId="{69AAD651-E566-4914-B951-51E57822A563}" dt="2024-01-25T11:27:27.466" v="955" actId="1035"/>
        <pc:sldMkLst>
          <pc:docMk/>
          <pc:sldMk cId="1498202446" sldId="2142533081"/>
        </pc:sldMkLst>
        <pc:spChg chg="mod">
          <ac:chgData name="Soumaya ZERHOUNI" userId="690e4aa6-586b-4341-8f1a-54a3e7457441" providerId="ADAL" clId="{69AAD651-E566-4914-B951-51E57822A563}" dt="2024-01-25T10:19:32.491" v="863" actId="20577"/>
          <ac:spMkLst>
            <pc:docMk/>
            <pc:sldMk cId="1498202446" sldId="2142533081"/>
            <ac:spMk id="2" creationId="{5C91E337-74B9-4A35-882F-27BDB4F76934}"/>
          </ac:spMkLst>
        </pc:spChg>
        <pc:spChg chg="del mod">
          <ac:chgData name="Soumaya ZERHOUNI" userId="690e4aa6-586b-4341-8f1a-54a3e7457441" providerId="ADAL" clId="{69AAD651-E566-4914-B951-51E57822A563}" dt="2024-01-25T10:25:46.584" v="903" actId="478"/>
          <ac:spMkLst>
            <pc:docMk/>
            <pc:sldMk cId="1498202446" sldId="2142533081"/>
            <ac:spMk id="3" creationId="{174974DA-7B77-73E5-DA31-788C8601FB82}"/>
          </ac:spMkLst>
        </pc:spChg>
        <pc:spChg chg="add del mod">
          <ac:chgData name="Soumaya ZERHOUNI" userId="690e4aa6-586b-4341-8f1a-54a3e7457441" providerId="ADAL" clId="{69AAD651-E566-4914-B951-51E57822A563}" dt="2024-01-25T10:11:55.279" v="843" actId="478"/>
          <ac:spMkLst>
            <pc:docMk/>
            <pc:sldMk cId="1498202446" sldId="2142533081"/>
            <ac:spMk id="5" creationId="{759B6656-B179-D687-F9C4-C97A61F502EB}"/>
          </ac:spMkLst>
        </pc:spChg>
        <pc:spChg chg="add mod">
          <ac:chgData name="Soumaya ZERHOUNI" userId="690e4aa6-586b-4341-8f1a-54a3e7457441" providerId="ADAL" clId="{69AAD651-E566-4914-B951-51E57822A563}" dt="2024-01-25T10:47:31.503" v="945" actId="1076"/>
          <ac:spMkLst>
            <pc:docMk/>
            <pc:sldMk cId="1498202446" sldId="2142533081"/>
            <ac:spMk id="7" creationId="{815BB72A-D139-B4B6-38EB-7F563B43F437}"/>
          </ac:spMkLst>
        </pc:spChg>
        <pc:spChg chg="add mod">
          <ac:chgData name="Soumaya ZERHOUNI" userId="690e4aa6-586b-4341-8f1a-54a3e7457441" providerId="ADAL" clId="{69AAD651-E566-4914-B951-51E57822A563}" dt="2024-01-25T10:46:18.081" v="942"/>
          <ac:spMkLst>
            <pc:docMk/>
            <pc:sldMk cId="1498202446" sldId="2142533081"/>
            <ac:spMk id="8" creationId="{30A79F56-FAE7-8BE2-0770-A3910DD6A7AD}"/>
          </ac:spMkLst>
        </pc:spChg>
        <pc:spChg chg="mod">
          <ac:chgData name="Soumaya ZERHOUNI" userId="690e4aa6-586b-4341-8f1a-54a3e7457441" providerId="ADAL" clId="{69AAD651-E566-4914-B951-51E57822A563}" dt="2024-01-25T10:25:38.535" v="902" actId="1076"/>
          <ac:spMkLst>
            <pc:docMk/>
            <pc:sldMk cId="1498202446" sldId="2142533081"/>
            <ac:spMk id="25" creationId="{7650F469-1543-DA13-F492-0ACCDBC4E7AC}"/>
          </ac:spMkLst>
        </pc:spChg>
        <pc:spChg chg="mod">
          <ac:chgData name="Soumaya ZERHOUNI" userId="690e4aa6-586b-4341-8f1a-54a3e7457441" providerId="ADAL" clId="{69AAD651-E566-4914-B951-51E57822A563}" dt="2024-01-25T10:25:38.535" v="902" actId="1076"/>
          <ac:spMkLst>
            <pc:docMk/>
            <pc:sldMk cId="1498202446" sldId="2142533081"/>
            <ac:spMk id="26" creationId="{9DB18737-9B4E-804C-B2AF-E66EA4B044F4}"/>
          </ac:spMkLst>
        </pc:spChg>
        <pc:spChg chg="mod">
          <ac:chgData name="Soumaya ZERHOUNI" userId="690e4aa6-586b-4341-8f1a-54a3e7457441" providerId="ADAL" clId="{69AAD651-E566-4914-B951-51E57822A563}" dt="2024-01-25T10:25:38.535" v="902" actId="1076"/>
          <ac:spMkLst>
            <pc:docMk/>
            <pc:sldMk cId="1498202446" sldId="2142533081"/>
            <ac:spMk id="27" creationId="{BA1C1D97-7DC0-D8A9-F85D-75B4ACB66339}"/>
          </ac:spMkLst>
        </pc:spChg>
        <pc:spChg chg="mod">
          <ac:chgData name="Soumaya ZERHOUNI" userId="690e4aa6-586b-4341-8f1a-54a3e7457441" providerId="ADAL" clId="{69AAD651-E566-4914-B951-51E57822A563}" dt="2024-01-25T10:19:54.854" v="871" actId="1035"/>
          <ac:spMkLst>
            <pc:docMk/>
            <pc:sldMk cId="1498202446" sldId="2142533081"/>
            <ac:spMk id="28" creationId="{C2F0888F-EA1D-227B-C2C3-9A9A8D1FEAE0}"/>
          </ac:spMkLst>
        </pc:spChg>
        <pc:spChg chg="mod">
          <ac:chgData name="Soumaya ZERHOUNI" userId="690e4aa6-586b-4341-8f1a-54a3e7457441" providerId="ADAL" clId="{69AAD651-E566-4914-B951-51E57822A563}" dt="2024-01-25T11:27:27.466" v="955" actId="1035"/>
          <ac:spMkLst>
            <pc:docMk/>
            <pc:sldMk cId="1498202446" sldId="2142533081"/>
            <ac:spMk id="29" creationId="{63E8E401-026B-174D-62A0-D7A073F435A9}"/>
          </ac:spMkLst>
        </pc:spChg>
        <pc:spChg chg="mod">
          <ac:chgData name="Soumaya ZERHOUNI" userId="690e4aa6-586b-4341-8f1a-54a3e7457441" providerId="ADAL" clId="{69AAD651-E566-4914-B951-51E57822A563}" dt="2024-01-25T11:27:18.532" v="949" actId="20577"/>
          <ac:spMkLst>
            <pc:docMk/>
            <pc:sldMk cId="1498202446" sldId="2142533081"/>
            <ac:spMk id="30" creationId="{A62B2D44-1910-A9A1-BA4D-A062BA7306A8}"/>
          </ac:spMkLst>
        </pc:spChg>
        <pc:spChg chg="mod">
          <ac:chgData name="Soumaya ZERHOUNI" userId="690e4aa6-586b-4341-8f1a-54a3e7457441" providerId="ADAL" clId="{69AAD651-E566-4914-B951-51E57822A563}" dt="2024-01-25T11:27:27.466" v="955" actId="1035"/>
          <ac:spMkLst>
            <pc:docMk/>
            <pc:sldMk cId="1498202446" sldId="2142533081"/>
            <ac:spMk id="32" creationId="{65DF6B08-6250-94BD-E881-761C04317202}"/>
          </ac:spMkLst>
        </pc:spChg>
        <pc:spChg chg="mod">
          <ac:chgData name="Soumaya ZERHOUNI" userId="690e4aa6-586b-4341-8f1a-54a3e7457441" providerId="ADAL" clId="{69AAD651-E566-4914-B951-51E57822A563}" dt="2024-01-25T10:24:37.844" v="899" actId="20577"/>
          <ac:spMkLst>
            <pc:docMk/>
            <pc:sldMk cId="1498202446" sldId="2142533081"/>
            <ac:spMk id="37" creationId="{1E3A4F5C-F0EC-B312-1D27-8853431B4052}"/>
          </ac:spMkLst>
        </pc:spChg>
        <pc:spChg chg="mod">
          <ac:chgData name="Soumaya ZERHOUNI" userId="690e4aa6-586b-4341-8f1a-54a3e7457441" providerId="ADAL" clId="{69AAD651-E566-4914-B951-51E57822A563}" dt="2024-01-25T11:27:27.466" v="955" actId="1035"/>
          <ac:spMkLst>
            <pc:docMk/>
            <pc:sldMk cId="1498202446" sldId="2142533081"/>
            <ac:spMk id="38" creationId="{ACF0E883-CE91-4584-D2D0-1AAE5D2A83C7}"/>
          </ac:spMkLst>
        </pc:spChg>
        <pc:spChg chg="mod">
          <ac:chgData name="Soumaya ZERHOUNI" userId="690e4aa6-586b-4341-8f1a-54a3e7457441" providerId="ADAL" clId="{69AAD651-E566-4914-B951-51E57822A563}" dt="2024-01-25T11:27:27.466" v="955" actId="1035"/>
          <ac:spMkLst>
            <pc:docMk/>
            <pc:sldMk cId="1498202446" sldId="2142533081"/>
            <ac:spMk id="39" creationId="{66DE346A-4175-B121-2D70-87DEA3571E6F}"/>
          </ac:spMkLst>
        </pc:spChg>
        <pc:spChg chg="mod">
          <ac:chgData name="Soumaya ZERHOUNI" userId="690e4aa6-586b-4341-8f1a-54a3e7457441" providerId="ADAL" clId="{69AAD651-E566-4914-B951-51E57822A563}" dt="2024-01-25T11:27:27.466" v="955" actId="1035"/>
          <ac:spMkLst>
            <pc:docMk/>
            <pc:sldMk cId="1498202446" sldId="2142533081"/>
            <ac:spMk id="40" creationId="{8E18858E-A55C-0202-F56B-80ABCA497B24}"/>
          </ac:spMkLst>
        </pc:spChg>
        <pc:spChg chg="mod">
          <ac:chgData name="Soumaya ZERHOUNI" userId="690e4aa6-586b-4341-8f1a-54a3e7457441" providerId="ADAL" clId="{69AAD651-E566-4914-B951-51E57822A563}" dt="2024-01-25T11:27:27.466" v="955" actId="1035"/>
          <ac:spMkLst>
            <pc:docMk/>
            <pc:sldMk cId="1498202446" sldId="2142533081"/>
            <ac:spMk id="41" creationId="{E95C4DD6-4913-B086-D994-6AD95BA8FA5C}"/>
          </ac:spMkLst>
        </pc:spChg>
        <pc:grpChg chg="mod">
          <ac:chgData name="Soumaya ZERHOUNI" userId="690e4aa6-586b-4341-8f1a-54a3e7457441" providerId="ADAL" clId="{69AAD651-E566-4914-B951-51E57822A563}" dt="2024-01-25T11:27:27.466" v="955" actId="1035"/>
          <ac:grpSpMkLst>
            <pc:docMk/>
            <pc:sldMk cId="1498202446" sldId="2142533081"/>
            <ac:grpSpMk id="33" creationId="{B555DBF6-F7A1-8E10-CCC0-F2B0829FBA92}"/>
          </ac:grpSpMkLst>
        </pc:grpChg>
        <pc:extLst>
          <p:ext xmlns:p="http://schemas.openxmlformats.org/presentationml/2006/main" uri="{D6D511B9-2390-475A-947B-AFAB55BFBCF1}">
            <pc226:cmChg xmlns:pc226="http://schemas.microsoft.com/office/powerpoint/2022/06/main/command" chg="add">
              <pc226:chgData name="Soumaya ZERHOUNI" userId="690e4aa6-586b-4341-8f1a-54a3e7457441" providerId="ADAL" clId="{69AAD651-E566-4914-B951-51E57822A563}" dt="2024-01-25T10:46:55.895" v="943"/>
              <pc2:cmMkLst xmlns:pc2="http://schemas.microsoft.com/office/powerpoint/2019/9/main/command">
                <pc:docMk/>
                <pc:sldMk cId="1498202446" sldId="2142533081"/>
                <pc2:cmMk id="{8E0283CB-9A26-4B49-8548-2DA81E715339}"/>
              </pc2:cmMkLst>
            </pc226:cmChg>
          </p:ext>
        </pc:extLst>
      </pc:sldChg>
      <pc:sldChg chg="addSp delSp modSp mod">
        <pc:chgData name="Soumaya ZERHOUNI" userId="690e4aa6-586b-4341-8f1a-54a3e7457441" providerId="ADAL" clId="{69AAD651-E566-4914-B951-51E57822A563}" dt="2024-02-02T16:13:18.752" v="12603" actId="1037"/>
        <pc:sldMkLst>
          <pc:docMk/>
          <pc:sldMk cId="1887839909" sldId="2147376928"/>
        </pc:sldMkLst>
        <pc:spChg chg="mod">
          <ac:chgData name="Soumaya ZERHOUNI" userId="690e4aa6-586b-4341-8f1a-54a3e7457441" providerId="ADAL" clId="{69AAD651-E566-4914-B951-51E57822A563}" dt="2024-02-02T16:13:18.752" v="12603" actId="1037"/>
          <ac:spMkLst>
            <pc:docMk/>
            <pc:sldMk cId="1887839909" sldId="2147376928"/>
            <ac:spMk id="2" creationId="{01EB7CAD-19A1-9CC3-5862-86CC9A88B5F2}"/>
          </ac:spMkLst>
        </pc:spChg>
        <pc:spChg chg="add del mod">
          <ac:chgData name="Soumaya ZERHOUNI" userId="690e4aa6-586b-4341-8f1a-54a3e7457441" providerId="ADAL" clId="{69AAD651-E566-4914-B951-51E57822A563}" dt="2024-02-02T15:48:01.438" v="12272" actId="21"/>
          <ac:spMkLst>
            <pc:docMk/>
            <pc:sldMk cId="1887839909" sldId="2147376928"/>
            <ac:spMk id="9" creationId="{788E0113-6E4E-A257-CC26-18F42944D0C6}"/>
          </ac:spMkLst>
        </pc:spChg>
        <pc:spChg chg="add del mod">
          <ac:chgData name="Soumaya ZERHOUNI" userId="690e4aa6-586b-4341-8f1a-54a3e7457441" providerId="ADAL" clId="{69AAD651-E566-4914-B951-51E57822A563}" dt="2024-02-02T15:48:43.786" v="12284" actId="21"/>
          <ac:spMkLst>
            <pc:docMk/>
            <pc:sldMk cId="1887839909" sldId="2147376928"/>
            <ac:spMk id="13" creationId="{788E0113-6E4E-A257-CC26-18F42944D0C6}"/>
          </ac:spMkLst>
        </pc:spChg>
        <pc:spChg chg="add del mod">
          <ac:chgData name="Soumaya ZERHOUNI" userId="690e4aa6-586b-4341-8f1a-54a3e7457441" providerId="ADAL" clId="{69AAD651-E566-4914-B951-51E57822A563}" dt="2024-02-02T15:49:27.621" v="12299" actId="21"/>
          <ac:spMkLst>
            <pc:docMk/>
            <pc:sldMk cId="1887839909" sldId="2147376928"/>
            <ac:spMk id="15" creationId="{788E0113-6E4E-A257-CC26-18F42944D0C6}"/>
          </ac:spMkLst>
        </pc:spChg>
        <pc:spChg chg="add del mod">
          <ac:chgData name="Soumaya ZERHOUNI" userId="690e4aa6-586b-4341-8f1a-54a3e7457441" providerId="ADAL" clId="{69AAD651-E566-4914-B951-51E57822A563}" dt="2024-02-02T15:49:27.621" v="12299" actId="21"/>
          <ac:spMkLst>
            <pc:docMk/>
            <pc:sldMk cId="1887839909" sldId="2147376928"/>
            <ac:spMk id="17" creationId="{CDF7FCD6-922B-476A-B5BD-93E1A1FE1CC4}"/>
          </ac:spMkLst>
        </pc:spChg>
        <pc:spChg chg="add del mod">
          <ac:chgData name="Soumaya ZERHOUNI" userId="690e4aa6-586b-4341-8f1a-54a3e7457441" providerId="ADAL" clId="{69AAD651-E566-4914-B951-51E57822A563}" dt="2024-02-02T16:02:08.300" v="12504" actId="21"/>
          <ac:spMkLst>
            <pc:docMk/>
            <pc:sldMk cId="1887839909" sldId="2147376928"/>
            <ac:spMk id="19" creationId="{CFAD091F-44DE-20F7-46FE-2C33D886B45A}"/>
          </ac:spMkLst>
        </pc:spChg>
        <pc:spChg chg="add del mod">
          <ac:chgData name="Soumaya ZERHOUNI" userId="690e4aa6-586b-4341-8f1a-54a3e7457441" providerId="ADAL" clId="{69AAD651-E566-4914-B951-51E57822A563}" dt="2024-02-02T16:02:08.300" v="12504" actId="21"/>
          <ac:spMkLst>
            <pc:docMk/>
            <pc:sldMk cId="1887839909" sldId="2147376928"/>
            <ac:spMk id="26" creationId="{788E0113-6E4E-A257-CC26-18F42944D0C6}"/>
          </ac:spMkLst>
        </pc:spChg>
        <pc:spChg chg="add del mod">
          <ac:chgData name="Soumaya ZERHOUNI" userId="690e4aa6-586b-4341-8f1a-54a3e7457441" providerId="ADAL" clId="{69AAD651-E566-4914-B951-51E57822A563}" dt="2024-02-02T16:02:08.300" v="12504" actId="21"/>
          <ac:spMkLst>
            <pc:docMk/>
            <pc:sldMk cId="1887839909" sldId="2147376928"/>
            <ac:spMk id="27" creationId="{CDF7FCD6-922B-476A-B5BD-93E1A1FE1CC4}"/>
          </ac:spMkLst>
        </pc:spChg>
        <pc:spChg chg="mod">
          <ac:chgData name="Soumaya ZERHOUNI" userId="690e4aa6-586b-4341-8f1a-54a3e7457441" providerId="ADAL" clId="{69AAD651-E566-4914-B951-51E57822A563}" dt="2024-02-02T16:03:03.647" v="12506" actId="1076"/>
          <ac:spMkLst>
            <pc:docMk/>
            <pc:sldMk cId="1887839909" sldId="2147376928"/>
            <ac:spMk id="44" creationId="{A701F5D0-898E-4B8E-96FA-99DF84B7AC97}"/>
          </ac:spMkLst>
        </pc:spChg>
        <pc:spChg chg="mod">
          <ac:chgData name="Soumaya ZERHOUNI" userId="690e4aa6-586b-4341-8f1a-54a3e7457441" providerId="ADAL" clId="{69AAD651-E566-4914-B951-51E57822A563}" dt="2024-02-02T16:01:22.734" v="12490" actId="27636"/>
          <ac:spMkLst>
            <pc:docMk/>
            <pc:sldMk cId="1887839909" sldId="2147376928"/>
            <ac:spMk id="65" creationId="{2B91D39A-3E18-4164-B79E-1ECE1E6510B2}"/>
          </ac:spMkLst>
        </pc:spChg>
        <pc:graphicFrameChg chg="mod modGraphic">
          <ac:chgData name="Soumaya ZERHOUNI" userId="690e4aa6-586b-4341-8f1a-54a3e7457441" providerId="ADAL" clId="{69AAD651-E566-4914-B951-51E57822A563}" dt="2024-02-02T16:13:18.752" v="12603" actId="1037"/>
          <ac:graphicFrameMkLst>
            <pc:docMk/>
            <pc:sldMk cId="1887839909" sldId="2147376928"/>
            <ac:graphicFrameMk id="50" creationId="{91EF391E-FD98-4C57-B3FC-704AE319DA44}"/>
          </ac:graphicFrameMkLst>
        </pc:graphicFrameChg>
        <pc:picChg chg="mod">
          <ac:chgData name="Soumaya ZERHOUNI" userId="690e4aa6-586b-4341-8f1a-54a3e7457441" providerId="ADAL" clId="{69AAD651-E566-4914-B951-51E57822A563}" dt="2024-02-02T16:13:18.752" v="12603" actId="1037"/>
          <ac:picMkLst>
            <pc:docMk/>
            <pc:sldMk cId="1887839909" sldId="2147376928"/>
            <ac:picMk id="3" creationId="{71322547-EA8C-1BC2-1736-6889A250E7C4}"/>
          </ac:picMkLst>
        </pc:picChg>
        <pc:picChg chg="mod">
          <ac:chgData name="Soumaya ZERHOUNI" userId="690e4aa6-586b-4341-8f1a-54a3e7457441" providerId="ADAL" clId="{69AAD651-E566-4914-B951-51E57822A563}" dt="2024-02-02T16:13:18.752" v="12603" actId="1037"/>
          <ac:picMkLst>
            <pc:docMk/>
            <pc:sldMk cId="1887839909" sldId="2147376928"/>
            <ac:picMk id="5" creationId="{824F8E82-2ABB-57C6-7BFF-4E85BE8CDAC0}"/>
          </ac:picMkLst>
        </pc:picChg>
        <pc:picChg chg="mod">
          <ac:chgData name="Soumaya ZERHOUNI" userId="690e4aa6-586b-4341-8f1a-54a3e7457441" providerId="ADAL" clId="{69AAD651-E566-4914-B951-51E57822A563}" dt="2024-02-02T16:13:18.752" v="12603" actId="1037"/>
          <ac:picMkLst>
            <pc:docMk/>
            <pc:sldMk cId="1887839909" sldId="2147376928"/>
            <ac:picMk id="7" creationId="{BEAAF1E0-9847-119D-D43A-5770E30B0E24}"/>
          </ac:picMkLst>
        </pc:picChg>
        <pc:picChg chg="mod">
          <ac:chgData name="Soumaya ZERHOUNI" userId="690e4aa6-586b-4341-8f1a-54a3e7457441" providerId="ADAL" clId="{69AAD651-E566-4914-B951-51E57822A563}" dt="2024-02-02T16:13:18.752" v="12603" actId="1037"/>
          <ac:picMkLst>
            <pc:docMk/>
            <pc:sldMk cId="1887839909" sldId="2147376928"/>
            <ac:picMk id="8" creationId="{50153171-743B-56FE-10B2-0143CA41A8F4}"/>
          </ac:picMkLst>
        </pc:picChg>
        <pc:picChg chg="mod">
          <ac:chgData name="Soumaya ZERHOUNI" userId="690e4aa6-586b-4341-8f1a-54a3e7457441" providerId="ADAL" clId="{69AAD651-E566-4914-B951-51E57822A563}" dt="2024-02-02T16:13:18.752" v="12603" actId="1037"/>
          <ac:picMkLst>
            <pc:docMk/>
            <pc:sldMk cId="1887839909" sldId="2147376928"/>
            <ac:picMk id="11" creationId="{5C520D6E-F721-388F-6045-F468042BACDC}"/>
          </ac:picMkLst>
        </pc:picChg>
        <pc:picChg chg="mod">
          <ac:chgData name="Soumaya ZERHOUNI" userId="690e4aa6-586b-4341-8f1a-54a3e7457441" providerId="ADAL" clId="{69AAD651-E566-4914-B951-51E57822A563}" dt="2024-02-02T16:13:18.752" v="12603" actId="1037"/>
          <ac:picMkLst>
            <pc:docMk/>
            <pc:sldMk cId="1887839909" sldId="2147376928"/>
            <ac:picMk id="28" creationId="{ED7251EB-C0BD-47D9-AD05-811864C3E02B}"/>
          </ac:picMkLst>
        </pc:picChg>
        <pc:picChg chg="mod">
          <ac:chgData name="Soumaya ZERHOUNI" userId="690e4aa6-586b-4341-8f1a-54a3e7457441" providerId="ADAL" clId="{69AAD651-E566-4914-B951-51E57822A563}" dt="2024-02-02T16:13:18.752" v="12603" actId="1037"/>
          <ac:picMkLst>
            <pc:docMk/>
            <pc:sldMk cId="1887839909" sldId="2147376928"/>
            <ac:picMk id="29" creationId="{0154B94E-4C4D-466D-9E78-AAE1FA91E9C0}"/>
          </ac:picMkLst>
        </pc:picChg>
        <pc:picChg chg="mod">
          <ac:chgData name="Soumaya ZERHOUNI" userId="690e4aa6-586b-4341-8f1a-54a3e7457441" providerId="ADAL" clId="{69AAD651-E566-4914-B951-51E57822A563}" dt="2024-02-02T16:13:18.752" v="12603" actId="1037"/>
          <ac:picMkLst>
            <pc:docMk/>
            <pc:sldMk cId="1887839909" sldId="2147376928"/>
            <ac:picMk id="51" creationId="{732C610B-9A79-424F-849A-1CAE10C0D73F}"/>
          </ac:picMkLst>
        </pc:picChg>
        <pc:picChg chg="mod">
          <ac:chgData name="Soumaya ZERHOUNI" userId="690e4aa6-586b-4341-8f1a-54a3e7457441" providerId="ADAL" clId="{69AAD651-E566-4914-B951-51E57822A563}" dt="2024-02-02T16:13:18.752" v="12603" actId="1037"/>
          <ac:picMkLst>
            <pc:docMk/>
            <pc:sldMk cId="1887839909" sldId="2147376928"/>
            <ac:picMk id="52" creationId="{3B2E1E39-0BEB-4F4B-B158-696404842B3B}"/>
          </ac:picMkLst>
        </pc:picChg>
      </pc:sldChg>
      <pc:sldChg chg="addSp delSp modSp mod">
        <pc:chgData name="Soumaya ZERHOUNI" userId="690e4aa6-586b-4341-8f1a-54a3e7457441" providerId="ADAL" clId="{69AAD651-E566-4914-B951-51E57822A563}" dt="2024-02-14T11:33:04.592" v="12960" actId="14100"/>
        <pc:sldMkLst>
          <pc:docMk/>
          <pc:sldMk cId="1636239246" sldId="2147376929"/>
        </pc:sldMkLst>
        <pc:spChg chg="add del mod">
          <ac:chgData name="Soumaya ZERHOUNI" userId="690e4aa6-586b-4341-8f1a-54a3e7457441" providerId="ADAL" clId="{69AAD651-E566-4914-B951-51E57822A563}" dt="2024-02-02T15:48:39.513" v="12282" actId="21"/>
          <ac:spMkLst>
            <pc:docMk/>
            <pc:sldMk cId="1636239246" sldId="2147376929"/>
            <ac:spMk id="9" creationId="{788E0113-6E4E-A257-CC26-18F42944D0C6}"/>
          </ac:spMkLst>
        </pc:spChg>
        <pc:spChg chg="mod">
          <ac:chgData name="Soumaya ZERHOUNI" userId="690e4aa6-586b-4341-8f1a-54a3e7457441" providerId="ADAL" clId="{69AAD651-E566-4914-B951-51E57822A563}" dt="2024-02-14T11:33:04.592" v="12960" actId="14100"/>
          <ac:spMkLst>
            <pc:docMk/>
            <pc:sldMk cId="1636239246" sldId="2147376929"/>
            <ac:spMk id="13" creationId="{C7B5FEAC-D508-22E1-9F67-72C1ED0CC901}"/>
          </ac:spMkLst>
        </pc:spChg>
        <pc:spChg chg="add del mod">
          <ac:chgData name="Soumaya ZERHOUNI" userId="690e4aa6-586b-4341-8f1a-54a3e7457441" providerId="ADAL" clId="{69AAD651-E566-4914-B951-51E57822A563}" dt="2024-02-02T15:49:34.002" v="12303" actId="21"/>
          <ac:spMkLst>
            <pc:docMk/>
            <pc:sldMk cId="1636239246" sldId="2147376929"/>
            <ac:spMk id="14" creationId="{788E0113-6E4E-A257-CC26-18F42944D0C6}"/>
          </ac:spMkLst>
        </pc:spChg>
        <pc:spChg chg="add del mod">
          <ac:chgData name="Soumaya ZERHOUNI" userId="690e4aa6-586b-4341-8f1a-54a3e7457441" providerId="ADAL" clId="{69AAD651-E566-4914-B951-51E57822A563}" dt="2024-02-02T15:49:31.146" v="12301" actId="21"/>
          <ac:spMkLst>
            <pc:docMk/>
            <pc:sldMk cId="1636239246" sldId="2147376929"/>
            <ac:spMk id="15" creationId="{788E0113-6E4E-A257-CC26-18F42944D0C6}"/>
          </ac:spMkLst>
        </pc:spChg>
        <pc:spChg chg="add del mod">
          <ac:chgData name="Soumaya ZERHOUNI" userId="690e4aa6-586b-4341-8f1a-54a3e7457441" providerId="ADAL" clId="{69AAD651-E566-4914-B951-51E57822A563}" dt="2024-02-02T15:49:34.002" v="12303" actId="21"/>
          <ac:spMkLst>
            <pc:docMk/>
            <pc:sldMk cId="1636239246" sldId="2147376929"/>
            <ac:spMk id="16" creationId="{CDF7FCD6-922B-476A-B5BD-93E1A1FE1CC4}"/>
          </ac:spMkLst>
        </pc:spChg>
        <pc:spChg chg="add del mod">
          <ac:chgData name="Soumaya ZERHOUNI" userId="690e4aa6-586b-4341-8f1a-54a3e7457441" providerId="ADAL" clId="{69AAD651-E566-4914-B951-51E57822A563}" dt="2024-02-02T15:49:31.146" v="12301" actId="21"/>
          <ac:spMkLst>
            <pc:docMk/>
            <pc:sldMk cId="1636239246" sldId="2147376929"/>
            <ac:spMk id="17" creationId="{CDF7FCD6-922B-476A-B5BD-93E1A1FE1CC4}"/>
          </ac:spMkLst>
        </pc:spChg>
        <pc:graphicFrameChg chg="mod modGraphic">
          <ac:chgData name="Soumaya ZERHOUNI" userId="690e4aa6-586b-4341-8f1a-54a3e7457441" providerId="ADAL" clId="{69AAD651-E566-4914-B951-51E57822A563}" dt="2024-02-02T16:24:22.340" v="12827" actId="14100"/>
          <ac:graphicFrameMkLst>
            <pc:docMk/>
            <pc:sldMk cId="1636239246" sldId="2147376929"/>
            <ac:graphicFrameMk id="50" creationId="{91EF391E-FD98-4C57-B3FC-704AE319DA44}"/>
          </ac:graphicFrameMkLst>
        </pc:graphicFrameChg>
        <pc:picChg chg="mod">
          <ac:chgData name="Soumaya ZERHOUNI" userId="690e4aa6-586b-4341-8f1a-54a3e7457441" providerId="ADAL" clId="{69AAD651-E566-4914-B951-51E57822A563}" dt="2024-02-02T16:23:58.585" v="12823" actId="1076"/>
          <ac:picMkLst>
            <pc:docMk/>
            <pc:sldMk cId="1636239246" sldId="2147376929"/>
            <ac:picMk id="2" creationId="{B8E73212-49A5-F32D-6F6C-A921BAAD7F56}"/>
          </ac:picMkLst>
        </pc:picChg>
        <pc:picChg chg="mod">
          <ac:chgData name="Soumaya ZERHOUNI" userId="690e4aa6-586b-4341-8f1a-54a3e7457441" providerId="ADAL" clId="{69AAD651-E566-4914-B951-51E57822A563}" dt="2024-02-02T16:23:58.585" v="12823" actId="1076"/>
          <ac:picMkLst>
            <pc:docMk/>
            <pc:sldMk cId="1636239246" sldId="2147376929"/>
            <ac:picMk id="4" creationId="{5C9124B5-CAE6-B3B5-EE3F-8166AEC1D03C}"/>
          </ac:picMkLst>
        </pc:picChg>
        <pc:picChg chg="mod">
          <ac:chgData name="Soumaya ZERHOUNI" userId="690e4aa6-586b-4341-8f1a-54a3e7457441" providerId="ADAL" clId="{69AAD651-E566-4914-B951-51E57822A563}" dt="2024-02-02T16:23:58.585" v="12823" actId="1076"/>
          <ac:picMkLst>
            <pc:docMk/>
            <pc:sldMk cId="1636239246" sldId="2147376929"/>
            <ac:picMk id="5" creationId="{D416AB16-5F59-0314-691C-4D361CCA8EC0}"/>
          </ac:picMkLst>
        </pc:picChg>
        <pc:picChg chg="mod">
          <ac:chgData name="Soumaya ZERHOUNI" userId="690e4aa6-586b-4341-8f1a-54a3e7457441" providerId="ADAL" clId="{69AAD651-E566-4914-B951-51E57822A563}" dt="2024-02-02T16:23:58.585" v="12823" actId="1076"/>
          <ac:picMkLst>
            <pc:docMk/>
            <pc:sldMk cId="1636239246" sldId="2147376929"/>
            <ac:picMk id="6" creationId="{7850B839-DE89-70CA-4BF4-FB3B2C5FE39A}"/>
          </ac:picMkLst>
        </pc:picChg>
        <pc:picChg chg="mod">
          <ac:chgData name="Soumaya ZERHOUNI" userId="690e4aa6-586b-4341-8f1a-54a3e7457441" providerId="ADAL" clId="{69AAD651-E566-4914-B951-51E57822A563}" dt="2024-02-02T16:23:58.585" v="12823" actId="1076"/>
          <ac:picMkLst>
            <pc:docMk/>
            <pc:sldMk cId="1636239246" sldId="2147376929"/>
            <ac:picMk id="7" creationId="{3EC1CDEB-37E3-EAF0-E7B0-EABC2BD99E06}"/>
          </ac:picMkLst>
        </pc:picChg>
        <pc:picChg chg="mod">
          <ac:chgData name="Soumaya ZERHOUNI" userId="690e4aa6-586b-4341-8f1a-54a3e7457441" providerId="ADAL" clId="{69AAD651-E566-4914-B951-51E57822A563}" dt="2024-02-02T16:23:58.585" v="12823" actId="1076"/>
          <ac:picMkLst>
            <pc:docMk/>
            <pc:sldMk cId="1636239246" sldId="2147376929"/>
            <ac:picMk id="10" creationId="{9E091571-4716-C349-797E-AC285B66B36E}"/>
          </ac:picMkLst>
        </pc:picChg>
        <pc:picChg chg="mod">
          <ac:chgData name="Soumaya ZERHOUNI" userId="690e4aa6-586b-4341-8f1a-54a3e7457441" providerId="ADAL" clId="{69AAD651-E566-4914-B951-51E57822A563}" dt="2024-02-02T16:23:58.585" v="12823" actId="1076"/>
          <ac:picMkLst>
            <pc:docMk/>
            <pc:sldMk cId="1636239246" sldId="2147376929"/>
            <ac:picMk id="18" creationId="{5B0B32E6-68E7-7EE7-D6E9-84806E92AE9C}"/>
          </ac:picMkLst>
        </pc:picChg>
        <pc:picChg chg="mod">
          <ac:chgData name="Soumaya ZERHOUNI" userId="690e4aa6-586b-4341-8f1a-54a3e7457441" providerId="ADAL" clId="{69AAD651-E566-4914-B951-51E57822A563}" dt="2024-02-02T16:23:58.585" v="12823" actId="1076"/>
          <ac:picMkLst>
            <pc:docMk/>
            <pc:sldMk cId="1636239246" sldId="2147376929"/>
            <ac:picMk id="27" creationId="{DC447A9A-C36A-4569-9147-989E205C34FD}"/>
          </ac:picMkLst>
        </pc:picChg>
        <pc:picChg chg="mod">
          <ac:chgData name="Soumaya ZERHOUNI" userId="690e4aa6-586b-4341-8f1a-54a3e7457441" providerId="ADAL" clId="{69AAD651-E566-4914-B951-51E57822A563}" dt="2024-02-02T16:23:58.585" v="12823" actId="1076"/>
          <ac:picMkLst>
            <pc:docMk/>
            <pc:sldMk cId="1636239246" sldId="2147376929"/>
            <ac:picMk id="28" creationId="{ED7251EB-C0BD-47D9-AD05-811864C3E02B}"/>
          </ac:picMkLst>
        </pc:picChg>
        <pc:picChg chg="mod">
          <ac:chgData name="Soumaya ZERHOUNI" userId="690e4aa6-586b-4341-8f1a-54a3e7457441" providerId="ADAL" clId="{69AAD651-E566-4914-B951-51E57822A563}" dt="2024-02-02T16:23:58.585" v="12823" actId="1076"/>
          <ac:picMkLst>
            <pc:docMk/>
            <pc:sldMk cId="1636239246" sldId="2147376929"/>
            <ac:picMk id="29" creationId="{0154B94E-4C4D-466D-9E78-AAE1FA91E9C0}"/>
          </ac:picMkLst>
        </pc:picChg>
        <pc:picChg chg="mod">
          <ac:chgData name="Soumaya ZERHOUNI" userId="690e4aa6-586b-4341-8f1a-54a3e7457441" providerId="ADAL" clId="{69AAD651-E566-4914-B951-51E57822A563}" dt="2024-02-02T16:23:58.585" v="12823" actId="1076"/>
          <ac:picMkLst>
            <pc:docMk/>
            <pc:sldMk cId="1636239246" sldId="2147376929"/>
            <ac:picMk id="30" creationId="{C780B4F2-8A37-402F-9B0E-FCFA556E0A03}"/>
          </ac:picMkLst>
        </pc:picChg>
        <pc:picChg chg="mod">
          <ac:chgData name="Soumaya ZERHOUNI" userId="690e4aa6-586b-4341-8f1a-54a3e7457441" providerId="ADAL" clId="{69AAD651-E566-4914-B951-51E57822A563}" dt="2024-02-02T16:23:58.585" v="12823" actId="1076"/>
          <ac:picMkLst>
            <pc:docMk/>
            <pc:sldMk cId="1636239246" sldId="2147376929"/>
            <ac:picMk id="51" creationId="{732C610B-9A79-424F-849A-1CAE10C0D73F}"/>
          </ac:picMkLst>
        </pc:picChg>
        <pc:picChg chg="mod">
          <ac:chgData name="Soumaya ZERHOUNI" userId="690e4aa6-586b-4341-8f1a-54a3e7457441" providerId="ADAL" clId="{69AAD651-E566-4914-B951-51E57822A563}" dt="2024-02-02T16:23:58.585" v="12823" actId="1076"/>
          <ac:picMkLst>
            <pc:docMk/>
            <pc:sldMk cId="1636239246" sldId="2147376929"/>
            <ac:picMk id="52" creationId="{3B2E1E39-0BEB-4F4B-B158-696404842B3B}"/>
          </ac:picMkLst>
        </pc:picChg>
      </pc:sldChg>
      <pc:sldChg chg="addSp delSp modSp mod">
        <pc:chgData name="Soumaya ZERHOUNI" userId="690e4aa6-586b-4341-8f1a-54a3e7457441" providerId="ADAL" clId="{69AAD651-E566-4914-B951-51E57822A563}" dt="2024-01-31T15:27:10.142" v="5566" actId="21"/>
        <pc:sldMkLst>
          <pc:docMk/>
          <pc:sldMk cId="212100458" sldId="2147376937"/>
        </pc:sldMkLst>
        <pc:spChg chg="mod">
          <ac:chgData name="Soumaya ZERHOUNI" userId="690e4aa6-586b-4341-8f1a-54a3e7457441" providerId="ADAL" clId="{69AAD651-E566-4914-B951-51E57822A563}" dt="2024-01-31T15:27:08.077" v="5565" actId="554"/>
          <ac:spMkLst>
            <pc:docMk/>
            <pc:sldMk cId="212100458" sldId="2147376937"/>
            <ac:spMk id="3" creationId="{42DA54D8-BD8E-C42B-629D-8F6685218EA8}"/>
          </ac:spMkLst>
        </pc:spChg>
        <pc:spChg chg="add del mod">
          <ac:chgData name="Soumaya ZERHOUNI" userId="690e4aa6-586b-4341-8f1a-54a3e7457441" providerId="ADAL" clId="{69AAD651-E566-4914-B951-51E57822A563}" dt="2024-01-31T15:27:10.142" v="5566" actId="21"/>
          <ac:spMkLst>
            <pc:docMk/>
            <pc:sldMk cId="212100458" sldId="2147376937"/>
            <ac:spMk id="38" creationId="{C124D77C-535F-5AC4-1115-2BDE686461FD}"/>
          </ac:spMkLst>
        </pc:spChg>
      </pc:sldChg>
      <pc:sldChg chg="add del ord">
        <pc:chgData name="Soumaya ZERHOUNI" userId="690e4aa6-586b-4341-8f1a-54a3e7457441" providerId="ADAL" clId="{69AAD651-E566-4914-B951-51E57822A563}" dt="2024-01-30T17:59:10.664" v="5025" actId="47"/>
        <pc:sldMkLst>
          <pc:docMk/>
          <pc:sldMk cId="4215182879" sldId="2147376940"/>
        </pc:sldMkLst>
      </pc:sldChg>
      <pc:sldChg chg="add del ord">
        <pc:chgData name="Soumaya ZERHOUNI" userId="690e4aa6-586b-4341-8f1a-54a3e7457441" providerId="ADAL" clId="{69AAD651-E566-4914-B951-51E57822A563}" dt="2024-01-30T17:59:10.664" v="5025" actId="47"/>
        <pc:sldMkLst>
          <pc:docMk/>
          <pc:sldMk cId="3843630796" sldId="2147376941"/>
        </pc:sldMkLst>
      </pc:sldChg>
      <pc:sldChg chg="add del ord">
        <pc:chgData name="Soumaya ZERHOUNI" userId="690e4aa6-586b-4341-8f1a-54a3e7457441" providerId="ADAL" clId="{69AAD651-E566-4914-B951-51E57822A563}" dt="2024-01-30T17:59:10.664" v="5025" actId="47"/>
        <pc:sldMkLst>
          <pc:docMk/>
          <pc:sldMk cId="1477891559" sldId="2147376942"/>
        </pc:sldMkLst>
      </pc:sldChg>
      <pc:sldChg chg="add del ord">
        <pc:chgData name="Soumaya ZERHOUNI" userId="690e4aa6-586b-4341-8f1a-54a3e7457441" providerId="ADAL" clId="{69AAD651-E566-4914-B951-51E57822A563}" dt="2024-01-30T17:59:10.664" v="5025" actId="47"/>
        <pc:sldMkLst>
          <pc:docMk/>
          <pc:sldMk cId="1888167054" sldId="2147376943"/>
        </pc:sldMkLst>
      </pc:sldChg>
      <pc:sldChg chg="add">
        <pc:chgData name="Soumaya ZERHOUNI" userId="690e4aa6-586b-4341-8f1a-54a3e7457441" providerId="ADAL" clId="{69AAD651-E566-4914-B951-51E57822A563}" dt="2024-01-30T18:00:53.779" v="5026"/>
        <pc:sldMkLst>
          <pc:docMk/>
          <pc:sldMk cId="4265832668" sldId="2147376944"/>
        </pc:sldMkLst>
      </pc:sldChg>
      <pc:sldChg chg="addSp modSp mod">
        <pc:chgData name="Soumaya ZERHOUNI" userId="690e4aa6-586b-4341-8f1a-54a3e7457441" providerId="ADAL" clId="{69AAD651-E566-4914-B951-51E57822A563}" dt="2024-02-01T15:26:27.307" v="10787" actId="1076"/>
        <pc:sldMkLst>
          <pc:docMk/>
          <pc:sldMk cId="1019240302" sldId="2147377304"/>
        </pc:sldMkLst>
        <pc:spChg chg="mod">
          <ac:chgData name="Soumaya ZERHOUNI" userId="690e4aa6-586b-4341-8f1a-54a3e7457441" providerId="ADAL" clId="{69AAD651-E566-4914-B951-51E57822A563}" dt="2024-02-01T15:26:22.197" v="10786" actId="1076"/>
          <ac:spMkLst>
            <pc:docMk/>
            <pc:sldMk cId="1019240302" sldId="2147377304"/>
            <ac:spMk id="4" creationId="{4F9C36C9-7D0A-EF6A-5CFB-FB0AD85F7B1B}"/>
          </ac:spMkLst>
        </pc:spChg>
        <pc:spChg chg="mod">
          <ac:chgData name="Soumaya ZERHOUNI" userId="690e4aa6-586b-4341-8f1a-54a3e7457441" providerId="ADAL" clId="{69AAD651-E566-4914-B951-51E57822A563}" dt="2024-02-01T15:26:22.197" v="10786" actId="1076"/>
          <ac:spMkLst>
            <pc:docMk/>
            <pc:sldMk cId="1019240302" sldId="2147377304"/>
            <ac:spMk id="9" creationId="{4204EFA4-5222-03D6-3A72-2C92941AF113}"/>
          </ac:spMkLst>
        </pc:spChg>
        <pc:spChg chg="mod">
          <ac:chgData name="Soumaya ZERHOUNI" userId="690e4aa6-586b-4341-8f1a-54a3e7457441" providerId="ADAL" clId="{69AAD651-E566-4914-B951-51E57822A563}" dt="2024-02-01T15:05:34.115" v="9883" actId="20577"/>
          <ac:spMkLst>
            <pc:docMk/>
            <pc:sldMk cId="1019240302" sldId="2147377304"/>
            <ac:spMk id="11" creationId="{FDCADF8C-70BB-19C9-1831-229C9D185664}"/>
          </ac:spMkLst>
        </pc:spChg>
        <pc:spChg chg="add mod">
          <ac:chgData name="Soumaya ZERHOUNI" userId="690e4aa6-586b-4341-8f1a-54a3e7457441" providerId="ADAL" clId="{69AAD651-E566-4914-B951-51E57822A563}" dt="2024-02-01T15:07:53.478" v="10064" actId="21"/>
          <ac:spMkLst>
            <pc:docMk/>
            <pc:sldMk cId="1019240302" sldId="2147377304"/>
            <ac:spMk id="13" creationId="{079BBC65-D3C1-F515-C042-0FABF35A580D}"/>
          </ac:spMkLst>
        </pc:spChg>
        <pc:spChg chg="add mod">
          <ac:chgData name="Soumaya ZERHOUNI" userId="690e4aa6-586b-4341-8f1a-54a3e7457441" providerId="ADAL" clId="{69AAD651-E566-4914-B951-51E57822A563}" dt="2024-02-01T15:26:27.307" v="10787" actId="1076"/>
          <ac:spMkLst>
            <pc:docMk/>
            <pc:sldMk cId="1019240302" sldId="2147377304"/>
            <ac:spMk id="14" creationId="{60600AAF-C2A9-DF0B-5CD6-ABE4F2E06230}"/>
          </ac:spMkLst>
        </pc:spChg>
        <pc:picChg chg="mod">
          <ac:chgData name="Soumaya ZERHOUNI" userId="690e4aa6-586b-4341-8f1a-54a3e7457441" providerId="ADAL" clId="{69AAD651-E566-4914-B951-51E57822A563}" dt="2024-02-01T15:26:22.197" v="10786" actId="1076"/>
          <ac:picMkLst>
            <pc:docMk/>
            <pc:sldMk cId="1019240302" sldId="2147377304"/>
            <ac:picMk id="6" creationId="{E22D5A88-DE49-08F9-28F7-0ACBD0E75D55}"/>
          </ac:picMkLst>
        </pc:picChg>
        <pc:picChg chg="mod">
          <ac:chgData name="Soumaya ZERHOUNI" userId="690e4aa6-586b-4341-8f1a-54a3e7457441" providerId="ADAL" clId="{69AAD651-E566-4914-B951-51E57822A563}" dt="2024-02-01T15:26:22.197" v="10786" actId="1076"/>
          <ac:picMkLst>
            <pc:docMk/>
            <pc:sldMk cId="1019240302" sldId="2147377304"/>
            <ac:picMk id="7" creationId="{188DFC3C-CB43-BBA7-EA19-141145180AF1}"/>
          </ac:picMkLst>
        </pc:picChg>
      </pc:sldChg>
      <pc:sldChg chg="addSp delSp modSp mod">
        <pc:chgData name="Soumaya ZERHOUNI" userId="690e4aa6-586b-4341-8f1a-54a3e7457441" providerId="ADAL" clId="{69AAD651-E566-4914-B951-51E57822A563}" dt="2024-02-02T17:28:32.541" v="12873" actId="2"/>
        <pc:sldMkLst>
          <pc:docMk/>
          <pc:sldMk cId="4212703342" sldId="2147470798"/>
        </pc:sldMkLst>
        <pc:spChg chg="mod">
          <ac:chgData name="Soumaya ZERHOUNI" userId="690e4aa6-586b-4341-8f1a-54a3e7457441" providerId="ADAL" clId="{69AAD651-E566-4914-B951-51E57822A563}" dt="2024-02-02T17:28:32.541" v="12873" actId="2"/>
          <ac:spMkLst>
            <pc:docMk/>
            <pc:sldMk cId="4212703342" sldId="2147470798"/>
            <ac:spMk id="21" creationId="{4A9712BC-2492-44A1-9479-D0153480674B}"/>
          </ac:spMkLst>
        </pc:spChg>
        <pc:spChg chg="mod">
          <ac:chgData name="Soumaya ZERHOUNI" userId="690e4aa6-586b-4341-8f1a-54a3e7457441" providerId="ADAL" clId="{69AAD651-E566-4914-B951-51E57822A563}" dt="2024-01-31T15:30:32.489" v="5610" actId="554"/>
          <ac:spMkLst>
            <pc:docMk/>
            <pc:sldMk cId="4212703342" sldId="2147470798"/>
            <ac:spMk id="42" creationId="{2E761A34-DCE4-4809-8CE6-42F91F503F4E}"/>
          </ac:spMkLst>
        </pc:spChg>
        <pc:spChg chg="add del mod">
          <ac:chgData name="Soumaya ZERHOUNI" userId="690e4aa6-586b-4341-8f1a-54a3e7457441" providerId="ADAL" clId="{69AAD651-E566-4914-B951-51E57822A563}" dt="2024-01-31T15:30:35.810" v="5611" actId="21"/>
          <ac:spMkLst>
            <pc:docMk/>
            <pc:sldMk cId="4212703342" sldId="2147470798"/>
            <ac:spMk id="67" creationId="{C124D77C-535F-5AC4-1115-2BDE686461FD}"/>
          </ac:spMkLst>
        </pc:spChg>
        <pc:graphicFrameChg chg="modGraphic">
          <ac:chgData name="Soumaya ZERHOUNI" userId="690e4aa6-586b-4341-8f1a-54a3e7457441" providerId="ADAL" clId="{69AAD651-E566-4914-B951-51E57822A563}" dt="2024-02-02T17:28:25.835" v="12872" actId="2"/>
          <ac:graphicFrameMkLst>
            <pc:docMk/>
            <pc:sldMk cId="4212703342" sldId="2147470798"/>
            <ac:graphicFrameMk id="66" creationId="{8B4DDF8D-5451-4B9A-BCF8-057011D0841C}"/>
          </ac:graphicFrameMkLst>
        </pc:graphicFrameChg>
      </pc:sldChg>
      <pc:sldChg chg="modSp mod">
        <pc:chgData name="Soumaya ZERHOUNI" userId="690e4aa6-586b-4341-8f1a-54a3e7457441" providerId="ADAL" clId="{69AAD651-E566-4914-B951-51E57822A563}" dt="2024-02-02T17:21:55.669" v="12838" actId="2"/>
        <pc:sldMkLst>
          <pc:docMk/>
          <pc:sldMk cId="29736360" sldId="2147470826"/>
        </pc:sldMkLst>
        <pc:spChg chg="mod">
          <ac:chgData name="Soumaya ZERHOUNI" userId="690e4aa6-586b-4341-8f1a-54a3e7457441" providerId="ADAL" clId="{69AAD651-E566-4914-B951-51E57822A563}" dt="2024-01-31T17:26:55.995" v="6724" actId="207"/>
          <ac:spMkLst>
            <pc:docMk/>
            <pc:sldMk cId="29736360" sldId="2147470826"/>
            <ac:spMk id="3" creationId="{4F9FAFBE-2745-27BC-11D2-FDC606CA489F}"/>
          </ac:spMkLst>
        </pc:spChg>
        <pc:spChg chg="mod">
          <ac:chgData name="Soumaya ZERHOUNI" userId="690e4aa6-586b-4341-8f1a-54a3e7457441" providerId="ADAL" clId="{69AAD651-E566-4914-B951-51E57822A563}" dt="2024-02-02T17:21:44.646" v="12837" actId="2"/>
          <ac:spMkLst>
            <pc:docMk/>
            <pc:sldMk cId="29736360" sldId="2147470826"/>
            <ac:spMk id="47" creationId="{5ACE338F-AA70-8C28-393B-1687C80E4BA8}"/>
          </ac:spMkLst>
        </pc:spChg>
        <pc:spChg chg="mod">
          <ac:chgData name="Soumaya ZERHOUNI" userId="690e4aa6-586b-4341-8f1a-54a3e7457441" providerId="ADAL" clId="{69AAD651-E566-4914-B951-51E57822A563}" dt="2024-02-02T17:21:55.669" v="12838" actId="2"/>
          <ac:spMkLst>
            <pc:docMk/>
            <pc:sldMk cId="29736360" sldId="2147470826"/>
            <ac:spMk id="62" creationId="{30C1B9DA-212A-ED9C-BA6A-7AB9B1421B65}"/>
          </ac:spMkLst>
        </pc:spChg>
      </pc:sldChg>
      <pc:sldChg chg="addSp delSp modSp mod">
        <pc:chgData name="Soumaya ZERHOUNI" userId="690e4aa6-586b-4341-8f1a-54a3e7457441" providerId="ADAL" clId="{69AAD651-E566-4914-B951-51E57822A563}" dt="2024-02-02T17:22:06.505" v="12841" actId="2"/>
        <pc:sldMkLst>
          <pc:docMk/>
          <pc:sldMk cId="2137399364" sldId="2147470896"/>
        </pc:sldMkLst>
        <pc:spChg chg="mod">
          <ac:chgData name="Soumaya ZERHOUNI" userId="690e4aa6-586b-4341-8f1a-54a3e7457441" providerId="ADAL" clId="{69AAD651-E566-4914-B951-51E57822A563}" dt="2024-01-31T15:26:18.859" v="5549" actId="554"/>
          <ac:spMkLst>
            <pc:docMk/>
            <pc:sldMk cId="2137399364" sldId="2147470896"/>
            <ac:spMk id="2" creationId="{92B3BA93-CDF9-BDD9-B6F3-9F45915F3D59}"/>
          </ac:spMkLst>
        </pc:spChg>
        <pc:spChg chg="mod">
          <ac:chgData name="Soumaya ZERHOUNI" userId="690e4aa6-586b-4341-8f1a-54a3e7457441" providerId="ADAL" clId="{69AAD651-E566-4914-B951-51E57822A563}" dt="2024-01-30T15:26:53.622" v="4946" actId="1076"/>
          <ac:spMkLst>
            <pc:docMk/>
            <pc:sldMk cId="2137399364" sldId="2147470896"/>
            <ac:spMk id="9" creationId="{706B163F-7708-97E9-8212-076E697FE2FC}"/>
          </ac:spMkLst>
        </pc:spChg>
        <pc:spChg chg="mod">
          <ac:chgData name="Soumaya ZERHOUNI" userId="690e4aa6-586b-4341-8f1a-54a3e7457441" providerId="ADAL" clId="{69AAD651-E566-4914-B951-51E57822A563}" dt="2024-02-02T17:21:57.707" v="12839" actId="2"/>
          <ac:spMkLst>
            <pc:docMk/>
            <pc:sldMk cId="2137399364" sldId="2147470896"/>
            <ac:spMk id="19" creationId="{450CC1F5-34C8-9D47-E61E-4AA3E04E75C5}"/>
          </ac:spMkLst>
        </pc:spChg>
        <pc:spChg chg="add mod">
          <ac:chgData name="Soumaya ZERHOUNI" userId="690e4aa6-586b-4341-8f1a-54a3e7457441" providerId="ADAL" clId="{69AAD651-E566-4914-B951-51E57822A563}" dt="2024-01-30T13:47:20.583" v="4267"/>
          <ac:spMkLst>
            <pc:docMk/>
            <pc:sldMk cId="2137399364" sldId="2147470896"/>
            <ac:spMk id="19" creationId="{99313942-3A6D-539C-5E46-3F6EB4E6D9FA}"/>
          </ac:spMkLst>
        </pc:spChg>
        <pc:spChg chg="add del mod">
          <ac:chgData name="Soumaya ZERHOUNI" userId="690e4aa6-586b-4341-8f1a-54a3e7457441" providerId="ADAL" clId="{69AAD651-E566-4914-B951-51E57822A563}" dt="2024-01-31T15:26:21.163" v="5550" actId="21"/>
          <ac:spMkLst>
            <pc:docMk/>
            <pc:sldMk cId="2137399364" sldId="2147470896"/>
            <ac:spMk id="23" creationId="{777EE9C9-8D48-C3FB-7B08-B34E86458197}"/>
          </ac:spMkLst>
        </pc:spChg>
        <pc:spChg chg="mod">
          <ac:chgData name="Soumaya ZERHOUNI" userId="690e4aa6-586b-4341-8f1a-54a3e7457441" providerId="ADAL" clId="{69AAD651-E566-4914-B951-51E57822A563}" dt="2024-02-02T17:22:06.505" v="12841" actId="2"/>
          <ac:spMkLst>
            <pc:docMk/>
            <pc:sldMk cId="2137399364" sldId="2147470896"/>
            <ac:spMk id="25" creationId="{B42F8D2A-9953-03C8-1E18-7D8DA53CCE45}"/>
          </ac:spMkLst>
        </pc:spChg>
        <pc:spChg chg="mod">
          <ac:chgData name="Soumaya ZERHOUNI" userId="690e4aa6-586b-4341-8f1a-54a3e7457441" providerId="ADAL" clId="{69AAD651-E566-4914-B951-51E57822A563}" dt="2024-01-29T17:22:29.233" v="3016" actId="20577"/>
          <ac:spMkLst>
            <pc:docMk/>
            <pc:sldMk cId="2137399364" sldId="2147470896"/>
            <ac:spMk id="26" creationId="{B14ED9C8-637C-15A7-9DAE-F8C1D2500910}"/>
          </ac:spMkLst>
        </pc:spChg>
        <pc:picChg chg="mod">
          <ac:chgData name="Soumaya ZERHOUNI" userId="690e4aa6-586b-4341-8f1a-54a3e7457441" providerId="ADAL" clId="{69AAD651-E566-4914-B951-51E57822A563}" dt="2024-01-29T17:23:21.593" v="3020" actId="1076"/>
          <ac:picMkLst>
            <pc:docMk/>
            <pc:sldMk cId="2137399364" sldId="2147470896"/>
            <ac:picMk id="4" creationId="{97AB1039-A2D2-FD6B-111F-9B06B6E132B1}"/>
          </ac:picMkLst>
        </pc:picChg>
        <pc:picChg chg="mod">
          <ac:chgData name="Soumaya ZERHOUNI" userId="690e4aa6-586b-4341-8f1a-54a3e7457441" providerId="ADAL" clId="{69AAD651-E566-4914-B951-51E57822A563}" dt="2024-01-29T17:23:08.591" v="3017" actId="1076"/>
          <ac:picMkLst>
            <pc:docMk/>
            <pc:sldMk cId="2137399364" sldId="2147470896"/>
            <ac:picMk id="5" creationId="{320392C2-DD45-D7C3-E1F2-82068E90E1BD}"/>
          </ac:picMkLst>
        </pc:picChg>
        <pc:picChg chg="mod">
          <ac:chgData name="Soumaya ZERHOUNI" userId="690e4aa6-586b-4341-8f1a-54a3e7457441" providerId="ADAL" clId="{69AAD651-E566-4914-B951-51E57822A563}" dt="2024-01-29T17:23:08.591" v="3017" actId="1076"/>
          <ac:picMkLst>
            <pc:docMk/>
            <pc:sldMk cId="2137399364" sldId="2147470896"/>
            <ac:picMk id="7" creationId="{6DE46B0E-6379-1B36-04F4-318783965374}"/>
          </ac:picMkLst>
        </pc:picChg>
        <pc:picChg chg="mod">
          <ac:chgData name="Soumaya ZERHOUNI" userId="690e4aa6-586b-4341-8f1a-54a3e7457441" providerId="ADAL" clId="{69AAD651-E566-4914-B951-51E57822A563}" dt="2024-01-29T17:23:14.162" v="3018" actId="1076"/>
          <ac:picMkLst>
            <pc:docMk/>
            <pc:sldMk cId="2137399364" sldId="2147470896"/>
            <ac:picMk id="11" creationId="{B57E4134-6CF8-B3D1-4C94-60A1BD687978}"/>
          </ac:picMkLst>
        </pc:picChg>
        <pc:picChg chg="mod">
          <ac:chgData name="Soumaya ZERHOUNI" userId="690e4aa6-586b-4341-8f1a-54a3e7457441" providerId="ADAL" clId="{69AAD651-E566-4914-B951-51E57822A563}" dt="2024-01-29T17:23:21.593" v="3020" actId="1076"/>
          <ac:picMkLst>
            <pc:docMk/>
            <pc:sldMk cId="2137399364" sldId="2147470896"/>
            <ac:picMk id="13" creationId="{A24B1A1F-1A61-37E9-FF14-24FA30CADDD7}"/>
          </ac:picMkLst>
        </pc:picChg>
      </pc:sldChg>
      <pc:sldChg chg="addSp delSp modSp mod">
        <pc:chgData name="Soumaya ZERHOUNI" userId="690e4aa6-586b-4341-8f1a-54a3e7457441" providerId="ADAL" clId="{69AAD651-E566-4914-B951-51E57822A563}" dt="2024-02-02T17:25:31.352" v="12845" actId="2"/>
        <pc:sldMkLst>
          <pc:docMk/>
          <pc:sldMk cId="3389911945" sldId="2147480290"/>
        </pc:sldMkLst>
        <pc:spChg chg="mod">
          <ac:chgData name="Soumaya ZERHOUNI" userId="690e4aa6-586b-4341-8f1a-54a3e7457441" providerId="ADAL" clId="{69AAD651-E566-4914-B951-51E57822A563}" dt="2024-01-31T15:26:37.622" v="5555" actId="554"/>
          <ac:spMkLst>
            <pc:docMk/>
            <pc:sldMk cId="3389911945" sldId="2147480290"/>
            <ac:spMk id="2" creationId="{5C91E337-74B9-4A35-882F-27BDB4F76934}"/>
          </ac:spMkLst>
        </pc:spChg>
        <pc:spChg chg="add del mod">
          <ac:chgData name="Soumaya ZERHOUNI" userId="690e4aa6-586b-4341-8f1a-54a3e7457441" providerId="ADAL" clId="{69AAD651-E566-4914-B951-51E57822A563}" dt="2024-01-31T15:26:41.163" v="5556" actId="21"/>
          <ac:spMkLst>
            <pc:docMk/>
            <pc:sldMk cId="3389911945" sldId="2147480290"/>
            <ac:spMk id="23" creationId="{777EE9C9-8D48-C3FB-7B08-B34E86458197}"/>
          </ac:spMkLst>
        </pc:spChg>
        <pc:spChg chg="mod">
          <ac:chgData name="Soumaya ZERHOUNI" userId="690e4aa6-586b-4341-8f1a-54a3e7457441" providerId="ADAL" clId="{69AAD651-E566-4914-B951-51E57822A563}" dt="2024-02-02T17:22:27.356" v="12843" actId="2"/>
          <ac:spMkLst>
            <pc:docMk/>
            <pc:sldMk cId="3389911945" sldId="2147480290"/>
            <ac:spMk id="45" creationId="{342146C9-3AE2-24E5-54BA-901F52F86A95}"/>
          </ac:spMkLst>
        </pc:spChg>
        <pc:spChg chg="mod">
          <ac:chgData name="Soumaya ZERHOUNI" userId="690e4aa6-586b-4341-8f1a-54a3e7457441" providerId="ADAL" clId="{69AAD651-E566-4914-B951-51E57822A563}" dt="2024-02-02T17:22:30.305" v="12844" actId="2"/>
          <ac:spMkLst>
            <pc:docMk/>
            <pc:sldMk cId="3389911945" sldId="2147480290"/>
            <ac:spMk id="64" creationId="{B727713A-EBF8-01A7-BB9A-1E585F7FB3BB}"/>
          </ac:spMkLst>
        </pc:spChg>
        <pc:spChg chg="mod">
          <ac:chgData name="Soumaya ZERHOUNI" userId="690e4aa6-586b-4341-8f1a-54a3e7457441" providerId="ADAL" clId="{69AAD651-E566-4914-B951-51E57822A563}" dt="2024-02-02T17:25:31.352" v="12845" actId="2"/>
          <ac:spMkLst>
            <pc:docMk/>
            <pc:sldMk cId="3389911945" sldId="2147480290"/>
            <ac:spMk id="65" creationId="{7C1DBA7E-AF5C-D860-DA8F-27382A93C6E9}"/>
          </ac:spMkLst>
        </pc:spChg>
      </pc:sldChg>
      <pc:sldChg chg="addSp delSp modSp mod addCm modCm">
        <pc:chgData name="Soumaya ZERHOUNI" userId="690e4aa6-586b-4341-8f1a-54a3e7457441" providerId="ADAL" clId="{69AAD651-E566-4914-B951-51E57822A563}" dt="2024-02-02T15:19:57.155" v="12256" actId="20577"/>
        <pc:sldMkLst>
          <pc:docMk/>
          <pc:sldMk cId="596601236" sldId="2147480292"/>
        </pc:sldMkLst>
        <pc:spChg chg="mod">
          <ac:chgData name="Soumaya ZERHOUNI" userId="690e4aa6-586b-4341-8f1a-54a3e7457441" providerId="ADAL" clId="{69AAD651-E566-4914-B951-51E57822A563}" dt="2024-01-31T15:22:08.017" v="5519" actId="554"/>
          <ac:spMkLst>
            <pc:docMk/>
            <pc:sldMk cId="596601236" sldId="2147480292"/>
            <ac:spMk id="2" creationId="{5C91E337-74B9-4A35-882F-27BDB4F76934}"/>
          </ac:spMkLst>
        </pc:spChg>
        <pc:spChg chg="add del mod">
          <ac:chgData name="Soumaya ZERHOUNI" userId="690e4aa6-586b-4341-8f1a-54a3e7457441" providerId="ADAL" clId="{69AAD651-E566-4914-B951-51E57822A563}" dt="2024-01-31T15:25:50.750" v="5542" actId="21"/>
          <ac:spMkLst>
            <pc:docMk/>
            <pc:sldMk cId="596601236" sldId="2147480292"/>
            <ac:spMk id="3" creationId="{777EE9C9-8D48-C3FB-7B08-B34E86458197}"/>
          </ac:spMkLst>
        </pc:spChg>
        <pc:spChg chg="mod">
          <ac:chgData name="Soumaya ZERHOUNI" userId="690e4aa6-586b-4341-8f1a-54a3e7457441" providerId="ADAL" clId="{69AAD651-E566-4914-B951-51E57822A563}" dt="2024-02-02T15:19:57.155" v="12256" actId="20577"/>
          <ac:spMkLst>
            <pc:docMk/>
            <pc:sldMk cId="596601236" sldId="2147480292"/>
            <ac:spMk id="4" creationId="{57894F96-70C8-2EF7-4474-546B825A05B8}"/>
          </ac:spMkLst>
        </pc:spChg>
        <pc:spChg chg="add mod">
          <ac:chgData name="Soumaya ZERHOUNI" userId="690e4aa6-586b-4341-8f1a-54a3e7457441" providerId="ADAL" clId="{69AAD651-E566-4914-B951-51E57822A563}" dt="2024-01-30T08:38:56.114" v="3289"/>
          <ac:spMkLst>
            <pc:docMk/>
            <pc:sldMk cId="596601236" sldId="2147480292"/>
            <ac:spMk id="6" creationId="{6FF65C42-7AF7-0DAF-B97B-C5A9F5149513}"/>
          </ac:spMkLst>
        </pc:spChg>
        <pc:spChg chg="add del mod">
          <ac:chgData name="Soumaya ZERHOUNI" userId="690e4aa6-586b-4341-8f1a-54a3e7457441" providerId="ADAL" clId="{69AAD651-E566-4914-B951-51E57822A563}" dt="2024-01-26T15:14:01.574" v="1226" actId="478"/>
          <ac:spMkLst>
            <pc:docMk/>
            <pc:sldMk cId="596601236" sldId="2147480292"/>
            <ac:spMk id="6" creationId="{B578D738-075D-10A2-3AE7-B8F9CFBF1312}"/>
          </ac:spMkLst>
        </pc:spChg>
        <pc:spChg chg="add del">
          <ac:chgData name="Soumaya ZERHOUNI" userId="690e4aa6-586b-4341-8f1a-54a3e7457441" providerId="ADAL" clId="{69AAD651-E566-4914-B951-51E57822A563}" dt="2024-01-24T15:10:59.485" v="628" actId="478"/>
          <ac:spMkLst>
            <pc:docMk/>
            <pc:sldMk cId="596601236" sldId="2147480292"/>
            <ac:spMk id="6" creationId="{BA1E2314-CB6E-D734-5A2E-6CB20E560B17}"/>
          </ac:spMkLst>
        </pc:spChg>
        <pc:spChg chg="add del mod">
          <ac:chgData name="Soumaya ZERHOUNI" userId="690e4aa6-586b-4341-8f1a-54a3e7457441" providerId="ADAL" clId="{69AAD651-E566-4914-B951-51E57822A563}" dt="2024-01-26T16:06:01" v="1730" actId="478"/>
          <ac:spMkLst>
            <pc:docMk/>
            <pc:sldMk cId="596601236" sldId="2147480292"/>
            <ac:spMk id="10" creationId="{7EC2A6B9-C385-3BDA-FE41-950FA3F2A989}"/>
          </ac:spMkLst>
        </pc:spChg>
        <pc:spChg chg="add mod">
          <ac:chgData name="Soumaya ZERHOUNI" userId="690e4aa6-586b-4341-8f1a-54a3e7457441" providerId="ADAL" clId="{69AAD651-E566-4914-B951-51E57822A563}" dt="2024-01-26T15:14:33.146" v="1228"/>
          <ac:spMkLst>
            <pc:docMk/>
            <pc:sldMk cId="596601236" sldId="2147480292"/>
            <ac:spMk id="36" creationId="{5D535FEA-EF2E-2E46-ED51-0561075C836A}"/>
          </ac:spMkLst>
        </pc:spChg>
        <pc:spChg chg="add mod">
          <ac:chgData name="Soumaya ZERHOUNI" userId="690e4aa6-586b-4341-8f1a-54a3e7457441" providerId="ADAL" clId="{69AAD651-E566-4914-B951-51E57822A563}" dt="2024-01-30T16:34:18.089" v="4956" actId="1076"/>
          <ac:spMkLst>
            <pc:docMk/>
            <pc:sldMk cId="596601236" sldId="2147480292"/>
            <ac:spMk id="36" creationId="{A5B01E4A-A820-5E89-D447-BE0273A2C2EF}"/>
          </ac:spMkLst>
        </pc:spChg>
        <pc:extLst>
          <p:ext xmlns:p="http://schemas.openxmlformats.org/presentationml/2006/main" uri="{D6D511B9-2390-475A-947B-AFAB55BFBCF1}">
            <pc226:cmChg xmlns:pc226="http://schemas.microsoft.com/office/powerpoint/2022/06/main/command" chg="add mod">
              <pc226:chgData name="Soumaya ZERHOUNI" userId="690e4aa6-586b-4341-8f1a-54a3e7457441" providerId="ADAL" clId="{69AAD651-E566-4914-B951-51E57822A563}" dt="2024-01-26T15:46:39.962" v="1421"/>
              <pc2:cmMkLst xmlns:pc2="http://schemas.microsoft.com/office/powerpoint/2019/9/main/command">
                <pc:docMk/>
                <pc:sldMk cId="596601236" sldId="2147480292"/>
                <pc2:cmMk id="{95D0C8BF-A3F9-485F-BD2E-5F9607E29D50}"/>
              </pc2:cmMkLst>
            </pc226:cmChg>
          </p:ext>
        </pc:extLst>
      </pc:sldChg>
      <pc:sldChg chg="addSp delSp modSp add del mod ord">
        <pc:chgData name="Soumaya ZERHOUNI" userId="690e4aa6-586b-4341-8f1a-54a3e7457441" providerId="ADAL" clId="{69AAD651-E566-4914-B951-51E57822A563}" dt="2024-01-30T14:29:41.536" v="4453" actId="47"/>
        <pc:sldMkLst>
          <pc:docMk/>
          <pc:sldMk cId="4251555247" sldId="2147480293"/>
        </pc:sldMkLst>
        <pc:spChg chg="mod">
          <ac:chgData name="Soumaya ZERHOUNI" userId="690e4aa6-586b-4341-8f1a-54a3e7457441" providerId="ADAL" clId="{69AAD651-E566-4914-B951-51E57822A563}" dt="2024-01-24T10:31:26.523" v="195" actId="255"/>
          <ac:spMkLst>
            <pc:docMk/>
            <pc:sldMk cId="4251555247" sldId="2147480293"/>
            <ac:spMk id="2" creationId="{7E57833B-F9F8-3CAB-30A5-335812052FC8}"/>
          </ac:spMkLst>
        </pc:spChg>
        <pc:spChg chg="add mod ord">
          <ac:chgData name="Soumaya ZERHOUNI" userId="690e4aa6-586b-4341-8f1a-54a3e7457441" providerId="ADAL" clId="{69AAD651-E566-4914-B951-51E57822A563}" dt="2024-01-30T13:59:43.115" v="4429" actId="207"/>
          <ac:spMkLst>
            <pc:docMk/>
            <pc:sldMk cId="4251555247" sldId="2147480293"/>
            <ac:spMk id="3" creationId="{41FDDD5F-CFE8-1ABC-5B78-1040239B27A6}"/>
          </ac:spMkLst>
        </pc:spChg>
        <pc:spChg chg="add mod">
          <ac:chgData name="Soumaya ZERHOUNI" userId="690e4aa6-586b-4341-8f1a-54a3e7457441" providerId="ADAL" clId="{69AAD651-E566-4914-B951-51E57822A563}" dt="2024-01-25T13:07:52.553" v="975" actId="571"/>
          <ac:spMkLst>
            <pc:docMk/>
            <pc:sldMk cId="4251555247" sldId="2147480293"/>
            <ac:spMk id="4" creationId="{B59DE90A-0CDB-9180-DC3B-74DC3CBAFAA5}"/>
          </ac:spMkLst>
        </pc:spChg>
        <pc:spChg chg="add del mod">
          <ac:chgData name="Soumaya ZERHOUNI" userId="690e4aa6-586b-4341-8f1a-54a3e7457441" providerId="ADAL" clId="{69AAD651-E566-4914-B951-51E57822A563}" dt="2024-01-30T10:28:22.788" v="3543" actId="478"/>
          <ac:spMkLst>
            <pc:docMk/>
            <pc:sldMk cId="4251555247" sldId="2147480293"/>
            <ac:spMk id="4" creationId="{F384B37B-6387-9687-C47A-42280212ED8E}"/>
          </ac:spMkLst>
        </pc:spChg>
        <pc:spChg chg="del mod topLvl">
          <ac:chgData name="Soumaya ZERHOUNI" userId="690e4aa6-586b-4341-8f1a-54a3e7457441" providerId="ADAL" clId="{69AAD651-E566-4914-B951-51E57822A563}" dt="2024-01-30T13:56:24.308" v="4385" actId="478"/>
          <ac:spMkLst>
            <pc:docMk/>
            <pc:sldMk cId="4251555247" sldId="2147480293"/>
            <ac:spMk id="5" creationId="{02A81392-860F-FA2E-1A23-F5B48A76F7F1}"/>
          </ac:spMkLst>
        </pc:spChg>
        <pc:spChg chg="del mod topLvl">
          <ac:chgData name="Soumaya ZERHOUNI" userId="690e4aa6-586b-4341-8f1a-54a3e7457441" providerId="ADAL" clId="{69AAD651-E566-4914-B951-51E57822A563}" dt="2024-01-30T13:56:24.308" v="4385" actId="478"/>
          <ac:spMkLst>
            <pc:docMk/>
            <pc:sldMk cId="4251555247" sldId="2147480293"/>
            <ac:spMk id="6" creationId="{A1E41D64-FD95-50CC-8966-70D3F683CECA}"/>
          </ac:spMkLst>
        </pc:spChg>
        <pc:spChg chg="del mod topLvl">
          <ac:chgData name="Soumaya ZERHOUNI" userId="690e4aa6-586b-4341-8f1a-54a3e7457441" providerId="ADAL" clId="{69AAD651-E566-4914-B951-51E57822A563}" dt="2024-01-30T13:56:24.308" v="4385" actId="478"/>
          <ac:spMkLst>
            <pc:docMk/>
            <pc:sldMk cId="4251555247" sldId="2147480293"/>
            <ac:spMk id="7" creationId="{213E6CC4-AD4D-F30E-91AB-24842EE07D5F}"/>
          </ac:spMkLst>
        </pc:spChg>
        <pc:spChg chg="del mod topLvl">
          <ac:chgData name="Soumaya ZERHOUNI" userId="690e4aa6-586b-4341-8f1a-54a3e7457441" providerId="ADAL" clId="{69AAD651-E566-4914-B951-51E57822A563}" dt="2024-01-30T13:56:24.308" v="4385" actId="478"/>
          <ac:spMkLst>
            <pc:docMk/>
            <pc:sldMk cId="4251555247" sldId="2147480293"/>
            <ac:spMk id="8" creationId="{2ACD1FCA-7E7D-E323-E3E9-B5E5B7FEC84F}"/>
          </ac:spMkLst>
        </pc:spChg>
        <pc:spChg chg="del mod topLvl">
          <ac:chgData name="Soumaya ZERHOUNI" userId="690e4aa6-586b-4341-8f1a-54a3e7457441" providerId="ADAL" clId="{69AAD651-E566-4914-B951-51E57822A563}" dt="2024-01-30T13:56:24.308" v="4385" actId="478"/>
          <ac:spMkLst>
            <pc:docMk/>
            <pc:sldMk cId="4251555247" sldId="2147480293"/>
            <ac:spMk id="9" creationId="{4EB9FAC3-686A-ADD1-E07E-DC7EC11628DB}"/>
          </ac:spMkLst>
        </pc:spChg>
        <pc:spChg chg="del mod topLvl">
          <ac:chgData name="Soumaya ZERHOUNI" userId="690e4aa6-586b-4341-8f1a-54a3e7457441" providerId="ADAL" clId="{69AAD651-E566-4914-B951-51E57822A563}" dt="2024-01-30T13:56:24.308" v="4385" actId="478"/>
          <ac:spMkLst>
            <pc:docMk/>
            <pc:sldMk cId="4251555247" sldId="2147480293"/>
            <ac:spMk id="10" creationId="{F37F75AE-F663-658A-F793-F61B72503092}"/>
          </ac:spMkLst>
        </pc:spChg>
        <pc:spChg chg="del mod topLvl">
          <ac:chgData name="Soumaya ZERHOUNI" userId="690e4aa6-586b-4341-8f1a-54a3e7457441" providerId="ADAL" clId="{69AAD651-E566-4914-B951-51E57822A563}" dt="2024-01-30T13:56:24.308" v="4385" actId="478"/>
          <ac:spMkLst>
            <pc:docMk/>
            <pc:sldMk cId="4251555247" sldId="2147480293"/>
            <ac:spMk id="11" creationId="{98D3BB83-F691-BA68-D86E-137FDA08C607}"/>
          </ac:spMkLst>
        </pc:spChg>
        <pc:spChg chg="del mod topLvl">
          <ac:chgData name="Soumaya ZERHOUNI" userId="690e4aa6-586b-4341-8f1a-54a3e7457441" providerId="ADAL" clId="{69AAD651-E566-4914-B951-51E57822A563}" dt="2024-01-30T13:56:24.308" v="4385" actId="478"/>
          <ac:spMkLst>
            <pc:docMk/>
            <pc:sldMk cId="4251555247" sldId="2147480293"/>
            <ac:spMk id="12" creationId="{FC4AF209-C34C-5D0E-34CC-812F896D6519}"/>
          </ac:spMkLst>
        </pc:spChg>
        <pc:spChg chg="add mod ord">
          <ac:chgData name="Soumaya ZERHOUNI" userId="690e4aa6-586b-4341-8f1a-54a3e7457441" providerId="ADAL" clId="{69AAD651-E566-4914-B951-51E57822A563}" dt="2024-01-30T13:59:43.115" v="4429" actId="207"/>
          <ac:spMkLst>
            <pc:docMk/>
            <pc:sldMk cId="4251555247" sldId="2147480293"/>
            <ac:spMk id="13" creationId="{29EF3A47-E7F5-2E70-60F7-7DD1C02534AA}"/>
          </ac:spMkLst>
        </pc:spChg>
        <pc:spChg chg="add del mod">
          <ac:chgData name="Soumaya ZERHOUNI" userId="690e4aa6-586b-4341-8f1a-54a3e7457441" providerId="ADAL" clId="{69AAD651-E566-4914-B951-51E57822A563}" dt="2024-01-24T10:16:46.831" v="40" actId="478"/>
          <ac:spMkLst>
            <pc:docMk/>
            <pc:sldMk cId="4251555247" sldId="2147480293"/>
            <ac:spMk id="13" creationId="{5B0E2C54-E903-8D05-DF34-2CCDAB06BF79}"/>
          </ac:spMkLst>
        </pc:spChg>
        <pc:spChg chg="add mod topLvl">
          <ac:chgData name="Soumaya ZERHOUNI" userId="690e4aa6-586b-4341-8f1a-54a3e7457441" providerId="ADAL" clId="{69AAD651-E566-4914-B951-51E57822A563}" dt="2024-01-30T14:00:16.882" v="4431" actId="255"/>
          <ac:spMkLst>
            <pc:docMk/>
            <pc:sldMk cId="4251555247" sldId="2147480293"/>
            <ac:spMk id="14" creationId="{C00A7B63-CF4B-B762-F6B5-E6C7B1118504}"/>
          </ac:spMkLst>
        </pc:spChg>
        <pc:spChg chg="add mod ord">
          <ac:chgData name="Soumaya ZERHOUNI" userId="690e4aa6-586b-4341-8f1a-54a3e7457441" providerId="ADAL" clId="{69AAD651-E566-4914-B951-51E57822A563}" dt="2024-01-30T13:59:43.115" v="4429" actId="207"/>
          <ac:spMkLst>
            <pc:docMk/>
            <pc:sldMk cId="4251555247" sldId="2147480293"/>
            <ac:spMk id="15" creationId="{41B964A5-8B0F-46CC-5BBD-EB66B77C7AE0}"/>
          </ac:spMkLst>
        </pc:spChg>
        <pc:spChg chg="add mod">
          <ac:chgData name="Soumaya ZERHOUNI" userId="690e4aa6-586b-4341-8f1a-54a3e7457441" providerId="ADAL" clId="{69AAD651-E566-4914-B951-51E57822A563}" dt="2024-01-24T10:22:01.705" v="58" actId="571"/>
          <ac:spMkLst>
            <pc:docMk/>
            <pc:sldMk cId="4251555247" sldId="2147480293"/>
            <ac:spMk id="15" creationId="{83DB6D55-2FBF-5B89-54D5-51401EA6C647}"/>
          </ac:spMkLst>
        </pc:spChg>
        <pc:spChg chg="add mod ord topLvl">
          <ac:chgData name="Soumaya ZERHOUNI" userId="690e4aa6-586b-4341-8f1a-54a3e7457441" providerId="ADAL" clId="{69AAD651-E566-4914-B951-51E57822A563}" dt="2024-01-30T13:59:43.115" v="4429" actId="207"/>
          <ac:spMkLst>
            <pc:docMk/>
            <pc:sldMk cId="4251555247" sldId="2147480293"/>
            <ac:spMk id="16" creationId="{C3BE18C4-450B-E519-00B8-BCA906F0626A}"/>
          </ac:spMkLst>
        </pc:spChg>
        <pc:spChg chg="add mod ord topLvl">
          <ac:chgData name="Soumaya ZERHOUNI" userId="690e4aa6-586b-4341-8f1a-54a3e7457441" providerId="ADAL" clId="{69AAD651-E566-4914-B951-51E57822A563}" dt="2024-01-30T13:59:43.115" v="4429" actId="207"/>
          <ac:spMkLst>
            <pc:docMk/>
            <pc:sldMk cId="4251555247" sldId="2147480293"/>
            <ac:spMk id="17" creationId="{44D146EE-7B16-0FB2-7F71-69CEE9A564AE}"/>
          </ac:spMkLst>
        </pc:spChg>
        <pc:spChg chg="add mod ord topLvl">
          <ac:chgData name="Soumaya ZERHOUNI" userId="690e4aa6-586b-4341-8f1a-54a3e7457441" providerId="ADAL" clId="{69AAD651-E566-4914-B951-51E57822A563}" dt="2024-01-30T13:59:43.115" v="4429" actId="207"/>
          <ac:spMkLst>
            <pc:docMk/>
            <pc:sldMk cId="4251555247" sldId="2147480293"/>
            <ac:spMk id="18" creationId="{7F7B1867-AC2B-5A41-29FB-3BE812CC8B3C}"/>
          </ac:spMkLst>
        </pc:spChg>
        <pc:spChg chg="add mod ord topLvl">
          <ac:chgData name="Soumaya ZERHOUNI" userId="690e4aa6-586b-4341-8f1a-54a3e7457441" providerId="ADAL" clId="{69AAD651-E566-4914-B951-51E57822A563}" dt="2024-01-30T13:59:43.115" v="4429" actId="207"/>
          <ac:spMkLst>
            <pc:docMk/>
            <pc:sldMk cId="4251555247" sldId="2147480293"/>
            <ac:spMk id="19" creationId="{24D1E647-4177-1843-8400-A6621BE58909}"/>
          </ac:spMkLst>
        </pc:spChg>
        <pc:spChg chg="add mod ord topLvl">
          <ac:chgData name="Soumaya ZERHOUNI" userId="690e4aa6-586b-4341-8f1a-54a3e7457441" providerId="ADAL" clId="{69AAD651-E566-4914-B951-51E57822A563}" dt="2024-01-30T13:59:43.115" v="4429" actId="207"/>
          <ac:spMkLst>
            <pc:docMk/>
            <pc:sldMk cId="4251555247" sldId="2147480293"/>
            <ac:spMk id="20" creationId="{53FFC4C0-4D44-3556-E52F-2239CFD5DF1C}"/>
          </ac:spMkLst>
        </pc:spChg>
        <pc:spChg chg="add mod ord topLvl">
          <ac:chgData name="Soumaya ZERHOUNI" userId="690e4aa6-586b-4341-8f1a-54a3e7457441" providerId="ADAL" clId="{69AAD651-E566-4914-B951-51E57822A563}" dt="2024-01-30T13:59:43.115" v="4429" actId="207"/>
          <ac:spMkLst>
            <pc:docMk/>
            <pc:sldMk cId="4251555247" sldId="2147480293"/>
            <ac:spMk id="21" creationId="{37FBD1D1-2F94-3931-D590-88A8D4DF8381}"/>
          </ac:spMkLst>
        </pc:spChg>
        <pc:spChg chg="add mod ord topLvl">
          <ac:chgData name="Soumaya ZERHOUNI" userId="690e4aa6-586b-4341-8f1a-54a3e7457441" providerId="ADAL" clId="{69AAD651-E566-4914-B951-51E57822A563}" dt="2024-01-30T13:59:43.115" v="4429" actId="207"/>
          <ac:spMkLst>
            <pc:docMk/>
            <pc:sldMk cId="4251555247" sldId="2147480293"/>
            <ac:spMk id="22" creationId="{E660E33B-564E-2E2D-77FF-C875888D853E}"/>
          </ac:spMkLst>
        </pc:spChg>
        <pc:spChg chg="add mod ord topLvl">
          <ac:chgData name="Soumaya ZERHOUNI" userId="690e4aa6-586b-4341-8f1a-54a3e7457441" providerId="ADAL" clId="{69AAD651-E566-4914-B951-51E57822A563}" dt="2024-01-30T13:59:43.115" v="4429" actId="207"/>
          <ac:spMkLst>
            <pc:docMk/>
            <pc:sldMk cId="4251555247" sldId="2147480293"/>
            <ac:spMk id="23" creationId="{BC813C75-2773-035F-B17A-6E444E9022DD}"/>
          </ac:spMkLst>
        </pc:spChg>
        <pc:spChg chg="add mod ord">
          <ac:chgData name="Soumaya ZERHOUNI" userId="690e4aa6-586b-4341-8f1a-54a3e7457441" providerId="ADAL" clId="{69AAD651-E566-4914-B951-51E57822A563}" dt="2024-01-30T13:59:43.115" v="4429" actId="207"/>
          <ac:spMkLst>
            <pc:docMk/>
            <pc:sldMk cId="4251555247" sldId="2147480293"/>
            <ac:spMk id="24" creationId="{43D3ABA5-0808-ABC5-D5AD-83AA6942791E}"/>
          </ac:spMkLst>
        </pc:spChg>
        <pc:spChg chg="add mod ord">
          <ac:chgData name="Soumaya ZERHOUNI" userId="690e4aa6-586b-4341-8f1a-54a3e7457441" providerId="ADAL" clId="{69AAD651-E566-4914-B951-51E57822A563}" dt="2024-01-30T13:59:43.115" v="4429" actId="207"/>
          <ac:spMkLst>
            <pc:docMk/>
            <pc:sldMk cId="4251555247" sldId="2147480293"/>
            <ac:spMk id="25" creationId="{26B70A9A-BDE8-6600-C247-D12A6C02E8DF}"/>
          </ac:spMkLst>
        </pc:spChg>
        <pc:spChg chg="add mod ord">
          <ac:chgData name="Soumaya ZERHOUNI" userId="690e4aa6-586b-4341-8f1a-54a3e7457441" providerId="ADAL" clId="{69AAD651-E566-4914-B951-51E57822A563}" dt="2024-01-30T13:59:43.115" v="4429" actId="207"/>
          <ac:spMkLst>
            <pc:docMk/>
            <pc:sldMk cId="4251555247" sldId="2147480293"/>
            <ac:spMk id="26" creationId="{72BC13EE-27CD-924A-A420-6838537AD80A}"/>
          </ac:spMkLst>
        </pc:spChg>
        <pc:spChg chg="add mod ord">
          <ac:chgData name="Soumaya ZERHOUNI" userId="690e4aa6-586b-4341-8f1a-54a3e7457441" providerId="ADAL" clId="{69AAD651-E566-4914-B951-51E57822A563}" dt="2024-01-30T13:59:43.115" v="4429" actId="207"/>
          <ac:spMkLst>
            <pc:docMk/>
            <pc:sldMk cId="4251555247" sldId="2147480293"/>
            <ac:spMk id="27" creationId="{0937D6AD-2F75-61A5-7FA8-09075436B4B3}"/>
          </ac:spMkLst>
        </pc:spChg>
        <pc:spChg chg="add mod ord">
          <ac:chgData name="Soumaya ZERHOUNI" userId="690e4aa6-586b-4341-8f1a-54a3e7457441" providerId="ADAL" clId="{69AAD651-E566-4914-B951-51E57822A563}" dt="2024-01-30T13:59:43.115" v="4429" actId="207"/>
          <ac:spMkLst>
            <pc:docMk/>
            <pc:sldMk cId="4251555247" sldId="2147480293"/>
            <ac:spMk id="28" creationId="{214159E9-73C8-F734-A2BD-65D5BA6E0994}"/>
          </ac:spMkLst>
        </pc:spChg>
        <pc:spChg chg="add del mod">
          <ac:chgData name="Soumaya ZERHOUNI" userId="690e4aa6-586b-4341-8f1a-54a3e7457441" providerId="ADAL" clId="{69AAD651-E566-4914-B951-51E57822A563}" dt="2024-01-25T14:29:07.669" v="1184" actId="478"/>
          <ac:spMkLst>
            <pc:docMk/>
            <pc:sldMk cId="4251555247" sldId="2147480293"/>
            <ac:spMk id="29" creationId="{FDCE90E0-4A2A-201B-9470-D2489E1CDFA7}"/>
          </ac:spMkLst>
        </pc:spChg>
        <pc:spChg chg="add del mod">
          <ac:chgData name="Soumaya ZERHOUNI" userId="690e4aa6-586b-4341-8f1a-54a3e7457441" providerId="ADAL" clId="{69AAD651-E566-4914-B951-51E57822A563}" dt="2024-01-30T13:49:56.812" v="4302" actId="21"/>
          <ac:spMkLst>
            <pc:docMk/>
            <pc:sldMk cId="4251555247" sldId="2147480293"/>
            <ac:spMk id="30" creationId="{133FDDFA-864F-353D-3A36-F72FC293BF64}"/>
          </ac:spMkLst>
        </pc:spChg>
        <pc:spChg chg="del mod">
          <ac:chgData name="Soumaya ZERHOUNI" userId="690e4aa6-586b-4341-8f1a-54a3e7457441" providerId="ADAL" clId="{69AAD651-E566-4914-B951-51E57822A563}" dt="2024-01-30T13:49:56.812" v="4302" actId="21"/>
          <ac:spMkLst>
            <pc:docMk/>
            <pc:sldMk cId="4251555247" sldId="2147480293"/>
            <ac:spMk id="31" creationId="{2656CBF1-838E-87B4-9BF7-353C4A280B49}"/>
          </ac:spMkLst>
        </pc:spChg>
        <pc:spChg chg="add del mod">
          <ac:chgData name="Soumaya ZERHOUNI" userId="690e4aa6-586b-4341-8f1a-54a3e7457441" providerId="ADAL" clId="{69AAD651-E566-4914-B951-51E57822A563}" dt="2024-01-30T13:48:00.864" v="4271" actId="478"/>
          <ac:spMkLst>
            <pc:docMk/>
            <pc:sldMk cId="4251555247" sldId="2147480293"/>
            <ac:spMk id="33" creationId="{E9BB2EC3-A9C0-F87C-5E65-E2AC443BCA74}"/>
          </ac:spMkLst>
        </pc:spChg>
        <pc:spChg chg="add mod">
          <ac:chgData name="Soumaya ZERHOUNI" userId="690e4aa6-586b-4341-8f1a-54a3e7457441" providerId="ADAL" clId="{69AAD651-E566-4914-B951-51E57822A563}" dt="2024-01-30T13:48:16.165" v="4273" actId="164"/>
          <ac:spMkLst>
            <pc:docMk/>
            <pc:sldMk cId="4251555247" sldId="2147480293"/>
            <ac:spMk id="34" creationId="{E4234C55-23F7-E25B-670A-1561583CAAC9}"/>
          </ac:spMkLst>
        </pc:spChg>
        <pc:spChg chg="add mod">
          <ac:chgData name="Soumaya ZERHOUNI" userId="690e4aa6-586b-4341-8f1a-54a3e7457441" providerId="ADAL" clId="{69AAD651-E566-4914-B951-51E57822A563}" dt="2024-01-30T13:48:16.165" v="4273" actId="164"/>
          <ac:spMkLst>
            <pc:docMk/>
            <pc:sldMk cId="4251555247" sldId="2147480293"/>
            <ac:spMk id="35" creationId="{3D974CD5-F310-4B6C-ED22-439BBDB5FE91}"/>
          </ac:spMkLst>
        </pc:spChg>
        <pc:spChg chg="add mod topLvl">
          <ac:chgData name="Soumaya ZERHOUNI" userId="690e4aa6-586b-4341-8f1a-54a3e7457441" providerId="ADAL" clId="{69AAD651-E566-4914-B951-51E57822A563}" dt="2024-01-24T11:07:44.280" v="313" actId="165"/>
          <ac:spMkLst>
            <pc:docMk/>
            <pc:sldMk cId="4251555247" sldId="2147480293"/>
            <ac:spMk id="37" creationId="{0F35733B-0E30-1949-2E60-9215EE846BE0}"/>
          </ac:spMkLst>
        </pc:spChg>
        <pc:spChg chg="add mod">
          <ac:chgData name="Soumaya ZERHOUNI" userId="690e4aa6-586b-4341-8f1a-54a3e7457441" providerId="ADAL" clId="{69AAD651-E566-4914-B951-51E57822A563}" dt="2024-01-30T13:48:16.165" v="4273" actId="164"/>
          <ac:spMkLst>
            <pc:docMk/>
            <pc:sldMk cId="4251555247" sldId="2147480293"/>
            <ac:spMk id="38" creationId="{48BDDB31-576A-C2DA-756E-200E0CF65D51}"/>
          </ac:spMkLst>
        </pc:spChg>
        <pc:spChg chg="add mod">
          <ac:chgData name="Soumaya ZERHOUNI" userId="690e4aa6-586b-4341-8f1a-54a3e7457441" providerId="ADAL" clId="{69AAD651-E566-4914-B951-51E57822A563}" dt="2024-01-30T13:48:16.165" v="4273" actId="164"/>
          <ac:spMkLst>
            <pc:docMk/>
            <pc:sldMk cId="4251555247" sldId="2147480293"/>
            <ac:spMk id="39" creationId="{1582FADF-785D-23E1-C2EE-8556DF1F67D0}"/>
          </ac:spMkLst>
        </pc:spChg>
        <pc:spChg chg="add mod">
          <ac:chgData name="Soumaya ZERHOUNI" userId="690e4aa6-586b-4341-8f1a-54a3e7457441" providerId="ADAL" clId="{69AAD651-E566-4914-B951-51E57822A563}" dt="2024-01-30T13:48:16.165" v="4273" actId="164"/>
          <ac:spMkLst>
            <pc:docMk/>
            <pc:sldMk cId="4251555247" sldId="2147480293"/>
            <ac:spMk id="40" creationId="{2EC16144-6578-60BE-B8AF-16A5E3C77282}"/>
          </ac:spMkLst>
        </pc:spChg>
        <pc:spChg chg="add mod">
          <ac:chgData name="Soumaya ZERHOUNI" userId="690e4aa6-586b-4341-8f1a-54a3e7457441" providerId="ADAL" clId="{69AAD651-E566-4914-B951-51E57822A563}" dt="2024-01-30T13:48:16.165" v="4273" actId="164"/>
          <ac:spMkLst>
            <pc:docMk/>
            <pc:sldMk cId="4251555247" sldId="2147480293"/>
            <ac:spMk id="41" creationId="{61DF50E0-8FE3-8680-5C2E-A2D913D8EB50}"/>
          </ac:spMkLst>
        </pc:spChg>
        <pc:spChg chg="add mod">
          <ac:chgData name="Soumaya ZERHOUNI" userId="690e4aa6-586b-4341-8f1a-54a3e7457441" providerId="ADAL" clId="{69AAD651-E566-4914-B951-51E57822A563}" dt="2024-01-30T13:48:16.165" v="4273" actId="164"/>
          <ac:spMkLst>
            <pc:docMk/>
            <pc:sldMk cId="4251555247" sldId="2147480293"/>
            <ac:spMk id="43" creationId="{4FFF5DBA-88B4-D2F2-3090-DDD1C89F8298}"/>
          </ac:spMkLst>
        </pc:spChg>
        <pc:spChg chg="add del mod">
          <ac:chgData name="Soumaya ZERHOUNI" userId="690e4aa6-586b-4341-8f1a-54a3e7457441" providerId="ADAL" clId="{69AAD651-E566-4914-B951-51E57822A563}" dt="2024-01-24T12:51:35.820" v="609" actId="478"/>
          <ac:spMkLst>
            <pc:docMk/>
            <pc:sldMk cId="4251555247" sldId="2147480293"/>
            <ac:spMk id="43" creationId="{644ABB19-0331-2CF0-8538-366289357E93}"/>
          </ac:spMkLst>
        </pc:spChg>
        <pc:spChg chg="add mod">
          <ac:chgData name="Soumaya ZERHOUNI" userId="690e4aa6-586b-4341-8f1a-54a3e7457441" providerId="ADAL" clId="{69AAD651-E566-4914-B951-51E57822A563}" dt="2024-01-30T13:48:16.165" v="4273" actId="164"/>
          <ac:spMkLst>
            <pc:docMk/>
            <pc:sldMk cId="4251555247" sldId="2147480293"/>
            <ac:spMk id="44" creationId="{4D8E9BD3-E0D8-D453-78C8-EF9FFCCBB596}"/>
          </ac:spMkLst>
        </pc:spChg>
        <pc:spChg chg="add mod">
          <ac:chgData name="Soumaya ZERHOUNI" userId="690e4aa6-586b-4341-8f1a-54a3e7457441" providerId="ADAL" clId="{69AAD651-E566-4914-B951-51E57822A563}" dt="2024-01-30T13:55:45.933" v="4382" actId="1076"/>
          <ac:spMkLst>
            <pc:docMk/>
            <pc:sldMk cId="4251555247" sldId="2147480293"/>
            <ac:spMk id="46" creationId="{6B2B5942-F756-E888-CF1D-9159AB463AC2}"/>
          </ac:spMkLst>
        </pc:spChg>
        <pc:spChg chg="add mod">
          <ac:chgData name="Soumaya ZERHOUNI" userId="690e4aa6-586b-4341-8f1a-54a3e7457441" providerId="ADAL" clId="{69AAD651-E566-4914-B951-51E57822A563}" dt="2024-01-30T13:49:12.865" v="4286" actId="571"/>
          <ac:spMkLst>
            <pc:docMk/>
            <pc:sldMk cId="4251555247" sldId="2147480293"/>
            <ac:spMk id="47" creationId="{DE25CC86-5764-1F37-8A80-AB2634CBAA36}"/>
          </ac:spMkLst>
        </pc:spChg>
        <pc:spChg chg="add mod">
          <ac:chgData name="Soumaya ZERHOUNI" userId="690e4aa6-586b-4341-8f1a-54a3e7457441" providerId="ADAL" clId="{69AAD651-E566-4914-B951-51E57822A563}" dt="2024-01-30T13:53:36.368" v="4353" actId="108"/>
          <ac:spMkLst>
            <pc:docMk/>
            <pc:sldMk cId="4251555247" sldId="2147480293"/>
            <ac:spMk id="48" creationId="{FF503FD6-5415-3E1B-B741-3BF568FAABAA}"/>
          </ac:spMkLst>
        </pc:spChg>
        <pc:spChg chg="add mod">
          <ac:chgData name="Soumaya ZERHOUNI" userId="690e4aa6-586b-4341-8f1a-54a3e7457441" providerId="ADAL" clId="{69AAD651-E566-4914-B951-51E57822A563}" dt="2024-01-30T13:53:36.812" v="4354" actId="108"/>
          <ac:spMkLst>
            <pc:docMk/>
            <pc:sldMk cId="4251555247" sldId="2147480293"/>
            <ac:spMk id="49" creationId="{8B2DB506-7D13-7AC4-2A24-3688B58946CE}"/>
          </ac:spMkLst>
        </pc:spChg>
        <pc:spChg chg="add mod">
          <ac:chgData name="Soumaya ZERHOUNI" userId="690e4aa6-586b-4341-8f1a-54a3e7457441" providerId="ADAL" clId="{69AAD651-E566-4914-B951-51E57822A563}" dt="2024-01-30T13:53:37.110" v="4355" actId="108"/>
          <ac:spMkLst>
            <pc:docMk/>
            <pc:sldMk cId="4251555247" sldId="2147480293"/>
            <ac:spMk id="50" creationId="{A0B71A7D-2F12-F75D-A9D3-0ACC57E82157}"/>
          </ac:spMkLst>
        </pc:spChg>
        <pc:spChg chg="add mod">
          <ac:chgData name="Soumaya ZERHOUNI" userId="690e4aa6-586b-4341-8f1a-54a3e7457441" providerId="ADAL" clId="{69AAD651-E566-4914-B951-51E57822A563}" dt="2024-01-30T13:53:37.480" v="4356" actId="108"/>
          <ac:spMkLst>
            <pc:docMk/>
            <pc:sldMk cId="4251555247" sldId="2147480293"/>
            <ac:spMk id="51" creationId="{B21CE2C7-D0F7-B5B0-8580-A52B406E85DD}"/>
          </ac:spMkLst>
        </pc:spChg>
        <pc:spChg chg="add mod">
          <ac:chgData name="Soumaya ZERHOUNI" userId="690e4aa6-586b-4341-8f1a-54a3e7457441" providerId="ADAL" clId="{69AAD651-E566-4914-B951-51E57822A563}" dt="2024-01-30T13:53:37.888" v="4357" actId="108"/>
          <ac:spMkLst>
            <pc:docMk/>
            <pc:sldMk cId="4251555247" sldId="2147480293"/>
            <ac:spMk id="52" creationId="{82341D23-AE2A-89A5-166C-5366E557E759}"/>
          </ac:spMkLst>
        </pc:spChg>
        <pc:spChg chg="add mod">
          <ac:chgData name="Soumaya ZERHOUNI" userId="690e4aa6-586b-4341-8f1a-54a3e7457441" providerId="ADAL" clId="{69AAD651-E566-4914-B951-51E57822A563}" dt="2024-01-30T13:53:38.258" v="4358" actId="108"/>
          <ac:spMkLst>
            <pc:docMk/>
            <pc:sldMk cId="4251555247" sldId="2147480293"/>
            <ac:spMk id="53" creationId="{E805D8AD-747E-249B-6E0E-591FDB822835}"/>
          </ac:spMkLst>
        </pc:spChg>
        <pc:spChg chg="add mod">
          <ac:chgData name="Soumaya ZERHOUNI" userId="690e4aa6-586b-4341-8f1a-54a3e7457441" providerId="ADAL" clId="{69AAD651-E566-4914-B951-51E57822A563}" dt="2024-01-30T13:53:39.013" v="4359" actId="108"/>
          <ac:spMkLst>
            <pc:docMk/>
            <pc:sldMk cId="4251555247" sldId="2147480293"/>
            <ac:spMk id="54" creationId="{AFD29296-032E-907D-E0DB-98A50CDF5968}"/>
          </ac:spMkLst>
        </pc:spChg>
        <pc:spChg chg="add mod">
          <ac:chgData name="Soumaya ZERHOUNI" userId="690e4aa6-586b-4341-8f1a-54a3e7457441" providerId="ADAL" clId="{69AAD651-E566-4914-B951-51E57822A563}" dt="2024-01-30T13:51:17.467" v="4321"/>
          <ac:spMkLst>
            <pc:docMk/>
            <pc:sldMk cId="4251555247" sldId="2147480293"/>
            <ac:spMk id="55" creationId="{517C54CF-2B18-6345-2D24-EF4FD0C871A8}"/>
          </ac:spMkLst>
        </pc:spChg>
        <pc:spChg chg="add mod">
          <ac:chgData name="Soumaya ZERHOUNI" userId="690e4aa6-586b-4341-8f1a-54a3e7457441" providerId="ADAL" clId="{69AAD651-E566-4914-B951-51E57822A563}" dt="2024-01-30T14:03:10.486" v="4434" actId="14100"/>
          <ac:spMkLst>
            <pc:docMk/>
            <pc:sldMk cId="4251555247" sldId="2147480293"/>
            <ac:spMk id="56" creationId="{BBE8AE94-00D0-704D-E98C-55A5637E5BD0}"/>
          </ac:spMkLst>
        </pc:spChg>
        <pc:spChg chg="add del mod">
          <ac:chgData name="Soumaya ZERHOUNI" userId="690e4aa6-586b-4341-8f1a-54a3e7457441" providerId="ADAL" clId="{69AAD651-E566-4914-B951-51E57822A563}" dt="2024-01-30T13:53:57.907" v="4360" actId="478"/>
          <ac:spMkLst>
            <pc:docMk/>
            <pc:sldMk cId="4251555247" sldId="2147480293"/>
            <ac:spMk id="57" creationId="{5A27538F-088A-DD1B-6B9B-CF7515C703A1}"/>
          </ac:spMkLst>
        </pc:spChg>
        <pc:spChg chg="add mod">
          <ac:chgData name="Soumaya ZERHOUNI" userId="690e4aa6-586b-4341-8f1a-54a3e7457441" providerId="ADAL" clId="{69AAD651-E566-4914-B951-51E57822A563}" dt="2024-01-30T14:04:01.672" v="4440" actId="1076"/>
          <ac:spMkLst>
            <pc:docMk/>
            <pc:sldMk cId="4251555247" sldId="2147480293"/>
            <ac:spMk id="58" creationId="{FB7933B3-4882-D03B-838D-1ED00E7DB638}"/>
          </ac:spMkLst>
        </pc:spChg>
        <pc:spChg chg="add mod">
          <ac:chgData name="Soumaya ZERHOUNI" userId="690e4aa6-586b-4341-8f1a-54a3e7457441" providerId="ADAL" clId="{69AAD651-E566-4914-B951-51E57822A563}" dt="2024-01-30T14:03:57.913" v="4439" actId="1076"/>
          <ac:spMkLst>
            <pc:docMk/>
            <pc:sldMk cId="4251555247" sldId="2147480293"/>
            <ac:spMk id="59" creationId="{512D742C-8783-B542-65A6-071F8836B1CE}"/>
          </ac:spMkLst>
        </pc:spChg>
        <pc:spChg chg="add mod">
          <ac:chgData name="Soumaya ZERHOUNI" userId="690e4aa6-586b-4341-8f1a-54a3e7457441" providerId="ADAL" clId="{69AAD651-E566-4914-B951-51E57822A563}" dt="2024-01-30T14:03:54.044" v="4438" actId="1076"/>
          <ac:spMkLst>
            <pc:docMk/>
            <pc:sldMk cId="4251555247" sldId="2147480293"/>
            <ac:spMk id="60" creationId="{A20FA80C-D663-0A40-2280-D36A0AEF4FE1}"/>
          </ac:spMkLst>
        </pc:spChg>
        <pc:spChg chg="add mod">
          <ac:chgData name="Soumaya ZERHOUNI" userId="690e4aa6-586b-4341-8f1a-54a3e7457441" providerId="ADAL" clId="{69AAD651-E566-4914-B951-51E57822A563}" dt="2024-01-30T14:03:45.025" v="4437" actId="688"/>
          <ac:spMkLst>
            <pc:docMk/>
            <pc:sldMk cId="4251555247" sldId="2147480293"/>
            <ac:spMk id="61" creationId="{12B0E7E9-7B55-3CF2-B013-3A9C63E1ABD0}"/>
          </ac:spMkLst>
        </pc:spChg>
        <pc:spChg chg="add mod">
          <ac:chgData name="Soumaya ZERHOUNI" userId="690e4aa6-586b-4341-8f1a-54a3e7457441" providerId="ADAL" clId="{69AAD651-E566-4914-B951-51E57822A563}" dt="2024-01-30T13:59:06.665" v="4425" actId="164"/>
          <ac:spMkLst>
            <pc:docMk/>
            <pc:sldMk cId="4251555247" sldId="2147480293"/>
            <ac:spMk id="62" creationId="{0C282CC5-4D50-6985-BE43-B505F4CEEA6F}"/>
          </ac:spMkLst>
        </pc:spChg>
        <pc:spChg chg="add mod">
          <ac:chgData name="Soumaya ZERHOUNI" userId="690e4aa6-586b-4341-8f1a-54a3e7457441" providerId="ADAL" clId="{69AAD651-E566-4914-B951-51E57822A563}" dt="2024-01-30T13:59:06.665" v="4425" actId="164"/>
          <ac:spMkLst>
            <pc:docMk/>
            <pc:sldMk cId="4251555247" sldId="2147480293"/>
            <ac:spMk id="63" creationId="{80BFFBC8-6D12-0432-6394-2B7D6CC292CF}"/>
          </ac:spMkLst>
        </pc:spChg>
        <pc:spChg chg="add mod">
          <ac:chgData name="Soumaya ZERHOUNI" userId="690e4aa6-586b-4341-8f1a-54a3e7457441" providerId="ADAL" clId="{69AAD651-E566-4914-B951-51E57822A563}" dt="2024-01-30T14:03:38.915" v="4435" actId="1076"/>
          <ac:spMkLst>
            <pc:docMk/>
            <pc:sldMk cId="4251555247" sldId="2147480293"/>
            <ac:spMk id="65" creationId="{5496AB44-EA0E-6AD5-2571-BB5859C192A6}"/>
          </ac:spMkLst>
        </pc:spChg>
        <pc:spChg chg="add del">
          <ac:chgData name="Soumaya ZERHOUNI" userId="690e4aa6-586b-4341-8f1a-54a3e7457441" providerId="ADAL" clId="{69AAD651-E566-4914-B951-51E57822A563}" dt="2024-01-30T13:53:28.750" v="4351" actId="22"/>
          <ac:spMkLst>
            <pc:docMk/>
            <pc:sldMk cId="4251555247" sldId="2147480293"/>
            <ac:spMk id="67" creationId="{DDDF5707-7C58-A230-6493-D6096E679212}"/>
          </ac:spMkLst>
        </pc:spChg>
        <pc:spChg chg="add mod">
          <ac:chgData name="Soumaya ZERHOUNI" userId="690e4aa6-586b-4341-8f1a-54a3e7457441" providerId="ADAL" clId="{69AAD651-E566-4914-B951-51E57822A563}" dt="2024-01-30T13:58:51.066" v="4424" actId="1038"/>
          <ac:spMkLst>
            <pc:docMk/>
            <pc:sldMk cId="4251555247" sldId="2147480293"/>
            <ac:spMk id="68" creationId="{B5F3A747-FF2E-F243-3922-8F9AEB211417}"/>
          </ac:spMkLst>
        </pc:spChg>
        <pc:spChg chg="add mod">
          <ac:chgData name="Soumaya ZERHOUNI" userId="690e4aa6-586b-4341-8f1a-54a3e7457441" providerId="ADAL" clId="{69AAD651-E566-4914-B951-51E57822A563}" dt="2024-01-30T13:57:20.044" v="4391" actId="571"/>
          <ac:spMkLst>
            <pc:docMk/>
            <pc:sldMk cId="4251555247" sldId="2147480293"/>
            <ac:spMk id="69" creationId="{F12C2616-9082-D686-4155-7DAE659091F1}"/>
          </ac:spMkLst>
        </pc:spChg>
        <pc:spChg chg="add mod">
          <ac:chgData name="Soumaya ZERHOUNI" userId="690e4aa6-586b-4341-8f1a-54a3e7457441" providerId="ADAL" clId="{69AAD651-E566-4914-B951-51E57822A563}" dt="2024-01-30T13:58:51.066" v="4424" actId="1038"/>
          <ac:spMkLst>
            <pc:docMk/>
            <pc:sldMk cId="4251555247" sldId="2147480293"/>
            <ac:spMk id="70" creationId="{FC71D567-A1AC-8BAB-B57D-180257F4E6AA}"/>
          </ac:spMkLst>
        </pc:spChg>
        <pc:spChg chg="add mod">
          <ac:chgData name="Soumaya ZERHOUNI" userId="690e4aa6-586b-4341-8f1a-54a3e7457441" providerId="ADAL" clId="{69AAD651-E566-4914-B951-51E57822A563}" dt="2024-01-30T13:58:51.066" v="4424" actId="1038"/>
          <ac:spMkLst>
            <pc:docMk/>
            <pc:sldMk cId="4251555247" sldId="2147480293"/>
            <ac:spMk id="71" creationId="{BB64342F-6284-19D6-A732-21A41DB11433}"/>
          </ac:spMkLst>
        </pc:spChg>
        <pc:spChg chg="add mod">
          <ac:chgData name="Soumaya ZERHOUNI" userId="690e4aa6-586b-4341-8f1a-54a3e7457441" providerId="ADAL" clId="{69AAD651-E566-4914-B951-51E57822A563}" dt="2024-01-30T13:58:51.066" v="4424" actId="1038"/>
          <ac:spMkLst>
            <pc:docMk/>
            <pc:sldMk cId="4251555247" sldId="2147480293"/>
            <ac:spMk id="72" creationId="{13074027-1A81-D41F-5A2C-28906EA5AA14}"/>
          </ac:spMkLst>
        </pc:spChg>
        <pc:spChg chg="add mod">
          <ac:chgData name="Soumaya ZERHOUNI" userId="690e4aa6-586b-4341-8f1a-54a3e7457441" providerId="ADAL" clId="{69AAD651-E566-4914-B951-51E57822A563}" dt="2024-01-30T13:58:51.066" v="4424" actId="1038"/>
          <ac:spMkLst>
            <pc:docMk/>
            <pc:sldMk cId="4251555247" sldId="2147480293"/>
            <ac:spMk id="73" creationId="{D60C8EC7-4A94-460A-210E-CC8DDC0BAC4E}"/>
          </ac:spMkLst>
        </pc:spChg>
        <pc:spChg chg="add mod">
          <ac:chgData name="Soumaya ZERHOUNI" userId="690e4aa6-586b-4341-8f1a-54a3e7457441" providerId="ADAL" clId="{69AAD651-E566-4914-B951-51E57822A563}" dt="2024-01-30T13:58:51.066" v="4424" actId="1038"/>
          <ac:spMkLst>
            <pc:docMk/>
            <pc:sldMk cId="4251555247" sldId="2147480293"/>
            <ac:spMk id="74" creationId="{214F23ED-0745-26E8-AD77-B7225A901FFB}"/>
          </ac:spMkLst>
        </pc:spChg>
        <pc:spChg chg="add mod">
          <ac:chgData name="Soumaya ZERHOUNI" userId="690e4aa6-586b-4341-8f1a-54a3e7457441" providerId="ADAL" clId="{69AAD651-E566-4914-B951-51E57822A563}" dt="2024-01-30T13:58:51.066" v="4424" actId="1038"/>
          <ac:spMkLst>
            <pc:docMk/>
            <pc:sldMk cId="4251555247" sldId="2147480293"/>
            <ac:spMk id="75" creationId="{E975D356-B8E2-7E40-003F-C9AB0DC91B4B}"/>
          </ac:spMkLst>
        </pc:spChg>
        <pc:spChg chg="add del mod">
          <ac:chgData name="Soumaya ZERHOUNI" userId="690e4aa6-586b-4341-8f1a-54a3e7457441" providerId="ADAL" clId="{69AAD651-E566-4914-B951-51E57822A563}" dt="2024-01-30T13:58:05.877" v="4403" actId="478"/>
          <ac:spMkLst>
            <pc:docMk/>
            <pc:sldMk cId="4251555247" sldId="2147480293"/>
            <ac:spMk id="76" creationId="{90D0B60F-174D-CEB3-3981-B7B806A632CE}"/>
          </ac:spMkLst>
        </pc:spChg>
        <pc:spChg chg="add mod">
          <ac:chgData name="Soumaya ZERHOUNI" userId="690e4aa6-586b-4341-8f1a-54a3e7457441" providerId="ADAL" clId="{69AAD651-E566-4914-B951-51E57822A563}" dt="2024-01-30T13:58:51.066" v="4424" actId="1038"/>
          <ac:spMkLst>
            <pc:docMk/>
            <pc:sldMk cId="4251555247" sldId="2147480293"/>
            <ac:spMk id="77" creationId="{3D03FD84-79F2-44F2-4A79-D1E9B58781FD}"/>
          </ac:spMkLst>
        </pc:spChg>
        <pc:grpChg chg="add del mod">
          <ac:chgData name="Soumaya ZERHOUNI" userId="690e4aa6-586b-4341-8f1a-54a3e7457441" providerId="ADAL" clId="{69AAD651-E566-4914-B951-51E57822A563}" dt="2024-01-24T10:59:52.654" v="233" actId="165"/>
          <ac:grpSpMkLst>
            <pc:docMk/>
            <pc:sldMk cId="4251555247" sldId="2147480293"/>
            <ac:grpSpMk id="33" creationId="{2A48FDFA-7CCA-A49C-DDAA-779B2EF12CDE}"/>
          </ac:grpSpMkLst>
        </pc:grpChg>
        <pc:grpChg chg="add del mod">
          <ac:chgData name="Soumaya ZERHOUNI" userId="690e4aa6-586b-4341-8f1a-54a3e7457441" providerId="ADAL" clId="{69AAD651-E566-4914-B951-51E57822A563}" dt="2024-01-24T11:07:44.280" v="313" actId="165"/>
          <ac:grpSpMkLst>
            <pc:docMk/>
            <pc:sldMk cId="4251555247" sldId="2147480293"/>
            <ac:grpSpMk id="39" creationId="{89465139-DD05-ABC8-36D0-B8C70934C116}"/>
          </ac:grpSpMkLst>
        </pc:grpChg>
        <pc:grpChg chg="add del mod">
          <ac:chgData name="Soumaya ZERHOUNI" userId="690e4aa6-586b-4341-8f1a-54a3e7457441" providerId="ADAL" clId="{69AAD651-E566-4914-B951-51E57822A563}" dt="2024-01-30T13:48:30.585" v="4277" actId="21"/>
          <ac:grpSpMkLst>
            <pc:docMk/>
            <pc:sldMk cId="4251555247" sldId="2147480293"/>
            <ac:grpSpMk id="45" creationId="{53590676-32EE-E278-F83F-9675637C8B43}"/>
          </ac:grpSpMkLst>
        </pc:grpChg>
        <pc:grpChg chg="add mod">
          <ac:chgData name="Soumaya ZERHOUNI" userId="690e4aa6-586b-4341-8f1a-54a3e7457441" providerId="ADAL" clId="{69AAD651-E566-4914-B951-51E57822A563}" dt="2024-01-30T13:51:53.537" v="4328" actId="164"/>
          <ac:grpSpMkLst>
            <pc:docMk/>
            <pc:sldMk cId="4251555247" sldId="2147480293"/>
            <ac:grpSpMk id="64" creationId="{90A7F849-1BA5-0754-7C9B-AD7E9911B7F0}"/>
          </ac:grpSpMkLst>
        </pc:grpChg>
        <pc:grpChg chg="add del mod ord">
          <ac:chgData name="Soumaya ZERHOUNI" userId="690e4aa6-586b-4341-8f1a-54a3e7457441" providerId="ADAL" clId="{69AAD651-E566-4914-B951-51E57822A563}" dt="2024-01-30T14:04:15.704" v="4441" actId="1076"/>
          <ac:grpSpMkLst>
            <pc:docMk/>
            <pc:sldMk cId="4251555247" sldId="2147480293"/>
            <ac:grpSpMk id="78" creationId="{421AC676-D584-DFA6-2E94-D22A3B2EE11D}"/>
          </ac:grpSpMkLst>
        </pc:grpChg>
        <pc:graphicFrameChg chg="add mod">
          <ac:chgData name="Soumaya ZERHOUNI" userId="690e4aa6-586b-4341-8f1a-54a3e7457441" providerId="ADAL" clId="{69AAD651-E566-4914-B951-51E57822A563}" dt="2024-01-24T10:15:29.815" v="27"/>
          <ac:graphicFrameMkLst>
            <pc:docMk/>
            <pc:sldMk cId="4251555247" sldId="2147480293"/>
            <ac:graphicFrameMk id="3" creationId="{9EAAC432-F54A-997E-4B22-44089D7E99DE}"/>
          </ac:graphicFrameMkLst>
        </pc:graphicFrameChg>
        <pc:graphicFrameChg chg="add del mod modGraphic">
          <ac:chgData name="Soumaya ZERHOUNI" userId="690e4aa6-586b-4341-8f1a-54a3e7457441" providerId="ADAL" clId="{69AAD651-E566-4914-B951-51E57822A563}" dt="2024-01-24T10:15:55.808" v="31" actId="478"/>
          <ac:graphicFrameMkLst>
            <pc:docMk/>
            <pc:sldMk cId="4251555247" sldId="2147480293"/>
            <ac:graphicFrameMk id="4" creationId="{E7FDAE4A-3E62-026B-A9A3-F05A8B698D28}"/>
          </ac:graphicFrameMkLst>
        </pc:graphicFrameChg>
        <pc:graphicFrameChg chg="add mod">
          <ac:chgData name="Soumaya ZERHOUNI" userId="690e4aa6-586b-4341-8f1a-54a3e7457441" providerId="ADAL" clId="{69AAD651-E566-4914-B951-51E57822A563}" dt="2024-01-24T10:28:09.280" v="162"/>
          <ac:graphicFrameMkLst>
            <pc:docMk/>
            <pc:sldMk cId="4251555247" sldId="2147480293"/>
            <ac:graphicFrameMk id="24" creationId="{8302498C-4A25-300A-4A27-E174F63C40D3}"/>
          </ac:graphicFrameMkLst>
        </pc:graphicFrameChg>
        <pc:graphicFrameChg chg="add mod">
          <ac:chgData name="Soumaya ZERHOUNI" userId="690e4aa6-586b-4341-8f1a-54a3e7457441" providerId="ADAL" clId="{69AAD651-E566-4914-B951-51E57822A563}" dt="2024-01-24T10:28:14.744" v="163"/>
          <ac:graphicFrameMkLst>
            <pc:docMk/>
            <pc:sldMk cId="4251555247" sldId="2147480293"/>
            <ac:graphicFrameMk id="25" creationId="{B65D8004-96AE-2041-AD8E-CCEA3B77A889}"/>
          </ac:graphicFrameMkLst>
        </pc:graphicFrameChg>
        <pc:graphicFrameChg chg="add mod">
          <ac:chgData name="Soumaya ZERHOUNI" userId="690e4aa6-586b-4341-8f1a-54a3e7457441" providerId="ADAL" clId="{69AAD651-E566-4914-B951-51E57822A563}" dt="2024-01-24T10:28:31.583" v="166"/>
          <ac:graphicFrameMkLst>
            <pc:docMk/>
            <pc:sldMk cId="4251555247" sldId="2147480293"/>
            <ac:graphicFrameMk id="26" creationId="{D7FD9AB2-FBA3-2532-4716-BDCEAD85C9D8}"/>
          </ac:graphicFrameMkLst>
        </pc:graphicFrameChg>
        <pc:graphicFrameChg chg="add mod">
          <ac:chgData name="Soumaya ZERHOUNI" userId="690e4aa6-586b-4341-8f1a-54a3e7457441" providerId="ADAL" clId="{69AAD651-E566-4914-B951-51E57822A563}" dt="2024-01-24T10:28:43.190" v="169"/>
          <ac:graphicFrameMkLst>
            <pc:docMk/>
            <pc:sldMk cId="4251555247" sldId="2147480293"/>
            <ac:graphicFrameMk id="27" creationId="{1ED217A3-29FE-CE1F-E8E0-3E92605353DF}"/>
          </ac:graphicFrameMkLst>
        </pc:graphicFrameChg>
        <pc:graphicFrameChg chg="add mod">
          <ac:chgData name="Soumaya ZERHOUNI" userId="690e4aa6-586b-4341-8f1a-54a3e7457441" providerId="ADAL" clId="{69AAD651-E566-4914-B951-51E57822A563}" dt="2024-01-24T10:28:58.053" v="172"/>
          <ac:graphicFrameMkLst>
            <pc:docMk/>
            <pc:sldMk cId="4251555247" sldId="2147480293"/>
            <ac:graphicFrameMk id="28" creationId="{7F2D5AB5-7924-5A83-6AE1-28D472548724}"/>
          </ac:graphicFrameMkLst>
        </pc:graphicFrameChg>
        <pc:graphicFrameChg chg="add mod">
          <ac:chgData name="Soumaya ZERHOUNI" userId="690e4aa6-586b-4341-8f1a-54a3e7457441" providerId="ADAL" clId="{69AAD651-E566-4914-B951-51E57822A563}" dt="2024-01-24T10:29:52.714" v="178"/>
          <ac:graphicFrameMkLst>
            <pc:docMk/>
            <pc:sldMk cId="4251555247" sldId="2147480293"/>
            <ac:graphicFrameMk id="29" creationId="{22B67CC2-CA11-6933-AF73-04DDDB72EF2D}"/>
          </ac:graphicFrameMkLst>
        </pc:graphicFrameChg>
        <pc:graphicFrameChg chg="add mod">
          <ac:chgData name="Soumaya ZERHOUNI" userId="690e4aa6-586b-4341-8f1a-54a3e7457441" providerId="ADAL" clId="{69AAD651-E566-4914-B951-51E57822A563}" dt="2024-01-24T10:30:04.207" v="181"/>
          <ac:graphicFrameMkLst>
            <pc:docMk/>
            <pc:sldMk cId="4251555247" sldId="2147480293"/>
            <ac:graphicFrameMk id="30" creationId="{A8675224-94B1-84A4-2406-DF3EAF7EEAF9}"/>
          </ac:graphicFrameMkLst>
        </pc:graphicFrameChg>
        <pc:graphicFrameChg chg="add mod">
          <ac:chgData name="Soumaya ZERHOUNI" userId="690e4aa6-586b-4341-8f1a-54a3e7457441" providerId="ADAL" clId="{69AAD651-E566-4914-B951-51E57822A563}" dt="2024-01-24T10:59:21.881" v="224"/>
          <ac:graphicFrameMkLst>
            <pc:docMk/>
            <pc:sldMk cId="4251555247" sldId="2147480293"/>
            <ac:graphicFrameMk id="34" creationId="{8D7AD9EB-9283-A8B4-6A8C-875963BEF6B6}"/>
          </ac:graphicFrameMkLst>
        </pc:graphicFrameChg>
        <pc:picChg chg="add mod ord">
          <ac:chgData name="Soumaya ZERHOUNI" userId="690e4aa6-586b-4341-8f1a-54a3e7457441" providerId="ADAL" clId="{69AAD651-E566-4914-B951-51E57822A563}" dt="2024-01-30T13:59:43.115" v="4429" actId="207"/>
          <ac:picMkLst>
            <pc:docMk/>
            <pc:sldMk cId="4251555247" sldId="2147480293"/>
            <ac:picMk id="29" creationId="{51CFCE50-4A1F-21E4-3DEF-796EFECDB0BF}"/>
          </ac:picMkLst>
        </pc:picChg>
        <pc:picChg chg="add del mod">
          <ac:chgData name="Soumaya ZERHOUNI" userId="690e4aa6-586b-4341-8f1a-54a3e7457441" providerId="ADAL" clId="{69AAD651-E566-4914-B951-51E57822A563}" dt="2024-01-29T13:59:48.828" v="2227" actId="478"/>
          <ac:picMkLst>
            <pc:docMk/>
            <pc:sldMk cId="4251555247" sldId="2147480293"/>
            <ac:picMk id="32" creationId="{8806FEED-3B5B-870F-288F-912CB4ABE1B7}"/>
          </ac:picMkLst>
        </pc:picChg>
        <pc:picChg chg="add mod topLvl">
          <ac:chgData name="Soumaya ZERHOUNI" userId="690e4aa6-586b-4341-8f1a-54a3e7457441" providerId="ADAL" clId="{69AAD651-E566-4914-B951-51E57822A563}" dt="2024-01-24T11:07:44.280" v="313" actId="165"/>
          <ac:picMkLst>
            <pc:docMk/>
            <pc:sldMk cId="4251555247" sldId="2147480293"/>
            <ac:picMk id="36" creationId="{A1E2346E-F115-E950-3812-13BEA272DCBA}"/>
          </ac:picMkLst>
        </pc:picChg>
        <pc:picChg chg="add mod">
          <ac:chgData name="Soumaya ZERHOUNI" userId="690e4aa6-586b-4341-8f1a-54a3e7457441" providerId="ADAL" clId="{69AAD651-E566-4914-B951-51E57822A563}" dt="2024-01-24T11:06:58.487" v="306" actId="571"/>
          <ac:picMkLst>
            <pc:docMk/>
            <pc:sldMk cId="4251555247" sldId="2147480293"/>
            <ac:picMk id="38" creationId="{5C0C60C0-CF96-9595-F28C-4F2DBEEDD05D}"/>
          </ac:picMkLst>
        </pc:picChg>
        <pc:picChg chg="add del mod">
          <ac:chgData name="Soumaya ZERHOUNI" userId="690e4aa6-586b-4341-8f1a-54a3e7457441" providerId="ADAL" clId="{69AAD651-E566-4914-B951-51E57822A563}" dt="2024-01-26T16:27:35.911" v="1772" actId="478"/>
          <ac:picMkLst>
            <pc:docMk/>
            <pc:sldMk cId="4251555247" sldId="2147480293"/>
            <ac:picMk id="40" creationId="{52814093-9179-BB6F-9F36-6E9736A95873}"/>
          </ac:picMkLst>
        </pc:picChg>
        <pc:picChg chg="add del mod">
          <ac:chgData name="Soumaya ZERHOUNI" userId="690e4aa6-586b-4341-8f1a-54a3e7457441" providerId="ADAL" clId="{69AAD651-E566-4914-B951-51E57822A563}" dt="2024-01-24T11:09:00.793" v="318" actId="478"/>
          <ac:picMkLst>
            <pc:docMk/>
            <pc:sldMk cId="4251555247" sldId="2147480293"/>
            <ac:picMk id="41" creationId="{959FA533-DE6F-1610-00F7-9BA30D98B7BC}"/>
          </ac:picMkLst>
        </pc:picChg>
        <pc:picChg chg="add mod">
          <ac:chgData name="Soumaya ZERHOUNI" userId="690e4aa6-586b-4341-8f1a-54a3e7457441" providerId="ADAL" clId="{69AAD651-E566-4914-B951-51E57822A563}" dt="2024-01-30T13:59:06.665" v="4425" actId="164"/>
          <ac:picMkLst>
            <pc:docMk/>
            <pc:sldMk cId="4251555247" sldId="2147480293"/>
            <ac:picMk id="42" creationId="{73CDF0D3-E2C5-986A-327A-CD14C980C0F6}"/>
          </ac:picMkLst>
        </pc:picChg>
      </pc:sldChg>
      <pc:sldChg chg="modSp mod">
        <pc:chgData name="Soumaya ZERHOUNI" userId="690e4aa6-586b-4341-8f1a-54a3e7457441" providerId="ADAL" clId="{69AAD651-E566-4914-B951-51E57822A563}" dt="2024-01-31T15:06:14.964" v="5474" actId="1035"/>
        <pc:sldMkLst>
          <pc:docMk/>
          <pc:sldMk cId="936296583" sldId="2147480294"/>
        </pc:sldMkLst>
        <pc:spChg chg="mod">
          <ac:chgData name="Soumaya ZERHOUNI" userId="690e4aa6-586b-4341-8f1a-54a3e7457441" providerId="ADAL" clId="{69AAD651-E566-4914-B951-51E57822A563}" dt="2024-01-31T15:06:14.964" v="5474" actId="1035"/>
          <ac:spMkLst>
            <pc:docMk/>
            <pc:sldMk cId="936296583" sldId="2147480294"/>
            <ac:spMk id="2" creationId="{9A749007-8D5F-CB95-FD64-648D2F144C95}"/>
          </ac:spMkLst>
        </pc:spChg>
      </pc:sldChg>
      <pc:sldChg chg="modSp mod">
        <pc:chgData name="Soumaya ZERHOUNI" userId="690e4aa6-586b-4341-8f1a-54a3e7457441" providerId="ADAL" clId="{69AAD651-E566-4914-B951-51E57822A563}" dt="2024-01-23T17:14:36.145" v="25"/>
        <pc:sldMkLst>
          <pc:docMk/>
          <pc:sldMk cId="2389986792" sldId="2147480295"/>
        </pc:sldMkLst>
        <pc:spChg chg="ord">
          <ac:chgData name="Soumaya ZERHOUNI" userId="690e4aa6-586b-4341-8f1a-54a3e7457441" providerId="ADAL" clId="{69AAD651-E566-4914-B951-51E57822A563}" dt="2024-01-23T17:14:16.550" v="13" actId="170"/>
          <ac:spMkLst>
            <pc:docMk/>
            <pc:sldMk cId="2389986792" sldId="2147480295"/>
            <ac:spMk id="6" creationId="{1BFF0450-A5DD-066F-50D7-173531D24D58}"/>
          </ac:spMkLst>
        </pc:spChg>
        <pc:spChg chg="ord">
          <ac:chgData name="Soumaya ZERHOUNI" userId="690e4aa6-586b-4341-8f1a-54a3e7457441" providerId="ADAL" clId="{69AAD651-E566-4914-B951-51E57822A563}" dt="2024-01-23T17:14:22.119" v="17" actId="170"/>
          <ac:spMkLst>
            <pc:docMk/>
            <pc:sldMk cId="2389986792" sldId="2147480295"/>
            <ac:spMk id="7" creationId="{A50AB6AA-EA56-87F2-364D-FBB6A1BA70E1}"/>
          </ac:spMkLst>
        </pc:spChg>
        <pc:spChg chg="ord">
          <ac:chgData name="Soumaya ZERHOUNI" userId="690e4aa6-586b-4341-8f1a-54a3e7457441" providerId="ADAL" clId="{69AAD651-E566-4914-B951-51E57822A563}" dt="2024-01-23T17:14:34.310" v="21"/>
          <ac:spMkLst>
            <pc:docMk/>
            <pc:sldMk cId="2389986792" sldId="2147480295"/>
            <ac:spMk id="8" creationId="{DFF23D7B-5BD1-7FF3-7139-8DBDDCAF39CF}"/>
          </ac:spMkLst>
        </pc:spChg>
        <pc:spChg chg="ord">
          <ac:chgData name="Soumaya ZERHOUNI" userId="690e4aa6-586b-4341-8f1a-54a3e7457441" providerId="ADAL" clId="{69AAD651-E566-4914-B951-51E57822A563}" dt="2024-01-23T17:14:36.145" v="25"/>
          <ac:spMkLst>
            <pc:docMk/>
            <pc:sldMk cId="2389986792" sldId="2147480295"/>
            <ac:spMk id="9" creationId="{9CC11519-A77C-AE5E-612C-52F61157B121}"/>
          </ac:spMkLst>
        </pc:spChg>
      </pc:sldChg>
      <pc:sldChg chg="addSp delSp modSp mod">
        <pc:chgData name="Soumaya ZERHOUNI" userId="690e4aa6-586b-4341-8f1a-54a3e7457441" providerId="ADAL" clId="{69AAD651-E566-4914-B951-51E57822A563}" dt="2024-01-31T15:27:55.676" v="5575" actId="21"/>
        <pc:sldMkLst>
          <pc:docMk/>
          <pc:sldMk cId="3314057026" sldId="2147480296"/>
        </pc:sldMkLst>
        <pc:spChg chg="mod">
          <ac:chgData name="Soumaya ZERHOUNI" userId="690e4aa6-586b-4341-8f1a-54a3e7457441" providerId="ADAL" clId="{69AAD651-E566-4914-B951-51E57822A563}" dt="2024-01-31T15:27:52.860" v="5574" actId="554"/>
          <ac:spMkLst>
            <pc:docMk/>
            <pc:sldMk cId="3314057026" sldId="2147480296"/>
            <ac:spMk id="3" creationId="{8E41AE0F-B11E-920D-98F4-65FB2BB83A65}"/>
          </ac:spMkLst>
        </pc:spChg>
        <pc:spChg chg="add del mod">
          <ac:chgData name="Soumaya ZERHOUNI" userId="690e4aa6-586b-4341-8f1a-54a3e7457441" providerId="ADAL" clId="{69AAD651-E566-4914-B951-51E57822A563}" dt="2024-01-31T15:27:55.676" v="5575" actId="21"/>
          <ac:spMkLst>
            <pc:docMk/>
            <pc:sldMk cId="3314057026" sldId="2147480296"/>
            <ac:spMk id="42" creationId="{C124D77C-535F-5AC4-1115-2BDE686461FD}"/>
          </ac:spMkLst>
        </pc:spChg>
      </pc:sldChg>
      <pc:sldChg chg="addSp delSp modSp mod">
        <pc:chgData name="Soumaya ZERHOUNI" userId="690e4aa6-586b-4341-8f1a-54a3e7457441" providerId="ADAL" clId="{69AAD651-E566-4914-B951-51E57822A563}" dt="2024-01-31T15:27:30.206" v="5569" actId="21"/>
        <pc:sldMkLst>
          <pc:docMk/>
          <pc:sldMk cId="1871989762" sldId="2147480297"/>
        </pc:sldMkLst>
        <pc:spChg chg="mod">
          <ac:chgData name="Soumaya ZERHOUNI" userId="690e4aa6-586b-4341-8f1a-54a3e7457441" providerId="ADAL" clId="{69AAD651-E566-4914-B951-51E57822A563}" dt="2024-01-31T15:27:26.848" v="5568" actId="554"/>
          <ac:spMkLst>
            <pc:docMk/>
            <pc:sldMk cId="1871989762" sldId="2147480297"/>
            <ac:spMk id="2" creationId="{8841BFD6-808B-A31A-3219-984E547A519C}"/>
          </ac:spMkLst>
        </pc:spChg>
        <pc:spChg chg="add del mod">
          <ac:chgData name="Soumaya ZERHOUNI" userId="690e4aa6-586b-4341-8f1a-54a3e7457441" providerId="ADAL" clId="{69AAD651-E566-4914-B951-51E57822A563}" dt="2024-01-31T15:27:30.206" v="5569" actId="21"/>
          <ac:spMkLst>
            <pc:docMk/>
            <pc:sldMk cId="1871989762" sldId="2147480297"/>
            <ac:spMk id="38" creationId="{C124D77C-535F-5AC4-1115-2BDE686461FD}"/>
          </ac:spMkLst>
        </pc:spChg>
      </pc:sldChg>
      <pc:sldChg chg="addSp delSp modSp mod">
        <pc:chgData name="Soumaya ZERHOUNI" userId="690e4aa6-586b-4341-8f1a-54a3e7457441" providerId="ADAL" clId="{69AAD651-E566-4914-B951-51E57822A563}" dt="2024-02-01T09:12:49.742" v="6794" actId="207"/>
        <pc:sldMkLst>
          <pc:docMk/>
          <pc:sldMk cId="1688075584" sldId="2147480302"/>
        </pc:sldMkLst>
        <pc:spChg chg="mod">
          <ac:chgData name="Soumaya ZERHOUNI" userId="690e4aa6-586b-4341-8f1a-54a3e7457441" providerId="ADAL" clId="{69AAD651-E566-4914-B951-51E57822A563}" dt="2024-01-31T15:30:56.116" v="5617" actId="554"/>
          <ac:spMkLst>
            <pc:docMk/>
            <pc:sldMk cId="1688075584" sldId="2147480302"/>
            <ac:spMk id="3" creationId="{1DD85468-970B-4013-D370-EA2A4D5D1BA1}"/>
          </ac:spMkLst>
        </pc:spChg>
        <pc:spChg chg="del mod">
          <ac:chgData name="Soumaya ZERHOUNI" userId="690e4aa6-586b-4341-8f1a-54a3e7457441" providerId="ADAL" clId="{69AAD651-E566-4914-B951-51E57822A563}" dt="2024-02-01T09:04:55.965" v="6775" actId="478"/>
          <ac:spMkLst>
            <pc:docMk/>
            <pc:sldMk cId="1688075584" sldId="2147480302"/>
            <ac:spMk id="6" creationId="{4BFDAAEA-B1C9-9EA6-B386-E68E5B433EE6}"/>
          </ac:spMkLst>
        </pc:spChg>
        <pc:spChg chg="add mod">
          <ac:chgData name="Soumaya ZERHOUNI" userId="690e4aa6-586b-4341-8f1a-54a3e7457441" providerId="ADAL" clId="{69AAD651-E566-4914-B951-51E57822A563}" dt="2024-02-01T09:10:16.246" v="6792" actId="207"/>
          <ac:spMkLst>
            <pc:docMk/>
            <pc:sldMk cId="1688075584" sldId="2147480302"/>
            <ac:spMk id="12" creationId="{030457D7-116C-A092-F4E3-4C5F1D9BF5F5}"/>
          </ac:spMkLst>
        </pc:spChg>
        <pc:spChg chg="add del">
          <ac:chgData name="Soumaya ZERHOUNI" userId="690e4aa6-586b-4341-8f1a-54a3e7457441" providerId="ADAL" clId="{69AAD651-E566-4914-B951-51E57822A563}" dt="2024-02-01T09:07:17.464" v="6777" actId="478"/>
          <ac:spMkLst>
            <pc:docMk/>
            <pc:sldMk cId="1688075584" sldId="2147480302"/>
            <ac:spMk id="14" creationId="{07FD0AEB-4306-119D-19FF-4D7217408A14}"/>
          </ac:spMkLst>
        </pc:spChg>
        <pc:spChg chg="add mod">
          <ac:chgData name="Soumaya ZERHOUNI" userId="690e4aa6-586b-4341-8f1a-54a3e7457441" providerId="ADAL" clId="{69AAD651-E566-4914-B951-51E57822A563}" dt="2024-02-01T09:10:27.460" v="6793" actId="571"/>
          <ac:spMkLst>
            <pc:docMk/>
            <pc:sldMk cId="1688075584" sldId="2147480302"/>
            <ac:spMk id="17" creationId="{F8475D44-EC46-1984-A245-4CF0949C9818}"/>
          </ac:spMkLst>
        </pc:spChg>
        <pc:spChg chg="mod">
          <ac:chgData name="Soumaya ZERHOUNI" userId="690e4aa6-586b-4341-8f1a-54a3e7457441" providerId="ADAL" clId="{69AAD651-E566-4914-B951-51E57822A563}" dt="2024-02-01T09:03:13.640" v="6749" actId="555"/>
          <ac:spMkLst>
            <pc:docMk/>
            <pc:sldMk cId="1688075584" sldId="2147480302"/>
            <ac:spMk id="30" creationId="{3C8E7D1F-CC31-EDC4-E553-970EA6836723}"/>
          </ac:spMkLst>
        </pc:spChg>
        <pc:spChg chg="mod">
          <ac:chgData name="Soumaya ZERHOUNI" userId="690e4aa6-586b-4341-8f1a-54a3e7457441" providerId="ADAL" clId="{69AAD651-E566-4914-B951-51E57822A563}" dt="2024-02-01T09:03:22.684" v="6750" actId="555"/>
          <ac:spMkLst>
            <pc:docMk/>
            <pc:sldMk cId="1688075584" sldId="2147480302"/>
            <ac:spMk id="32" creationId="{8CFE4001-B6BE-E6C3-191B-1B362D32EF8F}"/>
          </ac:spMkLst>
        </pc:spChg>
        <pc:spChg chg="mod">
          <ac:chgData name="Soumaya ZERHOUNI" userId="690e4aa6-586b-4341-8f1a-54a3e7457441" providerId="ADAL" clId="{69AAD651-E566-4914-B951-51E57822A563}" dt="2024-02-01T09:12:49.742" v="6794" actId="207"/>
          <ac:spMkLst>
            <pc:docMk/>
            <pc:sldMk cId="1688075584" sldId="2147480302"/>
            <ac:spMk id="33" creationId="{A1654466-0E14-27E8-5018-2461CDD59461}"/>
          </ac:spMkLst>
        </pc:spChg>
        <pc:spChg chg="mod">
          <ac:chgData name="Soumaya ZERHOUNI" userId="690e4aa6-586b-4341-8f1a-54a3e7457441" providerId="ADAL" clId="{69AAD651-E566-4914-B951-51E57822A563}" dt="2024-02-01T09:03:13.640" v="6749" actId="555"/>
          <ac:spMkLst>
            <pc:docMk/>
            <pc:sldMk cId="1688075584" sldId="2147480302"/>
            <ac:spMk id="38" creationId="{3436AD79-08F5-111F-CCE1-F83A13D07389}"/>
          </ac:spMkLst>
        </pc:spChg>
        <pc:spChg chg="mod">
          <ac:chgData name="Soumaya ZERHOUNI" userId="690e4aa6-586b-4341-8f1a-54a3e7457441" providerId="ADAL" clId="{69AAD651-E566-4914-B951-51E57822A563}" dt="2024-02-01T09:03:00.801" v="6748" actId="1076"/>
          <ac:spMkLst>
            <pc:docMk/>
            <pc:sldMk cId="1688075584" sldId="2147480302"/>
            <ac:spMk id="46" creationId="{4FE048C3-F106-C914-0163-03D57904C9A6}"/>
          </ac:spMkLst>
        </pc:spChg>
        <pc:spChg chg="mod">
          <ac:chgData name="Soumaya ZERHOUNI" userId="690e4aa6-586b-4341-8f1a-54a3e7457441" providerId="ADAL" clId="{69AAD651-E566-4914-B951-51E57822A563}" dt="2024-02-01T09:03:22.684" v="6750" actId="555"/>
          <ac:spMkLst>
            <pc:docMk/>
            <pc:sldMk cId="1688075584" sldId="2147480302"/>
            <ac:spMk id="47" creationId="{0B8E7557-7CB1-B5C6-18DC-20166E1E7291}"/>
          </ac:spMkLst>
        </pc:spChg>
        <pc:spChg chg="add del mod">
          <ac:chgData name="Soumaya ZERHOUNI" userId="690e4aa6-586b-4341-8f1a-54a3e7457441" providerId="ADAL" clId="{69AAD651-E566-4914-B951-51E57822A563}" dt="2024-01-31T15:30:59.173" v="5618" actId="21"/>
          <ac:spMkLst>
            <pc:docMk/>
            <pc:sldMk cId="1688075584" sldId="2147480302"/>
            <ac:spMk id="67" creationId="{C124D77C-535F-5AC4-1115-2BDE686461FD}"/>
          </ac:spMkLst>
        </pc:spChg>
        <pc:picChg chg="add del mod">
          <ac:chgData name="Soumaya ZERHOUNI" userId="690e4aa6-586b-4341-8f1a-54a3e7457441" providerId="ADAL" clId="{69AAD651-E566-4914-B951-51E57822A563}" dt="2024-02-01T09:04:38.277" v="6772" actId="478"/>
          <ac:picMkLst>
            <pc:docMk/>
            <pc:sldMk cId="1688075584" sldId="2147480302"/>
            <ac:picMk id="13" creationId="{3452E557-1C18-F787-1F6E-356DF8B630A2}"/>
          </ac:picMkLst>
        </pc:picChg>
        <pc:picChg chg="add mod">
          <ac:chgData name="Soumaya ZERHOUNI" userId="690e4aa6-586b-4341-8f1a-54a3e7457441" providerId="ADAL" clId="{69AAD651-E566-4914-B951-51E57822A563}" dt="2024-02-01T09:08:35.381" v="6788" actId="1076"/>
          <ac:picMkLst>
            <pc:docMk/>
            <pc:sldMk cId="1688075584" sldId="2147480302"/>
            <ac:picMk id="16" creationId="{1241DC60-2A4C-6D36-22E4-315259CC6606}"/>
          </ac:picMkLst>
        </pc:picChg>
        <pc:picChg chg="mod">
          <ac:chgData name="Soumaya ZERHOUNI" userId="690e4aa6-586b-4341-8f1a-54a3e7457441" providerId="ADAL" clId="{69AAD651-E566-4914-B951-51E57822A563}" dt="2024-02-01T09:03:00.801" v="6748" actId="1076"/>
          <ac:picMkLst>
            <pc:docMk/>
            <pc:sldMk cId="1688075584" sldId="2147480302"/>
            <ac:picMk id="34" creationId="{DF586CCA-7B0B-6774-12CA-12BF99924BE6}"/>
          </ac:picMkLst>
        </pc:picChg>
        <pc:picChg chg="mod">
          <ac:chgData name="Soumaya ZERHOUNI" userId="690e4aa6-586b-4341-8f1a-54a3e7457441" providerId="ADAL" clId="{69AAD651-E566-4914-B951-51E57822A563}" dt="2024-02-01T09:03:36.917" v="6752" actId="12789"/>
          <ac:picMkLst>
            <pc:docMk/>
            <pc:sldMk cId="1688075584" sldId="2147480302"/>
            <ac:picMk id="41" creationId="{C87C92EF-FFF7-650A-E3CA-0B9C69BC2807}"/>
          </ac:picMkLst>
        </pc:picChg>
        <pc:picChg chg="add del mod modCrop">
          <ac:chgData name="Soumaya ZERHOUNI" userId="690e4aa6-586b-4341-8f1a-54a3e7457441" providerId="ADAL" clId="{69AAD651-E566-4914-B951-51E57822A563}" dt="2024-01-31T16:09:56.983" v="6076" actId="21"/>
          <ac:picMkLst>
            <pc:docMk/>
            <pc:sldMk cId="1688075584" sldId="2147480302"/>
            <ac:picMk id="51" creationId="{5AF6E426-6A36-75DF-86E2-BA34732E33EF}"/>
          </ac:picMkLst>
        </pc:picChg>
        <pc:picChg chg="mod">
          <ac:chgData name="Soumaya ZERHOUNI" userId="690e4aa6-586b-4341-8f1a-54a3e7457441" providerId="ADAL" clId="{69AAD651-E566-4914-B951-51E57822A563}" dt="2024-02-01T09:03:36.917" v="6752" actId="12789"/>
          <ac:picMkLst>
            <pc:docMk/>
            <pc:sldMk cId="1688075584" sldId="2147480302"/>
            <ac:picMk id="3137" creationId="{80FDCE6F-F5CA-FA0E-45A3-9D8934862EA8}"/>
          </ac:picMkLst>
        </pc:picChg>
        <pc:cxnChg chg="add del mod">
          <ac:chgData name="Soumaya ZERHOUNI" userId="690e4aa6-586b-4341-8f1a-54a3e7457441" providerId="ADAL" clId="{69AAD651-E566-4914-B951-51E57822A563}" dt="2024-02-01T09:02:39.136" v="6745" actId="21"/>
          <ac:cxnSpMkLst>
            <pc:docMk/>
            <pc:sldMk cId="1688075584" sldId="2147480302"/>
            <ac:cxnSpMk id="5" creationId="{BED71002-4696-8542-85FB-42657B618D85}"/>
          </ac:cxnSpMkLst>
        </pc:cxnChg>
        <pc:cxnChg chg="add del mod">
          <ac:chgData name="Soumaya ZERHOUNI" userId="690e4aa6-586b-4341-8f1a-54a3e7457441" providerId="ADAL" clId="{69AAD651-E566-4914-B951-51E57822A563}" dt="2024-02-01T09:02:39.136" v="6745" actId="21"/>
          <ac:cxnSpMkLst>
            <pc:docMk/>
            <pc:sldMk cId="1688075584" sldId="2147480302"/>
            <ac:cxnSpMk id="8" creationId="{9FBBBE8C-C113-F8BB-9EB5-0787B18515C4}"/>
          </ac:cxnSpMkLst>
        </pc:cxnChg>
        <pc:cxnChg chg="add mod">
          <ac:chgData name="Soumaya ZERHOUNI" userId="690e4aa6-586b-4341-8f1a-54a3e7457441" providerId="ADAL" clId="{69AAD651-E566-4914-B951-51E57822A563}" dt="2024-02-01T09:02:42.351" v="6747"/>
          <ac:cxnSpMkLst>
            <pc:docMk/>
            <pc:sldMk cId="1688075584" sldId="2147480302"/>
            <ac:cxnSpMk id="9" creationId="{BED71002-4696-8542-85FB-42657B618D85}"/>
          </ac:cxnSpMkLst>
        </pc:cxnChg>
        <pc:cxnChg chg="add mod">
          <ac:chgData name="Soumaya ZERHOUNI" userId="690e4aa6-586b-4341-8f1a-54a3e7457441" providerId="ADAL" clId="{69AAD651-E566-4914-B951-51E57822A563}" dt="2024-02-01T09:02:42.351" v="6747"/>
          <ac:cxnSpMkLst>
            <pc:docMk/>
            <pc:sldMk cId="1688075584" sldId="2147480302"/>
            <ac:cxnSpMk id="10" creationId="{9FBBBE8C-C113-F8BB-9EB5-0787B18515C4}"/>
          </ac:cxnSpMkLst>
        </pc:cxnChg>
        <pc:cxnChg chg="mod">
          <ac:chgData name="Soumaya ZERHOUNI" userId="690e4aa6-586b-4341-8f1a-54a3e7457441" providerId="ADAL" clId="{69AAD651-E566-4914-B951-51E57822A563}" dt="2024-02-01T09:03:36.917" v="6752" actId="12789"/>
          <ac:cxnSpMkLst>
            <pc:docMk/>
            <pc:sldMk cId="1688075584" sldId="2147480302"/>
            <ac:cxnSpMk id="3086" creationId="{38C5C80F-3EFB-D38A-EAF7-902C5FCF8D6E}"/>
          </ac:cxnSpMkLst>
        </pc:cxnChg>
        <pc:cxnChg chg="del mod">
          <ac:chgData name="Soumaya ZERHOUNI" userId="690e4aa6-586b-4341-8f1a-54a3e7457441" providerId="ADAL" clId="{69AAD651-E566-4914-B951-51E57822A563}" dt="2024-02-01T09:02:41.298" v="6746" actId="478"/>
          <ac:cxnSpMkLst>
            <pc:docMk/>
            <pc:sldMk cId="1688075584" sldId="2147480302"/>
            <ac:cxnSpMk id="3091" creationId="{46D70A3B-1419-4900-234F-E70DE603F231}"/>
          </ac:cxnSpMkLst>
        </pc:cxnChg>
        <pc:cxnChg chg="mod">
          <ac:chgData name="Soumaya ZERHOUNI" userId="690e4aa6-586b-4341-8f1a-54a3e7457441" providerId="ADAL" clId="{69AAD651-E566-4914-B951-51E57822A563}" dt="2024-02-01T09:03:36.917" v="6752" actId="12789"/>
          <ac:cxnSpMkLst>
            <pc:docMk/>
            <pc:sldMk cId="1688075584" sldId="2147480302"/>
            <ac:cxnSpMk id="3094" creationId="{D0C4D244-A74E-C167-F4AF-B94EC49ABA06}"/>
          </ac:cxnSpMkLst>
        </pc:cxnChg>
        <pc:cxnChg chg="mod">
          <ac:chgData name="Soumaya ZERHOUNI" userId="690e4aa6-586b-4341-8f1a-54a3e7457441" providerId="ADAL" clId="{69AAD651-E566-4914-B951-51E57822A563}" dt="2024-02-01T09:03:36.917" v="6752" actId="12789"/>
          <ac:cxnSpMkLst>
            <pc:docMk/>
            <pc:sldMk cId="1688075584" sldId="2147480302"/>
            <ac:cxnSpMk id="3097" creationId="{71B78758-B5AD-48DC-1B64-990833AD920F}"/>
          </ac:cxnSpMkLst>
        </pc:cxnChg>
        <pc:cxnChg chg="mod">
          <ac:chgData name="Soumaya ZERHOUNI" userId="690e4aa6-586b-4341-8f1a-54a3e7457441" providerId="ADAL" clId="{69AAD651-E566-4914-B951-51E57822A563}" dt="2024-02-01T09:03:36.917" v="6752" actId="12789"/>
          <ac:cxnSpMkLst>
            <pc:docMk/>
            <pc:sldMk cId="1688075584" sldId="2147480302"/>
            <ac:cxnSpMk id="3100" creationId="{21D040B4-2642-6E64-8E15-8E6D8BAC7C19}"/>
          </ac:cxnSpMkLst>
        </pc:cxnChg>
        <pc:cxnChg chg="mod">
          <ac:chgData name="Soumaya ZERHOUNI" userId="690e4aa6-586b-4341-8f1a-54a3e7457441" providerId="ADAL" clId="{69AAD651-E566-4914-B951-51E57822A563}" dt="2024-02-01T09:03:36.917" v="6752" actId="12789"/>
          <ac:cxnSpMkLst>
            <pc:docMk/>
            <pc:sldMk cId="1688075584" sldId="2147480302"/>
            <ac:cxnSpMk id="3129" creationId="{2F347F9B-2676-F74F-C620-96FD15DEA0DB}"/>
          </ac:cxnSpMkLst>
        </pc:cxnChg>
      </pc:sldChg>
      <pc:sldChg chg="addSp delSp modSp mod">
        <pc:chgData name="Soumaya ZERHOUNI" userId="690e4aa6-586b-4341-8f1a-54a3e7457441" providerId="ADAL" clId="{69AAD651-E566-4914-B951-51E57822A563}" dt="2024-01-31T15:31:39.649" v="5629" actId="21"/>
        <pc:sldMkLst>
          <pc:docMk/>
          <pc:sldMk cId="2459109621" sldId="2147480303"/>
        </pc:sldMkLst>
        <pc:spChg chg="mod">
          <ac:chgData name="Soumaya ZERHOUNI" userId="690e4aa6-586b-4341-8f1a-54a3e7457441" providerId="ADAL" clId="{69AAD651-E566-4914-B951-51E57822A563}" dt="2024-01-31T15:31:37.153" v="5628" actId="554"/>
          <ac:spMkLst>
            <pc:docMk/>
            <pc:sldMk cId="2459109621" sldId="2147480303"/>
            <ac:spMk id="25" creationId="{F8CEBBC7-D764-0EBC-C71D-FCD6989F1589}"/>
          </ac:spMkLst>
        </pc:spChg>
        <pc:spChg chg="add del mod">
          <ac:chgData name="Soumaya ZERHOUNI" userId="690e4aa6-586b-4341-8f1a-54a3e7457441" providerId="ADAL" clId="{69AAD651-E566-4914-B951-51E57822A563}" dt="2024-01-31T15:31:39.649" v="5629" actId="21"/>
          <ac:spMkLst>
            <pc:docMk/>
            <pc:sldMk cId="2459109621" sldId="2147480303"/>
            <ac:spMk id="67" creationId="{C124D77C-535F-5AC4-1115-2BDE686461FD}"/>
          </ac:spMkLst>
        </pc:spChg>
      </pc:sldChg>
      <pc:sldChg chg="addSp delSp modSp mod modNotesTx">
        <pc:chgData name="Soumaya ZERHOUNI" userId="690e4aa6-586b-4341-8f1a-54a3e7457441" providerId="ADAL" clId="{69AAD651-E566-4914-B951-51E57822A563}" dt="2024-02-02T17:26:17.442" v="12851" actId="2"/>
        <pc:sldMkLst>
          <pc:docMk/>
          <pc:sldMk cId="1464809953" sldId="2147480304"/>
        </pc:sldMkLst>
        <pc:spChg chg="mod">
          <ac:chgData name="Soumaya ZERHOUNI" userId="690e4aa6-586b-4341-8f1a-54a3e7457441" providerId="ADAL" clId="{69AAD651-E566-4914-B951-51E57822A563}" dt="2024-01-31T15:27:01.802" v="5562" actId="554"/>
          <ac:spMkLst>
            <pc:docMk/>
            <pc:sldMk cId="1464809953" sldId="2147480304"/>
            <ac:spMk id="2" creationId="{A2D57B31-7B0D-92C3-B33F-D94DC4725E53}"/>
          </ac:spMkLst>
        </pc:spChg>
        <pc:spChg chg="add del mod">
          <ac:chgData name="Soumaya ZERHOUNI" userId="690e4aa6-586b-4341-8f1a-54a3e7457441" providerId="ADAL" clId="{69AAD651-E566-4914-B951-51E57822A563}" dt="2024-01-31T14:58:24.717" v="5437" actId="21"/>
          <ac:spMkLst>
            <pc:docMk/>
            <pc:sldMk cId="1464809953" sldId="2147480304"/>
            <ac:spMk id="28" creationId="{CCD51652-D337-6896-0B2A-54E8D48FC1C6}"/>
          </ac:spMkLst>
        </pc:spChg>
        <pc:spChg chg="add del mod">
          <ac:chgData name="Soumaya ZERHOUNI" userId="690e4aa6-586b-4341-8f1a-54a3e7457441" providerId="ADAL" clId="{69AAD651-E566-4914-B951-51E57822A563}" dt="2024-01-31T15:27:03.819" v="5563" actId="21"/>
          <ac:spMkLst>
            <pc:docMk/>
            <pc:sldMk cId="1464809953" sldId="2147480304"/>
            <ac:spMk id="38" creationId="{C124D77C-535F-5AC4-1115-2BDE686461FD}"/>
          </ac:spMkLst>
        </pc:spChg>
      </pc:sldChg>
      <pc:sldChg chg="addSp delSp modSp mod">
        <pc:chgData name="Soumaya ZERHOUNI" userId="690e4aa6-586b-4341-8f1a-54a3e7457441" providerId="ADAL" clId="{69AAD651-E566-4914-B951-51E57822A563}" dt="2024-02-02T14:55:18.374" v="12250" actId="20577"/>
        <pc:sldMkLst>
          <pc:docMk/>
          <pc:sldMk cId="1097620525" sldId="2147480307"/>
        </pc:sldMkLst>
        <pc:spChg chg="add del mod">
          <ac:chgData name="Soumaya ZERHOUNI" userId="690e4aa6-586b-4341-8f1a-54a3e7457441" providerId="ADAL" clId="{69AAD651-E566-4914-B951-51E57822A563}" dt="2024-01-31T15:29:21.830" v="5598" actId="21"/>
          <ac:spMkLst>
            <pc:docMk/>
            <pc:sldMk cId="1097620525" sldId="2147480307"/>
            <ac:spMk id="21" creationId="{C124D77C-535F-5AC4-1115-2BDE686461FD}"/>
          </ac:spMkLst>
        </pc:spChg>
        <pc:spChg chg="mod">
          <ac:chgData name="Soumaya ZERHOUNI" userId="690e4aa6-586b-4341-8f1a-54a3e7457441" providerId="ADAL" clId="{69AAD651-E566-4914-B951-51E57822A563}" dt="2024-01-31T15:29:16.643" v="5597" actId="554"/>
          <ac:spMkLst>
            <pc:docMk/>
            <pc:sldMk cId="1097620525" sldId="2147480307"/>
            <ac:spMk id="30" creationId="{A8A15718-341E-1618-BBFE-8DE79C4D1726}"/>
          </ac:spMkLst>
        </pc:spChg>
        <pc:spChg chg="mod">
          <ac:chgData name="Soumaya ZERHOUNI" userId="690e4aa6-586b-4341-8f1a-54a3e7457441" providerId="ADAL" clId="{69AAD651-E566-4914-B951-51E57822A563}" dt="2024-02-02T14:55:18.374" v="12250" actId="20577"/>
          <ac:spMkLst>
            <pc:docMk/>
            <pc:sldMk cId="1097620525" sldId="2147480307"/>
            <ac:spMk id="32" creationId="{B3495833-9CC2-ED21-6E68-56E657DD98F8}"/>
          </ac:spMkLst>
        </pc:spChg>
      </pc:sldChg>
      <pc:sldChg chg="addSp delSp modSp mod">
        <pc:chgData name="Soumaya ZERHOUNI" userId="690e4aa6-586b-4341-8f1a-54a3e7457441" providerId="ADAL" clId="{69AAD651-E566-4914-B951-51E57822A563}" dt="2024-02-02T17:26:47.185" v="12862" actId="2"/>
        <pc:sldMkLst>
          <pc:docMk/>
          <pc:sldMk cId="1174410406" sldId="2147480308"/>
        </pc:sldMkLst>
        <pc:spChg chg="mod">
          <ac:chgData name="Soumaya ZERHOUNI" userId="690e4aa6-586b-4341-8f1a-54a3e7457441" providerId="ADAL" clId="{69AAD651-E566-4914-B951-51E57822A563}" dt="2024-02-02T17:26:47.185" v="12862" actId="2"/>
          <ac:spMkLst>
            <pc:docMk/>
            <pc:sldMk cId="1174410406" sldId="2147480308"/>
            <ac:spMk id="3" creationId="{667C8A85-8CD5-181E-1B44-9BED4BC58ECF}"/>
          </ac:spMkLst>
        </pc:spChg>
        <pc:spChg chg="add del mod">
          <ac:chgData name="Soumaya ZERHOUNI" userId="690e4aa6-586b-4341-8f1a-54a3e7457441" providerId="ADAL" clId="{69AAD651-E566-4914-B951-51E57822A563}" dt="2024-01-31T15:30:11.893" v="5605" actId="21"/>
          <ac:spMkLst>
            <pc:docMk/>
            <pc:sldMk cId="1174410406" sldId="2147480308"/>
            <ac:spMk id="17" creationId="{C124D77C-535F-5AC4-1115-2BDE686461FD}"/>
          </ac:spMkLst>
        </pc:spChg>
        <pc:spChg chg="mod">
          <ac:chgData name="Soumaya ZERHOUNI" userId="690e4aa6-586b-4341-8f1a-54a3e7457441" providerId="ADAL" clId="{69AAD651-E566-4914-B951-51E57822A563}" dt="2024-02-02T17:26:45.562" v="12861" actId="2"/>
          <ac:spMkLst>
            <pc:docMk/>
            <pc:sldMk cId="1174410406" sldId="2147480308"/>
            <ac:spMk id="25" creationId="{1515E993-6069-6C0D-1BB2-F62EC1A5417F}"/>
          </ac:spMkLst>
        </pc:spChg>
        <pc:spChg chg="mod">
          <ac:chgData name="Soumaya ZERHOUNI" userId="690e4aa6-586b-4341-8f1a-54a3e7457441" providerId="ADAL" clId="{69AAD651-E566-4914-B951-51E57822A563}" dt="2024-01-31T15:30:09.356" v="5604" actId="554"/>
          <ac:spMkLst>
            <pc:docMk/>
            <pc:sldMk cId="1174410406" sldId="2147480308"/>
            <ac:spMk id="30" creationId="{A8A15718-341E-1618-BBFE-8DE79C4D1726}"/>
          </ac:spMkLst>
        </pc:spChg>
      </pc:sldChg>
      <pc:sldChg chg="modSp mod">
        <pc:chgData name="Soumaya ZERHOUNI" userId="690e4aa6-586b-4341-8f1a-54a3e7457441" providerId="ADAL" clId="{69AAD651-E566-4914-B951-51E57822A563}" dt="2024-01-31T15:02:14.116" v="5447" actId="207"/>
        <pc:sldMkLst>
          <pc:docMk/>
          <pc:sldMk cId="2065068344" sldId="2147480310"/>
        </pc:sldMkLst>
        <pc:spChg chg="mod">
          <ac:chgData name="Soumaya ZERHOUNI" userId="690e4aa6-586b-4341-8f1a-54a3e7457441" providerId="ADAL" clId="{69AAD651-E566-4914-B951-51E57822A563}" dt="2024-01-31T15:02:14.116" v="5447" actId="207"/>
          <ac:spMkLst>
            <pc:docMk/>
            <pc:sldMk cId="2065068344" sldId="2147480310"/>
            <ac:spMk id="30" creationId="{A8A15718-341E-1618-BBFE-8DE79C4D1726}"/>
          </ac:spMkLst>
        </pc:spChg>
      </pc:sldChg>
      <pc:sldChg chg="modSp del">
        <pc:chgData name="Soumaya ZERHOUNI" userId="690e4aa6-586b-4341-8f1a-54a3e7457441" providerId="ADAL" clId="{69AAD651-E566-4914-B951-51E57822A563}" dt="2024-01-29T15:36:55.895" v="2356" actId="47"/>
        <pc:sldMkLst>
          <pc:docMk/>
          <pc:sldMk cId="1160266745" sldId="2147480315"/>
        </pc:sldMkLst>
        <pc:graphicFrameChg chg="mod">
          <ac:chgData name="Soumaya ZERHOUNI" userId="690e4aa6-586b-4341-8f1a-54a3e7457441" providerId="ADAL" clId="{69AAD651-E566-4914-B951-51E57822A563}" dt="2024-01-29T15:36:00.028" v="2348"/>
          <ac:graphicFrameMkLst>
            <pc:docMk/>
            <pc:sldMk cId="1160266745" sldId="2147480315"/>
            <ac:graphicFrameMk id="6" creationId="{F49AD9D9-8EB9-40C8-817E-797AEF95B20C}"/>
          </ac:graphicFrameMkLst>
        </pc:graphicFrameChg>
      </pc:sldChg>
      <pc:sldChg chg="delCm">
        <pc:chgData name="Soumaya ZERHOUNI" userId="690e4aa6-586b-4341-8f1a-54a3e7457441" providerId="ADAL" clId="{69AAD651-E566-4914-B951-51E57822A563}" dt="2024-01-31T17:20:42.959" v="6698"/>
        <pc:sldMkLst>
          <pc:docMk/>
          <pc:sldMk cId="2540365924" sldId="2147480316"/>
        </pc:sldMkLst>
        <pc:extLst>
          <p:ext xmlns:p="http://schemas.openxmlformats.org/presentationml/2006/main" uri="{D6D511B9-2390-475A-947B-AFAB55BFBCF1}">
            <pc226:cmChg xmlns:pc226="http://schemas.microsoft.com/office/powerpoint/2022/06/main/command" chg="del">
              <pc226:chgData name="Soumaya ZERHOUNI" userId="690e4aa6-586b-4341-8f1a-54a3e7457441" providerId="ADAL" clId="{69AAD651-E566-4914-B951-51E57822A563}" dt="2024-01-31T17:20:42.959" v="6698"/>
              <pc2:cmMkLst xmlns:pc2="http://schemas.microsoft.com/office/powerpoint/2019/9/main/command">
                <pc:docMk/>
                <pc:sldMk cId="2540365924" sldId="2147480316"/>
                <pc2:cmMk id="{F8B52FAA-D62F-4748-85B2-0E2ABD499E76}"/>
              </pc2:cmMkLst>
            </pc226:cmChg>
          </p:ext>
        </pc:extLst>
      </pc:sldChg>
      <pc:sldChg chg="addSp delSp modSp mod ord">
        <pc:chgData name="Soumaya ZERHOUNI" userId="690e4aa6-586b-4341-8f1a-54a3e7457441" providerId="ADAL" clId="{69AAD651-E566-4914-B951-51E57822A563}" dt="2024-02-02T17:26:53.439" v="12864" actId="2"/>
        <pc:sldMkLst>
          <pc:docMk/>
          <pc:sldMk cId="2099106951" sldId="2147480317"/>
        </pc:sldMkLst>
        <pc:spChg chg="mod">
          <ac:chgData name="Soumaya ZERHOUNI" userId="690e4aa6-586b-4341-8f1a-54a3e7457441" providerId="ADAL" clId="{69AAD651-E566-4914-B951-51E57822A563}" dt="2024-01-31T15:30:22.489" v="5607" actId="554"/>
          <ac:spMkLst>
            <pc:docMk/>
            <pc:sldMk cId="2099106951" sldId="2147480317"/>
            <ac:spMk id="2" creationId="{79BEB425-9E0E-5DC0-A086-FCE256816139}"/>
          </ac:spMkLst>
        </pc:spChg>
        <pc:spChg chg="mod">
          <ac:chgData name="Soumaya ZERHOUNI" userId="690e4aa6-586b-4341-8f1a-54a3e7457441" providerId="ADAL" clId="{69AAD651-E566-4914-B951-51E57822A563}" dt="2024-01-31T13:31:30.079" v="5237" actId="1076"/>
          <ac:spMkLst>
            <pc:docMk/>
            <pc:sldMk cId="2099106951" sldId="2147480317"/>
            <ac:spMk id="3" creationId="{D4E38D81-BD1B-CA7C-5594-3ABC758921A4}"/>
          </ac:spMkLst>
        </pc:spChg>
        <pc:spChg chg="add del mod">
          <ac:chgData name="Soumaya ZERHOUNI" userId="690e4aa6-586b-4341-8f1a-54a3e7457441" providerId="ADAL" clId="{69AAD651-E566-4914-B951-51E57822A563}" dt="2024-02-02T10:08:06.916" v="11729" actId="478"/>
          <ac:spMkLst>
            <pc:docMk/>
            <pc:sldMk cId="2099106951" sldId="2147480317"/>
            <ac:spMk id="4" creationId="{02CFC1EB-B666-126A-4545-CD51B7F594DB}"/>
          </ac:spMkLst>
        </pc:spChg>
        <pc:spChg chg="del mod">
          <ac:chgData name="Soumaya ZERHOUNI" userId="690e4aa6-586b-4341-8f1a-54a3e7457441" providerId="ADAL" clId="{69AAD651-E566-4914-B951-51E57822A563}" dt="2024-01-30T09:25:08.687" v="3507" actId="478"/>
          <ac:spMkLst>
            <pc:docMk/>
            <pc:sldMk cId="2099106951" sldId="2147480317"/>
            <ac:spMk id="4" creationId="{569ED17C-810C-C96E-EA43-ED3810D06FF6}"/>
          </ac:spMkLst>
        </pc:spChg>
        <pc:spChg chg="add mod">
          <ac:chgData name="Soumaya ZERHOUNI" userId="690e4aa6-586b-4341-8f1a-54a3e7457441" providerId="ADAL" clId="{69AAD651-E566-4914-B951-51E57822A563}" dt="2024-02-01T17:39:19.839" v="11084" actId="20577"/>
          <ac:spMkLst>
            <pc:docMk/>
            <pc:sldMk cId="2099106951" sldId="2147480317"/>
            <ac:spMk id="4" creationId="{93D545F9-BE1A-4C5A-2921-567328CCDCCE}"/>
          </ac:spMkLst>
        </pc:spChg>
        <pc:spChg chg="add del mod">
          <ac:chgData name="Soumaya ZERHOUNI" userId="690e4aa6-586b-4341-8f1a-54a3e7457441" providerId="ADAL" clId="{69AAD651-E566-4914-B951-51E57822A563}" dt="2024-02-01T08:37:28.724" v="6725" actId="1076"/>
          <ac:spMkLst>
            <pc:docMk/>
            <pc:sldMk cId="2099106951" sldId="2147480317"/>
            <ac:spMk id="5" creationId="{8E5985F5-A93F-47CF-6471-F2EB7B8ED4B8}"/>
          </ac:spMkLst>
        </pc:spChg>
        <pc:spChg chg="del">
          <ac:chgData name="Soumaya ZERHOUNI" userId="690e4aa6-586b-4341-8f1a-54a3e7457441" providerId="ADAL" clId="{69AAD651-E566-4914-B951-51E57822A563}" dt="2024-02-01T17:39:29.499" v="11085" actId="21"/>
          <ac:spMkLst>
            <pc:docMk/>
            <pc:sldMk cId="2099106951" sldId="2147480317"/>
            <ac:spMk id="5" creationId="{93D545F9-BE1A-4C5A-2921-567328CCDCCE}"/>
          </ac:spMkLst>
        </pc:spChg>
        <pc:spChg chg="del mod">
          <ac:chgData name="Soumaya ZERHOUNI" userId="690e4aa6-586b-4341-8f1a-54a3e7457441" providerId="ADAL" clId="{69AAD651-E566-4914-B951-51E57822A563}" dt="2024-01-30T10:23:00.624" v="3521" actId="478"/>
          <ac:spMkLst>
            <pc:docMk/>
            <pc:sldMk cId="2099106951" sldId="2147480317"/>
            <ac:spMk id="5" creationId="{F8925BD4-9B7A-B133-A4B9-39D72B367F63}"/>
          </ac:spMkLst>
        </pc:spChg>
        <pc:spChg chg="add del mod">
          <ac:chgData name="Soumaya ZERHOUNI" userId="690e4aa6-586b-4341-8f1a-54a3e7457441" providerId="ADAL" clId="{69AAD651-E566-4914-B951-51E57822A563}" dt="2024-01-31T15:30:27.146" v="5608" actId="21"/>
          <ac:spMkLst>
            <pc:docMk/>
            <pc:sldMk cId="2099106951" sldId="2147480317"/>
            <ac:spMk id="17" creationId="{C124D77C-535F-5AC4-1115-2BDE686461FD}"/>
          </ac:spMkLst>
        </pc:spChg>
        <pc:spChg chg="mod">
          <ac:chgData name="Soumaya ZERHOUNI" userId="690e4aa6-586b-4341-8f1a-54a3e7457441" providerId="ADAL" clId="{69AAD651-E566-4914-B951-51E57822A563}" dt="2024-01-29T17:55:01.747" v="3120" actId="20577"/>
          <ac:spMkLst>
            <pc:docMk/>
            <pc:sldMk cId="2099106951" sldId="2147480317"/>
            <ac:spMk id="41" creationId="{7CAAACC4-3B3D-9B2F-87DF-8B270EB1CA14}"/>
          </ac:spMkLst>
        </pc:spChg>
        <pc:spChg chg="mod">
          <ac:chgData name="Soumaya ZERHOUNI" userId="690e4aa6-586b-4341-8f1a-54a3e7457441" providerId="ADAL" clId="{69AAD651-E566-4914-B951-51E57822A563}" dt="2024-01-30T10:23:41.173" v="3526" actId="255"/>
          <ac:spMkLst>
            <pc:docMk/>
            <pc:sldMk cId="2099106951" sldId="2147480317"/>
            <ac:spMk id="42" creationId="{F2EA099A-43EF-C3CA-1F70-C35EA14758FC}"/>
          </ac:spMkLst>
        </pc:spChg>
        <pc:spChg chg="mod">
          <ac:chgData name="Soumaya ZERHOUNI" userId="690e4aa6-586b-4341-8f1a-54a3e7457441" providerId="ADAL" clId="{69AAD651-E566-4914-B951-51E57822A563}" dt="2024-02-02T17:26:51.731" v="12863" actId="2"/>
          <ac:spMkLst>
            <pc:docMk/>
            <pc:sldMk cId="2099106951" sldId="2147480317"/>
            <ac:spMk id="201" creationId="{2C4ABB04-EA42-6EC1-0989-4DD327CA2799}"/>
          </ac:spMkLst>
        </pc:spChg>
        <pc:spChg chg="mod">
          <ac:chgData name="Soumaya ZERHOUNI" userId="690e4aa6-586b-4341-8f1a-54a3e7457441" providerId="ADAL" clId="{69AAD651-E566-4914-B951-51E57822A563}" dt="2024-02-02T17:26:53.439" v="12864" actId="2"/>
          <ac:spMkLst>
            <pc:docMk/>
            <pc:sldMk cId="2099106951" sldId="2147480317"/>
            <ac:spMk id="202" creationId="{A8EB5BAF-E527-5ABC-1BD8-172C893635BB}"/>
          </ac:spMkLst>
        </pc:spChg>
        <pc:spChg chg="mod">
          <ac:chgData name="Soumaya ZERHOUNI" userId="690e4aa6-586b-4341-8f1a-54a3e7457441" providerId="ADAL" clId="{69AAD651-E566-4914-B951-51E57822A563}" dt="2024-01-31T13:42:50.320" v="5388" actId="20577"/>
          <ac:spMkLst>
            <pc:docMk/>
            <pc:sldMk cId="2099106951" sldId="2147480317"/>
            <ac:spMk id="203" creationId="{D113490F-A536-D20A-DBAC-FEFF8816594C}"/>
          </ac:spMkLst>
        </pc:spChg>
        <pc:spChg chg="mod">
          <ac:chgData name="Soumaya ZERHOUNI" userId="690e4aa6-586b-4341-8f1a-54a3e7457441" providerId="ADAL" clId="{69AAD651-E566-4914-B951-51E57822A563}" dt="2024-02-02T13:48:15.948" v="12189" actId="20577"/>
          <ac:spMkLst>
            <pc:docMk/>
            <pc:sldMk cId="2099106951" sldId="2147480317"/>
            <ac:spMk id="204" creationId="{44D66E35-4B7E-6762-ED34-1C832269F88C}"/>
          </ac:spMkLst>
        </pc:spChg>
        <pc:spChg chg="del mod">
          <ac:chgData name="Soumaya ZERHOUNI" userId="690e4aa6-586b-4341-8f1a-54a3e7457441" providerId="ADAL" clId="{69AAD651-E566-4914-B951-51E57822A563}" dt="2024-01-30T10:23:46.109" v="3527" actId="478"/>
          <ac:spMkLst>
            <pc:docMk/>
            <pc:sldMk cId="2099106951" sldId="2147480317"/>
            <ac:spMk id="206" creationId="{F70AA521-1831-FBF8-6FF2-CE0F00264508}"/>
          </ac:spMkLst>
        </pc:spChg>
      </pc:sldChg>
      <pc:sldChg chg="modSp add mod">
        <pc:chgData name="Soumaya ZERHOUNI" userId="690e4aa6-586b-4341-8f1a-54a3e7457441" providerId="ADAL" clId="{69AAD651-E566-4914-B951-51E57822A563}" dt="2024-01-29T15:36:46.305" v="2355" actId="2084"/>
        <pc:sldMkLst>
          <pc:docMk/>
          <pc:sldMk cId="2727344819" sldId="2147480318"/>
        </pc:sldMkLst>
        <pc:graphicFrameChg chg="mod modGraphic">
          <ac:chgData name="Soumaya ZERHOUNI" userId="690e4aa6-586b-4341-8f1a-54a3e7457441" providerId="ADAL" clId="{69AAD651-E566-4914-B951-51E57822A563}" dt="2024-01-29T15:36:46.305" v="2355" actId="2084"/>
          <ac:graphicFrameMkLst>
            <pc:docMk/>
            <pc:sldMk cId="2727344819" sldId="2147480318"/>
            <ac:graphicFrameMk id="6" creationId="{F49AD9D9-8EB9-40C8-817E-797AEF95B20C}"/>
          </ac:graphicFrameMkLst>
        </pc:graphicFrameChg>
      </pc:sldChg>
      <pc:sldChg chg="addSp delSp modSp add mod">
        <pc:chgData name="Soumaya ZERHOUNI" userId="690e4aa6-586b-4341-8f1a-54a3e7457441" providerId="ADAL" clId="{69AAD651-E566-4914-B951-51E57822A563}" dt="2024-01-31T15:25:58.162" v="5544" actId="21"/>
        <pc:sldMkLst>
          <pc:docMk/>
          <pc:sldMk cId="579240213" sldId="2147480319"/>
        </pc:sldMkLst>
        <pc:spChg chg="add del mod">
          <ac:chgData name="Soumaya ZERHOUNI" userId="690e4aa6-586b-4341-8f1a-54a3e7457441" providerId="ADAL" clId="{69AAD651-E566-4914-B951-51E57822A563}" dt="2024-01-31T15:25:58.162" v="5544" actId="21"/>
          <ac:spMkLst>
            <pc:docMk/>
            <pc:sldMk cId="579240213" sldId="2147480319"/>
            <ac:spMk id="4" creationId="{777EE9C9-8D48-C3FB-7B08-B34E86458197}"/>
          </ac:spMkLst>
        </pc:spChg>
        <pc:graphicFrameChg chg="mod modGraphic">
          <ac:chgData name="Soumaya ZERHOUNI" userId="690e4aa6-586b-4341-8f1a-54a3e7457441" providerId="ADAL" clId="{69AAD651-E566-4914-B951-51E57822A563}" dt="2024-01-29T15:37:48.374" v="2367" actId="2084"/>
          <ac:graphicFrameMkLst>
            <pc:docMk/>
            <pc:sldMk cId="579240213" sldId="2147480319"/>
            <ac:graphicFrameMk id="6" creationId="{F49AD9D9-8EB9-40C8-817E-797AEF95B20C}"/>
          </ac:graphicFrameMkLst>
        </pc:graphicFrameChg>
      </pc:sldChg>
      <pc:sldChg chg="modSp add mod">
        <pc:chgData name="Soumaya ZERHOUNI" userId="690e4aa6-586b-4341-8f1a-54a3e7457441" providerId="ADAL" clId="{69AAD651-E566-4914-B951-51E57822A563}" dt="2024-01-29T15:38:40.723" v="2377" actId="2084"/>
        <pc:sldMkLst>
          <pc:docMk/>
          <pc:sldMk cId="3801467506" sldId="2147480320"/>
        </pc:sldMkLst>
        <pc:graphicFrameChg chg="modGraphic">
          <ac:chgData name="Soumaya ZERHOUNI" userId="690e4aa6-586b-4341-8f1a-54a3e7457441" providerId="ADAL" clId="{69AAD651-E566-4914-B951-51E57822A563}" dt="2024-01-29T15:38:40.723" v="2377" actId="2084"/>
          <ac:graphicFrameMkLst>
            <pc:docMk/>
            <pc:sldMk cId="3801467506" sldId="2147480320"/>
            <ac:graphicFrameMk id="6" creationId="{F49AD9D9-8EB9-40C8-817E-797AEF95B20C}"/>
          </ac:graphicFrameMkLst>
        </pc:graphicFrameChg>
      </pc:sldChg>
      <pc:sldChg chg="modSp add mod">
        <pc:chgData name="Soumaya ZERHOUNI" userId="690e4aa6-586b-4341-8f1a-54a3e7457441" providerId="ADAL" clId="{69AAD651-E566-4914-B951-51E57822A563}" dt="2024-01-29T15:40:02.621" v="2390" actId="14734"/>
        <pc:sldMkLst>
          <pc:docMk/>
          <pc:sldMk cId="2582734776" sldId="2147480321"/>
        </pc:sldMkLst>
        <pc:graphicFrameChg chg="mod modGraphic">
          <ac:chgData name="Soumaya ZERHOUNI" userId="690e4aa6-586b-4341-8f1a-54a3e7457441" providerId="ADAL" clId="{69AAD651-E566-4914-B951-51E57822A563}" dt="2024-01-29T15:40:02.621" v="2390" actId="14734"/>
          <ac:graphicFrameMkLst>
            <pc:docMk/>
            <pc:sldMk cId="2582734776" sldId="2147480321"/>
            <ac:graphicFrameMk id="6" creationId="{F49AD9D9-8EB9-40C8-817E-797AEF95B20C}"/>
          </ac:graphicFrameMkLst>
        </pc:graphicFrameChg>
      </pc:sldChg>
      <pc:sldChg chg="modSp add mod">
        <pc:chgData name="Soumaya ZERHOUNI" userId="690e4aa6-586b-4341-8f1a-54a3e7457441" providerId="ADAL" clId="{69AAD651-E566-4914-B951-51E57822A563}" dt="2024-01-29T15:40:40.911" v="2395" actId="2084"/>
        <pc:sldMkLst>
          <pc:docMk/>
          <pc:sldMk cId="3976186444" sldId="2147480322"/>
        </pc:sldMkLst>
        <pc:graphicFrameChg chg="modGraphic">
          <ac:chgData name="Soumaya ZERHOUNI" userId="690e4aa6-586b-4341-8f1a-54a3e7457441" providerId="ADAL" clId="{69AAD651-E566-4914-B951-51E57822A563}" dt="2024-01-29T15:40:40.911" v="2395" actId="2084"/>
          <ac:graphicFrameMkLst>
            <pc:docMk/>
            <pc:sldMk cId="3976186444" sldId="2147480322"/>
            <ac:graphicFrameMk id="6" creationId="{F49AD9D9-8EB9-40C8-817E-797AEF95B20C}"/>
          </ac:graphicFrameMkLst>
        </pc:graphicFrameChg>
      </pc:sldChg>
      <pc:sldChg chg="modSp add mod">
        <pc:chgData name="Soumaya ZERHOUNI" userId="690e4aa6-586b-4341-8f1a-54a3e7457441" providerId="ADAL" clId="{69AAD651-E566-4914-B951-51E57822A563}" dt="2024-01-29T15:41:15.353" v="2402" actId="113"/>
        <pc:sldMkLst>
          <pc:docMk/>
          <pc:sldMk cId="2413942979" sldId="2147480323"/>
        </pc:sldMkLst>
        <pc:graphicFrameChg chg="modGraphic">
          <ac:chgData name="Soumaya ZERHOUNI" userId="690e4aa6-586b-4341-8f1a-54a3e7457441" providerId="ADAL" clId="{69AAD651-E566-4914-B951-51E57822A563}" dt="2024-01-29T15:41:15.353" v="2402" actId="113"/>
          <ac:graphicFrameMkLst>
            <pc:docMk/>
            <pc:sldMk cId="2413942979" sldId="2147480323"/>
            <ac:graphicFrameMk id="6" creationId="{F49AD9D9-8EB9-40C8-817E-797AEF95B20C}"/>
          </ac:graphicFrameMkLst>
        </pc:graphicFrameChg>
      </pc:sldChg>
      <pc:sldChg chg="modSp mod">
        <pc:chgData name="Soumaya ZERHOUNI" userId="690e4aa6-586b-4341-8f1a-54a3e7457441" providerId="ADAL" clId="{69AAD651-E566-4914-B951-51E57822A563}" dt="2024-02-02T17:26:39.600" v="12860" actId="313"/>
        <pc:sldMkLst>
          <pc:docMk/>
          <pc:sldMk cId="4077997474" sldId="2147480324"/>
        </pc:sldMkLst>
        <pc:spChg chg="mod">
          <ac:chgData name="Soumaya ZERHOUNI" userId="690e4aa6-586b-4341-8f1a-54a3e7457441" providerId="ADAL" clId="{69AAD651-E566-4914-B951-51E57822A563}" dt="2024-01-31T15:02:39.065" v="5451" actId="207"/>
          <ac:spMkLst>
            <pc:docMk/>
            <pc:sldMk cId="4077997474" sldId="2147480324"/>
            <ac:spMk id="30" creationId="{A8A15718-341E-1618-BBFE-8DE79C4D1726}"/>
          </ac:spMkLst>
        </pc:spChg>
        <pc:graphicFrameChg chg="modGraphic">
          <ac:chgData name="Soumaya ZERHOUNI" userId="690e4aa6-586b-4341-8f1a-54a3e7457441" providerId="ADAL" clId="{69AAD651-E566-4914-B951-51E57822A563}" dt="2024-02-02T17:26:39.600" v="12860" actId="313"/>
          <ac:graphicFrameMkLst>
            <pc:docMk/>
            <pc:sldMk cId="4077997474" sldId="2147480324"/>
            <ac:graphicFrameMk id="39" creationId="{7E822EDC-4BD1-514B-2869-A9AE2BC16F64}"/>
          </ac:graphicFrameMkLst>
        </pc:graphicFrameChg>
      </pc:sldChg>
      <pc:sldChg chg="addSp delSp modSp add del mod">
        <pc:chgData name="Soumaya ZERHOUNI" userId="690e4aa6-586b-4341-8f1a-54a3e7457441" providerId="ADAL" clId="{69AAD651-E566-4914-B951-51E57822A563}" dt="2024-01-30T14:24:42.965" v="4442" actId="47"/>
        <pc:sldMkLst>
          <pc:docMk/>
          <pc:sldMk cId="1894256500" sldId="2147480327"/>
        </pc:sldMkLst>
        <pc:spChg chg="del">
          <ac:chgData name="Soumaya ZERHOUNI" userId="690e4aa6-586b-4341-8f1a-54a3e7457441" providerId="ADAL" clId="{69AAD651-E566-4914-B951-51E57822A563}" dt="2024-01-30T13:20:28.221" v="4175" actId="478"/>
          <ac:spMkLst>
            <pc:docMk/>
            <pc:sldMk cId="1894256500" sldId="2147480327"/>
            <ac:spMk id="2" creationId="{7E57833B-F9F8-3CAB-30A5-335812052FC8}"/>
          </ac:spMkLst>
        </pc:spChg>
        <pc:spChg chg="del">
          <ac:chgData name="Soumaya ZERHOUNI" userId="690e4aa6-586b-4341-8f1a-54a3e7457441" providerId="ADAL" clId="{69AAD651-E566-4914-B951-51E57822A563}" dt="2024-01-30T13:20:28.221" v="4175" actId="478"/>
          <ac:spMkLst>
            <pc:docMk/>
            <pc:sldMk cId="1894256500" sldId="2147480327"/>
            <ac:spMk id="3" creationId="{41FDDD5F-CFE8-1ABC-5B78-1040239B27A6}"/>
          </ac:spMkLst>
        </pc:spChg>
        <pc:spChg chg="del">
          <ac:chgData name="Soumaya ZERHOUNI" userId="690e4aa6-586b-4341-8f1a-54a3e7457441" providerId="ADAL" clId="{69AAD651-E566-4914-B951-51E57822A563}" dt="2024-01-30T13:20:28.221" v="4175" actId="478"/>
          <ac:spMkLst>
            <pc:docMk/>
            <pc:sldMk cId="1894256500" sldId="2147480327"/>
            <ac:spMk id="5" creationId="{02A81392-860F-FA2E-1A23-F5B48A76F7F1}"/>
          </ac:spMkLst>
        </pc:spChg>
        <pc:spChg chg="del">
          <ac:chgData name="Soumaya ZERHOUNI" userId="690e4aa6-586b-4341-8f1a-54a3e7457441" providerId="ADAL" clId="{69AAD651-E566-4914-B951-51E57822A563}" dt="2024-01-30T13:20:28.221" v="4175" actId="478"/>
          <ac:spMkLst>
            <pc:docMk/>
            <pc:sldMk cId="1894256500" sldId="2147480327"/>
            <ac:spMk id="6" creationId="{A1E41D64-FD95-50CC-8966-70D3F683CECA}"/>
          </ac:spMkLst>
        </pc:spChg>
        <pc:spChg chg="del">
          <ac:chgData name="Soumaya ZERHOUNI" userId="690e4aa6-586b-4341-8f1a-54a3e7457441" providerId="ADAL" clId="{69AAD651-E566-4914-B951-51E57822A563}" dt="2024-01-30T13:20:28.221" v="4175" actId="478"/>
          <ac:spMkLst>
            <pc:docMk/>
            <pc:sldMk cId="1894256500" sldId="2147480327"/>
            <ac:spMk id="7" creationId="{213E6CC4-AD4D-F30E-91AB-24842EE07D5F}"/>
          </ac:spMkLst>
        </pc:spChg>
        <pc:spChg chg="del">
          <ac:chgData name="Soumaya ZERHOUNI" userId="690e4aa6-586b-4341-8f1a-54a3e7457441" providerId="ADAL" clId="{69AAD651-E566-4914-B951-51E57822A563}" dt="2024-01-30T13:20:28.221" v="4175" actId="478"/>
          <ac:spMkLst>
            <pc:docMk/>
            <pc:sldMk cId="1894256500" sldId="2147480327"/>
            <ac:spMk id="8" creationId="{2ACD1FCA-7E7D-E323-E3E9-B5E5B7FEC84F}"/>
          </ac:spMkLst>
        </pc:spChg>
        <pc:spChg chg="del">
          <ac:chgData name="Soumaya ZERHOUNI" userId="690e4aa6-586b-4341-8f1a-54a3e7457441" providerId="ADAL" clId="{69AAD651-E566-4914-B951-51E57822A563}" dt="2024-01-30T13:20:28.221" v="4175" actId="478"/>
          <ac:spMkLst>
            <pc:docMk/>
            <pc:sldMk cId="1894256500" sldId="2147480327"/>
            <ac:spMk id="9" creationId="{4EB9FAC3-686A-ADD1-E07E-DC7EC11628DB}"/>
          </ac:spMkLst>
        </pc:spChg>
        <pc:spChg chg="del">
          <ac:chgData name="Soumaya ZERHOUNI" userId="690e4aa6-586b-4341-8f1a-54a3e7457441" providerId="ADAL" clId="{69AAD651-E566-4914-B951-51E57822A563}" dt="2024-01-30T13:20:28.221" v="4175" actId="478"/>
          <ac:spMkLst>
            <pc:docMk/>
            <pc:sldMk cId="1894256500" sldId="2147480327"/>
            <ac:spMk id="10" creationId="{F37F75AE-F663-658A-F793-F61B72503092}"/>
          </ac:spMkLst>
        </pc:spChg>
        <pc:spChg chg="del">
          <ac:chgData name="Soumaya ZERHOUNI" userId="690e4aa6-586b-4341-8f1a-54a3e7457441" providerId="ADAL" clId="{69AAD651-E566-4914-B951-51E57822A563}" dt="2024-01-30T13:20:28.221" v="4175" actId="478"/>
          <ac:spMkLst>
            <pc:docMk/>
            <pc:sldMk cId="1894256500" sldId="2147480327"/>
            <ac:spMk id="11" creationId="{98D3BB83-F691-BA68-D86E-137FDA08C607}"/>
          </ac:spMkLst>
        </pc:spChg>
        <pc:spChg chg="del">
          <ac:chgData name="Soumaya ZERHOUNI" userId="690e4aa6-586b-4341-8f1a-54a3e7457441" providerId="ADAL" clId="{69AAD651-E566-4914-B951-51E57822A563}" dt="2024-01-30T13:20:28.221" v="4175" actId="478"/>
          <ac:spMkLst>
            <pc:docMk/>
            <pc:sldMk cId="1894256500" sldId="2147480327"/>
            <ac:spMk id="12" creationId="{FC4AF209-C34C-5D0E-34CC-812F896D6519}"/>
          </ac:spMkLst>
        </pc:spChg>
        <pc:spChg chg="del">
          <ac:chgData name="Soumaya ZERHOUNI" userId="690e4aa6-586b-4341-8f1a-54a3e7457441" providerId="ADAL" clId="{69AAD651-E566-4914-B951-51E57822A563}" dt="2024-01-30T13:20:28.221" v="4175" actId="478"/>
          <ac:spMkLst>
            <pc:docMk/>
            <pc:sldMk cId="1894256500" sldId="2147480327"/>
            <ac:spMk id="13" creationId="{29EF3A47-E7F5-2E70-60F7-7DD1C02534AA}"/>
          </ac:spMkLst>
        </pc:spChg>
        <pc:spChg chg="del">
          <ac:chgData name="Soumaya ZERHOUNI" userId="690e4aa6-586b-4341-8f1a-54a3e7457441" providerId="ADAL" clId="{69AAD651-E566-4914-B951-51E57822A563}" dt="2024-01-30T13:20:28.221" v="4175" actId="478"/>
          <ac:spMkLst>
            <pc:docMk/>
            <pc:sldMk cId="1894256500" sldId="2147480327"/>
            <ac:spMk id="14" creationId="{C00A7B63-CF4B-B762-F6B5-E6C7B1118504}"/>
          </ac:spMkLst>
        </pc:spChg>
        <pc:spChg chg="del">
          <ac:chgData name="Soumaya ZERHOUNI" userId="690e4aa6-586b-4341-8f1a-54a3e7457441" providerId="ADAL" clId="{69AAD651-E566-4914-B951-51E57822A563}" dt="2024-01-30T13:20:28.221" v="4175" actId="478"/>
          <ac:spMkLst>
            <pc:docMk/>
            <pc:sldMk cId="1894256500" sldId="2147480327"/>
            <ac:spMk id="15" creationId="{41B964A5-8B0F-46CC-5BBD-EB66B77C7AE0}"/>
          </ac:spMkLst>
        </pc:spChg>
        <pc:spChg chg="del">
          <ac:chgData name="Soumaya ZERHOUNI" userId="690e4aa6-586b-4341-8f1a-54a3e7457441" providerId="ADAL" clId="{69AAD651-E566-4914-B951-51E57822A563}" dt="2024-01-30T13:20:28.221" v="4175" actId="478"/>
          <ac:spMkLst>
            <pc:docMk/>
            <pc:sldMk cId="1894256500" sldId="2147480327"/>
            <ac:spMk id="16" creationId="{C3BE18C4-450B-E519-00B8-BCA906F0626A}"/>
          </ac:spMkLst>
        </pc:spChg>
        <pc:spChg chg="del">
          <ac:chgData name="Soumaya ZERHOUNI" userId="690e4aa6-586b-4341-8f1a-54a3e7457441" providerId="ADAL" clId="{69AAD651-E566-4914-B951-51E57822A563}" dt="2024-01-30T13:20:28.221" v="4175" actId="478"/>
          <ac:spMkLst>
            <pc:docMk/>
            <pc:sldMk cId="1894256500" sldId="2147480327"/>
            <ac:spMk id="17" creationId="{44D146EE-7B16-0FB2-7F71-69CEE9A564AE}"/>
          </ac:spMkLst>
        </pc:spChg>
        <pc:spChg chg="del">
          <ac:chgData name="Soumaya ZERHOUNI" userId="690e4aa6-586b-4341-8f1a-54a3e7457441" providerId="ADAL" clId="{69AAD651-E566-4914-B951-51E57822A563}" dt="2024-01-30T13:20:28.221" v="4175" actId="478"/>
          <ac:spMkLst>
            <pc:docMk/>
            <pc:sldMk cId="1894256500" sldId="2147480327"/>
            <ac:spMk id="18" creationId="{7F7B1867-AC2B-5A41-29FB-3BE812CC8B3C}"/>
          </ac:spMkLst>
        </pc:spChg>
        <pc:spChg chg="del">
          <ac:chgData name="Soumaya ZERHOUNI" userId="690e4aa6-586b-4341-8f1a-54a3e7457441" providerId="ADAL" clId="{69AAD651-E566-4914-B951-51E57822A563}" dt="2024-01-30T13:20:28.221" v="4175" actId="478"/>
          <ac:spMkLst>
            <pc:docMk/>
            <pc:sldMk cId="1894256500" sldId="2147480327"/>
            <ac:spMk id="19" creationId="{24D1E647-4177-1843-8400-A6621BE58909}"/>
          </ac:spMkLst>
        </pc:spChg>
        <pc:spChg chg="del">
          <ac:chgData name="Soumaya ZERHOUNI" userId="690e4aa6-586b-4341-8f1a-54a3e7457441" providerId="ADAL" clId="{69AAD651-E566-4914-B951-51E57822A563}" dt="2024-01-30T13:20:28.221" v="4175" actId="478"/>
          <ac:spMkLst>
            <pc:docMk/>
            <pc:sldMk cId="1894256500" sldId="2147480327"/>
            <ac:spMk id="20" creationId="{53FFC4C0-4D44-3556-E52F-2239CFD5DF1C}"/>
          </ac:spMkLst>
        </pc:spChg>
        <pc:spChg chg="del">
          <ac:chgData name="Soumaya ZERHOUNI" userId="690e4aa6-586b-4341-8f1a-54a3e7457441" providerId="ADAL" clId="{69AAD651-E566-4914-B951-51E57822A563}" dt="2024-01-30T13:20:28.221" v="4175" actId="478"/>
          <ac:spMkLst>
            <pc:docMk/>
            <pc:sldMk cId="1894256500" sldId="2147480327"/>
            <ac:spMk id="21" creationId="{37FBD1D1-2F94-3931-D590-88A8D4DF8381}"/>
          </ac:spMkLst>
        </pc:spChg>
        <pc:spChg chg="del">
          <ac:chgData name="Soumaya ZERHOUNI" userId="690e4aa6-586b-4341-8f1a-54a3e7457441" providerId="ADAL" clId="{69AAD651-E566-4914-B951-51E57822A563}" dt="2024-01-30T13:20:28.221" v="4175" actId="478"/>
          <ac:spMkLst>
            <pc:docMk/>
            <pc:sldMk cId="1894256500" sldId="2147480327"/>
            <ac:spMk id="22" creationId="{E660E33B-564E-2E2D-77FF-C875888D853E}"/>
          </ac:spMkLst>
        </pc:spChg>
        <pc:spChg chg="del">
          <ac:chgData name="Soumaya ZERHOUNI" userId="690e4aa6-586b-4341-8f1a-54a3e7457441" providerId="ADAL" clId="{69AAD651-E566-4914-B951-51E57822A563}" dt="2024-01-30T13:20:28.221" v="4175" actId="478"/>
          <ac:spMkLst>
            <pc:docMk/>
            <pc:sldMk cId="1894256500" sldId="2147480327"/>
            <ac:spMk id="23" creationId="{BC813C75-2773-035F-B17A-6E444E9022DD}"/>
          </ac:spMkLst>
        </pc:spChg>
        <pc:spChg chg="del">
          <ac:chgData name="Soumaya ZERHOUNI" userId="690e4aa6-586b-4341-8f1a-54a3e7457441" providerId="ADAL" clId="{69AAD651-E566-4914-B951-51E57822A563}" dt="2024-01-30T13:20:28.221" v="4175" actId="478"/>
          <ac:spMkLst>
            <pc:docMk/>
            <pc:sldMk cId="1894256500" sldId="2147480327"/>
            <ac:spMk id="24" creationId="{43D3ABA5-0808-ABC5-D5AD-83AA6942791E}"/>
          </ac:spMkLst>
        </pc:spChg>
        <pc:spChg chg="del">
          <ac:chgData name="Soumaya ZERHOUNI" userId="690e4aa6-586b-4341-8f1a-54a3e7457441" providerId="ADAL" clId="{69AAD651-E566-4914-B951-51E57822A563}" dt="2024-01-30T13:20:28.221" v="4175" actId="478"/>
          <ac:spMkLst>
            <pc:docMk/>
            <pc:sldMk cId="1894256500" sldId="2147480327"/>
            <ac:spMk id="25" creationId="{26B70A9A-BDE8-6600-C247-D12A6C02E8DF}"/>
          </ac:spMkLst>
        </pc:spChg>
        <pc:spChg chg="del">
          <ac:chgData name="Soumaya ZERHOUNI" userId="690e4aa6-586b-4341-8f1a-54a3e7457441" providerId="ADAL" clId="{69AAD651-E566-4914-B951-51E57822A563}" dt="2024-01-30T13:20:28.221" v="4175" actId="478"/>
          <ac:spMkLst>
            <pc:docMk/>
            <pc:sldMk cId="1894256500" sldId="2147480327"/>
            <ac:spMk id="26" creationId="{72BC13EE-27CD-924A-A420-6838537AD80A}"/>
          </ac:spMkLst>
        </pc:spChg>
        <pc:spChg chg="del">
          <ac:chgData name="Soumaya ZERHOUNI" userId="690e4aa6-586b-4341-8f1a-54a3e7457441" providerId="ADAL" clId="{69AAD651-E566-4914-B951-51E57822A563}" dt="2024-01-30T13:20:28.221" v="4175" actId="478"/>
          <ac:spMkLst>
            <pc:docMk/>
            <pc:sldMk cId="1894256500" sldId="2147480327"/>
            <ac:spMk id="27" creationId="{0937D6AD-2F75-61A5-7FA8-09075436B4B3}"/>
          </ac:spMkLst>
        </pc:spChg>
        <pc:spChg chg="del">
          <ac:chgData name="Soumaya ZERHOUNI" userId="690e4aa6-586b-4341-8f1a-54a3e7457441" providerId="ADAL" clId="{69AAD651-E566-4914-B951-51E57822A563}" dt="2024-01-30T13:20:28.221" v="4175" actId="478"/>
          <ac:spMkLst>
            <pc:docMk/>
            <pc:sldMk cId="1894256500" sldId="2147480327"/>
            <ac:spMk id="28" creationId="{214159E9-73C8-F734-A2BD-65D5BA6E0994}"/>
          </ac:spMkLst>
        </pc:spChg>
        <pc:spChg chg="del">
          <ac:chgData name="Soumaya ZERHOUNI" userId="690e4aa6-586b-4341-8f1a-54a3e7457441" providerId="ADAL" clId="{69AAD651-E566-4914-B951-51E57822A563}" dt="2024-01-30T13:20:28.221" v="4175" actId="478"/>
          <ac:spMkLst>
            <pc:docMk/>
            <pc:sldMk cId="1894256500" sldId="2147480327"/>
            <ac:spMk id="30" creationId="{133FDDFA-864F-353D-3A36-F72FC293BF64}"/>
          </ac:spMkLst>
        </pc:spChg>
        <pc:spChg chg="del mod">
          <ac:chgData name="Soumaya ZERHOUNI" userId="690e4aa6-586b-4341-8f1a-54a3e7457441" providerId="ADAL" clId="{69AAD651-E566-4914-B951-51E57822A563}" dt="2024-01-30T13:20:30.145" v="4177" actId="478"/>
          <ac:spMkLst>
            <pc:docMk/>
            <pc:sldMk cId="1894256500" sldId="2147480327"/>
            <ac:spMk id="31" creationId="{2656CBF1-838E-87B4-9BF7-353C4A280B49}"/>
          </ac:spMkLst>
        </pc:spChg>
        <pc:spChg chg="add del mod">
          <ac:chgData name="Soumaya ZERHOUNI" userId="690e4aa6-586b-4341-8f1a-54a3e7457441" providerId="ADAL" clId="{69AAD651-E566-4914-B951-51E57822A563}" dt="2024-01-30T13:20:32.237" v="4178" actId="478"/>
          <ac:spMkLst>
            <pc:docMk/>
            <pc:sldMk cId="1894256500" sldId="2147480327"/>
            <ac:spMk id="32" creationId="{AF8A7A2E-884F-5C2A-D32E-E3526FD6CC92}"/>
          </ac:spMkLst>
        </pc:spChg>
        <pc:spChg chg="add mod">
          <ac:chgData name="Soumaya ZERHOUNI" userId="690e4aa6-586b-4341-8f1a-54a3e7457441" providerId="ADAL" clId="{69AAD651-E566-4914-B951-51E57822A563}" dt="2024-01-30T13:20:41.150" v="4180"/>
          <ac:spMkLst>
            <pc:docMk/>
            <pc:sldMk cId="1894256500" sldId="2147480327"/>
            <ac:spMk id="33" creationId="{9940A912-BE9E-4970-85E3-88FFEA3B000F}"/>
          </ac:spMkLst>
        </pc:spChg>
        <pc:spChg chg="add mod">
          <ac:chgData name="Soumaya ZERHOUNI" userId="690e4aa6-586b-4341-8f1a-54a3e7457441" providerId="ADAL" clId="{69AAD651-E566-4914-B951-51E57822A563}" dt="2024-01-30T13:20:42.850" v="4181"/>
          <ac:spMkLst>
            <pc:docMk/>
            <pc:sldMk cId="1894256500" sldId="2147480327"/>
            <ac:spMk id="34" creationId="{4B207A4D-9CB5-4BEC-9EF6-91EF6E2F825B}"/>
          </ac:spMkLst>
        </pc:spChg>
        <pc:spChg chg="add mod">
          <ac:chgData name="Soumaya ZERHOUNI" userId="690e4aa6-586b-4341-8f1a-54a3e7457441" providerId="ADAL" clId="{69AAD651-E566-4914-B951-51E57822A563}" dt="2024-01-30T13:20:41.150" v="4180"/>
          <ac:spMkLst>
            <pc:docMk/>
            <pc:sldMk cId="1894256500" sldId="2147480327"/>
            <ac:spMk id="35" creationId="{55DDCD24-0416-314F-92D9-23A4B5AB85B6}"/>
          </ac:spMkLst>
        </pc:spChg>
        <pc:spChg chg="del">
          <ac:chgData name="Soumaya ZERHOUNI" userId="690e4aa6-586b-4341-8f1a-54a3e7457441" providerId="ADAL" clId="{69AAD651-E566-4914-B951-51E57822A563}" dt="2024-01-30T13:20:28.221" v="4175" actId="478"/>
          <ac:spMkLst>
            <pc:docMk/>
            <pc:sldMk cId="1894256500" sldId="2147480327"/>
            <ac:spMk id="37" creationId="{0F35733B-0E30-1949-2E60-9215EE846BE0}"/>
          </ac:spMkLst>
        </pc:spChg>
        <pc:spChg chg="add mod">
          <ac:chgData name="Soumaya ZERHOUNI" userId="690e4aa6-586b-4341-8f1a-54a3e7457441" providerId="ADAL" clId="{69AAD651-E566-4914-B951-51E57822A563}" dt="2024-01-30T13:20:41.150" v="4180"/>
          <ac:spMkLst>
            <pc:docMk/>
            <pc:sldMk cId="1894256500" sldId="2147480327"/>
            <ac:spMk id="38" creationId="{45B79E89-16BF-12FA-2D7A-F7B23F1C29C7}"/>
          </ac:spMkLst>
        </pc:spChg>
        <pc:spChg chg="add mod">
          <ac:chgData name="Soumaya ZERHOUNI" userId="690e4aa6-586b-4341-8f1a-54a3e7457441" providerId="ADAL" clId="{69AAD651-E566-4914-B951-51E57822A563}" dt="2024-01-30T13:20:41.150" v="4180"/>
          <ac:spMkLst>
            <pc:docMk/>
            <pc:sldMk cId="1894256500" sldId="2147480327"/>
            <ac:spMk id="39" creationId="{1486F9D1-E97B-8BD4-F02B-6D693EE6B145}"/>
          </ac:spMkLst>
        </pc:spChg>
        <pc:spChg chg="add mod">
          <ac:chgData name="Soumaya ZERHOUNI" userId="690e4aa6-586b-4341-8f1a-54a3e7457441" providerId="ADAL" clId="{69AAD651-E566-4914-B951-51E57822A563}" dt="2024-01-30T13:20:41.150" v="4180"/>
          <ac:spMkLst>
            <pc:docMk/>
            <pc:sldMk cId="1894256500" sldId="2147480327"/>
            <ac:spMk id="40" creationId="{1354EB9E-787B-D01A-66D5-494FEE24289F}"/>
          </ac:spMkLst>
        </pc:spChg>
        <pc:spChg chg="add mod">
          <ac:chgData name="Soumaya ZERHOUNI" userId="690e4aa6-586b-4341-8f1a-54a3e7457441" providerId="ADAL" clId="{69AAD651-E566-4914-B951-51E57822A563}" dt="2024-01-30T13:20:41.150" v="4180"/>
          <ac:spMkLst>
            <pc:docMk/>
            <pc:sldMk cId="1894256500" sldId="2147480327"/>
            <ac:spMk id="41" creationId="{2CC6A5BF-99F5-A772-990E-2EC800C7BA69}"/>
          </ac:spMkLst>
        </pc:spChg>
        <pc:spChg chg="add mod">
          <ac:chgData name="Soumaya ZERHOUNI" userId="690e4aa6-586b-4341-8f1a-54a3e7457441" providerId="ADAL" clId="{69AAD651-E566-4914-B951-51E57822A563}" dt="2024-01-30T13:20:41.150" v="4180"/>
          <ac:spMkLst>
            <pc:docMk/>
            <pc:sldMk cId="1894256500" sldId="2147480327"/>
            <ac:spMk id="43" creationId="{632C5C44-0B1A-0410-05E8-CE6AFA5D73C4}"/>
          </ac:spMkLst>
        </pc:spChg>
        <pc:spChg chg="add mod">
          <ac:chgData name="Soumaya ZERHOUNI" userId="690e4aa6-586b-4341-8f1a-54a3e7457441" providerId="ADAL" clId="{69AAD651-E566-4914-B951-51E57822A563}" dt="2024-01-30T13:20:47.402" v="4184"/>
          <ac:spMkLst>
            <pc:docMk/>
            <pc:sldMk cId="1894256500" sldId="2147480327"/>
            <ac:spMk id="44" creationId="{9940A912-BE9E-4970-85E3-88FFEA3B000F}"/>
          </ac:spMkLst>
        </pc:spChg>
        <pc:spChg chg="add del mod">
          <ac:chgData name="Soumaya ZERHOUNI" userId="690e4aa6-586b-4341-8f1a-54a3e7457441" providerId="ADAL" clId="{69AAD651-E566-4914-B951-51E57822A563}" dt="2024-01-30T13:21:01.915" v="4187" actId="478"/>
          <ac:spMkLst>
            <pc:docMk/>
            <pc:sldMk cId="1894256500" sldId="2147480327"/>
            <ac:spMk id="45" creationId="{4B207A4D-9CB5-4BEC-9EF6-91EF6E2F825B}"/>
          </ac:spMkLst>
        </pc:spChg>
        <pc:spChg chg="add mod">
          <ac:chgData name="Soumaya ZERHOUNI" userId="690e4aa6-586b-4341-8f1a-54a3e7457441" providerId="ADAL" clId="{69AAD651-E566-4914-B951-51E57822A563}" dt="2024-01-30T13:20:41.150" v="4180"/>
          <ac:spMkLst>
            <pc:docMk/>
            <pc:sldMk cId="1894256500" sldId="2147480327"/>
            <ac:spMk id="46" creationId="{E0CD3B1A-B38A-49E7-833F-8FC61957E34A}"/>
          </ac:spMkLst>
        </pc:spChg>
        <pc:spChg chg="add mod">
          <ac:chgData name="Soumaya ZERHOUNI" userId="690e4aa6-586b-4341-8f1a-54a3e7457441" providerId="ADAL" clId="{69AAD651-E566-4914-B951-51E57822A563}" dt="2024-01-30T13:20:41.150" v="4180"/>
          <ac:spMkLst>
            <pc:docMk/>
            <pc:sldMk cId="1894256500" sldId="2147480327"/>
            <ac:spMk id="47" creationId="{01A1F0F9-00F1-4FD5-A844-5AA8D0EE1C96}"/>
          </ac:spMkLst>
        </pc:spChg>
        <pc:spChg chg="add mod">
          <ac:chgData name="Soumaya ZERHOUNI" userId="690e4aa6-586b-4341-8f1a-54a3e7457441" providerId="ADAL" clId="{69AAD651-E566-4914-B951-51E57822A563}" dt="2024-01-30T13:20:41.150" v="4180"/>
          <ac:spMkLst>
            <pc:docMk/>
            <pc:sldMk cId="1894256500" sldId="2147480327"/>
            <ac:spMk id="49" creationId="{B04AF26F-FCFC-42C9-9E19-BDA33101B169}"/>
          </ac:spMkLst>
        </pc:spChg>
        <pc:spChg chg="add mod">
          <ac:chgData name="Soumaya ZERHOUNI" userId="690e4aa6-586b-4341-8f1a-54a3e7457441" providerId="ADAL" clId="{69AAD651-E566-4914-B951-51E57822A563}" dt="2024-01-30T13:20:41.150" v="4180"/>
          <ac:spMkLst>
            <pc:docMk/>
            <pc:sldMk cId="1894256500" sldId="2147480327"/>
            <ac:spMk id="50" creationId="{FDFFEB65-5744-47A2-A5B0-1C0DECCF9790}"/>
          </ac:spMkLst>
        </pc:spChg>
        <pc:spChg chg="mod">
          <ac:chgData name="Soumaya ZERHOUNI" userId="690e4aa6-586b-4341-8f1a-54a3e7457441" providerId="ADAL" clId="{69AAD651-E566-4914-B951-51E57822A563}" dt="2024-01-30T13:20:47.402" v="4184"/>
          <ac:spMkLst>
            <pc:docMk/>
            <pc:sldMk cId="1894256500" sldId="2147480327"/>
            <ac:spMk id="51" creationId="{C2945B5F-C340-4A92-B855-6D630E70CB64}"/>
          </ac:spMkLst>
        </pc:spChg>
        <pc:spChg chg="add mod">
          <ac:chgData name="Soumaya ZERHOUNI" userId="690e4aa6-586b-4341-8f1a-54a3e7457441" providerId="ADAL" clId="{69AAD651-E566-4914-B951-51E57822A563}" dt="2024-01-30T13:20:41.150" v="4180"/>
          <ac:spMkLst>
            <pc:docMk/>
            <pc:sldMk cId="1894256500" sldId="2147480327"/>
            <ac:spMk id="52" creationId="{06C0C5D0-C23E-427F-938D-E12B610AB4E8}"/>
          </ac:spMkLst>
        </pc:spChg>
        <pc:spChg chg="add mod">
          <ac:chgData name="Soumaya ZERHOUNI" userId="690e4aa6-586b-4341-8f1a-54a3e7457441" providerId="ADAL" clId="{69AAD651-E566-4914-B951-51E57822A563}" dt="2024-01-30T13:20:41.150" v="4180"/>
          <ac:spMkLst>
            <pc:docMk/>
            <pc:sldMk cId="1894256500" sldId="2147480327"/>
            <ac:spMk id="53" creationId="{D222F695-2C78-4213-9B65-95434E70EF0D}"/>
          </ac:spMkLst>
        </pc:spChg>
        <pc:spChg chg="mod">
          <ac:chgData name="Soumaya ZERHOUNI" userId="690e4aa6-586b-4341-8f1a-54a3e7457441" providerId="ADAL" clId="{69AAD651-E566-4914-B951-51E57822A563}" dt="2024-01-30T13:20:47.402" v="4184"/>
          <ac:spMkLst>
            <pc:docMk/>
            <pc:sldMk cId="1894256500" sldId="2147480327"/>
            <ac:spMk id="54" creationId="{F2351EAA-F4BE-4956-B066-6CEA3D833122}"/>
          </ac:spMkLst>
        </pc:spChg>
        <pc:spChg chg="add mod">
          <ac:chgData name="Soumaya ZERHOUNI" userId="690e4aa6-586b-4341-8f1a-54a3e7457441" providerId="ADAL" clId="{69AAD651-E566-4914-B951-51E57822A563}" dt="2024-01-30T13:20:41.150" v="4180"/>
          <ac:spMkLst>
            <pc:docMk/>
            <pc:sldMk cId="1894256500" sldId="2147480327"/>
            <ac:spMk id="55" creationId="{ACFD07E3-C2B0-4BA0-9AD2-C707B50FC98F}"/>
          </ac:spMkLst>
        </pc:spChg>
        <pc:spChg chg="add mod">
          <ac:chgData name="Soumaya ZERHOUNI" userId="690e4aa6-586b-4341-8f1a-54a3e7457441" providerId="ADAL" clId="{69AAD651-E566-4914-B951-51E57822A563}" dt="2024-01-30T13:20:41.150" v="4180"/>
          <ac:spMkLst>
            <pc:docMk/>
            <pc:sldMk cId="1894256500" sldId="2147480327"/>
            <ac:spMk id="56" creationId="{6E013D63-EB0D-4C65-A135-08C902C8525B}"/>
          </ac:spMkLst>
        </pc:spChg>
        <pc:spChg chg="mod">
          <ac:chgData name="Soumaya ZERHOUNI" userId="690e4aa6-586b-4341-8f1a-54a3e7457441" providerId="ADAL" clId="{69AAD651-E566-4914-B951-51E57822A563}" dt="2024-01-30T13:20:47.402" v="4184"/>
          <ac:spMkLst>
            <pc:docMk/>
            <pc:sldMk cId="1894256500" sldId="2147480327"/>
            <ac:spMk id="57" creationId="{005BBA8B-9D5F-4D06-8946-2C8024391395}"/>
          </ac:spMkLst>
        </pc:spChg>
        <pc:spChg chg="add mod">
          <ac:chgData name="Soumaya ZERHOUNI" userId="690e4aa6-586b-4341-8f1a-54a3e7457441" providerId="ADAL" clId="{69AAD651-E566-4914-B951-51E57822A563}" dt="2024-01-30T13:20:41.150" v="4180"/>
          <ac:spMkLst>
            <pc:docMk/>
            <pc:sldMk cId="1894256500" sldId="2147480327"/>
            <ac:spMk id="58" creationId="{6994145D-1322-4D64-9221-A72D22EA55A3}"/>
          </ac:spMkLst>
        </pc:spChg>
        <pc:spChg chg="add mod">
          <ac:chgData name="Soumaya ZERHOUNI" userId="690e4aa6-586b-4341-8f1a-54a3e7457441" providerId="ADAL" clId="{69AAD651-E566-4914-B951-51E57822A563}" dt="2024-01-30T13:20:41.150" v="4180"/>
          <ac:spMkLst>
            <pc:docMk/>
            <pc:sldMk cId="1894256500" sldId="2147480327"/>
            <ac:spMk id="59" creationId="{4BD7BEEB-DE28-B743-A581-512AC52B1F01}"/>
          </ac:spMkLst>
        </pc:spChg>
        <pc:spChg chg="mod">
          <ac:chgData name="Soumaya ZERHOUNI" userId="690e4aa6-586b-4341-8f1a-54a3e7457441" providerId="ADAL" clId="{69AAD651-E566-4914-B951-51E57822A563}" dt="2024-01-30T13:20:47.402" v="4184"/>
          <ac:spMkLst>
            <pc:docMk/>
            <pc:sldMk cId="1894256500" sldId="2147480327"/>
            <ac:spMk id="60" creationId="{87DA0E5F-BF48-4C5F-AF7E-449869E1B404}"/>
          </ac:spMkLst>
        </pc:spChg>
        <pc:spChg chg="add mod">
          <ac:chgData name="Soumaya ZERHOUNI" userId="690e4aa6-586b-4341-8f1a-54a3e7457441" providerId="ADAL" clId="{69AAD651-E566-4914-B951-51E57822A563}" dt="2024-01-30T13:20:41.150" v="4180"/>
          <ac:spMkLst>
            <pc:docMk/>
            <pc:sldMk cId="1894256500" sldId="2147480327"/>
            <ac:spMk id="61" creationId="{3DB27545-BF0C-4FCE-B3EA-F486F2A72725}"/>
          </ac:spMkLst>
        </pc:spChg>
        <pc:spChg chg="add mod">
          <ac:chgData name="Soumaya ZERHOUNI" userId="690e4aa6-586b-4341-8f1a-54a3e7457441" providerId="ADAL" clId="{69AAD651-E566-4914-B951-51E57822A563}" dt="2024-01-30T13:20:41.150" v="4180"/>
          <ac:spMkLst>
            <pc:docMk/>
            <pc:sldMk cId="1894256500" sldId="2147480327"/>
            <ac:spMk id="62" creationId="{F18F2E4B-78DC-5747-8231-3863BBD84E03}"/>
          </ac:spMkLst>
        </pc:spChg>
        <pc:spChg chg="add mod">
          <ac:chgData name="Soumaya ZERHOUNI" userId="690e4aa6-586b-4341-8f1a-54a3e7457441" providerId="ADAL" clId="{69AAD651-E566-4914-B951-51E57822A563}" dt="2024-01-30T13:20:41.150" v="4180"/>
          <ac:spMkLst>
            <pc:docMk/>
            <pc:sldMk cId="1894256500" sldId="2147480327"/>
            <ac:spMk id="63" creationId="{1B3CDA94-8180-B242-A264-3CE5FBE207E9}"/>
          </ac:spMkLst>
        </pc:spChg>
        <pc:spChg chg="add mod">
          <ac:chgData name="Soumaya ZERHOUNI" userId="690e4aa6-586b-4341-8f1a-54a3e7457441" providerId="ADAL" clId="{69AAD651-E566-4914-B951-51E57822A563}" dt="2024-01-30T13:20:41.150" v="4180"/>
          <ac:spMkLst>
            <pc:docMk/>
            <pc:sldMk cId="1894256500" sldId="2147480327"/>
            <ac:spMk id="64" creationId="{A39B42C6-FB11-4185-B9AD-A3E72363A118}"/>
          </ac:spMkLst>
        </pc:spChg>
        <pc:spChg chg="mod">
          <ac:chgData name="Soumaya ZERHOUNI" userId="690e4aa6-586b-4341-8f1a-54a3e7457441" providerId="ADAL" clId="{69AAD651-E566-4914-B951-51E57822A563}" dt="2024-01-30T13:20:47.402" v="4184"/>
          <ac:spMkLst>
            <pc:docMk/>
            <pc:sldMk cId="1894256500" sldId="2147480327"/>
            <ac:spMk id="65" creationId="{6CF13A8E-AE3F-4A50-BE0A-0056812D8CC8}"/>
          </ac:spMkLst>
        </pc:spChg>
        <pc:spChg chg="add mod">
          <ac:chgData name="Soumaya ZERHOUNI" userId="690e4aa6-586b-4341-8f1a-54a3e7457441" providerId="ADAL" clId="{69AAD651-E566-4914-B951-51E57822A563}" dt="2024-01-30T13:20:47.402" v="4184"/>
          <ac:spMkLst>
            <pc:docMk/>
            <pc:sldMk cId="1894256500" sldId="2147480327"/>
            <ac:spMk id="66" creationId="{381D68D5-EF98-4E1A-B58B-B2AFB252E723}"/>
          </ac:spMkLst>
        </pc:spChg>
        <pc:spChg chg="add mod">
          <ac:chgData name="Soumaya ZERHOUNI" userId="690e4aa6-586b-4341-8f1a-54a3e7457441" providerId="ADAL" clId="{69AAD651-E566-4914-B951-51E57822A563}" dt="2024-01-30T13:20:41.150" v="4180"/>
          <ac:spMkLst>
            <pc:docMk/>
            <pc:sldMk cId="1894256500" sldId="2147480327"/>
            <ac:spMk id="67" creationId="{44D1EAD4-36FA-4C46-90F9-9E89489B24A7}"/>
          </ac:spMkLst>
        </pc:spChg>
        <pc:spChg chg="add mod topLvl">
          <ac:chgData name="Soumaya ZERHOUNI" userId="690e4aa6-586b-4341-8f1a-54a3e7457441" providerId="ADAL" clId="{69AAD651-E566-4914-B951-51E57822A563}" dt="2024-01-30T13:25:07.564" v="4206" actId="165"/>
          <ac:spMkLst>
            <pc:docMk/>
            <pc:sldMk cId="1894256500" sldId="2147480327"/>
            <ac:spMk id="68" creationId="{F18F2E4B-78DC-5747-8231-3863BBD84E03}"/>
          </ac:spMkLst>
        </pc:spChg>
        <pc:spChg chg="add mod topLvl">
          <ac:chgData name="Soumaya ZERHOUNI" userId="690e4aa6-586b-4341-8f1a-54a3e7457441" providerId="ADAL" clId="{69AAD651-E566-4914-B951-51E57822A563}" dt="2024-01-30T13:25:07.564" v="4206" actId="165"/>
          <ac:spMkLst>
            <pc:docMk/>
            <pc:sldMk cId="1894256500" sldId="2147480327"/>
            <ac:spMk id="69" creationId="{1B3CDA94-8180-B242-A264-3CE5FBE207E9}"/>
          </ac:spMkLst>
        </pc:spChg>
        <pc:spChg chg="add mod topLvl">
          <ac:chgData name="Soumaya ZERHOUNI" userId="690e4aa6-586b-4341-8f1a-54a3e7457441" providerId="ADAL" clId="{69AAD651-E566-4914-B951-51E57822A563}" dt="2024-01-30T13:46:59.055" v="4266"/>
          <ac:spMkLst>
            <pc:docMk/>
            <pc:sldMk cId="1894256500" sldId="2147480327"/>
            <ac:spMk id="70" creationId="{D222F695-2C78-4213-9B65-95434E70EF0D}"/>
          </ac:spMkLst>
        </pc:spChg>
        <pc:spChg chg="add mod topLvl">
          <ac:chgData name="Soumaya ZERHOUNI" userId="690e4aa6-586b-4341-8f1a-54a3e7457441" providerId="ADAL" clId="{69AAD651-E566-4914-B951-51E57822A563}" dt="2024-01-30T13:25:07.564" v="4206" actId="165"/>
          <ac:spMkLst>
            <pc:docMk/>
            <pc:sldMk cId="1894256500" sldId="2147480327"/>
            <ac:spMk id="71" creationId="{06C0C5D0-C23E-427F-938D-E12B610AB4E8}"/>
          </ac:spMkLst>
        </pc:spChg>
        <pc:spChg chg="add mod">
          <ac:chgData name="Soumaya ZERHOUNI" userId="690e4aa6-586b-4341-8f1a-54a3e7457441" providerId="ADAL" clId="{69AAD651-E566-4914-B951-51E57822A563}" dt="2024-01-30T13:20:41.150" v="4180"/>
          <ac:spMkLst>
            <pc:docMk/>
            <pc:sldMk cId="1894256500" sldId="2147480327"/>
            <ac:spMk id="72" creationId="{E33CA6FC-E53F-4A66-A4F9-A95B52081E68}"/>
          </ac:spMkLst>
        </pc:spChg>
        <pc:spChg chg="add mod topLvl">
          <ac:chgData name="Soumaya ZERHOUNI" userId="690e4aa6-586b-4341-8f1a-54a3e7457441" providerId="ADAL" clId="{69AAD651-E566-4914-B951-51E57822A563}" dt="2024-01-30T13:28:20.706" v="4220" actId="1076"/>
          <ac:spMkLst>
            <pc:docMk/>
            <pc:sldMk cId="1894256500" sldId="2147480327"/>
            <ac:spMk id="73" creationId="{E0CD3B1A-B38A-49E7-833F-8FC61957E34A}"/>
          </ac:spMkLst>
        </pc:spChg>
        <pc:spChg chg="add mod topLvl">
          <ac:chgData name="Soumaya ZERHOUNI" userId="690e4aa6-586b-4341-8f1a-54a3e7457441" providerId="ADAL" clId="{69AAD651-E566-4914-B951-51E57822A563}" dt="2024-01-30T13:28:51.652" v="4224"/>
          <ac:spMkLst>
            <pc:docMk/>
            <pc:sldMk cId="1894256500" sldId="2147480327"/>
            <ac:spMk id="74" creationId="{01A1F0F9-00F1-4FD5-A844-5AA8D0EE1C96}"/>
          </ac:spMkLst>
        </pc:spChg>
        <pc:spChg chg="add mod">
          <ac:chgData name="Soumaya ZERHOUNI" userId="690e4aa6-586b-4341-8f1a-54a3e7457441" providerId="ADAL" clId="{69AAD651-E566-4914-B951-51E57822A563}" dt="2024-01-30T13:20:41.150" v="4180"/>
          <ac:spMkLst>
            <pc:docMk/>
            <pc:sldMk cId="1894256500" sldId="2147480327"/>
            <ac:spMk id="75" creationId="{C795936C-CBD5-4DAC-B44F-8A00863C9DC1}"/>
          </ac:spMkLst>
        </pc:spChg>
        <pc:spChg chg="add mod">
          <ac:chgData name="Soumaya ZERHOUNI" userId="690e4aa6-586b-4341-8f1a-54a3e7457441" providerId="ADAL" clId="{69AAD651-E566-4914-B951-51E57822A563}" dt="2024-01-30T13:20:41.150" v="4180"/>
          <ac:spMkLst>
            <pc:docMk/>
            <pc:sldMk cId="1894256500" sldId="2147480327"/>
            <ac:spMk id="76" creationId="{191A8352-CAAE-4665-AD2C-3F67231027A6}"/>
          </ac:spMkLst>
        </pc:spChg>
        <pc:spChg chg="add mod topLvl">
          <ac:chgData name="Soumaya ZERHOUNI" userId="690e4aa6-586b-4341-8f1a-54a3e7457441" providerId="ADAL" clId="{69AAD651-E566-4914-B951-51E57822A563}" dt="2024-01-30T13:28:30.175" v="4221" actId="1076"/>
          <ac:spMkLst>
            <pc:docMk/>
            <pc:sldMk cId="1894256500" sldId="2147480327"/>
            <ac:spMk id="77" creationId="{B04AF26F-FCFC-42C9-9E19-BDA33101B169}"/>
          </ac:spMkLst>
        </pc:spChg>
        <pc:spChg chg="add mod topLvl">
          <ac:chgData name="Soumaya ZERHOUNI" userId="690e4aa6-586b-4341-8f1a-54a3e7457441" providerId="ADAL" clId="{69AAD651-E566-4914-B951-51E57822A563}" dt="2024-01-30T13:46:32.524" v="4256" actId="6549"/>
          <ac:spMkLst>
            <pc:docMk/>
            <pc:sldMk cId="1894256500" sldId="2147480327"/>
            <ac:spMk id="78" creationId="{FDFFEB65-5744-47A2-A5B0-1C0DECCF9790}"/>
          </ac:spMkLst>
        </pc:spChg>
        <pc:spChg chg="add mod topLvl">
          <ac:chgData name="Soumaya ZERHOUNI" userId="690e4aa6-586b-4341-8f1a-54a3e7457441" providerId="ADAL" clId="{69AAD651-E566-4914-B951-51E57822A563}" dt="2024-01-30T13:25:07.564" v="4206" actId="165"/>
          <ac:spMkLst>
            <pc:docMk/>
            <pc:sldMk cId="1894256500" sldId="2147480327"/>
            <ac:spMk id="79" creationId="{ACFD07E3-C2B0-4BA0-9AD2-C707B50FC98F}"/>
          </ac:spMkLst>
        </pc:spChg>
        <pc:spChg chg="add mod topLvl">
          <ac:chgData name="Soumaya ZERHOUNI" userId="690e4aa6-586b-4341-8f1a-54a3e7457441" providerId="ADAL" clId="{69AAD651-E566-4914-B951-51E57822A563}" dt="2024-01-30T13:26:39.245" v="4212" actId="1076"/>
          <ac:spMkLst>
            <pc:docMk/>
            <pc:sldMk cId="1894256500" sldId="2147480327"/>
            <ac:spMk id="80" creationId="{6E013D63-EB0D-4C65-A135-08C902C8525B}"/>
          </ac:spMkLst>
        </pc:spChg>
        <pc:spChg chg="add mod">
          <ac:chgData name="Soumaya ZERHOUNI" userId="690e4aa6-586b-4341-8f1a-54a3e7457441" providerId="ADAL" clId="{69AAD651-E566-4914-B951-51E57822A563}" dt="2024-01-30T13:20:47.402" v="4184"/>
          <ac:spMkLst>
            <pc:docMk/>
            <pc:sldMk cId="1894256500" sldId="2147480327"/>
            <ac:spMk id="81" creationId="{6994145D-1322-4D64-9221-A72D22EA55A3}"/>
          </ac:spMkLst>
        </pc:spChg>
        <pc:spChg chg="add mod">
          <ac:chgData name="Soumaya ZERHOUNI" userId="690e4aa6-586b-4341-8f1a-54a3e7457441" providerId="ADAL" clId="{69AAD651-E566-4914-B951-51E57822A563}" dt="2024-01-30T13:20:47.402" v="4184"/>
          <ac:spMkLst>
            <pc:docMk/>
            <pc:sldMk cId="1894256500" sldId="2147480327"/>
            <ac:spMk id="82" creationId="{3DB27545-BF0C-4FCE-B3EA-F486F2A72725}"/>
          </ac:spMkLst>
        </pc:spChg>
        <pc:spChg chg="add mod">
          <ac:chgData name="Soumaya ZERHOUNI" userId="690e4aa6-586b-4341-8f1a-54a3e7457441" providerId="ADAL" clId="{69AAD651-E566-4914-B951-51E57822A563}" dt="2024-01-30T13:20:47.402" v="4184"/>
          <ac:spMkLst>
            <pc:docMk/>
            <pc:sldMk cId="1894256500" sldId="2147480327"/>
            <ac:spMk id="83" creationId="{A39B42C6-FB11-4185-B9AD-A3E72363A118}"/>
          </ac:spMkLst>
        </pc:spChg>
        <pc:spChg chg="add mod">
          <ac:chgData name="Soumaya ZERHOUNI" userId="690e4aa6-586b-4341-8f1a-54a3e7457441" providerId="ADAL" clId="{69AAD651-E566-4914-B951-51E57822A563}" dt="2024-01-30T13:20:47.402" v="4184"/>
          <ac:spMkLst>
            <pc:docMk/>
            <pc:sldMk cId="1894256500" sldId="2147480327"/>
            <ac:spMk id="84" creationId="{44D1EAD4-36FA-4C46-90F9-9E89489B24A7}"/>
          </ac:spMkLst>
        </pc:spChg>
        <pc:spChg chg="add mod">
          <ac:chgData name="Soumaya ZERHOUNI" userId="690e4aa6-586b-4341-8f1a-54a3e7457441" providerId="ADAL" clId="{69AAD651-E566-4914-B951-51E57822A563}" dt="2024-01-30T13:20:47.402" v="4184"/>
          <ac:spMkLst>
            <pc:docMk/>
            <pc:sldMk cId="1894256500" sldId="2147480327"/>
            <ac:spMk id="85" creationId="{E33CA6FC-E53F-4A66-A4F9-A95B52081E68}"/>
          </ac:spMkLst>
        </pc:spChg>
        <pc:spChg chg="mod">
          <ac:chgData name="Soumaya ZERHOUNI" userId="690e4aa6-586b-4341-8f1a-54a3e7457441" providerId="ADAL" clId="{69AAD651-E566-4914-B951-51E57822A563}" dt="2024-01-30T13:20:41.150" v="4180"/>
          <ac:spMkLst>
            <pc:docMk/>
            <pc:sldMk cId="1894256500" sldId="2147480327"/>
            <ac:spMk id="87" creationId="{C2945B5F-C340-4A92-B855-6D630E70CB64}"/>
          </ac:spMkLst>
        </pc:spChg>
        <pc:spChg chg="mod">
          <ac:chgData name="Soumaya ZERHOUNI" userId="690e4aa6-586b-4341-8f1a-54a3e7457441" providerId="ADAL" clId="{69AAD651-E566-4914-B951-51E57822A563}" dt="2024-01-30T13:20:41.150" v="4180"/>
          <ac:spMkLst>
            <pc:docMk/>
            <pc:sldMk cId="1894256500" sldId="2147480327"/>
            <ac:spMk id="88" creationId="{F2351EAA-F4BE-4956-B066-6CEA3D833122}"/>
          </ac:spMkLst>
        </pc:spChg>
        <pc:spChg chg="mod">
          <ac:chgData name="Soumaya ZERHOUNI" userId="690e4aa6-586b-4341-8f1a-54a3e7457441" providerId="ADAL" clId="{69AAD651-E566-4914-B951-51E57822A563}" dt="2024-01-30T13:20:41.150" v="4180"/>
          <ac:spMkLst>
            <pc:docMk/>
            <pc:sldMk cId="1894256500" sldId="2147480327"/>
            <ac:spMk id="89" creationId="{005BBA8B-9D5F-4D06-8946-2C8024391395}"/>
          </ac:spMkLst>
        </pc:spChg>
        <pc:spChg chg="mod">
          <ac:chgData name="Soumaya ZERHOUNI" userId="690e4aa6-586b-4341-8f1a-54a3e7457441" providerId="ADAL" clId="{69AAD651-E566-4914-B951-51E57822A563}" dt="2024-01-30T13:20:41.150" v="4180"/>
          <ac:spMkLst>
            <pc:docMk/>
            <pc:sldMk cId="1894256500" sldId="2147480327"/>
            <ac:spMk id="90" creationId="{87DA0E5F-BF48-4C5F-AF7E-449869E1B404}"/>
          </ac:spMkLst>
        </pc:spChg>
        <pc:spChg chg="mod">
          <ac:chgData name="Soumaya ZERHOUNI" userId="690e4aa6-586b-4341-8f1a-54a3e7457441" providerId="ADAL" clId="{69AAD651-E566-4914-B951-51E57822A563}" dt="2024-01-30T13:20:41.150" v="4180"/>
          <ac:spMkLst>
            <pc:docMk/>
            <pc:sldMk cId="1894256500" sldId="2147480327"/>
            <ac:spMk id="91" creationId="{6CF13A8E-AE3F-4A50-BE0A-0056812D8CC8}"/>
          </ac:spMkLst>
        </pc:spChg>
        <pc:spChg chg="add mod topLvl">
          <ac:chgData name="Soumaya ZERHOUNI" userId="690e4aa6-586b-4341-8f1a-54a3e7457441" providerId="ADAL" clId="{69AAD651-E566-4914-B951-51E57822A563}" dt="2024-01-30T13:25:07.564" v="4206" actId="165"/>
          <ac:spMkLst>
            <pc:docMk/>
            <pc:sldMk cId="1894256500" sldId="2147480327"/>
            <ac:spMk id="92" creationId="{C795936C-CBD5-4DAC-B44F-8A00863C9DC1}"/>
          </ac:spMkLst>
        </pc:spChg>
        <pc:spChg chg="add mod topLvl">
          <ac:chgData name="Soumaya ZERHOUNI" userId="690e4aa6-586b-4341-8f1a-54a3e7457441" providerId="ADAL" clId="{69AAD651-E566-4914-B951-51E57822A563}" dt="2024-01-30T13:25:07.564" v="4206" actId="165"/>
          <ac:spMkLst>
            <pc:docMk/>
            <pc:sldMk cId="1894256500" sldId="2147480327"/>
            <ac:spMk id="93" creationId="{191A8352-CAAE-4665-AD2C-3F67231027A6}"/>
          </ac:spMkLst>
        </pc:spChg>
        <pc:spChg chg="add mod">
          <ac:chgData name="Soumaya ZERHOUNI" userId="690e4aa6-586b-4341-8f1a-54a3e7457441" providerId="ADAL" clId="{69AAD651-E566-4914-B951-51E57822A563}" dt="2024-01-30T13:20:47.402" v="4184"/>
          <ac:spMkLst>
            <pc:docMk/>
            <pc:sldMk cId="1894256500" sldId="2147480327"/>
            <ac:spMk id="94" creationId="{4BD7BEEB-DE28-B743-A581-512AC52B1F01}"/>
          </ac:spMkLst>
        </pc:spChg>
        <pc:spChg chg="add mod ord">
          <ac:chgData name="Soumaya ZERHOUNI" userId="690e4aa6-586b-4341-8f1a-54a3e7457441" providerId="ADAL" clId="{69AAD651-E566-4914-B951-51E57822A563}" dt="2024-01-30T13:22:36.984" v="4195" actId="166"/>
          <ac:spMkLst>
            <pc:docMk/>
            <pc:sldMk cId="1894256500" sldId="2147480327"/>
            <ac:spMk id="95" creationId="{55DDCD24-0416-314F-92D9-23A4B5AB85B6}"/>
          </ac:spMkLst>
        </pc:spChg>
        <pc:spChg chg="add mod">
          <ac:chgData name="Soumaya ZERHOUNI" userId="690e4aa6-586b-4341-8f1a-54a3e7457441" providerId="ADAL" clId="{69AAD651-E566-4914-B951-51E57822A563}" dt="2024-01-30T13:20:47.402" v="4184"/>
          <ac:spMkLst>
            <pc:docMk/>
            <pc:sldMk cId="1894256500" sldId="2147480327"/>
            <ac:spMk id="96" creationId="{45B79E89-16BF-12FA-2D7A-F7B23F1C29C7}"/>
          </ac:spMkLst>
        </pc:spChg>
        <pc:spChg chg="add mod topLvl">
          <ac:chgData name="Soumaya ZERHOUNI" userId="690e4aa6-586b-4341-8f1a-54a3e7457441" providerId="ADAL" clId="{69AAD651-E566-4914-B951-51E57822A563}" dt="2024-01-30T13:25:07.564" v="4206" actId="165"/>
          <ac:spMkLst>
            <pc:docMk/>
            <pc:sldMk cId="1894256500" sldId="2147480327"/>
            <ac:spMk id="97" creationId="{1486F9D1-E97B-8BD4-F02B-6D693EE6B145}"/>
          </ac:spMkLst>
        </pc:spChg>
        <pc:spChg chg="add mod topLvl">
          <ac:chgData name="Soumaya ZERHOUNI" userId="690e4aa6-586b-4341-8f1a-54a3e7457441" providerId="ADAL" clId="{69AAD651-E566-4914-B951-51E57822A563}" dt="2024-01-30T13:25:07.564" v="4206" actId="165"/>
          <ac:spMkLst>
            <pc:docMk/>
            <pc:sldMk cId="1894256500" sldId="2147480327"/>
            <ac:spMk id="98" creationId="{1354EB9E-787B-D01A-66D5-494FEE24289F}"/>
          </ac:spMkLst>
        </pc:spChg>
        <pc:spChg chg="add mod topLvl">
          <ac:chgData name="Soumaya ZERHOUNI" userId="690e4aa6-586b-4341-8f1a-54a3e7457441" providerId="ADAL" clId="{69AAD651-E566-4914-B951-51E57822A563}" dt="2024-01-30T13:25:07.564" v="4206" actId="165"/>
          <ac:spMkLst>
            <pc:docMk/>
            <pc:sldMk cId="1894256500" sldId="2147480327"/>
            <ac:spMk id="99" creationId="{2CC6A5BF-99F5-A772-990E-2EC800C7BA69}"/>
          </ac:spMkLst>
        </pc:spChg>
        <pc:spChg chg="add mod topLvl">
          <ac:chgData name="Soumaya ZERHOUNI" userId="690e4aa6-586b-4341-8f1a-54a3e7457441" providerId="ADAL" clId="{69AAD651-E566-4914-B951-51E57822A563}" dt="2024-01-30T13:25:07.564" v="4206" actId="165"/>
          <ac:spMkLst>
            <pc:docMk/>
            <pc:sldMk cId="1894256500" sldId="2147480327"/>
            <ac:spMk id="100" creationId="{632C5C44-0B1A-0410-05E8-CE6AFA5D73C4}"/>
          </ac:spMkLst>
        </pc:spChg>
        <pc:spChg chg="add mod">
          <ac:chgData name="Soumaya ZERHOUNI" userId="690e4aa6-586b-4341-8f1a-54a3e7457441" providerId="ADAL" clId="{69AAD651-E566-4914-B951-51E57822A563}" dt="2024-01-30T13:26:16.608" v="4209"/>
          <ac:spMkLst>
            <pc:docMk/>
            <pc:sldMk cId="1894256500" sldId="2147480327"/>
            <ac:spMk id="103" creationId="{9746AF1A-E4A3-0C15-531E-A8F8FA9B7545}"/>
          </ac:spMkLst>
        </pc:spChg>
        <pc:grpChg chg="add mod">
          <ac:chgData name="Soumaya ZERHOUNI" userId="690e4aa6-586b-4341-8f1a-54a3e7457441" providerId="ADAL" clId="{69AAD651-E566-4914-B951-51E57822A563}" dt="2024-01-30T13:20:47.402" v="4184"/>
          <ac:grpSpMkLst>
            <pc:docMk/>
            <pc:sldMk cId="1894256500" sldId="2147480327"/>
            <ac:grpSpMk id="48" creationId="{8857EBA3-33EE-40C0-8389-C1C0520FF04D}"/>
          </ac:grpSpMkLst>
        </pc:grpChg>
        <pc:grpChg chg="add mod">
          <ac:chgData name="Soumaya ZERHOUNI" userId="690e4aa6-586b-4341-8f1a-54a3e7457441" providerId="ADAL" clId="{69AAD651-E566-4914-B951-51E57822A563}" dt="2024-01-30T13:20:41.150" v="4180"/>
          <ac:grpSpMkLst>
            <pc:docMk/>
            <pc:sldMk cId="1894256500" sldId="2147480327"/>
            <ac:grpSpMk id="86" creationId="{8857EBA3-33EE-40C0-8389-C1C0520FF04D}"/>
          </ac:grpSpMkLst>
        </pc:grpChg>
        <pc:grpChg chg="add del mod">
          <ac:chgData name="Soumaya ZERHOUNI" userId="690e4aa6-586b-4341-8f1a-54a3e7457441" providerId="ADAL" clId="{69AAD651-E566-4914-B951-51E57822A563}" dt="2024-01-30T13:25:07.564" v="4206" actId="165"/>
          <ac:grpSpMkLst>
            <pc:docMk/>
            <pc:sldMk cId="1894256500" sldId="2147480327"/>
            <ac:grpSpMk id="101" creationId="{5E86F8B9-D0A2-44F0-4B57-0DCF716E81AF}"/>
          </ac:grpSpMkLst>
        </pc:grpChg>
        <pc:picChg chg="del">
          <ac:chgData name="Soumaya ZERHOUNI" userId="690e4aa6-586b-4341-8f1a-54a3e7457441" providerId="ADAL" clId="{69AAD651-E566-4914-B951-51E57822A563}" dt="2024-01-30T13:20:28.221" v="4175" actId="478"/>
          <ac:picMkLst>
            <pc:docMk/>
            <pc:sldMk cId="1894256500" sldId="2147480327"/>
            <ac:picMk id="29" creationId="{51CFCE50-4A1F-21E4-3DEF-796EFECDB0BF}"/>
          </ac:picMkLst>
        </pc:picChg>
        <pc:picChg chg="del">
          <ac:chgData name="Soumaya ZERHOUNI" userId="690e4aa6-586b-4341-8f1a-54a3e7457441" providerId="ADAL" clId="{69AAD651-E566-4914-B951-51E57822A563}" dt="2024-01-30T13:20:28.221" v="4175" actId="478"/>
          <ac:picMkLst>
            <pc:docMk/>
            <pc:sldMk cId="1894256500" sldId="2147480327"/>
            <ac:picMk id="36" creationId="{A1E2346E-F115-E950-3812-13BEA272DCBA}"/>
          </ac:picMkLst>
        </pc:picChg>
        <pc:picChg chg="del">
          <ac:chgData name="Soumaya ZERHOUNI" userId="690e4aa6-586b-4341-8f1a-54a3e7457441" providerId="ADAL" clId="{69AAD651-E566-4914-B951-51E57822A563}" dt="2024-01-30T13:20:28.221" v="4175" actId="478"/>
          <ac:picMkLst>
            <pc:docMk/>
            <pc:sldMk cId="1894256500" sldId="2147480327"/>
            <ac:picMk id="42" creationId="{73CDF0D3-E2C5-986A-327A-CD14C980C0F6}"/>
          </ac:picMkLst>
        </pc:picChg>
        <pc:picChg chg="add mod">
          <ac:chgData name="Soumaya ZERHOUNI" userId="690e4aa6-586b-4341-8f1a-54a3e7457441" providerId="ADAL" clId="{69AAD651-E566-4914-B951-51E57822A563}" dt="2024-01-30T13:26:16.608" v="4209"/>
          <ac:picMkLst>
            <pc:docMk/>
            <pc:sldMk cId="1894256500" sldId="2147480327"/>
            <ac:picMk id="102" creationId="{8E389602-FFE1-E34C-3764-3D1402F83A51}"/>
          </ac:picMkLst>
        </pc:picChg>
        <pc:picChg chg="add mod">
          <ac:chgData name="Soumaya ZERHOUNI" userId="690e4aa6-586b-4341-8f1a-54a3e7457441" providerId="ADAL" clId="{69AAD651-E566-4914-B951-51E57822A563}" dt="2024-01-30T13:28:59.862" v="4225" actId="1076"/>
          <ac:picMkLst>
            <pc:docMk/>
            <pc:sldMk cId="1894256500" sldId="2147480327"/>
            <ac:picMk id="104" creationId="{93F1D563-AEC1-4C9C-4AFC-BB544FBA9EE3}"/>
          </ac:picMkLst>
        </pc:picChg>
      </pc:sldChg>
      <pc:sldChg chg="addSp delSp modSp add mod">
        <pc:chgData name="Soumaya ZERHOUNI" userId="690e4aa6-586b-4341-8f1a-54a3e7457441" providerId="ADAL" clId="{69AAD651-E566-4914-B951-51E57822A563}" dt="2024-02-02T17:25:48.601" v="12850" actId="2"/>
        <pc:sldMkLst>
          <pc:docMk/>
          <pc:sldMk cId="3058333471" sldId="2147480328"/>
        </pc:sldMkLst>
        <pc:spChg chg="mod">
          <ac:chgData name="Soumaya ZERHOUNI" userId="690e4aa6-586b-4341-8f1a-54a3e7457441" providerId="ADAL" clId="{69AAD651-E566-4914-B951-51E57822A563}" dt="2024-01-31T15:26:46.203" v="5558" actId="554"/>
          <ac:spMkLst>
            <pc:docMk/>
            <pc:sldMk cId="3058333471" sldId="2147480328"/>
            <ac:spMk id="2" creationId="{7E57833B-F9F8-3CAB-30A5-335812052FC8}"/>
          </ac:spMkLst>
        </pc:spChg>
        <pc:spChg chg="mod">
          <ac:chgData name="Soumaya ZERHOUNI" userId="690e4aa6-586b-4341-8f1a-54a3e7457441" providerId="ADAL" clId="{69AAD651-E566-4914-B951-51E57822A563}" dt="2024-02-02T09:09:37.080" v="11392" actId="1035"/>
          <ac:spMkLst>
            <pc:docMk/>
            <pc:sldMk cId="3058333471" sldId="2147480328"/>
            <ac:spMk id="3" creationId="{41FDDD5F-CFE8-1ABC-5B78-1040239B27A6}"/>
          </ac:spMkLst>
        </pc:spChg>
        <pc:spChg chg="add del mod">
          <ac:chgData name="Soumaya ZERHOUNI" userId="690e4aa6-586b-4341-8f1a-54a3e7457441" providerId="ADAL" clId="{69AAD651-E566-4914-B951-51E57822A563}" dt="2024-01-30T14:30:30.531" v="4455" actId="478"/>
          <ac:spMkLst>
            <pc:docMk/>
            <pc:sldMk cId="3058333471" sldId="2147480328"/>
            <ac:spMk id="4" creationId="{133FDDFA-864F-353D-3A36-F72FC293BF64}"/>
          </ac:spMkLst>
        </pc:spChg>
        <pc:spChg chg="del mod">
          <ac:chgData name="Soumaya ZERHOUNI" userId="690e4aa6-586b-4341-8f1a-54a3e7457441" providerId="ADAL" clId="{69AAD651-E566-4914-B951-51E57822A563}" dt="2024-02-01T10:40:46.297" v="7137" actId="478"/>
          <ac:spMkLst>
            <pc:docMk/>
            <pc:sldMk cId="3058333471" sldId="2147480328"/>
            <ac:spMk id="4" creationId="{EAF9AB6C-200A-7C13-6B57-2F846D17F25B}"/>
          </ac:spMkLst>
        </pc:spChg>
        <pc:spChg chg="mod">
          <ac:chgData name="Soumaya ZERHOUNI" userId="690e4aa6-586b-4341-8f1a-54a3e7457441" providerId="ADAL" clId="{69AAD651-E566-4914-B951-51E57822A563}" dt="2024-02-02T11:05:29.259" v="12036" actId="20577"/>
          <ac:spMkLst>
            <pc:docMk/>
            <pc:sldMk cId="3058333471" sldId="2147480328"/>
            <ac:spMk id="5" creationId="{02A81392-860F-FA2E-1A23-F5B48A76F7F1}"/>
          </ac:spMkLst>
        </pc:spChg>
        <pc:spChg chg="mod">
          <ac:chgData name="Soumaya ZERHOUNI" userId="690e4aa6-586b-4341-8f1a-54a3e7457441" providerId="ADAL" clId="{69AAD651-E566-4914-B951-51E57822A563}" dt="2024-02-02T09:09:37.080" v="11392" actId="1035"/>
          <ac:spMkLst>
            <pc:docMk/>
            <pc:sldMk cId="3058333471" sldId="2147480328"/>
            <ac:spMk id="6" creationId="{A1E41D64-FD95-50CC-8966-70D3F683CECA}"/>
          </ac:spMkLst>
        </pc:spChg>
        <pc:spChg chg="mod">
          <ac:chgData name="Soumaya ZERHOUNI" userId="690e4aa6-586b-4341-8f1a-54a3e7457441" providerId="ADAL" clId="{69AAD651-E566-4914-B951-51E57822A563}" dt="2024-02-02T11:05:22.635" v="12035" actId="33524"/>
          <ac:spMkLst>
            <pc:docMk/>
            <pc:sldMk cId="3058333471" sldId="2147480328"/>
            <ac:spMk id="7" creationId="{213E6CC4-AD4D-F30E-91AB-24842EE07D5F}"/>
          </ac:spMkLst>
        </pc:spChg>
        <pc:spChg chg="mod">
          <ac:chgData name="Soumaya ZERHOUNI" userId="690e4aa6-586b-4341-8f1a-54a3e7457441" providerId="ADAL" clId="{69AAD651-E566-4914-B951-51E57822A563}" dt="2024-02-02T09:09:37.080" v="11392" actId="1035"/>
          <ac:spMkLst>
            <pc:docMk/>
            <pc:sldMk cId="3058333471" sldId="2147480328"/>
            <ac:spMk id="8" creationId="{2ACD1FCA-7E7D-E323-E3E9-B5E5B7FEC84F}"/>
          </ac:spMkLst>
        </pc:spChg>
        <pc:spChg chg="mod">
          <ac:chgData name="Soumaya ZERHOUNI" userId="690e4aa6-586b-4341-8f1a-54a3e7457441" providerId="ADAL" clId="{69AAD651-E566-4914-B951-51E57822A563}" dt="2024-02-02T11:05:33.933" v="12037" actId="20577"/>
          <ac:spMkLst>
            <pc:docMk/>
            <pc:sldMk cId="3058333471" sldId="2147480328"/>
            <ac:spMk id="9" creationId="{4EB9FAC3-686A-ADD1-E07E-DC7EC11628DB}"/>
          </ac:spMkLst>
        </pc:spChg>
        <pc:spChg chg="mod">
          <ac:chgData name="Soumaya ZERHOUNI" userId="690e4aa6-586b-4341-8f1a-54a3e7457441" providerId="ADAL" clId="{69AAD651-E566-4914-B951-51E57822A563}" dt="2024-02-02T09:09:37.080" v="11392" actId="1035"/>
          <ac:spMkLst>
            <pc:docMk/>
            <pc:sldMk cId="3058333471" sldId="2147480328"/>
            <ac:spMk id="10" creationId="{F37F75AE-F663-658A-F793-F61B72503092}"/>
          </ac:spMkLst>
        </pc:spChg>
        <pc:spChg chg="mod">
          <ac:chgData name="Soumaya ZERHOUNI" userId="690e4aa6-586b-4341-8f1a-54a3e7457441" providerId="ADAL" clId="{69AAD651-E566-4914-B951-51E57822A563}" dt="2024-02-02T09:09:37.080" v="11392" actId="1035"/>
          <ac:spMkLst>
            <pc:docMk/>
            <pc:sldMk cId="3058333471" sldId="2147480328"/>
            <ac:spMk id="11" creationId="{98D3BB83-F691-BA68-D86E-137FDA08C607}"/>
          </ac:spMkLst>
        </pc:spChg>
        <pc:spChg chg="mod">
          <ac:chgData name="Soumaya ZERHOUNI" userId="690e4aa6-586b-4341-8f1a-54a3e7457441" providerId="ADAL" clId="{69AAD651-E566-4914-B951-51E57822A563}" dt="2024-02-02T11:03:04.438" v="12004" actId="20577"/>
          <ac:spMkLst>
            <pc:docMk/>
            <pc:sldMk cId="3058333471" sldId="2147480328"/>
            <ac:spMk id="12" creationId="{FC4AF209-C34C-5D0E-34CC-812F896D6519}"/>
          </ac:spMkLst>
        </pc:spChg>
        <pc:spChg chg="del">
          <ac:chgData name="Soumaya ZERHOUNI" userId="690e4aa6-586b-4341-8f1a-54a3e7457441" providerId="ADAL" clId="{69AAD651-E566-4914-B951-51E57822A563}" dt="2024-01-30T14:36:28.004" v="4499" actId="478"/>
          <ac:spMkLst>
            <pc:docMk/>
            <pc:sldMk cId="3058333471" sldId="2147480328"/>
            <ac:spMk id="13" creationId="{29EF3A47-E7F5-2E70-60F7-7DD1C02534AA}"/>
          </ac:spMkLst>
        </pc:spChg>
        <pc:spChg chg="mod">
          <ac:chgData name="Soumaya ZERHOUNI" userId="690e4aa6-586b-4341-8f1a-54a3e7457441" providerId="ADAL" clId="{69AAD651-E566-4914-B951-51E57822A563}" dt="2024-02-01T17:24:12.065" v="10931" actId="1076"/>
          <ac:spMkLst>
            <pc:docMk/>
            <pc:sldMk cId="3058333471" sldId="2147480328"/>
            <ac:spMk id="13" creationId="{D544691B-D2F7-96E4-8B99-579CC3929926}"/>
          </ac:spMkLst>
        </pc:spChg>
        <pc:spChg chg="mod ord">
          <ac:chgData name="Soumaya ZERHOUNI" userId="690e4aa6-586b-4341-8f1a-54a3e7457441" providerId="ADAL" clId="{69AAD651-E566-4914-B951-51E57822A563}" dt="2024-02-02T11:09:21.981" v="12097" actId="1035"/>
          <ac:spMkLst>
            <pc:docMk/>
            <pc:sldMk cId="3058333471" sldId="2147480328"/>
            <ac:spMk id="14" creationId="{C00A7B63-CF4B-B762-F6B5-E6C7B1118504}"/>
          </ac:spMkLst>
        </pc:spChg>
        <pc:spChg chg="mod">
          <ac:chgData name="Soumaya ZERHOUNI" userId="690e4aa6-586b-4341-8f1a-54a3e7457441" providerId="ADAL" clId="{69AAD651-E566-4914-B951-51E57822A563}" dt="2024-02-02T09:09:37.080" v="11392" actId="1035"/>
          <ac:spMkLst>
            <pc:docMk/>
            <pc:sldMk cId="3058333471" sldId="2147480328"/>
            <ac:spMk id="15" creationId="{41B964A5-8B0F-46CC-5BBD-EB66B77C7AE0}"/>
          </ac:spMkLst>
        </pc:spChg>
        <pc:spChg chg="mod">
          <ac:chgData name="Soumaya ZERHOUNI" userId="690e4aa6-586b-4341-8f1a-54a3e7457441" providerId="ADAL" clId="{69AAD651-E566-4914-B951-51E57822A563}" dt="2024-02-01T13:32:15.739" v="8505" actId="1036"/>
          <ac:spMkLst>
            <pc:docMk/>
            <pc:sldMk cId="3058333471" sldId="2147480328"/>
            <ac:spMk id="16" creationId="{C3BE18C4-450B-E519-00B8-BCA906F0626A}"/>
          </ac:spMkLst>
        </pc:spChg>
        <pc:spChg chg="mod">
          <ac:chgData name="Soumaya ZERHOUNI" userId="690e4aa6-586b-4341-8f1a-54a3e7457441" providerId="ADAL" clId="{69AAD651-E566-4914-B951-51E57822A563}" dt="2024-02-02T11:16:19.100" v="12106" actId="20577"/>
          <ac:spMkLst>
            <pc:docMk/>
            <pc:sldMk cId="3058333471" sldId="2147480328"/>
            <ac:spMk id="17" creationId="{44D146EE-7B16-0FB2-7F71-69CEE9A564AE}"/>
          </ac:spMkLst>
        </pc:spChg>
        <pc:spChg chg="mod">
          <ac:chgData name="Soumaya ZERHOUNI" userId="690e4aa6-586b-4341-8f1a-54a3e7457441" providerId="ADAL" clId="{69AAD651-E566-4914-B951-51E57822A563}" dt="2024-02-02T11:16:46.007" v="12108" actId="20577"/>
          <ac:spMkLst>
            <pc:docMk/>
            <pc:sldMk cId="3058333471" sldId="2147480328"/>
            <ac:spMk id="18" creationId="{7F7B1867-AC2B-5A41-29FB-3BE812CC8B3C}"/>
          </ac:spMkLst>
        </pc:spChg>
        <pc:spChg chg="mod">
          <ac:chgData name="Soumaya ZERHOUNI" userId="690e4aa6-586b-4341-8f1a-54a3e7457441" providerId="ADAL" clId="{69AAD651-E566-4914-B951-51E57822A563}" dt="2024-02-02T11:17:41.579" v="12110" actId="20577"/>
          <ac:spMkLst>
            <pc:docMk/>
            <pc:sldMk cId="3058333471" sldId="2147480328"/>
            <ac:spMk id="19" creationId="{24D1E647-4177-1843-8400-A6621BE58909}"/>
          </ac:spMkLst>
        </pc:spChg>
        <pc:spChg chg="mod">
          <ac:chgData name="Soumaya ZERHOUNI" userId="690e4aa6-586b-4341-8f1a-54a3e7457441" providerId="ADAL" clId="{69AAD651-E566-4914-B951-51E57822A563}" dt="2024-02-02T17:25:35.155" v="12846" actId="2"/>
          <ac:spMkLst>
            <pc:docMk/>
            <pc:sldMk cId="3058333471" sldId="2147480328"/>
            <ac:spMk id="20" creationId="{53FFC4C0-4D44-3556-E52F-2239CFD5DF1C}"/>
          </ac:spMkLst>
        </pc:spChg>
        <pc:spChg chg="mod">
          <ac:chgData name="Soumaya ZERHOUNI" userId="690e4aa6-586b-4341-8f1a-54a3e7457441" providerId="ADAL" clId="{69AAD651-E566-4914-B951-51E57822A563}" dt="2024-02-02T11:20:26.581" v="12114" actId="20577"/>
          <ac:spMkLst>
            <pc:docMk/>
            <pc:sldMk cId="3058333471" sldId="2147480328"/>
            <ac:spMk id="21" creationId="{37FBD1D1-2F94-3931-D590-88A8D4DF8381}"/>
          </ac:spMkLst>
        </pc:spChg>
        <pc:spChg chg="mod">
          <ac:chgData name="Soumaya ZERHOUNI" userId="690e4aa6-586b-4341-8f1a-54a3e7457441" providerId="ADAL" clId="{69AAD651-E566-4914-B951-51E57822A563}" dt="2024-02-01T13:32:15.739" v="8505" actId="1036"/>
          <ac:spMkLst>
            <pc:docMk/>
            <pc:sldMk cId="3058333471" sldId="2147480328"/>
            <ac:spMk id="22" creationId="{E660E33B-564E-2E2D-77FF-C875888D853E}"/>
          </ac:spMkLst>
        </pc:spChg>
        <pc:spChg chg="mod">
          <ac:chgData name="Soumaya ZERHOUNI" userId="690e4aa6-586b-4341-8f1a-54a3e7457441" providerId="ADAL" clId="{69AAD651-E566-4914-B951-51E57822A563}" dt="2024-02-02T17:25:37.164" v="12847" actId="2"/>
          <ac:spMkLst>
            <pc:docMk/>
            <pc:sldMk cId="3058333471" sldId="2147480328"/>
            <ac:spMk id="23" creationId="{BC813C75-2773-035F-B17A-6E444E9022DD}"/>
          </ac:spMkLst>
        </pc:spChg>
        <pc:spChg chg="mod">
          <ac:chgData name="Soumaya ZERHOUNI" userId="690e4aa6-586b-4341-8f1a-54a3e7457441" providerId="ADAL" clId="{69AAD651-E566-4914-B951-51E57822A563}" dt="2024-02-02T09:09:37.080" v="11392" actId="1035"/>
          <ac:spMkLst>
            <pc:docMk/>
            <pc:sldMk cId="3058333471" sldId="2147480328"/>
            <ac:spMk id="24" creationId="{43D3ABA5-0808-ABC5-D5AD-83AA6942791E}"/>
          </ac:spMkLst>
        </pc:spChg>
        <pc:spChg chg="mod">
          <ac:chgData name="Soumaya ZERHOUNI" userId="690e4aa6-586b-4341-8f1a-54a3e7457441" providerId="ADAL" clId="{69AAD651-E566-4914-B951-51E57822A563}" dt="2024-02-02T09:09:37.080" v="11392" actId="1035"/>
          <ac:spMkLst>
            <pc:docMk/>
            <pc:sldMk cId="3058333471" sldId="2147480328"/>
            <ac:spMk id="25" creationId="{26B70A9A-BDE8-6600-C247-D12A6C02E8DF}"/>
          </ac:spMkLst>
        </pc:spChg>
        <pc:spChg chg="mod">
          <ac:chgData name="Soumaya ZERHOUNI" userId="690e4aa6-586b-4341-8f1a-54a3e7457441" providerId="ADAL" clId="{69AAD651-E566-4914-B951-51E57822A563}" dt="2024-02-02T09:09:37.080" v="11392" actId="1035"/>
          <ac:spMkLst>
            <pc:docMk/>
            <pc:sldMk cId="3058333471" sldId="2147480328"/>
            <ac:spMk id="26" creationId="{72BC13EE-27CD-924A-A420-6838537AD80A}"/>
          </ac:spMkLst>
        </pc:spChg>
        <pc:spChg chg="mod">
          <ac:chgData name="Soumaya ZERHOUNI" userId="690e4aa6-586b-4341-8f1a-54a3e7457441" providerId="ADAL" clId="{69AAD651-E566-4914-B951-51E57822A563}" dt="2024-02-02T09:09:37.080" v="11392" actId="1035"/>
          <ac:spMkLst>
            <pc:docMk/>
            <pc:sldMk cId="3058333471" sldId="2147480328"/>
            <ac:spMk id="27" creationId="{0937D6AD-2F75-61A5-7FA8-09075436B4B3}"/>
          </ac:spMkLst>
        </pc:spChg>
        <pc:spChg chg="mod">
          <ac:chgData name="Soumaya ZERHOUNI" userId="690e4aa6-586b-4341-8f1a-54a3e7457441" providerId="ADAL" clId="{69AAD651-E566-4914-B951-51E57822A563}" dt="2024-02-02T09:09:37.080" v="11392" actId="1035"/>
          <ac:spMkLst>
            <pc:docMk/>
            <pc:sldMk cId="3058333471" sldId="2147480328"/>
            <ac:spMk id="28" creationId="{214159E9-73C8-F734-A2BD-65D5BA6E0994}"/>
          </ac:spMkLst>
        </pc:spChg>
        <pc:spChg chg="mod">
          <ac:chgData name="Soumaya ZERHOUNI" userId="690e4aa6-586b-4341-8f1a-54a3e7457441" providerId="ADAL" clId="{69AAD651-E566-4914-B951-51E57822A563}" dt="2024-02-01T17:24:12.065" v="10931" actId="1076"/>
          <ac:spMkLst>
            <pc:docMk/>
            <pc:sldMk cId="3058333471" sldId="2147480328"/>
            <ac:spMk id="30" creationId="{0C37DDD6-5B2F-1D65-1DBB-B5A80101A592}"/>
          </ac:spMkLst>
        </pc:spChg>
        <pc:spChg chg="del">
          <ac:chgData name="Soumaya ZERHOUNI" userId="690e4aa6-586b-4341-8f1a-54a3e7457441" providerId="ADAL" clId="{69AAD651-E566-4914-B951-51E57822A563}" dt="2024-01-30T13:48:38.798" v="4279" actId="478"/>
          <ac:spMkLst>
            <pc:docMk/>
            <pc:sldMk cId="3058333471" sldId="2147480328"/>
            <ac:spMk id="30" creationId="{133FDDFA-864F-353D-3A36-F72FC293BF64}"/>
          </ac:spMkLst>
        </pc:spChg>
        <pc:spChg chg="add del mod">
          <ac:chgData name="Soumaya ZERHOUNI" userId="690e4aa6-586b-4341-8f1a-54a3e7457441" providerId="ADAL" clId="{69AAD651-E566-4914-B951-51E57822A563}" dt="2024-01-31T15:26:49.346" v="5559" actId="21"/>
          <ac:spMkLst>
            <pc:docMk/>
            <pc:sldMk cId="3058333471" sldId="2147480328"/>
            <ac:spMk id="30" creationId="{777EE9C9-8D48-C3FB-7B08-B34E86458197}"/>
          </ac:spMkLst>
        </pc:spChg>
        <pc:spChg chg="del">
          <ac:chgData name="Soumaya ZERHOUNI" userId="690e4aa6-586b-4341-8f1a-54a3e7457441" providerId="ADAL" clId="{69AAD651-E566-4914-B951-51E57822A563}" dt="2024-01-30T13:48:40.170" v="4280" actId="478"/>
          <ac:spMkLst>
            <pc:docMk/>
            <pc:sldMk cId="3058333471" sldId="2147480328"/>
            <ac:spMk id="31" creationId="{2656CBF1-838E-87B4-9BF7-353C4A280B49}"/>
          </ac:spMkLst>
        </pc:spChg>
        <pc:spChg chg="add del mod">
          <ac:chgData name="Soumaya ZERHOUNI" userId="690e4aa6-586b-4341-8f1a-54a3e7457441" providerId="ADAL" clId="{69AAD651-E566-4914-B951-51E57822A563}" dt="2024-01-30T14:30:34.239" v="4456" actId="478"/>
          <ac:spMkLst>
            <pc:docMk/>
            <pc:sldMk cId="3058333471" sldId="2147480328"/>
            <ac:spMk id="32" creationId="{2656CBF1-838E-87B4-9BF7-353C4A280B49}"/>
          </ac:spMkLst>
        </pc:spChg>
        <pc:spChg chg="add mod topLvl">
          <ac:chgData name="Soumaya ZERHOUNI" userId="690e4aa6-586b-4341-8f1a-54a3e7457441" providerId="ADAL" clId="{69AAD651-E566-4914-B951-51E57822A563}" dt="2024-02-02T08:52:47.410" v="11388" actId="14100"/>
          <ac:spMkLst>
            <pc:docMk/>
            <pc:sldMk cId="3058333471" sldId="2147480328"/>
            <ac:spMk id="33" creationId="{A47E0638-6B7F-0A48-C050-C75BC012AC18}"/>
          </ac:spMkLst>
        </pc:spChg>
        <pc:spChg chg="add del mod">
          <ac:chgData name="Soumaya ZERHOUNI" userId="690e4aa6-586b-4341-8f1a-54a3e7457441" providerId="ADAL" clId="{69AAD651-E566-4914-B951-51E57822A563}" dt="2024-01-30T14:54:19.765" v="4659" actId="478"/>
          <ac:spMkLst>
            <pc:docMk/>
            <pc:sldMk cId="3058333471" sldId="2147480328"/>
            <ac:spMk id="34" creationId="{52597247-FC4D-604B-45B7-4CB189935D7A}"/>
          </ac:spMkLst>
        </pc:spChg>
        <pc:spChg chg="mod">
          <ac:chgData name="Soumaya ZERHOUNI" userId="690e4aa6-586b-4341-8f1a-54a3e7457441" providerId="ADAL" clId="{69AAD651-E566-4914-B951-51E57822A563}" dt="2024-02-01T17:24:12.065" v="10931" actId="1076"/>
          <ac:spMkLst>
            <pc:docMk/>
            <pc:sldMk cId="3058333471" sldId="2147480328"/>
            <ac:spMk id="35" creationId="{B2A41731-C0D3-D60F-5801-7C5E7B42D3A0}"/>
          </ac:spMkLst>
        </pc:spChg>
        <pc:spChg chg="mod">
          <ac:chgData name="Soumaya ZERHOUNI" userId="690e4aa6-586b-4341-8f1a-54a3e7457441" providerId="ADAL" clId="{69AAD651-E566-4914-B951-51E57822A563}" dt="2024-01-31T17:11:22.351" v="6692" actId="1076"/>
          <ac:spMkLst>
            <pc:docMk/>
            <pc:sldMk cId="3058333471" sldId="2147480328"/>
            <ac:spMk id="37" creationId="{0F35733B-0E30-1949-2E60-9215EE846BE0}"/>
          </ac:spMkLst>
        </pc:spChg>
        <pc:spChg chg="mod topLvl">
          <ac:chgData name="Soumaya ZERHOUNI" userId="690e4aa6-586b-4341-8f1a-54a3e7457441" providerId="ADAL" clId="{69AAD651-E566-4914-B951-51E57822A563}" dt="2024-02-02T11:04:08.107" v="12025" actId="1036"/>
          <ac:spMkLst>
            <pc:docMk/>
            <pc:sldMk cId="3058333471" sldId="2147480328"/>
            <ac:spMk id="38" creationId="{2E7B09F9-362E-FF99-C138-6FBABF638C48}"/>
          </ac:spMkLst>
        </pc:spChg>
        <pc:spChg chg="mod topLvl">
          <ac:chgData name="Soumaya ZERHOUNI" userId="690e4aa6-586b-4341-8f1a-54a3e7457441" providerId="ADAL" clId="{69AAD651-E566-4914-B951-51E57822A563}" dt="2024-02-02T11:04:08.107" v="12025" actId="1036"/>
          <ac:spMkLst>
            <pc:docMk/>
            <pc:sldMk cId="3058333471" sldId="2147480328"/>
            <ac:spMk id="39" creationId="{F4D92648-4B6D-CFDE-A571-78F75181AA0E}"/>
          </ac:spMkLst>
        </pc:spChg>
        <pc:spChg chg="mod topLvl">
          <ac:chgData name="Soumaya ZERHOUNI" userId="690e4aa6-586b-4341-8f1a-54a3e7457441" providerId="ADAL" clId="{69AAD651-E566-4914-B951-51E57822A563}" dt="2024-02-02T11:04:08.107" v="12025" actId="1036"/>
          <ac:spMkLst>
            <pc:docMk/>
            <pc:sldMk cId="3058333471" sldId="2147480328"/>
            <ac:spMk id="40" creationId="{8D8FDBA6-764A-7E1D-9EAF-C15DCD24C0E3}"/>
          </ac:spMkLst>
        </pc:spChg>
        <pc:spChg chg="mod topLvl">
          <ac:chgData name="Soumaya ZERHOUNI" userId="690e4aa6-586b-4341-8f1a-54a3e7457441" providerId="ADAL" clId="{69AAD651-E566-4914-B951-51E57822A563}" dt="2024-02-02T11:04:08.107" v="12025" actId="1036"/>
          <ac:spMkLst>
            <pc:docMk/>
            <pc:sldMk cId="3058333471" sldId="2147480328"/>
            <ac:spMk id="41" creationId="{B6570B4B-4734-DA4B-BD03-FDE6102DCDE9}"/>
          </ac:spMkLst>
        </pc:spChg>
        <pc:spChg chg="mod topLvl">
          <ac:chgData name="Soumaya ZERHOUNI" userId="690e4aa6-586b-4341-8f1a-54a3e7457441" providerId="ADAL" clId="{69AAD651-E566-4914-B951-51E57822A563}" dt="2024-02-02T11:04:08.107" v="12025" actId="1036"/>
          <ac:spMkLst>
            <pc:docMk/>
            <pc:sldMk cId="3058333471" sldId="2147480328"/>
            <ac:spMk id="43" creationId="{7C3BC8C5-1429-AC35-A10F-0058EC414A31}"/>
          </ac:spMkLst>
        </pc:spChg>
        <pc:spChg chg="add mod topLvl">
          <ac:chgData name="Soumaya ZERHOUNI" userId="690e4aa6-586b-4341-8f1a-54a3e7457441" providerId="ADAL" clId="{69AAD651-E566-4914-B951-51E57822A563}" dt="2024-02-02T08:30:27.459" v="11248" actId="164"/>
          <ac:spMkLst>
            <pc:docMk/>
            <pc:sldMk cId="3058333471" sldId="2147480328"/>
            <ac:spMk id="44" creationId="{D933028A-84B9-4735-E4FC-8D2DD92880C3}"/>
          </ac:spMkLst>
        </pc:spChg>
        <pc:spChg chg="add mod ord topLvl">
          <ac:chgData name="Soumaya ZERHOUNI" userId="690e4aa6-586b-4341-8f1a-54a3e7457441" providerId="ADAL" clId="{69AAD651-E566-4914-B951-51E57822A563}" dt="2024-02-02T08:30:48.235" v="11250" actId="164"/>
          <ac:spMkLst>
            <pc:docMk/>
            <pc:sldMk cId="3058333471" sldId="2147480328"/>
            <ac:spMk id="45" creationId="{5B124099-8B11-41D5-CA6E-4C3F67BBA7B1}"/>
          </ac:spMkLst>
        </pc:spChg>
        <pc:spChg chg="add mod topLvl">
          <ac:chgData name="Soumaya ZERHOUNI" userId="690e4aa6-586b-4341-8f1a-54a3e7457441" providerId="ADAL" clId="{69AAD651-E566-4914-B951-51E57822A563}" dt="2024-02-02T08:30:43.604" v="11249" actId="164"/>
          <ac:spMkLst>
            <pc:docMk/>
            <pc:sldMk cId="3058333471" sldId="2147480328"/>
            <ac:spMk id="46" creationId="{474FD90B-BC23-4C8D-3C60-E168B1B76646}"/>
          </ac:spMkLst>
        </pc:spChg>
        <pc:spChg chg="add mod topLvl">
          <ac:chgData name="Soumaya ZERHOUNI" userId="690e4aa6-586b-4341-8f1a-54a3e7457441" providerId="ADAL" clId="{69AAD651-E566-4914-B951-51E57822A563}" dt="2024-02-02T08:30:53.346" v="11251" actId="164"/>
          <ac:spMkLst>
            <pc:docMk/>
            <pc:sldMk cId="3058333471" sldId="2147480328"/>
            <ac:spMk id="47" creationId="{24B1A331-951D-991A-86CA-85D94C819B4E}"/>
          </ac:spMkLst>
        </pc:spChg>
        <pc:spChg chg="add mod topLvl">
          <ac:chgData name="Soumaya ZERHOUNI" userId="690e4aa6-586b-4341-8f1a-54a3e7457441" providerId="ADAL" clId="{69AAD651-E566-4914-B951-51E57822A563}" dt="2024-02-02T08:30:57.429" v="11252" actId="164"/>
          <ac:spMkLst>
            <pc:docMk/>
            <pc:sldMk cId="3058333471" sldId="2147480328"/>
            <ac:spMk id="48" creationId="{94F236EF-E2AC-A4FC-BB75-701484547951}"/>
          </ac:spMkLst>
        </pc:spChg>
        <pc:spChg chg="add mod topLvl">
          <ac:chgData name="Soumaya ZERHOUNI" userId="690e4aa6-586b-4341-8f1a-54a3e7457441" providerId="ADAL" clId="{69AAD651-E566-4914-B951-51E57822A563}" dt="2024-02-02T08:31:02.330" v="11253" actId="164"/>
          <ac:spMkLst>
            <pc:docMk/>
            <pc:sldMk cId="3058333471" sldId="2147480328"/>
            <ac:spMk id="49" creationId="{B5E093BC-22A7-00EF-BAE1-F7DF213B285D}"/>
          </ac:spMkLst>
        </pc:spChg>
        <pc:spChg chg="add mod topLvl">
          <ac:chgData name="Soumaya ZERHOUNI" userId="690e4aa6-586b-4341-8f1a-54a3e7457441" providerId="ADAL" clId="{69AAD651-E566-4914-B951-51E57822A563}" dt="2024-02-02T08:31:08.931" v="11254" actId="164"/>
          <ac:spMkLst>
            <pc:docMk/>
            <pc:sldMk cId="3058333471" sldId="2147480328"/>
            <ac:spMk id="50" creationId="{6FE2FB38-F749-3C07-0B98-3CAC76B785A0}"/>
          </ac:spMkLst>
        </pc:spChg>
        <pc:spChg chg="add mod topLvl">
          <ac:chgData name="Soumaya ZERHOUNI" userId="690e4aa6-586b-4341-8f1a-54a3e7457441" providerId="ADAL" clId="{69AAD651-E566-4914-B951-51E57822A563}" dt="2024-02-02T08:31:15.462" v="11255" actId="164"/>
          <ac:spMkLst>
            <pc:docMk/>
            <pc:sldMk cId="3058333471" sldId="2147480328"/>
            <ac:spMk id="51" creationId="{0BD66E96-55FE-9231-DE4E-1BAAAC890437}"/>
          </ac:spMkLst>
        </pc:spChg>
        <pc:spChg chg="mod">
          <ac:chgData name="Soumaya ZERHOUNI" userId="690e4aa6-586b-4341-8f1a-54a3e7457441" providerId="ADAL" clId="{69AAD651-E566-4914-B951-51E57822A563}" dt="2024-02-01T17:24:12.065" v="10931" actId="1076"/>
          <ac:spMkLst>
            <pc:docMk/>
            <pc:sldMk cId="3058333471" sldId="2147480328"/>
            <ac:spMk id="56" creationId="{1C6064CA-49A2-B129-D4B6-9CD2B4F81834}"/>
          </ac:spMkLst>
        </pc:spChg>
        <pc:spChg chg="add mod">
          <ac:chgData name="Soumaya ZERHOUNI" userId="690e4aa6-586b-4341-8f1a-54a3e7457441" providerId="ADAL" clId="{69AAD651-E566-4914-B951-51E57822A563}" dt="2024-02-02T09:09:37.080" v="11392" actId="1035"/>
          <ac:spMkLst>
            <pc:docMk/>
            <pc:sldMk cId="3058333471" sldId="2147480328"/>
            <ac:spMk id="61" creationId="{037056BC-75AC-8F8B-C597-4E145F52DD04}"/>
          </ac:spMkLst>
        </pc:spChg>
        <pc:spChg chg="add del mod">
          <ac:chgData name="Soumaya ZERHOUNI" userId="690e4aa6-586b-4341-8f1a-54a3e7457441" providerId="ADAL" clId="{69AAD651-E566-4914-B951-51E57822A563}" dt="2024-01-30T14:53:31.024" v="4641"/>
          <ac:spMkLst>
            <pc:docMk/>
            <pc:sldMk cId="3058333471" sldId="2147480328"/>
            <ac:spMk id="62" creationId="{7CD20863-48B2-293D-4496-1AF4312829D9}"/>
          </ac:spMkLst>
        </pc:spChg>
        <pc:spChg chg="mod">
          <ac:chgData name="Soumaya ZERHOUNI" userId="690e4aa6-586b-4341-8f1a-54a3e7457441" providerId="ADAL" clId="{69AAD651-E566-4914-B951-51E57822A563}" dt="2024-01-31T16:00:46.282" v="6050" actId="207"/>
          <ac:spMkLst>
            <pc:docMk/>
            <pc:sldMk cId="3058333471" sldId="2147480328"/>
            <ac:spMk id="62" creationId="{E5FBC0AB-932F-757F-C3C1-3106CC5D4AD2}"/>
          </ac:spMkLst>
        </pc:spChg>
        <pc:spChg chg="add mod topLvl">
          <ac:chgData name="Soumaya ZERHOUNI" userId="690e4aa6-586b-4341-8f1a-54a3e7457441" providerId="ADAL" clId="{69AAD651-E566-4914-B951-51E57822A563}" dt="2024-02-02T17:25:40.927" v="12849" actId="2"/>
          <ac:spMkLst>
            <pc:docMk/>
            <pc:sldMk cId="3058333471" sldId="2147480328"/>
            <ac:spMk id="63" creationId="{857EE9F1-6074-32ED-3290-BA546503475E}"/>
          </ac:spMkLst>
        </pc:spChg>
        <pc:spChg chg="mod">
          <ac:chgData name="Soumaya ZERHOUNI" userId="690e4aa6-586b-4341-8f1a-54a3e7457441" providerId="ADAL" clId="{69AAD651-E566-4914-B951-51E57822A563}" dt="2024-02-01T17:24:12.065" v="10931" actId="1076"/>
          <ac:spMkLst>
            <pc:docMk/>
            <pc:sldMk cId="3058333471" sldId="2147480328"/>
            <ac:spMk id="64" creationId="{DE2731A9-2371-E186-EA60-6E7C48D410EB}"/>
          </ac:spMkLst>
        </pc:spChg>
        <pc:spChg chg="mod">
          <ac:chgData name="Soumaya ZERHOUNI" userId="690e4aa6-586b-4341-8f1a-54a3e7457441" providerId="ADAL" clId="{69AAD651-E566-4914-B951-51E57822A563}" dt="2024-02-01T17:24:12.065" v="10931" actId="1076"/>
          <ac:spMkLst>
            <pc:docMk/>
            <pc:sldMk cId="3058333471" sldId="2147480328"/>
            <ac:spMk id="65" creationId="{81647EFE-B3CD-3ADD-FF21-B5281D27F73D}"/>
          </ac:spMkLst>
        </pc:spChg>
        <pc:spChg chg="mod">
          <ac:chgData name="Soumaya ZERHOUNI" userId="690e4aa6-586b-4341-8f1a-54a3e7457441" providerId="ADAL" clId="{69AAD651-E566-4914-B951-51E57822A563}" dt="2024-02-01T17:24:12.065" v="10931" actId="1076"/>
          <ac:spMkLst>
            <pc:docMk/>
            <pc:sldMk cId="3058333471" sldId="2147480328"/>
            <ac:spMk id="66" creationId="{E17AD256-AD43-FB46-6DBB-D073F232E20D}"/>
          </ac:spMkLst>
        </pc:spChg>
        <pc:spChg chg="mod">
          <ac:chgData name="Soumaya ZERHOUNI" userId="690e4aa6-586b-4341-8f1a-54a3e7457441" providerId="ADAL" clId="{69AAD651-E566-4914-B951-51E57822A563}" dt="2024-02-01T17:24:12.065" v="10931" actId="1076"/>
          <ac:spMkLst>
            <pc:docMk/>
            <pc:sldMk cId="3058333471" sldId="2147480328"/>
            <ac:spMk id="67" creationId="{7080266A-FEE6-8C75-3BB9-A6E8A4448350}"/>
          </ac:spMkLst>
        </pc:spChg>
        <pc:spChg chg="mod">
          <ac:chgData name="Soumaya ZERHOUNI" userId="690e4aa6-586b-4341-8f1a-54a3e7457441" providerId="ADAL" clId="{69AAD651-E566-4914-B951-51E57822A563}" dt="2024-02-01T17:24:12.065" v="10931" actId="1076"/>
          <ac:spMkLst>
            <pc:docMk/>
            <pc:sldMk cId="3058333471" sldId="2147480328"/>
            <ac:spMk id="68" creationId="{227D53CC-47A3-2347-0FD5-348537FCA4F8}"/>
          </ac:spMkLst>
        </pc:spChg>
        <pc:spChg chg="ord">
          <ac:chgData name="Soumaya ZERHOUNI" userId="690e4aa6-586b-4341-8f1a-54a3e7457441" providerId="ADAL" clId="{69AAD651-E566-4914-B951-51E57822A563}" dt="2024-02-01T10:32:47.973" v="7021"/>
          <ac:spMkLst>
            <pc:docMk/>
            <pc:sldMk cId="3058333471" sldId="2147480328"/>
            <ac:spMk id="69" creationId="{592A4850-34AD-AAF4-A979-C060EA6880A9}"/>
          </ac:spMkLst>
        </pc:spChg>
        <pc:spChg chg="mod">
          <ac:chgData name="Soumaya ZERHOUNI" userId="690e4aa6-586b-4341-8f1a-54a3e7457441" providerId="ADAL" clId="{69AAD651-E566-4914-B951-51E57822A563}" dt="2024-02-02T11:04:56.291" v="12030" actId="20577"/>
          <ac:spMkLst>
            <pc:docMk/>
            <pc:sldMk cId="3058333471" sldId="2147480328"/>
            <ac:spMk id="70" creationId="{662A894B-6EDF-37C6-2D87-268253FD4F03}"/>
          </ac:spMkLst>
        </pc:spChg>
        <pc:spChg chg="del mod">
          <ac:chgData name="Soumaya ZERHOUNI" userId="690e4aa6-586b-4341-8f1a-54a3e7457441" providerId="ADAL" clId="{69AAD651-E566-4914-B951-51E57822A563}" dt="2024-02-01T10:30:58.740" v="7012" actId="21"/>
          <ac:spMkLst>
            <pc:docMk/>
            <pc:sldMk cId="3058333471" sldId="2147480328"/>
            <ac:spMk id="71" creationId="{BC74EBA1-9E2E-CA18-C777-57BB3E586BF6}"/>
          </ac:spMkLst>
        </pc:spChg>
        <pc:spChg chg="mod">
          <ac:chgData name="Soumaya ZERHOUNI" userId="690e4aa6-586b-4341-8f1a-54a3e7457441" providerId="ADAL" clId="{69AAD651-E566-4914-B951-51E57822A563}" dt="2024-02-01T10:42:53.349" v="7138" actId="14100"/>
          <ac:spMkLst>
            <pc:docMk/>
            <pc:sldMk cId="3058333471" sldId="2147480328"/>
            <ac:spMk id="73" creationId="{6ABFE0D7-0B2A-9CB5-20E5-1171BCFBC1B0}"/>
          </ac:spMkLst>
        </pc:spChg>
        <pc:spChg chg="add del mod">
          <ac:chgData name="Soumaya ZERHOUNI" userId="690e4aa6-586b-4341-8f1a-54a3e7457441" providerId="ADAL" clId="{69AAD651-E566-4914-B951-51E57822A563}" dt="2024-01-30T15:27:23.409" v="4954" actId="478"/>
          <ac:spMkLst>
            <pc:docMk/>
            <pc:sldMk cId="3058333471" sldId="2147480328"/>
            <ac:spMk id="74" creationId="{050BD13B-9CEA-C989-355D-248056D226EC}"/>
          </ac:spMkLst>
        </pc:spChg>
        <pc:spChg chg="add mod">
          <ac:chgData name="Soumaya ZERHOUNI" userId="690e4aa6-586b-4341-8f1a-54a3e7457441" providerId="ADAL" clId="{69AAD651-E566-4914-B951-51E57822A563}" dt="2024-02-02T17:25:48.601" v="12850" actId="2"/>
          <ac:spMkLst>
            <pc:docMk/>
            <pc:sldMk cId="3058333471" sldId="2147480328"/>
            <ac:spMk id="75" creationId="{BC74EBA1-9E2E-CA18-C777-57BB3E586BF6}"/>
          </ac:spMkLst>
        </pc:spChg>
        <pc:spChg chg="add del mod">
          <ac:chgData name="Soumaya ZERHOUNI" userId="690e4aa6-586b-4341-8f1a-54a3e7457441" providerId="ADAL" clId="{69AAD651-E566-4914-B951-51E57822A563}" dt="2024-02-01T10:46:21.753" v="7156" actId="478"/>
          <ac:spMkLst>
            <pc:docMk/>
            <pc:sldMk cId="3058333471" sldId="2147480328"/>
            <ac:spMk id="76" creationId="{57F02EF5-8637-6C3B-5AB4-96CC860B4906}"/>
          </ac:spMkLst>
        </pc:spChg>
        <pc:spChg chg="add del mod">
          <ac:chgData name="Soumaya ZERHOUNI" userId="690e4aa6-586b-4341-8f1a-54a3e7457441" providerId="ADAL" clId="{69AAD651-E566-4914-B951-51E57822A563}" dt="2024-02-01T10:46:21.753" v="7156" actId="478"/>
          <ac:spMkLst>
            <pc:docMk/>
            <pc:sldMk cId="3058333471" sldId="2147480328"/>
            <ac:spMk id="77" creationId="{DF0F5F6F-BA37-C6AF-2536-1B7E90BD9744}"/>
          </ac:spMkLst>
        </pc:spChg>
        <pc:spChg chg="add mod">
          <ac:chgData name="Soumaya ZERHOUNI" userId="690e4aa6-586b-4341-8f1a-54a3e7457441" providerId="ADAL" clId="{69AAD651-E566-4914-B951-51E57822A563}" dt="2024-02-02T11:08:56.468" v="12095" actId="12789"/>
          <ac:spMkLst>
            <pc:docMk/>
            <pc:sldMk cId="3058333471" sldId="2147480328"/>
            <ac:spMk id="81" creationId="{9654FDBA-925A-DAFC-4566-46319DB04257}"/>
          </ac:spMkLst>
        </pc:spChg>
        <pc:spChg chg="mod">
          <ac:chgData name="Soumaya ZERHOUNI" userId="690e4aa6-586b-4341-8f1a-54a3e7457441" providerId="ADAL" clId="{69AAD651-E566-4914-B951-51E57822A563}" dt="2024-02-02T11:05:05.983" v="12031" actId="14100"/>
          <ac:spMkLst>
            <pc:docMk/>
            <pc:sldMk cId="3058333471" sldId="2147480328"/>
            <ac:spMk id="83" creationId="{C239288C-3F8B-5FF8-45D9-EDB48F87E700}"/>
          </ac:spMkLst>
        </pc:spChg>
        <pc:spChg chg="add mod">
          <ac:chgData name="Soumaya ZERHOUNI" userId="690e4aa6-586b-4341-8f1a-54a3e7457441" providerId="ADAL" clId="{69AAD651-E566-4914-B951-51E57822A563}" dt="2024-02-02T11:08:09.188" v="12083"/>
          <ac:spMkLst>
            <pc:docMk/>
            <pc:sldMk cId="3058333471" sldId="2147480328"/>
            <ac:spMk id="84" creationId="{CFC40C36-FBA4-5C07-3A12-D655197A770B}"/>
          </ac:spMkLst>
        </pc:spChg>
        <pc:grpChg chg="add mod">
          <ac:chgData name="Soumaya ZERHOUNI" userId="690e4aa6-586b-4341-8f1a-54a3e7457441" providerId="ADAL" clId="{69AAD651-E566-4914-B951-51E57822A563}" dt="2024-02-02T08:30:27.459" v="11248" actId="164"/>
          <ac:grpSpMkLst>
            <pc:docMk/>
            <pc:sldMk cId="3058333471" sldId="2147480328"/>
            <ac:grpSpMk id="4" creationId="{FB63E1E1-7478-D864-DEA0-26AE2D7DBB8F}"/>
          </ac:grpSpMkLst>
        </pc:grpChg>
        <pc:grpChg chg="add del mod topLvl">
          <ac:chgData name="Soumaya ZERHOUNI" userId="690e4aa6-586b-4341-8f1a-54a3e7457441" providerId="ADAL" clId="{69AAD651-E566-4914-B951-51E57822A563}" dt="2024-01-31T16:16:34.314" v="6082" actId="165"/>
          <ac:grpSpMkLst>
            <pc:docMk/>
            <pc:sldMk cId="3058333471" sldId="2147480328"/>
            <ac:grpSpMk id="35" creationId="{2CD0A1CF-6A18-DEEF-C0DE-30B4E3A6977E}"/>
          </ac:grpSpMkLst>
        </pc:grpChg>
        <pc:grpChg chg="add mod">
          <ac:chgData name="Soumaya ZERHOUNI" userId="690e4aa6-586b-4341-8f1a-54a3e7457441" providerId="ADAL" clId="{69AAD651-E566-4914-B951-51E57822A563}" dt="2024-02-02T08:31:26.009" v="11271" actId="1036"/>
          <ac:grpSpMkLst>
            <pc:docMk/>
            <pc:sldMk cId="3058333471" sldId="2147480328"/>
            <ac:grpSpMk id="36" creationId="{A8727112-914D-FA6A-5530-FCF3EB2226D5}"/>
          </ac:grpSpMkLst>
        </pc:grpChg>
        <pc:grpChg chg="add mod">
          <ac:chgData name="Soumaya ZERHOUNI" userId="690e4aa6-586b-4341-8f1a-54a3e7457441" providerId="ADAL" clId="{69AAD651-E566-4914-B951-51E57822A563}" dt="2024-02-02T08:31:20.763" v="11259" actId="1036"/>
          <ac:grpSpMkLst>
            <pc:docMk/>
            <pc:sldMk cId="3058333471" sldId="2147480328"/>
            <ac:grpSpMk id="37" creationId="{E1D5A84C-A14B-0799-304F-0BCC2319E22D}"/>
          </ac:grpSpMkLst>
        </pc:grpChg>
        <pc:grpChg chg="add del mod">
          <ac:chgData name="Soumaya ZERHOUNI" userId="690e4aa6-586b-4341-8f1a-54a3e7457441" providerId="ADAL" clId="{69AAD651-E566-4914-B951-51E57822A563}" dt="2024-01-30T15:11:38.684" v="4763" actId="165"/>
          <ac:grpSpMkLst>
            <pc:docMk/>
            <pc:sldMk cId="3058333471" sldId="2147480328"/>
            <ac:grpSpMk id="64" creationId="{3384F360-741B-8A9A-3787-6A4CCBECA65F}"/>
          </ac:grpSpMkLst>
        </pc:grpChg>
        <pc:grpChg chg="add del mod">
          <ac:chgData name="Soumaya ZERHOUNI" userId="690e4aa6-586b-4341-8f1a-54a3e7457441" providerId="ADAL" clId="{69AAD651-E566-4914-B951-51E57822A563}" dt="2024-01-31T16:16:34.314" v="6082" actId="165"/>
          <ac:grpSpMkLst>
            <pc:docMk/>
            <pc:sldMk cId="3058333471" sldId="2147480328"/>
            <ac:grpSpMk id="65" creationId="{E7460D66-677D-2597-CB00-739213B18EA7}"/>
          </ac:grpSpMkLst>
        </pc:grpChg>
        <pc:grpChg chg="add del mod">
          <ac:chgData name="Soumaya ZERHOUNI" userId="690e4aa6-586b-4341-8f1a-54a3e7457441" providerId="ADAL" clId="{69AAD651-E566-4914-B951-51E57822A563}" dt="2024-01-31T16:16:34.314" v="6082" actId="165"/>
          <ac:grpSpMkLst>
            <pc:docMk/>
            <pc:sldMk cId="3058333471" sldId="2147480328"/>
            <ac:grpSpMk id="66" creationId="{05BD855C-BE05-FC42-6ACE-EDA38DE0AC8D}"/>
          </ac:grpSpMkLst>
        </pc:grpChg>
        <pc:grpChg chg="add del mod">
          <ac:chgData name="Soumaya ZERHOUNI" userId="690e4aa6-586b-4341-8f1a-54a3e7457441" providerId="ADAL" clId="{69AAD651-E566-4914-B951-51E57822A563}" dt="2024-01-31T16:16:34.314" v="6082" actId="165"/>
          <ac:grpSpMkLst>
            <pc:docMk/>
            <pc:sldMk cId="3058333471" sldId="2147480328"/>
            <ac:grpSpMk id="67" creationId="{16103CFC-DF6D-F36F-B68B-7AE64A15FCEF}"/>
          </ac:grpSpMkLst>
        </pc:grpChg>
        <pc:grpChg chg="add del mod">
          <ac:chgData name="Soumaya ZERHOUNI" userId="690e4aa6-586b-4341-8f1a-54a3e7457441" providerId="ADAL" clId="{69AAD651-E566-4914-B951-51E57822A563}" dt="2024-01-31T16:16:25.679" v="6081" actId="165"/>
          <ac:grpSpMkLst>
            <pc:docMk/>
            <pc:sldMk cId="3058333471" sldId="2147480328"/>
            <ac:grpSpMk id="68" creationId="{A1AF390F-7103-5D9F-AC9A-5C1C08F8FFDC}"/>
          </ac:grpSpMkLst>
        </pc:grpChg>
        <pc:grpChg chg="add del mod">
          <ac:chgData name="Soumaya ZERHOUNI" userId="690e4aa6-586b-4341-8f1a-54a3e7457441" providerId="ADAL" clId="{69AAD651-E566-4914-B951-51E57822A563}" dt="2024-01-31T16:16:20.615" v="6080" actId="165"/>
          <ac:grpSpMkLst>
            <pc:docMk/>
            <pc:sldMk cId="3058333471" sldId="2147480328"/>
            <ac:grpSpMk id="69" creationId="{98C32DC8-5C90-708F-F7C2-0DDED67F11D2}"/>
          </ac:grpSpMkLst>
        </pc:grpChg>
        <pc:grpChg chg="add del mod">
          <ac:chgData name="Soumaya ZERHOUNI" userId="690e4aa6-586b-4341-8f1a-54a3e7457441" providerId="ADAL" clId="{69AAD651-E566-4914-B951-51E57822A563}" dt="2024-01-31T16:16:34.314" v="6082" actId="165"/>
          <ac:grpSpMkLst>
            <pc:docMk/>
            <pc:sldMk cId="3058333471" sldId="2147480328"/>
            <ac:grpSpMk id="70" creationId="{24DE3D4A-C52B-9BC3-F9A4-03B9BD8D59F4}"/>
          </ac:grpSpMkLst>
        </pc:grpChg>
        <pc:grpChg chg="add mod">
          <ac:chgData name="Soumaya ZERHOUNI" userId="690e4aa6-586b-4341-8f1a-54a3e7457441" providerId="ADAL" clId="{69AAD651-E566-4914-B951-51E57822A563}" dt="2024-02-02T08:31:31.710" v="11295" actId="1036"/>
          <ac:grpSpMkLst>
            <pc:docMk/>
            <pc:sldMk cId="3058333471" sldId="2147480328"/>
            <ac:grpSpMk id="71" creationId="{7083F85D-5969-7EFF-6C9F-E320BE47DBB0}"/>
          </ac:grpSpMkLst>
        </pc:grpChg>
        <pc:grpChg chg="add del mod">
          <ac:chgData name="Soumaya ZERHOUNI" userId="690e4aa6-586b-4341-8f1a-54a3e7457441" providerId="ADAL" clId="{69AAD651-E566-4914-B951-51E57822A563}" dt="2024-01-30T15:15:45.142" v="4788" actId="165"/>
          <ac:grpSpMkLst>
            <pc:docMk/>
            <pc:sldMk cId="3058333471" sldId="2147480328"/>
            <ac:grpSpMk id="71" creationId="{89E50F92-0065-2239-BC0B-EC808DC19078}"/>
          </ac:grpSpMkLst>
        </pc:grpChg>
        <pc:grpChg chg="add del mod">
          <ac:chgData name="Soumaya ZERHOUNI" userId="690e4aa6-586b-4341-8f1a-54a3e7457441" providerId="ADAL" clId="{69AAD651-E566-4914-B951-51E57822A563}" dt="2024-01-31T16:16:34.314" v="6082" actId="165"/>
          <ac:grpSpMkLst>
            <pc:docMk/>
            <pc:sldMk cId="3058333471" sldId="2147480328"/>
            <ac:grpSpMk id="72" creationId="{2FFE2703-FE96-8F7D-DB38-5652A00BD6E0}"/>
          </ac:grpSpMkLst>
        </pc:grpChg>
        <pc:grpChg chg="add del mod">
          <ac:chgData name="Soumaya ZERHOUNI" userId="690e4aa6-586b-4341-8f1a-54a3e7457441" providerId="ADAL" clId="{69AAD651-E566-4914-B951-51E57822A563}" dt="2024-01-31T16:16:34.314" v="6082" actId="165"/>
          <ac:grpSpMkLst>
            <pc:docMk/>
            <pc:sldMk cId="3058333471" sldId="2147480328"/>
            <ac:grpSpMk id="73" creationId="{37D46CBC-04DE-D58B-99A2-C243CFCCE05C}"/>
          </ac:grpSpMkLst>
        </pc:grpChg>
        <pc:grpChg chg="add mod">
          <ac:chgData name="Soumaya ZERHOUNI" userId="690e4aa6-586b-4341-8f1a-54a3e7457441" providerId="ADAL" clId="{69AAD651-E566-4914-B951-51E57822A563}" dt="2024-02-02T08:31:37.541" v="11318" actId="1036"/>
          <ac:grpSpMkLst>
            <pc:docMk/>
            <pc:sldMk cId="3058333471" sldId="2147480328"/>
            <ac:grpSpMk id="73" creationId="{6908C33D-A304-A60F-2D6D-86ECBDA2556A}"/>
          </ac:grpSpMkLst>
        </pc:grpChg>
        <pc:grpChg chg="add mod">
          <ac:chgData name="Soumaya ZERHOUNI" userId="690e4aa6-586b-4341-8f1a-54a3e7457441" providerId="ADAL" clId="{69AAD651-E566-4914-B951-51E57822A563}" dt="2024-02-02T08:41:07.685" v="11345" actId="1036"/>
          <ac:grpSpMkLst>
            <pc:docMk/>
            <pc:sldMk cId="3058333471" sldId="2147480328"/>
            <ac:grpSpMk id="76" creationId="{EF115809-A193-341B-B4E3-B78CF95D3469}"/>
          </ac:grpSpMkLst>
        </pc:grpChg>
        <pc:grpChg chg="add mod">
          <ac:chgData name="Soumaya ZERHOUNI" userId="690e4aa6-586b-4341-8f1a-54a3e7457441" providerId="ADAL" clId="{69AAD651-E566-4914-B951-51E57822A563}" dt="2024-02-02T08:41:09.473" v="11347" actId="1035"/>
          <ac:grpSpMkLst>
            <pc:docMk/>
            <pc:sldMk cId="3058333471" sldId="2147480328"/>
            <ac:grpSpMk id="77" creationId="{E9974B25-3260-11C9-31F0-9ED1F28AD152}"/>
          </ac:grpSpMkLst>
        </pc:grpChg>
        <pc:grpChg chg="add mod">
          <ac:chgData name="Soumaya ZERHOUNI" userId="690e4aa6-586b-4341-8f1a-54a3e7457441" providerId="ADAL" clId="{69AAD651-E566-4914-B951-51E57822A563}" dt="2024-02-02T08:43:03.698" v="11351" actId="1036"/>
          <ac:grpSpMkLst>
            <pc:docMk/>
            <pc:sldMk cId="3058333471" sldId="2147480328"/>
            <ac:grpSpMk id="78" creationId="{C19AACD0-6CFC-8F19-2181-08986BB513E1}"/>
          </ac:grpSpMkLst>
        </pc:grpChg>
        <pc:picChg chg="mod">
          <ac:chgData name="Soumaya ZERHOUNI" userId="690e4aa6-586b-4341-8f1a-54a3e7457441" providerId="ADAL" clId="{69AAD651-E566-4914-B951-51E57822A563}" dt="2024-02-01T13:32:15.739" v="8505" actId="1036"/>
          <ac:picMkLst>
            <pc:docMk/>
            <pc:sldMk cId="3058333471" sldId="2147480328"/>
            <ac:picMk id="29" creationId="{51CFCE50-4A1F-21E4-3DEF-796EFECDB0BF}"/>
          </ac:picMkLst>
        </pc:picChg>
        <pc:picChg chg="mod">
          <ac:chgData name="Soumaya ZERHOUNI" userId="690e4aa6-586b-4341-8f1a-54a3e7457441" providerId="ADAL" clId="{69AAD651-E566-4914-B951-51E57822A563}" dt="2024-02-02T09:09:37.080" v="11392" actId="1035"/>
          <ac:picMkLst>
            <pc:docMk/>
            <pc:sldMk cId="3058333471" sldId="2147480328"/>
            <ac:picMk id="31" creationId="{17E39801-3DAA-CCF3-2B18-FC790CD36260}"/>
          </ac:picMkLst>
        </pc:picChg>
        <pc:picChg chg="mod">
          <ac:chgData name="Soumaya ZERHOUNI" userId="690e4aa6-586b-4341-8f1a-54a3e7457441" providerId="ADAL" clId="{69AAD651-E566-4914-B951-51E57822A563}" dt="2024-02-02T09:09:37.080" v="11392" actId="1035"/>
          <ac:picMkLst>
            <pc:docMk/>
            <pc:sldMk cId="3058333471" sldId="2147480328"/>
            <ac:picMk id="32" creationId="{24DEB61C-E6AC-708F-169D-3D6D4D76DB4B}"/>
          </ac:picMkLst>
        </pc:picChg>
        <pc:picChg chg="mod">
          <ac:chgData name="Soumaya ZERHOUNI" userId="690e4aa6-586b-4341-8f1a-54a3e7457441" providerId="ADAL" clId="{69AAD651-E566-4914-B951-51E57822A563}" dt="2024-02-02T09:09:37.080" v="11392" actId="1035"/>
          <ac:picMkLst>
            <pc:docMk/>
            <pc:sldMk cId="3058333471" sldId="2147480328"/>
            <ac:picMk id="34" creationId="{6DE5C6C5-D3BF-E8A4-62A5-22F7547797D4}"/>
          </ac:picMkLst>
        </pc:picChg>
        <pc:picChg chg="mod">
          <ac:chgData name="Soumaya ZERHOUNI" userId="690e4aa6-586b-4341-8f1a-54a3e7457441" providerId="ADAL" clId="{69AAD651-E566-4914-B951-51E57822A563}" dt="2024-01-31T17:11:22.351" v="6692" actId="1076"/>
          <ac:picMkLst>
            <pc:docMk/>
            <pc:sldMk cId="3058333471" sldId="2147480328"/>
            <ac:picMk id="36" creationId="{A1E2346E-F115-E950-3812-13BEA272DCBA}"/>
          </ac:picMkLst>
        </pc:picChg>
        <pc:picChg chg="mod">
          <ac:chgData name="Soumaya ZERHOUNI" userId="690e4aa6-586b-4341-8f1a-54a3e7457441" providerId="ADAL" clId="{69AAD651-E566-4914-B951-51E57822A563}" dt="2024-02-02T09:09:37.080" v="11392" actId="1035"/>
          <ac:picMkLst>
            <pc:docMk/>
            <pc:sldMk cId="3058333471" sldId="2147480328"/>
            <ac:picMk id="42" creationId="{5A512132-7E56-E759-1DAD-86FFAB06FD6D}"/>
          </ac:picMkLst>
        </pc:picChg>
        <pc:picChg chg="del mod">
          <ac:chgData name="Soumaya ZERHOUNI" userId="690e4aa6-586b-4341-8f1a-54a3e7457441" providerId="ADAL" clId="{69AAD651-E566-4914-B951-51E57822A563}" dt="2024-01-30T14:36:41.614" v="4501" actId="478"/>
          <ac:picMkLst>
            <pc:docMk/>
            <pc:sldMk cId="3058333471" sldId="2147480328"/>
            <ac:picMk id="42" creationId="{73CDF0D3-E2C5-986A-327A-CD14C980C0F6}"/>
          </ac:picMkLst>
        </pc:picChg>
        <pc:picChg chg="add mod ord topLvl">
          <ac:chgData name="Soumaya ZERHOUNI" userId="690e4aa6-586b-4341-8f1a-54a3e7457441" providerId="ADAL" clId="{69AAD651-E566-4914-B951-51E57822A563}" dt="2024-02-02T08:30:48.235" v="11250" actId="164"/>
          <ac:picMkLst>
            <pc:docMk/>
            <pc:sldMk cId="3058333471" sldId="2147480328"/>
            <ac:picMk id="52" creationId="{19F32CCE-17A7-07B2-A5AE-D93D01CA8CA0}"/>
          </ac:picMkLst>
        </pc:picChg>
        <pc:picChg chg="add del mod ord topLvl">
          <ac:chgData name="Soumaya ZERHOUNI" userId="690e4aa6-586b-4341-8f1a-54a3e7457441" providerId="ADAL" clId="{69AAD651-E566-4914-B951-51E57822A563}" dt="2024-02-02T08:30:43.604" v="11249" actId="164"/>
          <ac:picMkLst>
            <pc:docMk/>
            <pc:sldMk cId="3058333471" sldId="2147480328"/>
            <ac:picMk id="53" creationId="{EEE8D42D-E4A3-4FCC-E025-0100A4904675}"/>
          </ac:picMkLst>
        </pc:picChg>
        <pc:picChg chg="add mod topLvl">
          <ac:chgData name="Soumaya ZERHOUNI" userId="690e4aa6-586b-4341-8f1a-54a3e7457441" providerId="ADAL" clId="{69AAD651-E566-4914-B951-51E57822A563}" dt="2024-02-02T08:30:53.346" v="11251" actId="164"/>
          <ac:picMkLst>
            <pc:docMk/>
            <pc:sldMk cId="3058333471" sldId="2147480328"/>
            <ac:picMk id="54" creationId="{C059AEC9-C12D-15C7-C6D9-B13430DFED66}"/>
          </ac:picMkLst>
        </pc:picChg>
        <pc:picChg chg="add mod topLvl">
          <ac:chgData name="Soumaya ZERHOUNI" userId="690e4aa6-586b-4341-8f1a-54a3e7457441" providerId="ADAL" clId="{69AAD651-E566-4914-B951-51E57822A563}" dt="2024-02-02T08:30:57.429" v="11252" actId="164"/>
          <ac:picMkLst>
            <pc:docMk/>
            <pc:sldMk cId="3058333471" sldId="2147480328"/>
            <ac:picMk id="55" creationId="{605B6943-1D4C-1199-4F2F-2137195B5CF2}"/>
          </ac:picMkLst>
        </pc:picChg>
        <pc:picChg chg="add del mod topLvl">
          <ac:chgData name="Soumaya ZERHOUNI" userId="690e4aa6-586b-4341-8f1a-54a3e7457441" providerId="ADAL" clId="{69AAD651-E566-4914-B951-51E57822A563}" dt="2024-01-31T16:24:43.849" v="6236" actId="478"/>
          <ac:picMkLst>
            <pc:docMk/>
            <pc:sldMk cId="3058333471" sldId="2147480328"/>
            <ac:picMk id="56" creationId="{CE67621B-30DA-E969-9F52-5CFFC67ED9D7}"/>
          </ac:picMkLst>
        </pc:picChg>
        <pc:picChg chg="add mod topLvl">
          <ac:chgData name="Soumaya ZERHOUNI" userId="690e4aa6-586b-4341-8f1a-54a3e7457441" providerId="ADAL" clId="{69AAD651-E566-4914-B951-51E57822A563}" dt="2024-02-02T08:31:02.330" v="11253" actId="164"/>
          <ac:picMkLst>
            <pc:docMk/>
            <pc:sldMk cId="3058333471" sldId="2147480328"/>
            <ac:picMk id="57" creationId="{5F172907-1600-D81B-C939-1919F0F8DF7B}"/>
          </ac:picMkLst>
        </pc:picChg>
        <pc:picChg chg="add mod topLvl">
          <ac:chgData name="Soumaya ZERHOUNI" userId="690e4aa6-586b-4341-8f1a-54a3e7457441" providerId="ADAL" clId="{69AAD651-E566-4914-B951-51E57822A563}" dt="2024-02-02T08:31:08.931" v="11254" actId="164"/>
          <ac:picMkLst>
            <pc:docMk/>
            <pc:sldMk cId="3058333471" sldId="2147480328"/>
            <ac:picMk id="58" creationId="{17E27A3F-C2B8-CF45-6972-EDDDDEF829CB}"/>
          </ac:picMkLst>
        </pc:picChg>
        <pc:picChg chg="add mod topLvl">
          <ac:chgData name="Soumaya ZERHOUNI" userId="690e4aa6-586b-4341-8f1a-54a3e7457441" providerId="ADAL" clId="{69AAD651-E566-4914-B951-51E57822A563}" dt="2024-02-02T08:31:15.462" v="11255" actId="164"/>
          <ac:picMkLst>
            <pc:docMk/>
            <pc:sldMk cId="3058333471" sldId="2147480328"/>
            <ac:picMk id="59" creationId="{D2385570-525B-8B02-482A-9E99479A70E8}"/>
          </ac:picMkLst>
        </pc:picChg>
        <pc:picChg chg="add mod">
          <ac:chgData name="Soumaya ZERHOUNI" userId="690e4aa6-586b-4341-8f1a-54a3e7457441" providerId="ADAL" clId="{69AAD651-E566-4914-B951-51E57822A563}" dt="2024-02-01T13:32:15.739" v="8505" actId="1036"/>
          <ac:picMkLst>
            <pc:docMk/>
            <pc:sldMk cId="3058333471" sldId="2147480328"/>
            <ac:picMk id="60" creationId="{45B7EDF7-0E98-E906-B041-D7AEBB7EEAAF}"/>
          </ac:picMkLst>
        </pc:picChg>
        <pc:picChg chg="mod">
          <ac:chgData name="Soumaya ZERHOUNI" userId="690e4aa6-586b-4341-8f1a-54a3e7457441" providerId="ADAL" clId="{69AAD651-E566-4914-B951-51E57822A563}" dt="2024-02-02T09:09:37.080" v="11392" actId="1035"/>
          <ac:picMkLst>
            <pc:docMk/>
            <pc:sldMk cId="3058333471" sldId="2147480328"/>
            <ac:picMk id="72" creationId="{327DBD20-46A3-EE14-AC08-824EA334C42D}"/>
          </ac:picMkLst>
        </pc:picChg>
        <pc:picChg chg="add mod">
          <ac:chgData name="Soumaya ZERHOUNI" userId="690e4aa6-586b-4341-8f1a-54a3e7457441" providerId="ADAL" clId="{69AAD651-E566-4914-B951-51E57822A563}" dt="2024-02-02T08:30:27.459" v="11248" actId="164"/>
          <ac:picMkLst>
            <pc:docMk/>
            <pc:sldMk cId="3058333471" sldId="2147480328"/>
            <ac:picMk id="74" creationId="{D9163BC7-685B-BAEB-5738-AB12E8955585}"/>
          </ac:picMkLst>
        </pc:picChg>
        <pc:picChg chg="add del mod">
          <ac:chgData name="Soumaya ZERHOUNI" userId="690e4aa6-586b-4341-8f1a-54a3e7457441" providerId="ADAL" clId="{69AAD651-E566-4914-B951-51E57822A563}" dt="2024-02-02T11:08:05.896" v="12082" actId="478"/>
          <ac:picMkLst>
            <pc:docMk/>
            <pc:sldMk cId="3058333471" sldId="2147480328"/>
            <ac:picMk id="79" creationId="{95F7787B-DEFD-0371-E173-E3D860D3CF3C}"/>
          </ac:picMkLst>
        </pc:picChg>
        <pc:picChg chg="add mod">
          <ac:chgData name="Soumaya ZERHOUNI" userId="690e4aa6-586b-4341-8f1a-54a3e7457441" providerId="ADAL" clId="{69AAD651-E566-4914-B951-51E57822A563}" dt="2024-02-02T11:08:56.468" v="12095" actId="12789"/>
          <ac:picMkLst>
            <pc:docMk/>
            <pc:sldMk cId="3058333471" sldId="2147480328"/>
            <ac:picMk id="80" creationId="{8C2C62F2-10B8-F5AC-A285-4D5304E608DA}"/>
          </ac:picMkLst>
        </pc:picChg>
        <pc:picChg chg="add mod">
          <ac:chgData name="Soumaya ZERHOUNI" userId="690e4aa6-586b-4341-8f1a-54a3e7457441" providerId="ADAL" clId="{69AAD651-E566-4914-B951-51E57822A563}" dt="2024-02-02T11:08:09.188" v="12083"/>
          <ac:picMkLst>
            <pc:docMk/>
            <pc:sldMk cId="3058333471" sldId="2147480328"/>
            <ac:picMk id="82" creationId="{6983DBA2-E2FE-C56D-4EA0-18E309D44FA8}"/>
          </ac:picMkLst>
        </pc:picChg>
        <pc:picChg chg="add del mod">
          <ac:chgData name="Soumaya ZERHOUNI" userId="690e4aa6-586b-4341-8f1a-54a3e7457441" providerId="ADAL" clId="{69AAD651-E566-4914-B951-51E57822A563}" dt="2024-01-31T16:05:17.158" v="6053" actId="478"/>
          <ac:picMkLst>
            <pc:docMk/>
            <pc:sldMk cId="3058333471" sldId="2147480328"/>
            <ac:picMk id="1026" creationId="{D109E9B2-24E5-5B2D-9E79-CCCCCDE880A3}"/>
          </ac:picMkLst>
        </pc:picChg>
      </pc:sldChg>
      <pc:sldChg chg="addSp modSp del mod">
        <pc:chgData name="Soumaya ZERHOUNI" userId="690e4aa6-586b-4341-8f1a-54a3e7457441" providerId="ADAL" clId="{69AAD651-E566-4914-B951-51E57822A563}" dt="2024-01-30T17:01:36.737" v="5013" actId="47"/>
        <pc:sldMkLst>
          <pc:docMk/>
          <pc:sldMk cId="238752890" sldId="2147480329"/>
        </pc:sldMkLst>
        <pc:spChg chg="add mod">
          <ac:chgData name="Soumaya ZERHOUNI" userId="690e4aa6-586b-4341-8f1a-54a3e7457441" providerId="ADAL" clId="{69AAD651-E566-4914-B951-51E57822A563}" dt="2024-01-30T16:43:33.943" v="5012" actId="1076"/>
          <ac:spMkLst>
            <pc:docMk/>
            <pc:sldMk cId="238752890" sldId="2147480329"/>
            <ac:spMk id="3" creationId="{65EE54F7-3037-942D-C256-8E845958D9A9}"/>
          </ac:spMkLst>
        </pc:spChg>
      </pc:sldChg>
      <pc:sldChg chg="addSp delSp modSp mod">
        <pc:chgData name="Soumaya ZERHOUNI" userId="690e4aa6-586b-4341-8f1a-54a3e7457441" providerId="ADAL" clId="{69AAD651-E566-4914-B951-51E57822A563}" dt="2024-01-31T15:31:31.768" v="5626" actId="21"/>
        <pc:sldMkLst>
          <pc:docMk/>
          <pc:sldMk cId="1296099944" sldId="2147480329"/>
        </pc:sldMkLst>
        <pc:spChg chg="mod">
          <ac:chgData name="Soumaya ZERHOUNI" userId="690e4aa6-586b-4341-8f1a-54a3e7457441" providerId="ADAL" clId="{69AAD651-E566-4914-B951-51E57822A563}" dt="2024-01-31T15:31:28.758" v="5625" actId="554"/>
          <ac:spMkLst>
            <pc:docMk/>
            <pc:sldMk cId="1296099944" sldId="2147480329"/>
            <ac:spMk id="3" creationId="{1DD85468-970B-4013-D370-EA2A4D5D1BA1}"/>
          </ac:spMkLst>
        </pc:spChg>
        <pc:spChg chg="add del mod">
          <ac:chgData name="Soumaya ZERHOUNI" userId="690e4aa6-586b-4341-8f1a-54a3e7457441" providerId="ADAL" clId="{69AAD651-E566-4914-B951-51E57822A563}" dt="2024-01-31T15:31:31.768" v="5626" actId="21"/>
          <ac:spMkLst>
            <pc:docMk/>
            <pc:sldMk cId="1296099944" sldId="2147480329"/>
            <ac:spMk id="67" creationId="{C124D77C-535F-5AC4-1115-2BDE686461FD}"/>
          </ac:spMkLst>
        </pc:spChg>
      </pc:sldChg>
      <pc:sldChg chg="addSp delSp modSp mod">
        <pc:chgData name="Soumaya ZERHOUNI" userId="690e4aa6-586b-4341-8f1a-54a3e7457441" providerId="ADAL" clId="{69AAD651-E566-4914-B951-51E57822A563}" dt="2024-01-31T15:48:17.675" v="5790" actId="21"/>
        <pc:sldMkLst>
          <pc:docMk/>
          <pc:sldMk cId="429385748" sldId="2147480330"/>
        </pc:sldMkLst>
        <pc:spChg chg="mod">
          <ac:chgData name="Soumaya ZERHOUNI" userId="690e4aa6-586b-4341-8f1a-54a3e7457441" providerId="ADAL" clId="{69AAD651-E566-4914-B951-51E57822A563}" dt="2024-01-31T15:48:13.974" v="5789" actId="552"/>
          <ac:spMkLst>
            <pc:docMk/>
            <pc:sldMk cId="429385748" sldId="2147480330"/>
            <ac:spMk id="3" creationId="{1DD85468-970B-4013-D370-EA2A4D5D1BA1}"/>
          </ac:spMkLst>
        </pc:spChg>
        <pc:spChg chg="add del mod">
          <ac:chgData name="Soumaya ZERHOUNI" userId="690e4aa6-586b-4341-8f1a-54a3e7457441" providerId="ADAL" clId="{69AAD651-E566-4914-B951-51E57822A563}" dt="2024-01-31T15:48:17.675" v="5790" actId="21"/>
          <ac:spMkLst>
            <pc:docMk/>
            <pc:sldMk cId="429385748" sldId="2147480330"/>
            <ac:spMk id="33" creationId="{39709788-DE64-AD6F-6320-A8772919C7B7}"/>
          </ac:spMkLst>
        </pc:spChg>
        <pc:spChg chg="add del mod">
          <ac:chgData name="Soumaya ZERHOUNI" userId="690e4aa6-586b-4341-8f1a-54a3e7457441" providerId="ADAL" clId="{69AAD651-E566-4914-B951-51E57822A563}" dt="2024-01-31T15:31:17.419" v="5622" actId="21"/>
          <ac:spMkLst>
            <pc:docMk/>
            <pc:sldMk cId="429385748" sldId="2147480330"/>
            <ac:spMk id="67" creationId="{C124D77C-535F-5AC4-1115-2BDE686461FD}"/>
          </ac:spMkLst>
        </pc:spChg>
      </pc:sldChg>
      <pc:sldChg chg="add del">
        <pc:chgData name="Soumaya ZERHOUNI" userId="690e4aa6-586b-4341-8f1a-54a3e7457441" providerId="ADAL" clId="{69AAD651-E566-4914-B951-51E57822A563}" dt="2024-01-30T18:01:07.525" v="5027" actId="47"/>
        <pc:sldMkLst>
          <pc:docMk/>
          <pc:sldMk cId="1646141570" sldId="2147480331"/>
        </pc:sldMkLst>
      </pc:sldChg>
      <pc:sldChg chg="addSp delSp modSp mod">
        <pc:chgData name="Soumaya ZERHOUNI" userId="690e4aa6-586b-4341-8f1a-54a3e7457441" providerId="ADAL" clId="{69AAD651-E566-4914-B951-51E57822A563}" dt="2024-02-14T11:24:46.727" v="12940" actId="166"/>
        <pc:sldMkLst>
          <pc:docMk/>
          <pc:sldMk cId="1704792734" sldId="2147480331"/>
        </pc:sldMkLst>
        <pc:spChg chg="mod">
          <ac:chgData name="Soumaya ZERHOUNI" userId="690e4aa6-586b-4341-8f1a-54a3e7457441" providerId="ADAL" clId="{69AAD651-E566-4914-B951-51E57822A563}" dt="2024-01-31T15:28:40.751" v="5585" actId="20577"/>
          <ac:spMkLst>
            <pc:docMk/>
            <pc:sldMk cId="1704792734" sldId="2147480331"/>
            <ac:spMk id="2" creationId="{A2D57B31-7B0D-92C3-B33F-D94DC4725E53}"/>
          </ac:spMkLst>
        </pc:spChg>
        <pc:spChg chg="add del mod">
          <ac:chgData name="Soumaya ZERHOUNI" userId="690e4aa6-586b-4341-8f1a-54a3e7457441" providerId="ADAL" clId="{69AAD651-E566-4914-B951-51E57822A563}" dt="2024-01-31T15:28:46.573" v="5586" actId="21"/>
          <ac:spMkLst>
            <pc:docMk/>
            <pc:sldMk cId="1704792734" sldId="2147480331"/>
            <ac:spMk id="6" creationId="{C124D77C-535F-5AC4-1115-2BDE686461FD}"/>
          </ac:spMkLst>
        </pc:spChg>
        <pc:spChg chg="add mod">
          <ac:chgData name="Soumaya ZERHOUNI" userId="690e4aa6-586b-4341-8f1a-54a3e7457441" providerId="ADAL" clId="{69AAD651-E566-4914-B951-51E57822A563}" dt="2024-02-14T11:23:50.994" v="12920" actId="2085"/>
          <ac:spMkLst>
            <pc:docMk/>
            <pc:sldMk cId="1704792734" sldId="2147480331"/>
            <ac:spMk id="7" creationId="{8B57FB2B-AB80-2681-4A97-B725A5EC1401}"/>
          </ac:spMkLst>
        </pc:spChg>
        <pc:spChg chg="mod">
          <ac:chgData name="Soumaya ZERHOUNI" userId="690e4aa6-586b-4341-8f1a-54a3e7457441" providerId="ADAL" clId="{69AAD651-E566-4914-B951-51E57822A563}" dt="2024-01-31T15:28:28.997" v="5582" actId="1076"/>
          <ac:spMkLst>
            <pc:docMk/>
            <pc:sldMk cId="1704792734" sldId="2147480331"/>
            <ac:spMk id="7" creationId="{D3DD6AD9-8B4C-0BDB-31DE-53679EF38E73}"/>
          </ac:spMkLst>
        </pc:spChg>
        <pc:spChg chg="ord">
          <ac:chgData name="Soumaya ZERHOUNI" userId="690e4aa6-586b-4341-8f1a-54a3e7457441" providerId="ADAL" clId="{69AAD651-E566-4914-B951-51E57822A563}" dt="2024-02-14T11:24:46.727" v="12940" actId="166"/>
          <ac:spMkLst>
            <pc:docMk/>
            <pc:sldMk cId="1704792734" sldId="2147480331"/>
            <ac:spMk id="13" creationId="{6414D3B7-D2DD-BDC7-A8B5-142AB4528379}"/>
          </ac:spMkLst>
        </pc:spChg>
        <pc:spChg chg="mod">
          <ac:chgData name="Soumaya ZERHOUNI" userId="690e4aa6-586b-4341-8f1a-54a3e7457441" providerId="ADAL" clId="{69AAD651-E566-4914-B951-51E57822A563}" dt="2024-02-02T17:26:29.598" v="12857" actId="2"/>
          <ac:spMkLst>
            <pc:docMk/>
            <pc:sldMk cId="1704792734" sldId="2147480331"/>
            <ac:spMk id="38" creationId="{7B2A25EF-2411-3311-4265-E85A1397784F}"/>
          </ac:spMkLst>
        </pc:spChg>
        <pc:spChg chg="mod">
          <ac:chgData name="Soumaya ZERHOUNI" userId="690e4aa6-586b-4341-8f1a-54a3e7457441" providerId="ADAL" clId="{69AAD651-E566-4914-B951-51E57822A563}" dt="2024-02-02T17:26:32.057" v="12858" actId="2"/>
          <ac:spMkLst>
            <pc:docMk/>
            <pc:sldMk cId="1704792734" sldId="2147480331"/>
            <ac:spMk id="54" creationId="{E32F397C-D771-EAE0-9563-AC19A2F61626}"/>
          </ac:spMkLst>
        </pc:spChg>
        <pc:grpChg chg="add del mod">
          <ac:chgData name="Soumaya ZERHOUNI" userId="690e4aa6-586b-4341-8f1a-54a3e7457441" providerId="ADAL" clId="{69AAD651-E566-4914-B951-51E57822A563}" dt="2024-02-14T11:23:13.962" v="12916" actId="478"/>
          <ac:grpSpMkLst>
            <pc:docMk/>
            <pc:sldMk cId="1704792734" sldId="2147480331"/>
            <ac:grpSpMk id="26" creationId="{97E6F6A1-D8CA-FB33-4F15-92CEEA60E66C}"/>
          </ac:grpSpMkLst>
        </pc:grpChg>
        <pc:graphicFrameChg chg="add del mod">
          <ac:chgData name="Soumaya ZERHOUNI" userId="690e4aa6-586b-4341-8f1a-54a3e7457441" providerId="ADAL" clId="{69AAD651-E566-4914-B951-51E57822A563}" dt="2024-02-14T11:22:49.907" v="12911" actId="478"/>
          <ac:graphicFrameMkLst>
            <pc:docMk/>
            <pc:sldMk cId="1704792734" sldId="2147480331"/>
            <ac:graphicFrameMk id="3" creationId="{45E56C31-C026-DE8C-2D70-35D890FF5FAE}"/>
          </ac:graphicFrameMkLst>
        </pc:graphicFrameChg>
        <pc:graphicFrameChg chg="mod modGraphic">
          <ac:chgData name="Soumaya ZERHOUNI" userId="690e4aa6-586b-4341-8f1a-54a3e7457441" providerId="ADAL" clId="{69AAD651-E566-4914-B951-51E57822A563}" dt="2024-02-14T11:22:35.328" v="12910" actId="14100"/>
          <ac:graphicFrameMkLst>
            <pc:docMk/>
            <pc:sldMk cId="1704792734" sldId="2147480331"/>
            <ac:graphicFrameMk id="25" creationId="{002674AB-6B6B-02F7-5E25-0EB30DB53238}"/>
          </ac:graphicFrameMkLst>
        </pc:graphicFrameChg>
      </pc:sldChg>
      <pc:sldChg chg="add del">
        <pc:chgData name="Soumaya ZERHOUNI" userId="690e4aa6-586b-4341-8f1a-54a3e7457441" providerId="ADAL" clId="{69AAD651-E566-4914-B951-51E57822A563}" dt="2024-01-30T17:58:21.278" v="5023"/>
        <pc:sldMkLst>
          <pc:docMk/>
          <pc:sldMk cId="1764538146" sldId="2147480332"/>
        </pc:sldMkLst>
      </pc:sldChg>
      <pc:sldChg chg="modSp mod">
        <pc:chgData name="Soumaya ZERHOUNI" userId="690e4aa6-586b-4341-8f1a-54a3e7457441" providerId="ADAL" clId="{69AAD651-E566-4914-B951-51E57822A563}" dt="2024-01-31T14:36:15.810" v="5406" actId="1076"/>
        <pc:sldMkLst>
          <pc:docMk/>
          <pc:sldMk cId="3398763446" sldId="2147480332"/>
        </pc:sldMkLst>
        <pc:spChg chg="mod">
          <ac:chgData name="Soumaya ZERHOUNI" userId="690e4aa6-586b-4341-8f1a-54a3e7457441" providerId="ADAL" clId="{69AAD651-E566-4914-B951-51E57822A563}" dt="2024-01-31T14:36:15.810" v="5406" actId="1076"/>
          <ac:spMkLst>
            <pc:docMk/>
            <pc:sldMk cId="3398763446" sldId="2147480332"/>
            <ac:spMk id="6" creationId="{25ED78F4-32C6-1705-FC8D-078F85CA2906}"/>
          </ac:spMkLst>
        </pc:spChg>
      </pc:sldChg>
      <pc:sldChg chg="add del">
        <pc:chgData name="Soumaya ZERHOUNI" userId="690e4aa6-586b-4341-8f1a-54a3e7457441" providerId="ADAL" clId="{69AAD651-E566-4914-B951-51E57822A563}" dt="2024-01-30T17:58:21.278" v="5023"/>
        <pc:sldMkLst>
          <pc:docMk/>
          <pc:sldMk cId="762975247" sldId="2147480333"/>
        </pc:sldMkLst>
      </pc:sldChg>
      <pc:sldChg chg="modSp mod">
        <pc:chgData name="Soumaya ZERHOUNI" userId="690e4aa6-586b-4341-8f1a-54a3e7457441" providerId="ADAL" clId="{69AAD651-E566-4914-B951-51E57822A563}" dt="2024-01-31T15:02:52.364" v="5453" actId="207"/>
        <pc:sldMkLst>
          <pc:docMk/>
          <pc:sldMk cId="3670225089" sldId="2147480333"/>
        </pc:sldMkLst>
        <pc:spChg chg="mod">
          <ac:chgData name="Soumaya ZERHOUNI" userId="690e4aa6-586b-4341-8f1a-54a3e7457441" providerId="ADAL" clId="{69AAD651-E566-4914-B951-51E57822A563}" dt="2024-01-31T15:02:52.364" v="5453" actId="207"/>
          <ac:spMkLst>
            <pc:docMk/>
            <pc:sldMk cId="3670225089" sldId="2147480333"/>
            <ac:spMk id="30" creationId="{A8A15718-341E-1618-BBFE-8DE79C4D1726}"/>
          </ac:spMkLst>
        </pc:spChg>
      </pc:sldChg>
      <pc:sldChg chg="addSp delSp modSp mod">
        <pc:chgData name="Soumaya ZERHOUNI" userId="690e4aa6-586b-4341-8f1a-54a3e7457441" providerId="ADAL" clId="{69AAD651-E566-4914-B951-51E57822A563}" dt="2024-01-31T15:26:11.203" v="5547" actId="21"/>
        <pc:sldMkLst>
          <pc:docMk/>
          <pc:sldMk cId="560279385" sldId="2147480334"/>
        </pc:sldMkLst>
        <pc:spChg chg="mod">
          <ac:chgData name="Soumaya ZERHOUNI" userId="690e4aa6-586b-4341-8f1a-54a3e7457441" providerId="ADAL" clId="{69AAD651-E566-4914-B951-51E57822A563}" dt="2024-01-31T15:26:08.274" v="5546" actId="554"/>
          <ac:spMkLst>
            <pc:docMk/>
            <pc:sldMk cId="560279385" sldId="2147480334"/>
            <ac:spMk id="2" creationId="{A7A85104-0EAC-0BD9-6FB3-03CA67433DA5}"/>
          </ac:spMkLst>
        </pc:spChg>
        <pc:spChg chg="add del mod">
          <ac:chgData name="Soumaya ZERHOUNI" userId="690e4aa6-586b-4341-8f1a-54a3e7457441" providerId="ADAL" clId="{69AAD651-E566-4914-B951-51E57822A563}" dt="2024-01-31T15:26:11.203" v="5547" actId="21"/>
          <ac:spMkLst>
            <pc:docMk/>
            <pc:sldMk cId="560279385" sldId="2147480334"/>
            <ac:spMk id="4" creationId="{777EE9C9-8D48-C3FB-7B08-B34E86458197}"/>
          </ac:spMkLst>
        </pc:spChg>
      </pc:sldChg>
      <pc:sldChg chg="add del">
        <pc:chgData name="Soumaya ZERHOUNI" userId="690e4aa6-586b-4341-8f1a-54a3e7457441" providerId="ADAL" clId="{69AAD651-E566-4914-B951-51E57822A563}" dt="2024-01-30T17:58:21.278" v="5023"/>
        <pc:sldMkLst>
          <pc:docMk/>
          <pc:sldMk cId="4117064757" sldId="2147480334"/>
        </pc:sldMkLst>
      </pc:sldChg>
      <pc:sldChg chg="add del">
        <pc:chgData name="Soumaya ZERHOUNI" userId="690e4aa6-586b-4341-8f1a-54a3e7457441" providerId="ADAL" clId="{69AAD651-E566-4914-B951-51E57822A563}" dt="2024-01-30T17:58:21.278" v="5023"/>
        <pc:sldMkLst>
          <pc:docMk/>
          <pc:sldMk cId="2330360400" sldId="2147480335"/>
        </pc:sldMkLst>
      </pc:sldChg>
      <pc:sldChg chg="addSp delSp modSp mod">
        <pc:chgData name="Soumaya ZERHOUNI" userId="690e4aa6-586b-4341-8f1a-54a3e7457441" providerId="ADAL" clId="{69AAD651-E566-4914-B951-51E57822A563}" dt="2024-01-31T15:48:38.392" v="5795" actId="21"/>
        <pc:sldMkLst>
          <pc:docMk/>
          <pc:sldMk cId="2861464629" sldId="2147480335"/>
        </pc:sldMkLst>
        <pc:spChg chg="mod">
          <ac:chgData name="Soumaya ZERHOUNI" userId="690e4aa6-586b-4341-8f1a-54a3e7457441" providerId="ADAL" clId="{69AAD651-E566-4914-B951-51E57822A563}" dt="2024-01-31T15:48:36.279" v="5794" actId="554"/>
          <ac:spMkLst>
            <pc:docMk/>
            <pc:sldMk cId="2861464629" sldId="2147480335"/>
            <ac:spMk id="3" creationId="{DE8875F4-96B0-73DD-AC00-F95D729132AD}"/>
          </ac:spMkLst>
        </pc:spChg>
        <pc:spChg chg="add del mod">
          <ac:chgData name="Soumaya ZERHOUNI" userId="690e4aa6-586b-4341-8f1a-54a3e7457441" providerId="ADAL" clId="{69AAD651-E566-4914-B951-51E57822A563}" dt="2024-01-31T15:48:38.392" v="5795" actId="21"/>
          <ac:spMkLst>
            <pc:docMk/>
            <pc:sldMk cId="2861464629" sldId="2147480335"/>
            <ac:spMk id="4" creationId="{39709788-DE64-AD6F-6320-A8772919C7B7}"/>
          </ac:spMkLst>
        </pc:spChg>
      </pc:sldChg>
      <pc:sldChg chg="addSp delSp modSp mod">
        <pc:chgData name="Soumaya ZERHOUNI" userId="690e4aa6-586b-4341-8f1a-54a3e7457441" providerId="ADAL" clId="{69AAD651-E566-4914-B951-51E57822A563}" dt="2024-02-02T16:23:26.546" v="12822" actId="14734"/>
        <pc:sldMkLst>
          <pc:docMk/>
          <pc:sldMk cId="1475900930" sldId="2147480336"/>
        </pc:sldMkLst>
        <pc:spChg chg="add del mod">
          <ac:chgData name="Soumaya ZERHOUNI" userId="690e4aa6-586b-4341-8f1a-54a3e7457441" providerId="ADAL" clId="{69AAD651-E566-4914-B951-51E57822A563}" dt="2024-01-31T15:48:55.984" v="5800" actId="21"/>
          <ac:spMkLst>
            <pc:docMk/>
            <pc:sldMk cId="1475900930" sldId="2147480336"/>
            <ac:spMk id="4" creationId="{39709788-DE64-AD6F-6320-A8772919C7B7}"/>
          </ac:spMkLst>
        </pc:spChg>
        <pc:spChg chg="mod">
          <ac:chgData name="Soumaya ZERHOUNI" userId="690e4aa6-586b-4341-8f1a-54a3e7457441" providerId="ADAL" clId="{69AAD651-E566-4914-B951-51E57822A563}" dt="2024-01-31T15:48:53.270" v="5799" actId="554"/>
          <ac:spMkLst>
            <pc:docMk/>
            <pc:sldMk cId="1475900930" sldId="2147480336"/>
            <ac:spMk id="6" creationId="{B6E8369B-647E-2C0C-8E85-E1BD82307DA6}"/>
          </ac:spMkLst>
        </pc:spChg>
        <pc:graphicFrameChg chg="mod modGraphic">
          <ac:chgData name="Soumaya ZERHOUNI" userId="690e4aa6-586b-4341-8f1a-54a3e7457441" providerId="ADAL" clId="{69AAD651-E566-4914-B951-51E57822A563}" dt="2024-02-02T16:23:26.546" v="12822" actId="14734"/>
          <ac:graphicFrameMkLst>
            <pc:docMk/>
            <pc:sldMk cId="1475900930" sldId="2147480336"/>
            <ac:graphicFrameMk id="25" creationId="{A95ED58A-BBDE-43E3-F55F-0E8591C92D3A}"/>
          </ac:graphicFrameMkLst>
        </pc:graphicFrameChg>
        <pc:picChg chg="mod">
          <ac:chgData name="Soumaya ZERHOUNI" userId="690e4aa6-586b-4341-8f1a-54a3e7457441" providerId="ADAL" clId="{69AAD651-E566-4914-B951-51E57822A563}" dt="2024-02-02T16:22:30.424" v="12809" actId="1036"/>
          <ac:picMkLst>
            <pc:docMk/>
            <pc:sldMk cId="1475900930" sldId="2147480336"/>
            <ac:picMk id="4" creationId="{B4A84F29-1760-B019-5D15-33DE40FFCCBA}"/>
          </ac:picMkLst>
        </pc:picChg>
        <pc:picChg chg="mod">
          <ac:chgData name="Soumaya ZERHOUNI" userId="690e4aa6-586b-4341-8f1a-54a3e7457441" providerId="ADAL" clId="{69AAD651-E566-4914-B951-51E57822A563}" dt="2024-02-02T16:22:30.424" v="12809" actId="1036"/>
          <ac:picMkLst>
            <pc:docMk/>
            <pc:sldMk cId="1475900930" sldId="2147480336"/>
            <ac:picMk id="5" creationId="{5BAE5436-CB96-5537-A538-D87511561C9D}"/>
          </ac:picMkLst>
        </pc:picChg>
        <pc:picChg chg="mod">
          <ac:chgData name="Soumaya ZERHOUNI" userId="690e4aa6-586b-4341-8f1a-54a3e7457441" providerId="ADAL" clId="{69AAD651-E566-4914-B951-51E57822A563}" dt="2024-02-02T16:22:30.424" v="12809" actId="1036"/>
          <ac:picMkLst>
            <pc:docMk/>
            <pc:sldMk cId="1475900930" sldId="2147480336"/>
            <ac:picMk id="8" creationId="{463FDEF0-DF0F-2D05-1A89-E52525F19D25}"/>
          </ac:picMkLst>
        </pc:picChg>
        <pc:picChg chg="mod">
          <ac:chgData name="Soumaya ZERHOUNI" userId="690e4aa6-586b-4341-8f1a-54a3e7457441" providerId="ADAL" clId="{69AAD651-E566-4914-B951-51E57822A563}" dt="2024-02-02T16:22:30.424" v="12809" actId="1036"/>
          <ac:picMkLst>
            <pc:docMk/>
            <pc:sldMk cId="1475900930" sldId="2147480336"/>
            <ac:picMk id="12" creationId="{9F11A87A-ED17-3B84-1AB3-678B61C51C05}"/>
          </ac:picMkLst>
        </pc:picChg>
        <pc:picChg chg="mod">
          <ac:chgData name="Soumaya ZERHOUNI" userId="690e4aa6-586b-4341-8f1a-54a3e7457441" providerId="ADAL" clId="{69AAD651-E566-4914-B951-51E57822A563}" dt="2024-02-02T16:22:30.424" v="12809" actId="1036"/>
          <ac:picMkLst>
            <pc:docMk/>
            <pc:sldMk cId="1475900930" sldId="2147480336"/>
            <ac:picMk id="13" creationId="{02A621A4-62B9-3423-ECAD-D2EE3403CC13}"/>
          </ac:picMkLst>
        </pc:picChg>
        <pc:picChg chg="mod">
          <ac:chgData name="Soumaya ZERHOUNI" userId="690e4aa6-586b-4341-8f1a-54a3e7457441" providerId="ADAL" clId="{69AAD651-E566-4914-B951-51E57822A563}" dt="2024-02-02T16:22:30.424" v="12809" actId="1036"/>
          <ac:picMkLst>
            <pc:docMk/>
            <pc:sldMk cId="1475900930" sldId="2147480336"/>
            <ac:picMk id="14" creationId="{B104EED2-4D5A-6D29-8F0B-E310F900A4B9}"/>
          </ac:picMkLst>
        </pc:picChg>
        <pc:picChg chg="mod">
          <ac:chgData name="Soumaya ZERHOUNI" userId="690e4aa6-586b-4341-8f1a-54a3e7457441" providerId="ADAL" clId="{69AAD651-E566-4914-B951-51E57822A563}" dt="2024-02-02T16:22:30.424" v="12809" actId="1036"/>
          <ac:picMkLst>
            <pc:docMk/>
            <pc:sldMk cId="1475900930" sldId="2147480336"/>
            <ac:picMk id="22" creationId="{759F4E6E-6EC2-9545-975B-0C1F6E32A02A}"/>
          </ac:picMkLst>
        </pc:picChg>
        <pc:picChg chg="mod">
          <ac:chgData name="Soumaya ZERHOUNI" userId="690e4aa6-586b-4341-8f1a-54a3e7457441" providerId="ADAL" clId="{69AAD651-E566-4914-B951-51E57822A563}" dt="2024-02-02T16:22:30.424" v="12809" actId="1036"/>
          <ac:picMkLst>
            <pc:docMk/>
            <pc:sldMk cId="1475900930" sldId="2147480336"/>
            <ac:picMk id="28" creationId="{24600E04-334E-B96C-BDBB-1EF8B584E5D0}"/>
          </ac:picMkLst>
        </pc:picChg>
        <pc:picChg chg="mod">
          <ac:chgData name="Soumaya ZERHOUNI" userId="690e4aa6-586b-4341-8f1a-54a3e7457441" providerId="ADAL" clId="{69AAD651-E566-4914-B951-51E57822A563}" dt="2024-02-02T16:22:30.424" v="12809" actId="1036"/>
          <ac:picMkLst>
            <pc:docMk/>
            <pc:sldMk cId="1475900930" sldId="2147480336"/>
            <ac:picMk id="32" creationId="{B30F1D7A-A1BF-666D-391D-C1E85BC6CFC3}"/>
          </ac:picMkLst>
        </pc:picChg>
      </pc:sldChg>
      <pc:sldChg chg="modSp mod">
        <pc:chgData name="Soumaya ZERHOUNI" userId="690e4aa6-586b-4341-8f1a-54a3e7457441" providerId="ADAL" clId="{69AAD651-E566-4914-B951-51E57822A563}" dt="2024-02-02T16:22:42.201" v="12818" actId="14100"/>
        <pc:sldMkLst>
          <pc:docMk/>
          <pc:sldMk cId="3124005727" sldId="2147480337"/>
        </pc:sldMkLst>
        <pc:spChg chg="mod">
          <ac:chgData name="Soumaya ZERHOUNI" userId="690e4aa6-586b-4341-8f1a-54a3e7457441" providerId="ADAL" clId="{69AAD651-E566-4914-B951-51E57822A563}" dt="2024-01-31T15:49:32.009" v="5803" actId="108"/>
          <ac:spMkLst>
            <pc:docMk/>
            <pc:sldMk cId="3124005727" sldId="2147480337"/>
            <ac:spMk id="3" creationId="{D37069D9-5950-C26E-070A-850EF4F48DB9}"/>
          </ac:spMkLst>
        </pc:spChg>
        <pc:spChg chg="mod">
          <ac:chgData name="Soumaya ZERHOUNI" userId="690e4aa6-586b-4341-8f1a-54a3e7457441" providerId="ADAL" clId="{69AAD651-E566-4914-B951-51E57822A563}" dt="2024-02-02T16:22:42.201" v="12818" actId="14100"/>
          <ac:spMkLst>
            <pc:docMk/>
            <pc:sldMk cId="3124005727" sldId="2147480337"/>
            <ac:spMk id="9" creationId="{461442E2-CF9D-3785-C6FD-F8ACB11B3DDA}"/>
          </ac:spMkLst>
        </pc:spChg>
        <pc:spChg chg="mod">
          <ac:chgData name="Soumaya ZERHOUNI" userId="690e4aa6-586b-4341-8f1a-54a3e7457441" providerId="ADAL" clId="{69AAD651-E566-4914-B951-51E57822A563}" dt="2024-02-02T16:22:41.548" v="12817" actId="1035"/>
          <ac:spMkLst>
            <pc:docMk/>
            <pc:sldMk cId="3124005727" sldId="2147480337"/>
            <ac:spMk id="34" creationId="{FD0162B6-4DA7-88A8-FEA1-92F3B4CCF521}"/>
          </ac:spMkLst>
        </pc:spChg>
        <pc:graphicFrameChg chg="mod modGraphic">
          <ac:chgData name="Soumaya ZERHOUNI" userId="690e4aa6-586b-4341-8f1a-54a3e7457441" providerId="ADAL" clId="{69AAD651-E566-4914-B951-51E57822A563}" dt="2024-02-02T16:22:41.548" v="12817" actId="1035"/>
          <ac:graphicFrameMkLst>
            <pc:docMk/>
            <pc:sldMk cId="3124005727" sldId="2147480337"/>
            <ac:graphicFrameMk id="2" creationId="{E55B44E2-27DF-DA6A-53FD-6FD0202BC1ED}"/>
          </ac:graphicFrameMkLst>
        </pc:graphicFrameChg>
        <pc:graphicFrameChg chg="mod">
          <ac:chgData name="Soumaya ZERHOUNI" userId="690e4aa6-586b-4341-8f1a-54a3e7457441" providerId="ADAL" clId="{69AAD651-E566-4914-B951-51E57822A563}" dt="2024-02-02T16:22:41.548" v="12817" actId="1035"/>
          <ac:graphicFrameMkLst>
            <pc:docMk/>
            <pc:sldMk cId="3124005727" sldId="2147480337"/>
            <ac:graphicFrameMk id="10" creationId="{7D4FD022-50BA-8700-32BF-3AD689096E20}"/>
          </ac:graphicFrameMkLst>
        </pc:graphicFrameChg>
        <pc:graphicFrameChg chg="mod">
          <ac:chgData name="Soumaya ZERHOUNI" userId="690e4aa6-586b-4341-8f1a-54a3e7457441" providerId="ADAL" clId="{69AAD651-E566-4914-B951-51E57822A563}" dt="2024-02-02T16:22:41.548" v="12817" actId="1035"/>
          <ac:graphicFrameMkLst>
            <pc:docMk/>
            <pc:sldMk cId="3124005727" sldId="2147480337"/>
            <ac:graphicFrameMk id="33" creationId="{91875E06-53B1-9CF5-D89D-679A94E3C10C}"/>
          </ac:graphicFrameMkLst>
        </pc:graphicFrameChg>
        <pc:picChg chg="mod">
          <ac:chgData name="Soumaya ZERHOUNI" userId="690e4aa6-586b-4341-8f1a-54a3e7457441" providerId="ADAL" clId="{69AAD651-E566-4914-B951-51E57822A563}" dt="2024-02-02T16:22:41.548" v="12817" actId="1035"/>
          <ac:picMkLst>
            <pc:docMk/>
            <pc:sldMk cId="3124005727" sldId="2147480337"/>
            <ac:picMk id="5" creationId="{AC73B3E6-ECE1-E120-FE8D-2F5A54520263}"/>
          </ac:picMkLst>
        </pc:picChg>
        <pc:picChg chg="mod">
          <ac:chgData name="Soumaya ZERHOUNI" userId="690e4aa6-586b-4341-8f1a-54a3e7457441" providerId="ADAL" clId="{69AAD651-E566-4914-B951-51E57822A563}" dt="2024-02-02T16:22:41.548" v="12817" actId="1035"/>
          <ac:picMkLst>
            <pc:docMk/>
            <pc:sldMk cId="3124005727" sldId="2147480337"/>
            <ac:picMk id="6" creationId="{E44944FC-6181-EFB9-00D1-57A2B8AB466E}"/>
          </ac:picMkLst>
        </pc:picChg>
        <pc:picChg chg="mod">
          <ac:chgData name="Soumaya ZERHOUNI" userId="690e4aa6-586b-4341-8f1a-54a3e7457441" providerId="ADAL" clId="{69AAD651-E566-4914-B951-51E57822A563}" dt="2024-02-02T16:22:41.548" v="12817" actId="1035"/>
          <ac:picMkLst>
            <pc:docMk/>
            <pc:sldMk cId="3124005727" sldId="2147480337"/>
            <ac:picMk id="7" creationId="{5E071DF0-8943-4FB9-A73C-806C97AD51C1}"/>
          </ac:picMkLst>
        </pc:picChg>
        <pc:picChg chg="mod">
          <ac:chgData name="Soumaya ZERHOUNI" userId="690e4aa6-586b-4341-8f1a-54a3e7457441" providerId="ADAL" clId="{69AAD651-E566-4914-B951-51E57822A563}" dt="2024-02-02T16:22:41.548" v="12817" actId="1035"/>
          <ac:picMkLst>
            <pc:docMk/>
            <pc:sldMk cId="3124005727" sldId="2147480337"/>
            <ac:picMk id="8" creationId="{4F2A914F-8A56-5698-4816-FDD471C30BFA}"/>
          </ac:picMkLst>
        </pc:picChg>
        <pc:picChg chg="mod">
          <ac:chgData name="Soumaya ZERHOUNI" userId="690e4aa6-586b-4341-8f1a-54a3e7457441" providerId="ADAL" clId="{69AAD651-E566-4914-B951-51E57822A563}" dt="2024-02-02T16:22:41.548" v="12817" actId="1035"/>
          <ac:picMkLst>
            <pc:docMk/>
            <pc:sldMk cId="3124005727" sldId="2147480337"/>
            <ac:picMk id="11" creationId="{893AAA99-A0B9-0777-CC34-AA59D292C4B3}"/>
          </ac:picMkLst>
        </pc:picChg>
        <pc:picChg chg="mod">
          <ac:chgData name="Soumaya ZERHOUNI" userId="690e4aa6-586b-4341-8f1a-54a3e7457441" providerId="ADAL" clId="{69AAD651-E566-4914-B951-51E57822A563}" dt="2024-02-02T16:22:41.548" v="12817" actId="1035"/>
          <ac:picMkLst>
            <pc:docMk/>
            <pc:sldMk cId="3124005727" sldId="2147480337"/>
            <ac:picMk id="12" creationId="{30F0BBE0-57BA-E200-8655-7BC7BC9D43DF}"/>
          </ac:picMkLst>
        </pc:picChg>
        <pc:picChg chg="mod">
          <ac:chgData name="Soumaya ZERHOUNI" userId="690e4aa6-586b-4341-8f1a-54a3e7457441" providerId="ADAL" clId="{69AAD651-E566-4914-B951-51E57822A563}" dt="2024-02-02T16:22:41.548" v="12817" actId="1035"/>
          <ac:picMkLst>
            <pc:docMk/>
            <pc:sldMk cId="3124005727" sldId="2147480337"/>
            <ac:picMk id="20" creationId="{FF8197E0-4757-CB21-0563-A7A36168CE84}"/>
          </ac:picMkLst>
        </pc:picChg>
        <pc:picChg chg="mod">
          <ac:chgData name="Soumaya ZERHOUNI" userId="690e4aa6-586b-4341-8f1a-54a3e7457441" providerId="ADAL" clId="{69AAD651-E566-4914-B951-51E57822A563}" dt="2024-02-02T16:22:41.548" v="12817" actId="1035"/>
          <ac:picMkLst>
            <pc:docMk/>
            <pc:sldMk cId="3124005727" sldId="2147480337"/>
            <ac:picMk id="21" creationId="{36EAEA94-2D6A-EED8-12C2-1BF30968B8E3}"/>
          </ac:picMkLst>
        </pc:picChg>
        <pc:picChg chg="mod">
          <ac:chgData name="Soumaya ZERHOUNI" userId="690e4aa6-586b-4341-8f1a-54a3e7457441" providerId="ADAL" clId="{69AAD651-E566-4914-B951-51E57822A563}" dt="2024-02-02T16:22:41.548" v="12817" actId="1035"/>
          <ac:picMkLst>
            <pc:docMk/>
            <pc:sldMk cId="3124005727" sldId="2147480337"/>
            <ac:picMk id="22" creationId="{06C301F7-37C4-EDB0-FDA3-47A2F7155E69}"/>
          </ac:picMkLst>
        </pc:picChg>
        <pc:picChg chg="mod">
          <ac:chgData name="Soumaya ZERHOUNI" userId="690e4aa6-586b-4341-8f1a-54a3e7457441" providerId="ADAL" clId="{69AAD651-E566-4914-B951-51E57822A563}" dt="2024-02-02T16:22:41.548" v="12817" actId="1035"/>
          <ac:picMkLst>
            <pc:docMk/>
            <pc:sldMk cId="3124005727" sldId="2147480337"/>
            <ac:picMk id="23" creationId="{8D8C6200-4B97-D3D1-43E7-65DBAA1B6FAE}"/>
          </ac:picMkLst>
        </pc:picChg>
        <pc:picChg chg="mod">
          <ac:chgData name="Soumaya ZERHOUNI" userId="690e4aa6-586b-4341-8f1a-54a3e7457441" providerId="ADAL" clId="{69AAD651-E566-4914-B951-51E57822A563}" dt="2024-02-02T16:22:41.548" v="12817" actId="1035"/>
          <ac:picMkLst>
            <pc:docMk/>
            <pc:sldMk cId="3124005727" sldId="2147480337"/>
            <ac:picMk id="24" creationId="{AA73909D-0335-C0B0-3B67-B48CDC065A89}"/>
          </ac:picMkLst>
        </pc:picChg>
        <pc:picChg chg="mod">
          <ac:chgData name="Soumaya ZERHOUNI" userId="690e4aa6-586b-4341-8f1a-54a3e7457441" providerId="ADAL" clId="{69AAD651-E566-4914-B951-51E57822A563}" dt="2024-02-02T16:22:41.548" v="12817" actId="1035"/>
          <ac:picMkLst>
            <pc:docMk/>
            <pc:sldMk cId="3124005727" sldId="2147480337"/>
            <ac:picMk id="25" creationId="{202AD041-61A2-EF32-DBD1-01A64F82F841}"/>
          </ac:picMkLst>
        </pc:picChg>
        <pc:picChg chg="mod">
          <ac:chgData name="Soumaya ZERHOUNI" userId="690e4aa6-586b-4341-8f1a-54a3e7457441" providerId="ADAL" clId="{69AAD651-E566-4914-B951-51E57822A563}" dt="2024-02-02T16:22:41.548" v="12817" actId="1035"/>
          <ac:picMkLst>
            <pc:docMk/>
            <pc:sldMk cId="3124005727" sldId="2147480337"/>
            <ac:picMk id="26" creationId="{2DE8DEE6-9B17-0E2C-46E3-8EB93B3797A9}"/>
          </ac:picMkLst>
        </pc:picChg>
        <pc:picChg chg="mod">
          <ac:chgData name="Soumaya ZERHOUNI" userId="690e4aa6-586b-4341-8f1a-54a3e7457441" providerId="ADAL" clId="{69AAD651-E566-4914-B951-51E57822A563}" dt="2024-02-02T16:22:41.548" v="12817" actId="1035"/>
          <ac:picMkLst>
            <pc:docMk/>
            <pc:sldMk cId="3124005727" sldId="2147480337"/>
            <ac:picMk id="27" creationId="{054FE863-46A6-C65C-47D3-B70CC72CEBC4}"/>
          </ac:picMkLst>
        </pc:picChg>
        <pc:picChg chg="mod">
          <ac:chgData name="Soumaya ZERHOUNI" userId="690e4aa6-586b-4341-8f1a-54a3e7457441" providerId="ADAL" clId="{69AAD651-E566-4914-B951-51E57822A563}" dt="2024-02-02T16:22:41.548" v="12817" actId="1035"/>
          <ac:picMkLst>
            <pc:docMk/>
            <pc:sldMk cId="3124005727" sldId="2147480337"/>
            <ac:picMk id="29" creationId="{3773D5F7-EA88-485E-E6D4-0660B5210782}"/>
          </ac:picMkLst>
        </pc:picChg>
        <pc:picChg chg="mod">
          <ac:chgData name="Soumaya ZERHOUNI" userId="690e4aa6-586b-4341-8f1a-54a3e7457441" providerId="ADAL" clId="{69AAD651-E566-4914-B951-51E57822A563}" dt="2024-02-02T16:22:41.548" v="12817" actId="1035"/>
          <ac:picMkLst>
            <pc:docMk/>
            <pc:sldMk cId="3124005727" sldId="2147480337"/>
            <ac:picMk id="30" creationId="{931D95E7-22AD-A04A-55A3-B9C8AC023FCF}"/>
          </ac:picMkLst>
        </pc:picChg>
      </pc:sldChg>
      <pc:sldChg chg="addSp delSp modSp mod">
        <pc:chgData name="Soumaya ZERHOUNI" userId="690e4aa6-586b-4341-8f1a-54a3e7457441" providerId="ADAL" clId="{69AAD651-E566-4914-B951-51E57822A563}" dt="2024-01-31T15:49:57.494" v="5808" actId="21"/>
        <pc:sldMkLst>
          <pc:docMk/>
          <pc:sldMk cId="3879038634" sldId="2147480338"/>
        </pc:sldMkLst>
        <pc:spChg chg="add del mod">
          <ac:chgData name="Soumaya ZERHOUNI" userId="690e4aa6-586b-4341-8f1a-54a3e7457441" providerId="ADAL" clId="{69AAD651-E566-4914-B951-51E57822A563}" dt="2024-01-31T15:49:57.494" v="5808" actId="21"/>
          <ac:spMkLst>
            <pc:docMk/>
            <pc:sldMk cId="3879038634" sldId="2147480338"/>
            <ac:spMk id="4" creationId="{39709788-DE64-AD6F-6320-A8772919C7B7}"/>
          </ac:spMkLst>
        </pc:spChg>
        <pc:spChg chg="mod">
          <ac:chgData name="Soumaya ZERHOUNI" userId="690e4aa6-586b-4341-8f1a-54a3e7457441" providerId="ADAL" clId="{69AAD651-E566-4914-B951-51E57822A563}" dt="2024-01-31T15:49:54.714" v="5807" actId="554"/>
          <ac:spMkLst>
            <pc:docMk/>
            <pc:sldMk cId="3879038634" sldId="2147480338"/>
            <ac:spMk id="33" creationId="{D1492F5E-DBFB-C955-99AE-637B1C055A22}"/>
          </ac:spMkLst>
        </pc:spChg>
      </pc:sldChg>
      <pc:sldChg chg="addSp delSp modSp mod">
        <pc:chgData name="Soumaya ZERHOUNI" userId="690e4aa6-586b-4341-8f1a-54a3e7457441" providerId="ADAL" clId="{69AAD651-E566-4914-B951-51E57822A563}" dt="2024-01-31T15:50:07.242" v="5813" actId="21"/>
        <pc:sldMkLst>
          <pc:docMk/>
          <pc:sldMk cId="3848348873" sldId="2147480339"/>
        </pc:sldMkLst>
        <pc:spChg chg="mod">
          <ac:chgData name="Soumaya ZERHOUNI" userId="690e4aa6-586b-4341-8f1a-54a3e7457441" providerId="ADAL" clId="{69AAD651-E566-4914-B951-51E57822A563}" dt="2024-01-31T15:50:05.187" v="5812" actId="554"/>
          <ac:spMkLst>
            <pc:docMk/>
            <pc:sldMk cId="3848348873" sldId="2147480339"/>
            <ac:spMk id="2" creationId="{9719F43A-6AB1-1165-4BE0-1A4809079541}"/>
          </ac:spMkLst>
        </pc:spChg>
        <pc:spChg chg="add del mod">
          <ac:chgData name="Soumaya ZERHOUNI" userId="690e4aa6-586b-4341-8f1a-54a3e7457441" providerId="ADAL" clId="{69AAD651-E566-4914-B951-51E57822A563}" dt="2024-01-31T15:50:07.242" v="5813" actId="21"/>
          <ac:spMkLst>
            <pc:docMk/>
            <pc:sldMk cId="3848348873" sldId="2147480339"/>
            <ac:spMk id="4" creationId="{39709788-DE64-AD6F-6320-A8772919C7B7}"/>
          </ac:spMkLst>
        </pc:spChg>
      </pc:sldChg>
      <pc:sldChg chg="addSp delSp modSp mod">
        <pc:chgData name="Soumaya ZERHOUNI" userId="690e4aa6-586b-4341-8f1a-54a3e7457441" providerId="ADAL" clId="{69AAD651-E566-4914-B951-51E57822A563}" dt="2024-01-31T15:50:16.279" v="5818" actId="21"/>
        <pc:sldMkLst>
          <pc:docMk/>
          <pc:sldMk cId="116640772" sldId="2147480340"/>
        </pc:sldMkLst>
        <pc:spChg chg="add del mod">
          <ac:chgData name="Soumaya ZERHOUNI" userId="690e4aa6-586b-4341-8f1a-54a3e7457441" providerId="ADAL" clId="{69AAD651-E566-4914-B951-51E57822A563}" dt="2024-01-31T15:50:16.279" v="5818" actId="21"/>
          <ac:spMkLst>
            <pc:docMk/>
            <pc:sldMk cId="116640772" sldId="2147480340"/>
            <ac:spMk id="4" creationId="{39709788-DE64-AD6F-6320-A8772919C7B7}"/>
          </ac:spMkLst>
        </pc:spChg>
        <pc:spChg chg="mod">
          <ac:chgData name="Soumaya ZERHOUNI" userId="690e4aa6-586b-4341-8f1a-54a3e7457441" providerId="ADAL" clId="{69AAD651-E566-4914-B951-51E57822A563}" dt="2024-01-31T15:50:13.805" v="5817" actId="554"/>
          <ac:spMkLst>
            <pc:docMk/>
            <pc:sldMk cId="116640772" sldId="2147480340"/>
            <ac:spMk id="8" creationId="{D21D4A62-8B11-A138-8467-21104759BC4E}"/>
          </ac:spMkLst>
        </pc:spChg>
      </pc:sldChg>
      <pc:sldChg chg="addSp delSp modSp mod">
        <pc:chgData name="Soumaya ZERHOUNI" userId="690e4aa6-586b-4341-8f1a-54a3e7457441" providerId="ADAL" clId="{69AAD651-E566-4914-B951-51E57822A563}" dt="2024-01-31T15:50:27.500" v="5823" actId="21"/>
        <pc:sldMkLst>
          <pc:docMk/>
          <pc:sldMk cId="2491276628" sldId="2147480341"/>
        </pc:sldMkLst>
        <pc:spChg chg="add del mod">
          <ac:chgData name="Soumaya ZERHOUNI" userId="690e4aa6-586b-4341-8f1a-54a3e7457441" providerId="ADAL" clId="{69AAD651-E566-4914-B951-51E57822A563}" dt="2024-01-31T15:50:27.500" v="5823" actId="21"/>
          <ac:spMkLst>
            <pc:docMk/>
            <pc:sldMk cId="2491276628" sldId="2147480341"/>
            <ac:spMk id="4" creationId="{39709788-DE64-AD6F-6320-A8772919C7B7}"/>
          </ac:spMkLst>
        </pc:spChg>
        <pc:spChg chg="mod">
          <ac:chgData name="Soumaya ZERHOUNI" userId="690e4aa6-586b-4341-8f1a-54a3e7457441" providerId="ADAL" clId="{69AAD651-E566-4914-B951-51E57822A563}" dt="2024-01-31T15:50:25.438" v="5822" actId="554"/>
          <ac:spMkLst>
            <pc:docMk/>
            <pc:sldMk cId="2491276628" sldId="2147480341"/>
            <ac:spMk id="8" creationId="{8BE74713-6BC3-6EC5-333F-0541E8A40FC5}"/>
          </ac:spMkLst>
        </pc:spChg>
      </pc:sldChg>
      <pc:sldChg chg="addSp delSp modSp mod">
        <pc:chgData name="Soumaya ZERHOUNI" userId="690e4aa6-586b-4341-8f1a-54a3e7457441" providerId="ADAL" clId="{69AAD651-E566-4914-B951-51E57822A563}" dt="2024-01-31T15:50:37.035" v="5828" actId="21"/>
        <pc:sldMkLst>
          <pc:docMk/>
          <pc:sldMk cId="238977462" sldId="2147480342"/>
        </pc:sldMkLst>
        <pc:spChg chg="add del mod">
          <ac:chgData name="Soumaya ZERHOUNI" userId="690e4aa6-586b-4341-8f1a-54a3e7457441" providerId="ADAL" clId="{69AAD651-E566-4914-B951-51E57822A563}" dt="2024-01-31T15:50:37.035" v="5828" actId="21"/>
          <ac:spMkLst>
            <pc:docMk/>
            <pc:sldMk cId="238977462" sldId="2147480342"/>
            <ac:spMk id="4" creationId="{39709788-DE64-AD6F-6320-A8772919C7B7}"/>
          </ac:spMkLst>
        </pc:spChg>
        <pc:spChg chg="mod">
          <ac:chgData name="Soumaya ZERHOUNI" userId="690e4aa6-586b-4341-8f1a-54a3e7457441" providerId="ADAL" clId="{69AAD651-E566-4914-B951-51E57822A563}" dt="2024-01-31T15:50:35.086" v="5827" actId="554"/>
          <ac:spMkLst>
            <pc:docMk/>
            <pc:sldMk cId="238977462" sldId="2147480342"/>
            <ac:spMk id="81" creationId="{5FBE76F3-F4D1-B00C-165A-F730D5C90C9E}"/>
          </ac:spMkLst>
        </pc:spChg>
        <pc:picChg chg="add del mod">
          <ac:chgData name="Soumaya ZERHOUNI" userId="690e4aa6-586b-4341-8f1a-54a3e7457441" providerId="ADAL" clId="{69AAD651-E566-4914-B951-51E57822A563}" dt="2024-01-31T15:39:29.746" v="5649" actId="21"/>
          <ac:picMkLst>
            <pc:docMk/>
            <pc:sldMk cId="238977462" sldId="2147480342"/>
            <ac:picMk id="2" creationId="{C823A551-801D-2F1A-73F6-341831C1306C}"/>
          </ac:picMkLst>
        </pc:picChg>
        <pc:picChg chg="add del mod">
          <ac:chgData name="Soumaya ZERHOUNI" userId="690e4aa6-586b-4341-8f1a-54a3e7457441" providerId="ADAL" clId="{69AAD651-E566-4914-B951-51E57822A563}" dt="2024-01-31T15:40:03.273" v="5661" actId="21"/>
          <ac:picMkLst>
            <pc:docMk/>
            <pc:sldMk cId="238977462" sldId="2147480342"/>
            <ac:picMk id="21" creationId="{C823A551-801D-2F1A-73F6-341831C1306C}"/>
          </ac:picMkLst>
        </pc:picChg>
        <pc:picChg chg="add del mod modCrop">
          <ac:chgData name="Soumaya ZERHOUNI" userId="690e4aa6-586b-4341-8f1a-54a3e7457441" providerId="ADAL" clId="{69AAD651-E566-4914-B951-51E57822A563}" dt="2024-01-31T15:39:22.141" v="5646" actId="21"/>
          <ac:picMkLst>
            <pc:docMk/>
            <pc:sldMk cId="238977462" sldId="2147480342"/>
            <ac:picMk id="29" creationId="{C823A551-801D-2F1A-73F6-341831C1306C}"/>
          </ac:picMkLst>
        </pc:picChg>
        <pc:picChg chg="mod">
          <ac:chgData name="Soumaya ZERHOUNI" userId="690e4aa6-586b-4341-8f1a-54a3e7457441" providerId="ADAL" clId="{69AAD651-E566-4914-B951-51E57822A563}" dt="2024-01-31T15:39:59.007" v="5660" actId="552"/>
          <ac:picMkLst>
            <pc:docMk/>
            <pc:sldMk cId="238977462" sldId="2147480342"/>
            <ac:picMk id="92" creationId="{8A3A659B-4363-B46B-737F-B9D84C6C8BCE}"/>
          </ac:picMkLst>
        </pc:picChg>
      </pc:sldChg>
      <pc:sldChg chg="addSp delSp modSp mod">
        <pc:chgData name="Soumaya ZERHOUNI" userId="690e4aa6-586b-4341-8f1a-54a3e7457441" providerId="ADAL" clId="{69AAD651-E566-4914-B951-51E57822A563}" dt="2024-01-31T16:08:26.053" v="6071" actId="21"/>
        <pc:sldMkLst>
          <pc:docMk/>
          <pc:sldMk cId="3529778808" sldId="2147480343"/>
        </pc:sldMkLst>
        <pc:spChg chg="mod">
          <ac:chgData name="Soumaya ZERHOUNI" userId="690e4aa6-586b-4341-8f1a-54a3e7457441" providerId="ADAL" clId="{69AAD651-E566-4914-B951-51E57822A563}" dt="2024-01-31T15:50:46.944" v="5832" actId="554"/>
          <ac:spMkLst>
            <pc:docMk/>
            <pc:sldMk cId="3529778808" sldId="2147480343"/>
            <ac:spMk id="2" creationId="{4A9441C6-1AC1-7F6F-9251-32775F54BB3E}"/>
          </ac:spMkLst>
        </pc:spChg>
        <pc:spChg chg="add del mod">
          <ac:chgData name="Soumaya ZERHOUNI" userId="690e4aa6-586b-4341-8f1a-54a3e7457441" providerId="ADAL" clId="{69AAD651-E566-4914-B951-51E57822A563}" dt="2024-01-31T15:50:49.032" v="5833" actId="21"/>
          <ac:spMkLst>
            <pc:docMk/>
            <pc:sldMk cId="3529778808" sldId="2147480343"/>
            <ac:spMk id="23" creationId="{39709788-DE64-AD6F-6320-A8772919C7B7}"/>
          </ac:spMkLst>
        </pc:spChg>
        <pc:picChg chg="mod">
          <ac:chgData name="Soumaya ZERHOUNI" userId="690e4aa6-586b-4341-8f1a-54a3e7457441" providerId="ADAL" clId="{69AAD651-E566-4914-B951-51E57822A563}" dt="2024-01-31T16:08:11.141" v="6068" actId="553"/>
          <ac:picMkLst>
            <pc:docMk/>
            <pc:sldMk cId="3529778808" sldId="2147480343"/>
            <ac:picMk id="5" creationId="{0A1B4C17-3EA9-619E-B6C1-F115A2DA036E}"/>
          </ac:picMkLst>
        </pc:picChg>
        <pc:picChg chg="add del mod">
          <ac:chgData name="Soumaya ZERHOUNI" userId="690e4aa6-586b-4341-8f1a-54a3e7457441" providerId="ADAL" clId="{69AAD651-E566-4914-B951-51E57822A563}" dt="2024-01-31T15:39:44.088" v="5652" actId="21"/>
          <ac:picMkLst>
            <pc:docMk/>
            <pc:sldMk cId="3529778808" sldId="2147480343"/>
            <ac:picMk id="21" creationId="{C823A551-801D-2F1A-73F6-341831C1306C}"/>
          </ac:picMkLst>
        </pc:picChg>
        <pc:picChg chg="add del mod">
          <ac:chgData name="Soumaya ZERHOUNI" userId="690e4aa6-586b-4341-8f1a-54a3e7457441" providerId="ADAL" clId="{69AAD651-E566-4914-B951-51E57822A563}" dt="2024-01-31T15:40:11.647" v="5664" actId="21"/>
          <ac:picMkLst>
            <pc:docMk/>
            <pc:sldMk cId="3529778808" sldId="2147480343"/>
            <ac:picMk id="22" creationId="{C823A551-801D-2F1A-73F6-341831C1306C}"/>
          </ac:picMkLst>
        </pc:picChg>
        <pc:picChg chg="add del mod modCrop">
          <ac:chgData name="Soumaya ZERHOUNI" userId="690e4aa6-586b-4341-8f1a-54a3e7457441" providerId="ADAL" clId="{69AAD651-E566-4914-B951-51E57822A563}" dt="2024-01-31T16:08:26.053" v="6071" actId="21"/>
          <ac:picMkLst>
            <pc:docMk/>
            <pc:sldMk cId="3529778808" sldId="2147480343"/>
            <ac:picMk id="24" creationId="{114BA55C-C015-3A74-C223-96B343112561}"/>
          </ac:picMkLst>
        </pc:picChg>
      </pc:sldChg>
      <pc:sldChg chg="addSp delSp modSp mod">
        <pc:chgData name="Soumaya ZERHOUNI" userId="690e4aa6-586b-4341-8f1a-54a3e7457441" providerId="ADAL" clId="{69AAD651-E566-4914-B951-51E57822A563}" dt="2024-02-02T16:22:46.891" v="12820" actId="14100"/>
        <pc:sldMkLst>
          <pc:docMk/>
          <pc:sldMk cId="3444909878" sldId="2147480344"/>
        </pc:sldMkLst>
        <pc:spChg chg="mod">
          <ac:chgData name="Soumaya ZERHOUNI" userId="690e4aa6-586b-4341-8f1a-54a3e7457441" providerId="ADAL" clId="{69AAD651-E566-4914-B951-51E57822A563}" dt="2024-01-31T15:51:20.388" v="5842" actId="1076"/>
          <ac:spMkLst>
            <pc:docMk/>
            <pc:sldMk cId="3444909878" sldId="2147480344"/>
            <ac:spMk id="2" creationId="{06AF64C0-132E-B313-A81E-E87E7D447EBD}"/>
          </ac:spMkLst>
        </pc:spChg>
        <pc:spChg chg="mod">
          <ac:chgData name="Soumaya ZERHOUNI" userId="690e4aa6-586b-4341-8f1a-54a3e7457441" providerId="ADAL" clId="{69AAD651-E566-4914-B951-51E57822A563}" dt="2024-02-02T16:18:20.881" v="12717" actId="14100"/>
          <ac:spMkLst>
            <pc:docMk/>
            <pc:sldMk cId="3444909878" sldId="2147480344"/>
            <ac:spMk id="3" creationId="{AF7B4F25-6666-55C3-1103-AFD1986FBD0D}"/>
          </ac:spMkLst>
        </pc:spChg>
        <pc:spChg chg="mod">
          <ac:chgData name="Soumaya ZERHOUNI" userId="690e4aa6-586b-4341-8f1a-54a3e7457441" providerId="ADAL" clId="{69AAD651-E566-4914-B951-51E57822A563}" dt="2024-02-02T16:18:40.913" v="12725" actId="1037"/>
          <ac:spMkLst>
            <pc:docMk/>
            <pc:sldMk cId="3444909878" sldId="2147480344"/>
            <ac:spMk id="11" creationId="{03A9D78A-ADEF-A018-E2D4-8B6F9A53B81E}"/>
          </ac:spMkLst>
        </pc:spChg>
        <pc:spChg chg="mod">
          <ac:chgData name="Soumaya ZERHOUNI" userId="690e4aa6-586b-4341-8f1a-54a3e7457441" providerId="ADAL" clId="{69AAD651-E566-4914-B951-51E57822A563}" dt="2024-02-02T16:18:40.913" v="12725" actId="1037"/>
          <ac:spMkLst>
            <pc:docMk/>
            <pc:sldMk cId="3444909878" sldId="2147480344"/>
            <ac:spMk id="12" creationId="{70A9CE89-825E-61CD-DAE7-2BBF268EA286}"/>
          </ac:spMkLst>
        </pc:spChg>
        <pc:spChg chg="mod">
          <ac:chgData name="Soumaya ZERHOUNI" userId="690e4aa6-586b-4341-8f1a-54a3e7457441" providerId="ADAL" clId="{69AAD651-E566-4914-B951-51E57822A563}" dt="2024-02-02T16:18:40.913" v="12725" actId="1037"/>
          <ac:spMkLst>
            <pc:docMk/>
            <pc:sldMk cId="3444909878" sldId="2147480344"/>
            <ac:spMk id="13" creationId="{569E227F-E5DB-71AD-12D5-3DD1527D3F93}"/>
          </ac:spMkLst>
        </pc:spChg>
        <pc:spChg chg="mod">
          <ac:chgData name="Soumaya ZERHOUNI" userId="690e4aa6-586b-4341-8f1a-54a3e7457441" providerId="ADAL" clId="{69AAD651-E566-4914-B951-51E57822A563}" dt="2024-02-02T16:18:40.913" v="12725" actId="1037"/>
          <ac:spMkLst>
            <pc:docMk/>
            <pc:sldMk cId="3444909878" sldId="2147480344"/>
            <ac:spMk id="14" creationId="{0547F16B-4B78-97E9-7F44-6BC30887EE18}"/>
          </ac:spMkLst>
        </pc:spChg>
        <pc:spChg chg="mod">
          <ac:chgData name="Soumaya ZERHOUNI" userId="690e4aa6-586b-4341-8f1a-54a3e7457441" providerId="ADAL" clId="{69AAD651-E566-4914-B951-51E57822A563}" dt="2024-02-02T16:18:40.913" v="12725" actId="1037"/>
          <ac:spMkLst>
            <pc:docMk/>
            <pc:sldMk cId="3444909878" sldId="2147480344"/>
            <ac:spMk id="15" creationId="{83BA670C-CD63-CE91-33A2-FD21A4DB66E6}"/>
          </ac:spMkLst>
        </pc:spChg>
        <pc:spChg chg="mod">
          <ac:chgData name="Soumaya ZERHOUNI" userId="690e4aa6-586b-4341-8f1a-54a3e7457441" providerId="ADAL" clId="{69AAD651-E566-4914-B951-51E57822A563}" dt="2024-02-02T16:18:40.913" v="12725" actId="1037"/>
          <ac:spMkLst>
            <pc:docMk/>
            <pc:sldMk cId="3444909878" sldId="2147480344"/>
            <ac:spMk id="20" creationId="{9E39A1B4-6BC3-BFE1-5564-2CE6490AB39D}"/>
          </ac:spMkLst>
        </pc:spChg>
        <pc:spChg chg="mod">
          <ac:chgData name="Soumaya ZERHOUNI" userId="690e4aa6-586b-4341-8f1a-54a3e7457441" providerId="ADAL" clId="{69AAD651-E566-4914-B951-51E57822A563}" dt="2024-02-02T16:18:40.913" v="12725" actId="1037"/>
          <ac:spMkLst>
            <pc:docMk/>
            <pc:sldMk cId="3444909878" sldId="2147480344"/>
            <ac:spMk id="21" creationId="{ABA524B8-C5DF-AB3B-5618-E559B1E46F82}"/>
          </ac:spMkLst>
        </pc:spChg>
        <pc:spChg chg="mod">
          <ac:chgData name="Soumaya ZERHOUNI" userId="690e4aa6-586b-4341-8f1a-54a3e7457441" providerId="ADAL" clId="{69AAD651-E566-4914-B951-51E57822A563}" dt="2024-02-02T16:18:40.913" v="12725" actId="1037"/>
          <ac:spMkLst>
            <pc:docMk/>
            <pc:sldMk cId="3444909878" sldId="2147480344"/>
            <ac:spMk id="22" creationId="{C010D907-7061-64EB-EE76-E30EC439D571}"/>
          </ac:spMkLst>
        </pc:spChg>
        <pc:spChg chg="mod">
          <ac:chgData name="Soumaya ZERHOUNI" userId="690e4aa6-586b-4341-8f1a-54a3e7457441" providerId="ADAL" clId="{69AAD651-E566-4914-B951-51E57822A563}" dt="2024-02-02T16:18:40.913" v="12725" actId="1037"/>
          <ac:spMkLst>
            <pc:docMk/>
            <pc:sldMk cId="3444909878" sldId="2147480344"/>
            <ac:spMk id="23" creationId="{4A43A475-292D-B547-BF51-8D66B242618F}"/>
          </ac:spMkLst>
        </pc:spChg>
        <pc:spChg chg="mod">
          <ac:chgData name="Soumaya ZERHOUNI" userId="690e4aa6-586b-4341-8f1a-54a3e7457441" providerId="ADAL" clId="{69AAD651-E566-4914-B951-51E57822A563}" dt="2024-02-02T16:18:40.913" v="12725" actId="1037"/>
          <ac:spMkLst>
            <pc:docMk/>
            <pc:sldMk cId="3444909878" sldId="2147480344"/>
            <ac:spMk id="24" creationId="{7A3D1495-D888-126D-C95D-51D79E80A8D8}"/>
          </ac:spMkLst>
        </pc:spChg>
        <pc:spChg chg="add del mod">
          <ac:chgData name="Soumaya ZERHOUNI" userId="690e4aa6-586b-4341-8f1a-54a3e7457441" providerId="ADAL" clId="{69AAD651-E566-4914-B951-51E57822A563}" dt="2024-02-02T16:00:59.947" v="12488" actId="21"/>
          <ac:spMkLst>
            <pc:docMk/>
            <pc:sldMk cId="3444909878" sldId="2147480344"/>
            <ac:spMk id="26" creationId="{788E0113-6E4E-A257-CC26-18F42944D0C6}"/>
          </ac:spMkLst>
        </pc:spChg>
        <pc:spChg chg="add del mod">
          <ac:chgData name="Soumaya ZERHOUNI" userId="690e4aa6-586b-4341-8f1a-54a3e7457441" providerId="ADAL" clId="{69AAD651-E566-4914-B951-51E57822A563}" dt="2024-01-31T15:51:24.914" v="5843" actId="21"/>
          <ac:spMkLst>
            <pc:docMk/>
            <pc:sldMk cId="3444909878" sldId="2147480344"/>
            <ac:spMk id="27" creationId="{39709788-DE64-AD6F-6320-A8772919C7B7}"/>
          </ac:spMkLst>
        </pc:spChg>
        <pc:spChg chg="add del mod">
          <ac:chgData name="Soumaya ZERHOUNI" userId="690e4aa6-586b-4341-8f1a-54a3e7457441" providerId="ADAL" clId="{69AAD651-E566-4914-B951-51E57822A563}" dt="2024-02-02T16:00:59.947" v="12488" actId="21"/>
          <ac:spMkLst>
            <pc:docMk/>
            <pc:sldMk cId="3444909878" sldId="2147480344"/>
            <ac:spMk id="27" creationId="{CDF7FCD6-922B-476A-B5BD-93E1A1FE1CC4}"/>
          </ac:spMkLst>
        </pc:spChg>
        <pc:grpChg chg="mod">
          <ac:chgData name="Soumaya ZERHOUNI" userId="690e4aa6-586b-4341-8f1a-54a3e7457441" providerId="ADAL" clId="{69AAD651-E566-4914-B951-51E57822A563}" dt="2024-02-02T16:18:40.913" v="12725" actId="1037"/>
          <ac:grpSpMkLst>
            <pc:docMk/>
            <pc:sldMk cId="3444909878" sldId="2147480344"/>
            <ac:grpSpMk id="6" creationId="{474CD609-AA93-F303-1150-E98C4185D389}"/>
          </ac:grpSpMkLst>
        </pc:grpChg>
        <pc:grpChg chg="mod">
          <ac:chgData name="Soumaya ZERHOUNI" userId="690e4aa6-586b-4341-8f1a-54a3e7457441" providerId="ADAL" clId="{69AAD651-E566-4914-B951-51E57822A563}" dt="2024-02-02T16:18:40.913" v="12725" actId="1037"/>
          <ac:grpSpMkLst>
            <pc:docMk/>
            <pc:sldMk cId="3444909878" sldId="2147480344"/>
            <ac:grpSpMk id="9" creationId="{F256AF7C-C984-566D-BEE4-0AFC1016C773}"/>
          </ac:grpSpMkLst>
        </pc:grpChg>
        <pc:grpChg chg="mod">
          <ac:chgData name="Soumaya ZERHOUNI" userId="690e4aa6-586b-4341-8f1a-54a3e7457441" providerId="ADAL" clId="{69AAD651-E566-4914-B951-51E57822A563}" dt="2024-02-02T16:18:40.913" v="12725" actId="1037"/>
          <ac:grpSpMkLst>
            <pc:docMk/>
            <pc:sldMk cId="3444909878" sldId="2147480344"/>
            <ac:grpSpMk id="10" creationId="{8E1B16AC-BC9B-EA53-9B68-B627EFB28A58}"/>
          </ac:grpSpMkLst>
        </pc:grpChg>
        <pc:grpChg chg="mod">
          <ac:chgData name="Soumaya ZERHOUNI" userId="690e4aa6-586b-4341-8f1a-54a3e7457441" providerId="ADAL" clId="{69AAD651-E566-4914-B951-51E57822A563}" dt="2024-02-02T16:18:40.913" v="12725" actId="1037"/>
          <ac:grpSpMkLst>
            <pc:docMk/>
            <pc:sldMk cId="3444909878" sldId="2147480344"/>
            <ac:grpSpMk id="18" creationId="{AF88DA3E-F345-D5FB-4AB0-647857E6B786}"/>
          </ac:grpSpMkLst>
        </pc:grpChg>
        <pc:grpChg chg="mod">
          <ac:chgData name="Soumaya ZERHOUNI" userId="690e4aa6-586b-4341-8f1a-54a3e7457441" providerId="ADAL" clId="{69AAD651-E566-4914-B951-51E57822A563}" dt="2024-02-02T16:18:40.913" v="12725" actId="1037"/>
          <ac:grpSpMkLst>
            <pc:docMk/>
            <pc:sldMk cId="3444909878" sldId="2147480344"/>
            <ac:grpSpMk id="19" creationId="{71D0CA1A-8833-C541-FEA6-7F8D95827316}"/>
          </ac:grpSpMkLst>
        </pc:grpChg>
        <pc:graphicFrameChg chg="mod modGraphic">
          <ac:chgData name="Soumaya ZERHOUNI" userId="690e4aa6-586b-4341-8f1a-54a3e7457441" providerId="ADAL" clId="{69AAD651-E566-4914-B951-51E57822A563}" dt="2024-02-02T16:18:28.357" v="12718" actId="14734"/>
          <ac:graphicFrameMkLst>
            <pc:docMk/>
            <pc:sldMk cId="3444909878" sldId="2147480344"/>
            <ac:graphicFrameMk id="4" creationId="{866FF552-3425-9461-A6AC-2608AD703414}"/>
          </ac:graphicFrameMkLst>
        </pc:graphicFrameChg>
        <pc:graphicFrameChg chg="mod modGraphic">
          <ac:chgData name="Soumaya ZERHOUNI" userId="690e4aa6-586b-4341-8f1a-54a3e7457441" providerId="ADAL" clId="{69AAD651-E566-4914-B951-51E57822A563}" dt="2024-02-02T16:22:46.891" v="12820" actId="14100"/>
          <ac:graphicFrameMkLst>
            <pc:docMk/>
            <pc:sldMk cId="3444909878" sldId="2147480344"/>
            <ac:graphicFrameMk id="5" creationId="{9B826BB9-A900-21A6-F3B2-D05910D927FB}"/>
          </ac:graphicFrameMkLst>
        </pc:graphicFrameChg>
        <pc:picChg chg="mod">
          <ac:chgData name="Soumaya ZERHOUNI" userId="690e4aa6-586b-4341-8f1a-54a3e7457441" providerId="ADAL" clId="{69AAD651-E566-4914-B951-51E57822A563}" dt="2024-02-02T16:18:40.913" v="12725" actId="1037"/>
          <ac:picMkLst>
            <pc:docMk/>
            <pc:sldMk cId="3444909878" sldId="2147480344"/>
            <ac:picMk id="7" creationId="{3EAEA7A9-7784-A6F2-9F7A-9AA670F54311}"/>
          </ac:picMkLst>
        </pc:picChg>
        <pc:picChg chg="mod">
          <ac:chgData name="Soumaya ZERHOUNI" userId="690e4aa6-586b-4341-8f1a-54a3e7457441" providerId="ADAL" clId="{69AAD651-E566-4914-B951-51E57822A563}" dt="2024-02-02T16:18:40.913" v="12725" actId="1037"/>
          <ac:picMkLst>
            <pc:docMk/>
            <pc:sldMk cId="3444909878" sldId="2147480344"/>
            <ac:picMk id="8" creationId="{997DD279-81D7-C8BE-B2A9-B0CA5804B748}"/>
          </ac:picMkLst>
        </pc:picChg>
        <pc:picChg chg="mod">
          <ac:chgData name="Soumaya ZERHOUNI" userId="690e4aa6-586b-4341-8f1a-54a3e7457441" providerId="ADAL" clId="{69AAD651-E566-4914-B951-51E57822A563}" dt="2024-02-02T16:18:40.913" v="12725" actId="1037"/>
          <ac:picMkLst>
            <pc:docMk/>
            <pc:sldMk cId="3444909878" sldId="2147480344"/>
            <ac:picMk id="16" creationId="{EA41296D-85AA-C907-462A-8966361B1DB0}"/>
          </ac:picMkLst>
        </pc:picChg>
        <pc:picChg chg="mod">
          <ac:chgData name="Soumaya ZERHOUNI" userId="690e4aa6-586b-4341-8f1a-54a3e7457441" providerId="ADAL" clId="{69AAD651-E566-4914-B951-51E57822A563}" dt="2024-02-02T16:18:40.913" v="12725" actId="1037"/>
          <ac:picMkLst>
            <pc:docMk/>
            <pc:sldMk cId="3444909878" sldId="2147480344"/>
            <ac:picMk id="17" creationId="{E16F1F40-9EE1-2626-2B0D-F351210A21D9}"/>
          </ac:picMkLst>
        </pc:picChg>
        <pc:picChg chg="mod">
          <ac:chgData name="Soumaya ZERHOUNI" userId="690e4aa6-586b-4341-8f1a-54a3e7457441" providerId="ADAL" clId="{69AAD651-E566-4914-B951-51E57822A563}" dt="2024-02-02T16:18:40.913" v="12725" actId="1037"/>
          <ac:picMkLst>
            <pc:docMk/>
            <pc:sldMk cId="3444909878" sldId="2147480344"/>
            <ac:picMk id="25" creationId="{950E68E2-6860-FEA8-B69E-8580F74F3B4A}"/>
          </ac:picMkLst>
        </pc:picChg>
      </pc:sldChg>
      <pc:sldChg chg="addSp delSp modSp mod">
        <pc:chgData name="Soumaya ZERHOUNI" userId="690e4aa6-586b-4341-8f1a-54a3e7457441" providerId="ADAL" clId="{69AAD651-E566-4914-B951-51E57822A563}" dt="2024-02-02T16:11:10.863" v="12518" actId="14100"/>
        <pc:sldMkLst>
          <pc:docMk/>
          <pc:sldMk cId="2933063749" sldId="2147480349"/>
        </pc:sldMkLst>
        <pc:spChg chg="mod">
          <ac:chgData name="Soumaya ZERHOUNI" userId="690e4aa6-586b-4341-8f1a-54a3e7457441" providerId="ADAL" clId="{69AAD651-E566-4914-B951-51E57822A563}" dt="2024-01-31T15:46:48.930" v="5772" actId="1076"/>
          <ac:spMkLst>
            <pc:docMk/>
            <pc:sldMk cId="2933063749" sldId="2147480349"/>
            <ac:spMk id="2" creationId="{57B1CA06-63B4-1946-F9B7-7FEA0E10B894}"/>
          </ac:spMkLst>
        </pc:spChg>
        <pc:spChg chg="mod">
          <ac:chgData name="Soumaya ZERHOUNI" userId="690e4aa6-586b-4341-8f1a-54a3e7457441" providerId="ADAL" clId="{69AAD651-E566-4914-B951-51E57822A563}" dt="2024-02-02T16:11:10.863" v="12518" actId="14100"/>
          <ac:spMkLst>
            <pc:docMk/>
            <pc:sldMk cId="2933063749" sldId="2147480349"/>
            <ac:spMk id="3" creationId="{611F5D4A-A6BF-A0D8-176B-4FDAA7CE617D}"/>
          </ac:spMkLst>
        </pc:spChg>
        <pc:spChg chg="mod">
          <ac:chgData name="Soumaya ZERHOUNI" userId="690e4aa6-586b-4341-8f1a-54a3e7457441" providerId="ADAL" clId="{69AAD651-E566-4914-B951-51E57822A563}" dt="2024-02-02T15:48:59.218" v="12294" actId="1036"/>
          <ac:spMkLst>
            <pc:docMk/>
            <pc:sldMk cId="2933063749" sldId="2147480349"/>
            <ac:spMk id="10" creationId="{391DB494-1EC2-2B24-F0D2-B6211799DD7D}"/>
          </ac:spMkLst>
        </pc:spChg>
        <pc:spChg chg="mod">
          <ac:chgData name="Soumaya ZERHOUNI" userId="690e4aa6-586b-4341-8f1a-54a3e7457441" providerId="ADAL" clId="{69AAD651-E566-4914-B951-51E57822A563}" dt="2024-02-02T15:48:59.218" v="12294" actId="1036"/>
          <ac:spMkLst>
            <pc:docMk/>
            <pc:sldMk cId="2933063749" sldId="2147480349"/>
            <ac:spMk id="11" creationId="{36AD624B-E088-D137-D140-9F68C1663318}"/>
          </ac:spMkLst>
        </pc:spChg>
        <pc:spChg chg="mod">
          <ac:chgData name="Soumaya ZERHOUNI" userId="690e4aa6-586b-4341-8f1a-54a3e7457441" providerId="ADAL" clId="{69AAD651-E566-4914-B951-51E57822A563}" dt="2024-02-02T15:48:59.218" v="12294" actId="1036"/>
          <ac:spMkLst>
            <pc:docMk/>
            <pc:sldMk cId="2933063749" sldId="2147480349"/>
            <ac:spMk id="12" creationId="{AE692266-4F89-60DD-B37B-94AD83DBC385}"/>
          </ac:spMkLst>
        </pc:spChg>
        <pc:spChg chg="mod">
          <ac:chgData name="Soumaya ZERHOUNI" userId="690e4aa6-586b-4341-8f1a-54a3e7457441" providerId="ADAL" clId="{69AAD651-E566-4914-B951-51E57822A563}" dt="2024-02-02T15:48:59.218" v="12294" actId="1036"/>
          <ac:spMkLst>
            <pc:docMk/>
            <pc:sldMk cId="2933063749" sldId="2147480349"/>
            <ac:spMk id="13" creationId="{48DEA191-C587-323E-9FDE-4970407CB548}"/>
          </ac:spMkLst>
        </pc:spChg>
        <pc:spChg chg="mod">
          <ac:chgData name="Soumaya ZERHOUNI" userId="690e4aa6-586b-4341-8f1a-54a3e7457441" providerId="ADAL" clId="{69AAD651-E566-4914-B951-51E57822A563}" dt="2024-02-02T15:48:59.218" v="12294" actId="1036"/>
          <ac:spMkLst>
            <pc:docMk/>
            <pc:sldMk cId="2933063749" sldId="2147480349"/>
            <ac:spMk id="17" creationId="{A7499ADB-8AAC-7449-1DB4-87242B1E8548}"/>
          </ac:spMkLst>
        </pc:spChg>
        <pc:spChg chg="mod">
          <ac:chgData name="Soumaya ZERHOUNI" userId="690e4aa6-586b-4341-8f1a-54a3e7457441" providerId="ADAL" clId="{69AAD651-E566-4914-B951-51E57822A563}" dt="2024-02-02T15:48:59.218" v="12294" actId="1036"/>
          <ac:spMkLst>
            <pc:docMk/>
            <pc:sldMk cId="2933063749" sldId="2147480349"/>
            <ac:spMk id="18" creationId="{9E261EAC-3615-EAE0-A9C4-8B94C3A1EB6C}"/>
          </ac:spMkLst>
        </pc:spChg>
        <pc:spChg chg="add del mod">
          <ac:chgData name="Soumaya ZERHOUNI" userId="690e4aa6-586b-4341-8f1a-54a3e7457441" providerId="ADAL" clId="{69AAD651-E566-4914-B951-51E57822A563}" dt="2024-02-02T15:49:05.534" v="12295" actId="21"/>
          <ac:spMkLst>
            <pc:docMk/>
            <pc:sldMk cId="2933063749" sldId="2147480349"/>
            <ac:spMk id="28" creationId="{788E0113-6E4E-A257-CC26-18F42944D0C6}"/>
          </ac:spMkLst>
        </pc:spChg>
        <pc:spChg chg="add del mod">
          <ac:chgData name="Soumaya ZERHOUNI" userId="690e4aa6-586b-4341-8f1a-54a3e7457441" providerId="ADAL" clId="{69AAD651-E566-4914-B951-51E57822A563}" dt="2024-02-02T15:49:57.919" v="12308" actId="21"/>
          <ac:spMkLst>
            <pc:docMk/>
            <pc:sldMk cId="2933063749" sldId="2147480349"/>
            <ac:spMk id="29" creationId="{788E0113-6E4E-A257-CC26-18F42944D0C6}"/>
          </ac:spMkLst>
        </pc:spChg>
        <pc:spChg chg="add del mod">
          <ac:chgData name="Soumaya ZERHOUNI" userId="690e4aa6-586b-4341-8f1a-54a3e7457441" providerId="ADAL" clId="{69AAD651-E566-4914-B951-51E57822A563}" dt="2024-02-02T15:49:57.919" v="12308" actId="21"/>
          <ac:spMkLst>
            <pc:docMk/>
            <pc:sldMk cId="2933063749" sldId="2147480349"/>
            <ac:spMk id="31" creationId="{CDF7FCD6-922B-476A-B5BD-93E1A1FE1CC4}"/>
          </ac:spMkLst>
        </pc:spChg>
        <pc:graphicFrameChg chg="mod modGraphic">
          <ac:chgData name="Soumaya ZERHOUNI" userId="690e4aa6-586b-4341-8f1a-54a3e7457441" providerId="ADAL" clId="{69AAD651-E566-4914-B951-51E57822A563}" dt="2024-02-02T15:48:59.218" v="12294" actId="1036"/>
          <ac:graphicFrameMkLst>
            <pc:docMk/>
            <pc:sldMk cId="2933063749" sldId="2147480349"/>
            <ac:graphicFrameMk id="4" creationId="{3C6C7661-FACF-12B1-EE92-D9EF78EC9C24}"/>
          </ac:graphicFrameMkLst>
        </pc:graphicFrameChg>
        <pc:graphicFrameChg chg="mod modGraphic">
          <ac:chgData name="Soumaya ZERHOUNI" userId="690e4aa6-586b-4341-8f1a-54a3e7457441" providerId="ADAL" clId="{69AAD651-E566-4914-B951-51E57822A563}" dt="2024-02-02T15:48:59.218" v="12294" actId="1036"/>
          <ac:graphicFrameMkLst>
            <pc:docMk/>
            <pc:sldMk cId="2933063749" sldId="2147480349"/>
            <ac:graphicFrameMk id="5" creationId="{6621F611-0EC7-2C3E-4764-B923409F0FBA}"/>
          </ac:graphicFrameMkLst>
        </pc:graphicFrameChg>
        <pc:picChg chg="mod">
          <ac:chgData name="Soumaya ZERHOUNI" userId="690e4aa6-586b-4341-8f1a-54a3e7457441" providerId="ADAL" clId="{69AAD651-E566-4914-B951-51E57822A563}" dt="2024-02-02T15:48:59.218" v="12294" actId="1036"/>
          <ac:picMkLst>
            <pc:docMk/>
            <pc:sldMk cId="2933063749" sldId="2147480349"/>
            <ac:picMk id="6" creationId="{472F185C-5128-F60D-A1DF-32CDE7C8EC39}"/>
          </ac:picMkLst>
        </pc:picChg>
        <pc:picChg chg="mod">
          <ac:chgData name="Soumaya ZERHOUNI" userId="690e4aa6-586b-4341-8f1a-54a3e7457441" providerId="ADAL" clId="{69AAD651-E566-4914-B951-51E57822A563}" dt="2024-02-02T15:48:59.218" v="12294" actId="1036"/>
          <ac:picMkLst>
            <pc:docMk/>
            <pc:sldMk cId="2933063749" sldId="2147480349"/>
            <ac:picMk id="7" creationId="{46516ED8-0FB8-4F7B-3F43-7ECEAB41D097}"/>
          </ac:picMkLst>
        </pc:picChg>
        <pc:picChg chg="mod">
          <ac:chgData name="Soumaya ZERHOUNI" userId="690e4aa6-586b-4341-8f1a-54a3e7457441" providerId="ADAL" clId="{69AAD651-E566-4914-B951-51E57822A563}" dt="2024-02-02T15:48:59.218" v="12294" actId="1036"/>
          <ac:picMkLst>
            <pc:docMk/>
            <pc:sldMk cId="2933063749" sldId="2147480349"/>
            <ac:picMk id="8" creationId="{EF22A10E-4664-EBFE-8C48-9E6100D7B188}"/>
          </ac:picMkLst>
        </pc:picChg>
        <pc:picChg chg="mod">
          <ac:chgData name="Soumaya ZERHOUNI" userId="690e4aa6-586b-4341-8f1a-54a3e7457441" providerId="ADAL" clId="{69AAD651-E566-4914-B951-51E57822A563}" dt="2024-02-02T15:48:59.218" v="12294" actId="1036"/>
          <ac:picMkLst>
            <pc:docMk/>
            <pc:sldMk cId="2933063749" sldId="2147480349"/>
            <ac:picMk id="9" creationId="{FCDBDE7B-5295-D7C3-A1E5-62922B286BB0}"/>
          </ac:picMkLst>
        </pc:picChg>
        <pc:picChg chg="mod">
          <ac:chgData name="Soumaya ZERHOUNI" userId="690e4aa6-586b-4341-8f1a-54a3e7457441" providerId="ADAL" clId="{69AAD651-E566-4914-B951-51E57822A563}" dt="2024-02-02T15:48:59.218" v="12294" actId="1036"/>
          <ac:picMkLst>
            <pc:docMk/>
            <pc:sldMk cId="2933063749" sldId="2147480349"/>
            <ac:picMk id="14" creationId="{CE9FF60F-56DB-DC9C-5AAA-5A2A5E835A75}"/>
          </ac:picMkLst>
        </pc:picChg>
        <pc:picChg chg="mod">
          <ac:chgData name="Soumaya ZERHOUNI" userId="690e4aa6-586b-4341-8f1a-54a3e7457441" providerId="ADAL" clId="{69AAD651-E566-4914-B951-51E57822A563}" dt="2024-02-02T15:48:59.218" v="12294" actId="1036"/>
          <ac:picMkLst>
            <pc:docMk/>
            <pc:sldMk cId="2933063749" sldId="2147480349"/>
            <ac:picMk id="15" creationId="{B0B1BEB7-0A0C-BC4E-1DC1-BB53ED111E17}"/>
          </ac:picMkLst>
        </pc:picChg>
        <pc:picChg chg="mod">
          <ac:chgData name="Soumaya ZERHOUNI" userId="690e4aa6-586b-4341-8f1a-54a3e7457441" providerId="ADAL" clId="{69AAD651-E566-4914-B951-51E57822A563}" dt="2024-02-02T15:48:59.218" v="12294" actId="1036"/>
          <ac:picMkLst>
            <pc:docMk/>
            <pc:sldMk cId="2933063749" sldId="2147480349"/>
            <ac:picMk id="16" creationId="{3727B052-A200-E682-213A-4D99FA120A8D}"/>
          </ac:picMkLst>
        </pc:picChg>
        <pc:picChg chg="mod">
          <ac:chgData name="Soumaya ZERHOUNI" userId="690e4aa6-586b-4341-8f1a-54a3e7457441" providerId="ADAL" clId="{69AAD651-E566-4914-B951-51E57822A563}" dt="2024-02-02T15:48:59.218" v="12294" actId="1036"/>
          <ac:picMkLst>
            <pc:docMk/>
            <pc:sldMk cId="2933063749" sldId="2147480349"/>
            <ac:picMk id="19" creationId="{4A71800E-E3B0-E6AC-56B1-29C4C759D30E}"/>
          </ac:picMkLst>
        </pc:picChg>
        <pc:picChg chg="mod">
          <ac:chgData name="Soumaya ZERHOUNI" userId="690e4aa6-586b-4341-8f1a-54a3e7457441" providerId="ADAL" clId="{69AAD651-E566-4914-B951-51E57822A563}" dt="2024-02-02T15:48:59.218" v="12294" actId="1036"/>
          <ac:picMkLst>
            <pc:docMk/>
            <pc:sldMk cId="2933063749" sldId="2147480349"/>
            <ac:picMk id="20" creationId="{6CE5204C-E4E2-5303-4FC1-057942B38DD7}"/>
          </ac:picMkLst>
        </pc:picChg>
        <pc:picChg chg="mod">
          <ac:chgData name="Soumaya ZERHOUNI" userId="690e4aa6-586b-4341-8f1a-54a3e7457441" providerId="ADAL" clId="{69AAD651-E566-4914-B951-51E57822A563}" dt="2024-02-02T15:48:59.218" v="12294" actId="1036"/>
          <ac:picMkLst>
            <pc:docMk/>
            <pc:sldMk cId="2933063749" sldId="2147480349"/>
            <ac:picMk id="21" creationId="{2B1890F3-D60C-E729-619E-384618863CE4}"/>
          </ac:picMkLst>
        </pc:picChg>
        <pc:picChg chg="mod">
          <ac:chgData name="Soumaya ZERHOUNI" userId="690e4aa6-586b-4341-8f1a-54a3e7457441" providerId="ADAL" clId="{69AAD651-E566-4914-B951-51E57822A563}" dt="2024-02-02T15:48:59.218" v="12294" actId="1036"/>
          <ac:picMkLst>
            <pc:docMk/>
            <pc:sldMk cId="2933063749" sldId="2147480349"/>
            <ac:picMk id="22" creationId="{2AF68141-E9A0-31F5-113F-D6F1488BA07B}"/>
          </ac:picMkLst>
        </pc:picChg>
        <pc:picChg chg="mod">
          <ac:chgData name="Soumaya ZERHOUNI" userId="690e4aa6-586b-4341-8f1a-54a3e7457441" providerId="ADAL" clId="{69AAD651-E566-4914-B951-51E57822A563}" dt="2024-02-02T15:48:59.218" v="12294" actId="1036"/>
          <ac:picMkLst>
            <pc:docMk/>
            <pc:sldMk cId="2933063749" sldId="2147480349"/>
            <ac:picMk id="23" creationId="{2A8BA989-4731-7FE2-CB7E-4A6542D69C1E}"/>
          </ac:picMkLst>
        </pc:picChg>
        <pc:picChg chg="mod">
          <ac:chgData name="Soumaya ZERHOUNI" userId="690e4aa6-586b-4341-8f1a-54a3e7457441" providerId="ADAL" clId="{69AAD651-E566-4914-B951-51E57822A563}" dt="2024-02-02T15:48:59.218" v="12294" actId="1036"/>
          <ac:picMkLst>
            <pc:docMk/>
            <pc:sldMk cId="2933063749" sldId="2147480349"/>
            <ac:picMk id="24" creationId="{F8BB7969-33E5-3491-D07D-87CEF6873A60}"/>
          </ac:picMkLst>
        </pc:picChg>
        <pc:picChg chg="mod">
          <ac:chgData name="Soumaya ZERHOUNI" userId="690e4aa6-586b-4341-8f1a-54a3e7457441" providerId="ADAL" clId="{69AAD651-E566-4914-B951-51E57822A563}" dt="2024-02-02T15:48:59.218" v="12294" actId="1036"/>
          <ac:picMkLst>
            <pc:docMk/>
            <pc:sldMk cId="2933063749" sldId="2147480349"/>
            <ac:picMk id="25" creationId="{396A85CB-4B7C-9132-2272-06968582A1C4}"/>
          </ac:picMkLst>
        </pc:picChg>
        <pc:picChg chg="mod">
          <ac:chgData name="Soumaya ZERHOUNI" userId="690e4aa6-586b-4341-8f1a-54a3e7457441" providerId="ADAL" clId="{69AAD651-E566-4914-B951-51E57822A563}" dt="2024-02-02T15:48:59.218" v="12294" actId="1036"/>
          <ac:picMkLst>
            <pc:docMk/>
            <pc:sldMk cId="2933063749" sldId="2147480349"/>
            <ac:picMk id="26" creationId="{58B8A3A0-510C-FF19-72B6-B29FE60D8C42}"/>
          </ac:picMkLst>
        </pc:picChg>
        <pc:picChg chg="mod">
          <ac:chgData name="Soumaya ZERHOUNI" userId="690e4aa6-586b-4341-8f1a-54a3e7457441" providerId="ADAL" clId="{69AAD651-E566-4914-B951-51E57822A563}" dt="2024-02-02T15:48:59.218" v="12294" actId="1036"/>
          <ac:picMkLst>
            <pc:docMk/>
            <pc:sldMk cId="2933063749" sldId="2147480349"/>
            <ac:picMk id="27" creationId="{29D0782F-AFBA-5431-947B-E8E4B6C346FA}"/>
          </ac:picMkLst>
        </pc:picChg>
        <pc:picChg chg="add del mod">
          <ac:chgData name="Soumaya ZERHOUNI" userId="690e4aa6-586b-4341-8f1a-54a3e7457441" providerId="ADAL" clId="{69AAD651-E566-4914-B951-51E57822A563}" dt="2024-01-31T15:38:40.035" v="5636" actId="21"/>
          <ac:picMkLst>
            <pc:docMk/>
            <pc:sldMk cId="2933063749" sldId="2147480349"/>
            <ac:picMk id="29" creationId="{C823A551-801D-2F1A-73F6-341831C1306C}"/>
          </ac:picMkLst>
        </pc:picChg>
        <pc:picChg chg="add mod">
          <ac:chgData name="Soumaya ZERHOUNI" userId="690e4aa6-586b-4341-8f1a-54a3e7457441" providerId="ADAL" clId="{69AAD651-E566-4914-B951-51E57822A563}" dt="2024-01-31T15:40:33.389" v="5665"/>
          <ac:picMkLst>
            <pc:docMk/>
            <pc:sldMk cId="2933063749" sldId="2147480349"/>
            <ac:picMk id="30" creationId="{C823A551-801D-2F1A-73F6-341831C1306C}"/>
          </ac:picMkLst>
        </pc:picChg>
      </pc:sldChg>
      <pc:sldChg chg="addSp delSp modSp mod">
        <pc:chgData name="Soumaya ZERHOUNI" userId="690e4aa6-586b-4341-8f1a-54a3e7457441" providerId="ADAL" clId="{69AAD651-E566-4914-B951-51E57822A563}" dt="2024-02-02T17:26:34.287" v="12859" actId="2"/>
        <pc:sldMkLst>
          <pc:docMk/>
          <pc:sldMk cId="3321415146" sldId="2147482331"/>
        </pc:sldMkLst>
        <pc:spChg chg="add del mod">
          <ac:chgData name="Soumaya ZERHOUNI" userId="690e4aa6-586b-4341-8f1a-54a3e7457441" providerId="ADAL" clId="{69AAD651-E566-4914-B951-51E57822A563}" dt="2024-01-31T15:29:53.652" v="5602" actId="21"/>
          <ac:spMkLst>
            <pc:docMk/>
            <pc:sldMk cId="3321415146" sldId="2147482331"/>
            <ac:spMk id="21" creationId="{C124D77C-535F-5AC4-1115-2BDE686461FD}"/>
          </ac:spMkLst>
        </pc:spChg>
        <pc:spChg chg="mod">
          <ac:chgData name="Soumaya ZERHOUNI" userId="690e4aa6-586b-4341-8f1a-54a3e7457441" providerId="ADAL" clId="{69AAD651-E566-4914-B951-51E57822A563}" dt="2024-01-31T15:29:37.061" v="5599" actId="207"/>
          <ac:spMkLst>
            <pc:docMk/>
            <pc:sldMk cId="3321415146" sldId="2147482331"/>
            <ac:spMk id="30" creationId="{A8A15718-341E-1618-BBFE-8DE79C4D1726}"/>
          </ac:spMkLst>
        </pc:spChg>
        <pc:spChg chg="mod">
          <ac:chgData name="Soumaya ZERHOUNI" userId="690e4aa6-586b-4341-8f1a-54a3e7457441" providerId="ADAL" clId="{69AAD651-E566-4914-B951-51E57822A563}" dt="2024-01-31T15:29:51.291" v="5601" actId="554"/>
          <ac:spMkLst>
            <pc:docMk/>
            <pc:sldMk cId="3321415146" sldId="2147482331"/>
            <ac:spMk id="31" creationId="{DCE0C919-2FF0-B960-B4CB-977F62465439}"/>
          </ac:spMkLst>
        </pc:spChg>
        <pc:spChg chg="mod">
          <ac:chgData name="Soumaya ZERHOUNI" userId="690e4aa6-586b-4341-8f1a-54a3e7457441" providerId="ADAL" clId="{69AAD651-E566-4914-B951-51E57822A563}" dt="2024-02-02T17:26:34.287" v="12859" actId="2"/>
          <ac:spMkLst>
            <pc:docMk/>
            <pc:sldMk cId="3321415146" sldId="2147482331"/>
            <ac:spMk id="41" creationId="{91B6A13E-3269-4257-3B1F-192758E6E957}"/>
          </ac:spMkLst>
        </pc:spChg>
      </pc:sldChg>
      <pc:sldChg chg="addSp delSp modSp mod">
        <pc:chgData name="Soumaya ZERHOUNI" userId="690e4aa6-586b-4341-8f1a-54a3e7457441" providerId="ADAL" clId="{69AAD651-E566-4914-B951-51E57822A563}" dt="2024-01-31T15:27:39.505" v="5572" actId="21"/>
        <pc:sldMkLst>
          <pc:docMk/>
          <pc:sldMk cId="1749439792" sldId="2147482332"/>
        </pc:sldMkLst>
        <pc:spChg chg="mod">
          <ac:chgData name="Soumaya ZERHOUNI" userId="690e4aa6-586b-4341-8f1a-54a3e7457441" providerId="ADAL" clId="{69AAD651-E566-4914-B951-51E57822A563}" dt="2024-01-31T15:27:37.035" v="5571" actId="554"/>
          <ac:spMkLst>
            <pc:docMk/>
            <pc:sldMk cId="1749439792" sldId="2147482332"/>
            <ac:spMk id="3" creationId="{42DA54D8-BD8E-C42B-629D-8F6685218EA8}"/>
          </ac:spMkLst>
        </pc:spChg>
        <pc:spChg chg="add del mod">
          <ac:chgData name="Soumaya ZERHOUNI" userId="690e4aa6-586b-4341-8f1a-54a3e7457441" providerId="ADAL" clId="{69AAD651-E566-4914-B951-51E57822A563}" dt="2024-01-31T15:27:39.505" v="5572" actId="21"/>
          <ac:spMkLst>
            <pc:docMk/>
            <pc:sldMk cId="1749439792" sldId="2147482332"/>
            <ac:spMk id="38" creationId="{C124D77C-535F-5AC4-1115-2BDE686461FD}"/>
          </ac:spMkLst>
        </pc:spChg>
      </pc:sldChg>
      <pc:sldChg chg="addSp delSp modSp mod delCm">
        <pc:chgData name="Soumaya ZERHOUNI" userId="690e4aa6-586b-4341-8f1a-54a3e7457441" providerId="ADAL" clId="{69AAD651-E566-4914-B951-51E57822A563}" dt="2024-02-01T10:59:58.155" v="7176" actId="478"/>
        <pc:sldMkLst>
          <pc:docMk/>
          <pc:sldMk cId="2655133361" sldId="2147482333"/>
        </pc:sldMkLst>
        <pc:spChg chg="mod">
          <ac:chgData name="Soumaya ZERHOUNI" userId="690e4aa6-586b-4341-8f1a-54a3e7457441" providerId="ADAL" clId="{69AAD651-E566-4914-B951-51E57822A563}" dt="2024-01-31T17:22:38.511" v="6704" actId="2711"/>
          <ac:spMkLst>
            <pc:docMk/>
            <pc:sldMk cId="2655133361" sldId="2147482333"/>
            <ac:spMk id="3" creationId="{1B0CF0A1-8A11-8462-D143-C7C523CD7DE4}"/>
          </ac:spMkLst>
        </pc:spChg>
        <pc:spChg chg="add del mod">
          <ac:chgData name="Soumaya ZERHOUNI" userId="690e4aa6-586b-4341-8f1a-54a3e7457441" providerId="ADAL" clId="{69AAD651-E566-4914-B951-51E57822A563}" dt="2024-02-01T10:59:58.155" v="7176" actId="478"/>
          <ac:spMkLst>
            <pc:docMk/>
            <pc:sldMk cId="2655133361" sldId="2147482333"/>
            <ac:spMk id="5" creationId="{0157C684-8D77-5779-880A-1FC55669A47B}"/>
          </ac:spMkLst>
        </pc:spChg>
        <pc:extLst>
          <p:ext xmlns:p="http://schemas.openxmlformats.org/presentationml/2006/main" uri="{D6D511B9-2390-475A-947B-AFAB55BFBCF1}">
            <pc226:cmChg xmlns:pc226="http://schemas.microsoft.com/office/powerpoint/2022/06/main/command" chg="del">
              <pc226:chgData name="Soumaya ZERHOUNI" userId="690e4aa6-586b-4341-8f1a-54a3e7457441" providerId="ADAL" clId="{69AAD651-E566-4914-B951-51E57822A563}" dt="2024-01-31T17:20:34.750" v="6697"/>
              <pc2:cmMkLst xmlns:pc2="http://schemas.microsoft.com/office/powerpoint/2019/9/main/command">
                <pc:docMk/>
                <pc:sldMk cId="2655133361" sldId="2147482333"/>
                <pc2:cmMk id="{2BC47CE2-4482-4397-A42C-4D3E5103F0EA}"/>
              </pc2:cmMkLst>
            </pc226:cmChg>
          </p:ext>
        </pc:extLst>
      </pc:sldChg>
      <pc:sldChg chg="modSp mod delCm">
        <pc:chgData name="Soumaya ZERHOUNI" userId="690e4aa6-586b-4341-8f1a-54a3e7457441" providerId="ADAL" clId="{69AAD651-E566-4914-B951-51E57822A563}" dt="2024-02-02T10:25:18.536" v="11821" actId="6549"/>
        <pc:sldMkLst>
          <pc:docMk/>
          <pc:sldMk cId="2591449438" sldId="2147482334"/>
        </pc:sldMkLst>
        <pc:spChg chg="mod">
          <ac:chgData name="Soumaya ZERHOUNI" userId="690e4aa6-586b-4341-8f1a-54a3e7457441" providerId="ADAL" clId="{69AAD651-E566-4914-B951-51E57822A563}" dt="2024-02-02T10:25:18.536" v="11821" actId="6549"/>
          <ac:spMkLst>
            <pc:docMk/>
            <pc:sldMk cId="2591449438" sldId="2147482334"/>
            <ac:spMk id="4" creationId="{087614AE-76F2-9F6F-1007-476639A2ED05}"/>
          </ac:spMkLst>
        </pc:spChg>
        <pc:extLst>
          <p:ext xmlns:p="http://schemas.openxmlformats.org/presentationml/2006/main" uri="{D6D511B9-2390-475A-947B-AFAB55BFBCF1}">
            <pc226:cmChg xmlns:pc226="http://schemas.microsoft.com/office/powerpoint/2022/06/main/command" chg="del">
              <pc226:chgData name="Soumaya ZERHOUNI" userId="690e4aa6-586b-4341-8f1a-54a3e7457441" providerId="ADAL" clId="{69AAD651-E566-4914-B951-51E57822A563}" dt="2024-01-31T17:20:59.958" v="6699"/>
              <pc2:cmMkLst xmlns:pc2="http://schemas.microsoft.com/office/powerpoint/2019/9/main/command">
                <pc:docMk/>
                <pc:sldMk cId="2591449438" sldId="2147482334"/>
                <pc2:cmMk id="{8992BA97-B316-4CEF-AE81-30E4E398EB85}"/>
              </pc2:cmMkLst>
            </pc226:cmChg>
          </p:ext>
        </pc:extLst>
      </pc:sldChg>
      <pc:sldChg chg="delSp modSp mod">
        <pc:chgData name="Soumaya ZERHOUNI" userId="690e4aa6-586b-4341-8f1a-54a3e7457441" providerId="ADAL" clId="{69AAD651-E566-4914-B951-51E57822A563}" dt="2024-02-01T12:26:54.741" v="7989" actId="255"/>
        <pc:sldMkLst>
          <pc:docMk/>
          <pc:sldMk cId="3375436117" sldId="2147482335"/>
        </pc:sldMkLst>
        <pc:spChg chg="mod">
          <ac:chgData name="Soumaya ZERHOUNI" userId="690e4aa6-586b-4341-8f1a-54a3e7457441" providerId="ADAL" clId="{69AAD651-E566-4914-B951-51E57822A563}" dt="2024-01-31T17:23:19.838" v="6707" actId="2711"/>
          <ac:spMkLst>
            <pc:docMk/>
            <pc:sldMk cId="3375436117" sldId="2147482335"/>
            <ac:spMk id="2" creationId="{A2D57B31-7B0D-92C3-B33F-D94DC4725E53}"/>
          </ac:spMkLst>
        </pc:spChg>
        <pc:spChg chg="mod">
          <ac:chgData name="Soumaya ZERHOUNI" userId="690e4aa6-586b-4341-8f1a-54a3e7457441" providerId="ADAL" clId="{69AAD651-E566-4914-B951-51E57822A563}" dt="2024-01-31T17:23:32.412" v="6710" actId="2711"/>
          <ac:spMkLst>
            <pc:docMk/>
            <pc:sldMk cId="3375436117" sldId="2147482335"/>
            <ac:spMk id="3" creationId="{0A7DACFE-1E91-2AC3-FB74-FCFF68CD8323}"/>
          </ac:spMkLst>
        </pc:spChg>
        <pc:spChg chg="mod">
          <ac:chgData name="Soumaya ZERHOUNI" userId="690e4aa6-586b-4341-8f1a-54a3e7457441" providerId="ADAL" clId="{69AAD651-E566-4914-B951-51E57822A563}" dt="2024-01-31T17:23:32.412" v="6710" actId="2711"/>
          <ac:spMkLst>
            <pc:docMk/>
            <pc:sldMk cId="3375436117" sldId="2147482335"/>
            <ac:spMk id="4" creationId="{6408A7FC-E207-C50E-12A8-D818A640F414}"/>
          </ac:spMkLst>
        </pc:spChg>
        <pc:spChg chg="mod">
          <ac:chgData name="Soumaya ZERHOUNI" userId="690e4aa6-586b-4341-8f1a-54a3e7457441" providerId="ADAL" clId="{69AAD651-E566-4914-B951-51E57822A563}" dt="2024-01-31T17:23:32.412" v="6710" actId="2711"/>
          <ac:spMkLst>
            <pc:docMk/>
            <pc:sldMk cId="3375436117" sldId="2147482335"/>
            <ac:spMk id="5" creationId="{AF40F4C9-CA22-14B9-FDFA-244D424572A1}"/>
          </ac:spMkLst>
        </pc:spChg>
        <pc:spChg chg="mod">
          <ac:chgData name="Soumaya ZERHOUNI" userId="690e4aa6-586b-4341-8f1a-54a3e7457441" providerId="ADAL" clId="{69AAD651-E566-4914-B951-51E57822A563}" dt="2024-02-01T12:26:54.741" v="7989" actId="255"/>
          <ac:spMkLst>
            <pc:docMk/>
            <pc:sldMk cId="3375436117" sldId="2147482335"/>
            <ac:spMk id="6" creationId="{0942EEF4-9BF1-4B40-0856-882B0F2FE1ED}"/>
          </ac:spMkLst>
        </pc:spChg>
        <pc:spChg chg="mod">
          <ac:chgData name="Soumaya ZERHOUNI" userId="690e4aa6-586b-4341-8f1a-54a3e7457441" providerId="ADAL" clId="{69AAD651-E566-4914-B951-51E57822A563}" dt="2024-01-31T17:23:32.412" v="6710" actId="2711"/>
          <ac:spMkLst>
            <pc:docMk/>
            <pc:sldMk cId="3375436117" sldId="2147482335"/>
            <ac:spMk id="12" creationId="{FCFA250D-5B65-A1C5-69BD-58C9062DEDF6}"/>
          </ac:spMkLst>
        </pc:spChg>
        <pc:spChg chg="mod">
          <ac:chgData name="Soumaya ZERHOUNI" userId="690e4aa6-586b-4341-8f1a-54a3e7457441" providerId="ADAL" clId="{69AAD651-E566-4914-B951-51E57822A563}" dt="2024-01-31T17:23:32.412" v="6710" actId="2711"/>
          <ac:spMkLst>
            <pc:docMk/>
            <pc:sldMk cId="3375436117" sldId="2147482335"/>
            <ac:spMk id="13" creationId="{6414D3B7-D2DD-BDC7-A8B5-142AB4528379}"/>
          </ac:spMkLst>
        </pc:spChg>
        <pc:spChg chg="mod">
          <ac:chgData name="Soumaya ZERHOUNI" userId="690e4aa6-586b-4341-8f1a-54a3e7457441" providerId="ADAL" clId="{69AAD651-E566-4914-B951-51E57822A563}" dt="2024-01-31T17:23:32.412" v="6710" actId="2711"/>
          <ac:spMkLst>
            <pc:docMk/>
            <pc:sldMk cId="3375436117" sldId="2147482335"/>
            <ac:spMk id="14" creationId="{79DEBB1C-A2D5-25C2-B1FB-740A1A2E6F47}"/>
          </ac:spMkLst>
        </pc:spChg>
        <pc:spChg chg="mod">
          <ac:chgData name="Soumaya ZERHOUNI" userId="690e4aa6-586b-4341-8f1a-54a3e7457441" providerId="ADAL" clId="{69AAD651-E566-4914-B951-51E57822A563}" dt="2024-01-31T17:23:32.412" v="6710" actId="2711"/>
          <ac:spMkLst>
            <pc:docMk/>
            <pc:sldMk cId="3375436117" sldId="2147482335"/>
            <ac:spMk id="15" creationId="{5A1329A8-6F60-C9C3-5E39-A13D2EC76CE3}"/>
          </ac:spMkLst>
        </pc:spChg>
        <pc:spChg chg="mod">
          <ac:chgData name="Soumaya ZERHOUNI" userId="690e4aa6-586b-4341-8f1a-54a3e7457441" providerId="ADAL" clId="{69AAD651-E566-4914-B951-51E57822A563}" dt="2024-01-31T17:23:32.412" v="6710" actId="2711"/>
          <ac:spMkLst>
            <pc:docMk/>
            <pc:sldMk cId="3375436117" sldId="2147482335"/>
            <ac:spMk id="16" creationId="{C4637428-3174-4A3E-7BD6-E1E52594472E}"/>
          </ac:spMkLst>
        </pc:spChg>
        <pc:spChg chg="mod">
          <ac:chgData name="Soumaya ZERHOUNI" userId="690e4aa6-586b-4341-8f1a-54a3e7457441" providerId="ADAL" clId="{69AAD651-E566-4914-B951-51E57822A563}" dt="2024-01-31T17:23:32.412" v="6710" actId="2711"/>
          <ac:spMkLst>
            <pc:docMk/>
            <pc:sldMk cId="3375436117" sldId="2147482335"/>
            <ac:spMk id="17" creationId="{C78804CD-DE30-6511-DE0B-23188EA98E12}"/>
          </ac:spMkLst>
        </pc:spChg>
        <pc:spChg chg="mod">
          <ac:chgData name="Soumaya ZERHOUNI" userId="690e4aa6-586b-4341-8f1a-54a3e7457441" providerId="ADAL" clId="{69AAD651-E566-4914-B951-51E57822A563}" dt="2024-01-31T17:23:32.412" v="6710" actId="2711"/>
          <ac:spMkLst>
            <pc:docMk/>
            <pc:sldMk cId="3375436117" sldId="2147482335"/>
            <ac:spMk id="18" creationId="{FA6A2FC4-2315-7E54-5747-154BECA55AAF}"/>
          </ac:spMkLst>
        </pc:spChg>
        <pc:spChg chg="mod">
          <ac:chgData name="Soumaya ZERHOUNI" userId="690e4aa6-586b-4341-8f1a-54a3e7457441" providerId="ADAL" clId="{69AAD651-E566-4914-B951-51E57822A563}" dt="2024-01-31T17:23:32.412" v="6710" actId="2711"/>
          <ac:spMkLst>
            <pc:docMk/>
            <pc:sldMk cId="3375436117" sldId="2147482335"/>
            <ac:spMk id="20" creationId="{A7144061-CC12-81C0-FA8B-9FA94C621A06}"/>
          </ac:spMkLst>
        </pc:spChg>
        <pc:spChg chg="mod">
          <ac:chgData name="Soumaya ZERHOUNI" userId="690e4aa6-586b-4341-8f1a-54a3e7457441" providerId="ADAL" clId="{69AAD651-E566-4914-B951-51E57822A563}" dt="2024-01-31T17:23:32.412" v="6710" actId="2711"/>
          <ac:spMkLst>
            <pc:docMk/>
            <pc:sldMk cId="3375436117" sldId="2147482335"/>
            <ac:spMk id="21" creationId="{7A36680B-6E77-1CAE-95FC-45CF4F49C36E}"/>
          </ac:spMkLst>
        </pc:spChg>
        <pc:spChg chg="mod">
          <ac:chgData name="Soumaya ZERHOUNI" userId="690e4aa6-586b-4341-8f1a-54a3e7457441" providerId="ADAL" clId="{69AAD651-E566-4914-B951-51E57822A563}" dt="2024-01-31T17:23:32.412" v="6710" actId="2711"/>
          <ac:spMkLst>
            <pc:docMk/>
            <pc:sldMk cId="3375436117" sldId="2147482335"/>
            <ac:spMk id="22" creationId="{DC347001-A07D-4C36-36D4-4F7C774F54EA}"/>
          </ac:spMkLst>
        </pc:spChg>
        <pc:spChg chg="mod">
          <ac:chgData name="Soumaya ZERHOUNI" userId="690e4aa6-586b-4341-8f1a-54a3e7457441" providerId="ADAL" clId="{69AAD651-E566-4914-B951-51E57822A563}" dt="2024-01-31T17:23:32.412" v="6710" actId="2711"/>
          <ac:spMkLst>
            <pc:docMk/>
            <pc:sldMk cId="3375436117" sldId="2147482335"/>
            <ac:spMk id="23" creationId="{EF204365-F7CA-EB1D-00FA-C023A74FE9EA}"/>
          </ac:spMkLst>
        </pc:spChg>
        <pc:spChg chg="mod">
          <ac:chgData name="Soumaya ZERHOUNI" userId="690e4aa6-586b-4341-8f1a-54a3e7457441" providerId="ADAL" clId="{69AAD651-E566-4914-B951-51E57822A563}" dt="2024-01-31T17:23:32.412" v="6710" actId="2711"/>
          <ac:spMkLst>
            <pc:docMk/>
            <pc:sldMk cId="3375436117" sldId="2147482335"/>
            <ac:spMk id="24" creationId="{BCF6E7EC-0B87-5F17-9B44-F3FB68CF4070}"/>
          </ac:spMkLst>
        </pc:spChg>
        <pc:spChg chg="mod">
          <ac:chgData name="Soumaya ZERHOUNI" userId="690e4aa6-586b-4341-8f1a-54a3e7457441" providerId="ADAL" clId="{69AAD651-E566-4914-B951-51E57822A563}" dt="2024-01-31T17:23:32.412" v="6710" actId="2711"/>
          <ac:spMkLst>
            <pc:docMk/>
            <pc:sldMk cId="3375436117" sldId="2147482335"/>
            <ac:spMk id="28" creationId="{A08E85E2-8DBD-C721-05DF-34C27C536CCE}"/>
          </ac:spMkLst>
        </pc:spChg>
        <pc:spChg chg="mod">
          <ac:chgData name="Soumaya ZERHOUNI" userId="690e4aa6-586b-4341-8f1a-54a3e7457441" providerId="ADAL" clId="{69AAD651-E566-4914-B951-51E57822A563}" dt="2024-01-31T17:23:32.412" v="6710" actId="2711"/>
          <ac:spMkLst>
            <pc:docMk/>
            <pc:sldMk cId="3375436117" sldId="2147482335"/>
            <ac:spMk id="29" creationId="{FB7B6FF7-552D-A240-BE68-FC4B8D230960}"/>
          </ac:spMkLst>
        </pc:spChg>
        <pc:spChg chg="mod">
          <ac:chgData name="Soumaya ZERHOUNI" userId="690e4aa6-586b-4341-8f1a-54a3e7457441" providerId="ADAL" clId="{69AAD651-E566-4914-B951-51E57822A563}" dt="2024-01-31T17:23:32.412" v="6710" actId="2711"/>
          <ac:spMkLst>
            <pc:docMk/>
            <pc:sldMk cId="3375436117" sldId="2147482335"/>
            <ac:spMk id="30" creationId="{3CBD92E3-F7A5-8073-FADC-5C10785237B7}"/>
          </ac:spMkLst>
        </pc:spChg>
        <pc:spChg chg="mod">
          <ac:chgData name="Soumaya ZERHOUNI" userId="690e4aa6-586b-4341-8f1a-54a3e7457441" providerId="ADAL" clId="{69AAD651-E566-4914-B951-51E57822A563}" dt="2024-01-31T17:23:32.412" v="6710" actId="2711"/>
          <ac:spMkLst>
            <pc:docMk/>
            <pc:sldMk cId="3375436117" sldId="2147482335"/>
            <ac:spMk id="32" creationId="{5E212476-D8E2-E191-A43D-5536980C27BA}"/>
          </ac:spMkLst>
        </pc:spChg>
        <pc:spChg chg="mod">
          <ac:chgData name="Soumaya ZERHOUNI" userId="690e4aa6-586b-4341-8f1a-54a3e7457441" providerId="ADAL" clId="{69AAD651-E566-4914-B951-51E57822A563}" dt="2024-01-31T17:23:32.412" v="6710" actId="2711"/>
          <ac:spMkLst>
            <pc:docMk/>
            <pc:sldMk cId="3375436117" sldId="2147482335"/>
            <ac:spMk id="33" creationId="{8154191D-733C-77D0-EF65-2FCDD5767F31}"/>
          </ac:spMkLst>
        </pc:spChg>
        <pc:spChg chg="mod">
          <ac:chgData name="Soumaya ZERHOUNI" userId="690e4aa6-586b-4341-8f1a-54a3e7457441" providerId="ADAL" clId="{69AAD651-E566-4914-B951-51E57822A563}" dt="2024-01-31T17:23:32.412" v="6710" actId="2711"/>
          <ac:spMkLst>
            <pc:docMk/>
            <pc:sldMk cId="3375436117" sldId="2147482335"/>
            <ac:spMk id="34" creationId="{5CBCF09F-38E5-08B7-AF21-8CD9E01F957D}"/>
          </ac:spMkLst>
        </pc:spChg>
        <pc:spChg chg="mod">
          <ac:chgData name="Soumaya ZERHOUNI" userId="690e4aa6-586b-4341-8f1a-54a3e7457441" providerId="ADAL" clId="{69AAD651-E566-4914-B951-51E57822A563}" dt="2024-01-31T17:23:32.412" v="6710" actId="2711"/>
          <ac:spMkLst>
            <pc:docMk/>
            <pc:sldMk cId="3375436117" sldId="2147482335"/>
            <ac:spMk id="35" creationId="{F5E26136-F2C2-6B6C-DCC1-0CA3A2E5C3DF}"/>
          </ac:spMkLst>
        </pc:spChg>
        <pc:spChg chg="mod">
          <ac:chgData name="Soumaya ZERHOUNI" userId="690e4aa6-586b-4341-8f1a-54a3e7457441" providerId="ADAL" clId="{69AAD651-E566-4914-B951-51E57822A563}" dt="2024-01-31T17:23:32.412" v="6710" actId="2711"/>
          <ac:spMkLst>
            <pc:docMk/>
            <pc:sldMk cId="3375436117" sldId="2147482335"/>
            <ac:spMk id="36" creationId="{0BF855AC-212E-39C9-E480-D8EC69A466D8}"/>
          </ac:spMkLst>
        </pc:spChg>
        <pc:spChg chg="mod">
          <ac:chgData name="Soumaya ZERHOUNI" userId="690e4aa6-586b-4341-8f1a-54a3e7457441" providerId="ADAL" clId="{69AAD651-E566-4914-B951-51E57822A563}" dt="2024-01-31T17:23:32.412" v="6710" actId="2711"/>
          <ac:spMkLst>
            <pc:docMk/>
            <pc:sldMk cId="3375436117" sldId="2147482335"/>
            <ac:spMk id="37" creationId="{E9472DAE-ED5E-3F82-09AD-4C2A68453682}"/>
          </ac:spMkLst>
        </pc:spChg>
        <pc:spChg chg="mod">
          <ac:chgData name="Soumaya ZERHOUNI" userId="690e4aa6-586b-4341-8f1a-54a3e7457441" providerId="ADAL" clId="{69AAD651-E566-4914-B951-51E57822A563}" dt="2024-01-31T17:23:32.412" v="6710" actId="2711"/>
          <ac:spMkLst>
            <pc:docMk/>
            <pc:sldMk cId="3375436117" sldId="2147482335"/>
            <ac:spMk id="38" creationId="{7B2A25EF-2411-3311-4265-E85A1397784F}"/>
          </ac:spMkLst>
        </pc:spChg>
        <pc:spChg chg="mod">
          <ac:chgData name="Soumaya ZERHOUNI" userId="690e4aa6-586b-4341-8f1a-54a3e7457441" providerId="ADAL" clId="{69AAD651-E566-4914-B951-51E57822A563}" dt="2024-01-31T17:23:32.412" v="6710" actId="2711"/>
          <ac:spMkLst>
            <pc:docMk/>
            <pc:sldMk cId="3375436117" sldId="2147482335"/>
            <ac:spMk id="41" creationId="{F6F3CD67-0CC4-A801-8BCD-C7B300930DF5}"/>
          </ac:spMkLst>
        </pc:spChg>
        <pc:spChg chg="mod">
          <ac:chgData name="Soumaya ZERHOUNI" userId="690e4aa6-586b-4341-8f1a-54a3e7457441" providerId="ADAL" clId="{69AAD651-E566-4914-B951-51E57822A563}" dt="2024-01-31T17:23:32.412" v="6710" actId="2711"/>
          <ac:spMkLst>
            <pc:docMk/>
            <pc:sldMk cId="3375436117" sldId="2147482335"/>
            <ac:spMk id="42" creationId="{1F83EA59-2C1A-1BCE-75F2-AA35F5AEC879}"/>
          </ac:spMkLst>
        </pc:spChg>
        <pc:spChg chg="mod">
          <ac:chgData name="Soumaya ZERHOUNI" userId="690e4aa6-586b-4341-8f1a-54a3e7457441" providerId="ADAL" clId="{69AAD651-E566-4914-B951-51E57822A563}" dt="2024-01-31T17:23:32.412" v="6710" actId="2711"/>
          <ac:spMkLst>
            <pc:docMk/>
            <pc:sldMk cId="3375436117" sldId="2147482335"/>
            <ac:spMk id="43" creationId="{91765E57-7846-AAB8-8AFC-0A6E282F679A}"/>
          </ac:spMkLst>
        </pc:spChg>
        <pc:spChg chg="mod">
          <ac:chgData name="Soumaya ZERHOUNI" userId="690e4aa6-586b-4341-8f1a-54a3e7457441" providerId="ADAL" clId="{69AAD651-E566-4914-B951-51E57822A563}" dt="2024-01-31T17:23:32.412" v="6710" actId="2711"/>
          <ac:spMkLst>
            <pc:docMk/>
            <pc:sldMk cId="3375436117" sldId="2147482335"/>
            <ac:spMk id="44" creationId="{0DA24D1E-FAC7-DE03-1B4E-D4B48772BD69}"/>
          </ac:spMkLst>
        </pc:spChg>
        <pc:spChg chg="mod">
          <ac:chgData name="Soumaya ZERHOUNI" userId="690e4aa6-586b-4341-8f1a-54a3e7457441" providerId="ADAL" clId="{69AAD651-E566-4914-B951-51E57822A563}" dt="2024-01-31T17:23:32.412" v="6710" actId="2711"/>
          <ac:spMkLst>
            <pc:docMk/>
            <pc:sldMk cId="3375436117" sldId="2147482335"/>
            <ac:spMk id="53" creationId="{1E5161C6-FD31-AE6B-4777-1B88B54BDB15}"/>
          </ac:spMkLst>
        </pc:spChg>
        <pc:spChg chg="mod">
          <ac:chgData name="Soumaya ZERHOUNI" userId="690e4aa6-586b-4341-8f1a-54a3e7457441" providerId="ADAL" clId="{69AAD651-E566-4914-B951-51E57822A563}" dt="2024-01-31T17:23:32.412" v="6710" actId="2711"/>
          <ac:spMkLst>
            <pc:docMk/>
            <pc:sldMk cId="3375436117" sldId="2147482335"/>
            <ac:spMk id="54" creationId="{EF87DBE6-BF00-D665-482B-64FE18D05283}"/>
          </ac:spMkLst>
        </pc:spChg>
        <pc:spChg chg="mod">
          <ac:chgData name="Soumaya ZERHOUNI" userId="690e4aa6-586b-4341-8f1a-54a3e7457441" providerId="ADAL" clId="{69AAD651-E566-4914-B951-51E57822A563}" dt="2024-01-31T17:23:32.412" v="6710" actId="2711"/>
          <ac:spMkLst>
            <pc:docMk/>
            <pc:sldMk cId="3375436117" sldId="2147482335"/>
            <ac:spMk id="55" creationId="{E1C30CC0-6A43-41BE-E359-87FB5B0E0D55}"/>
          </ac:spMkLst>
        </pc:spChg>
        <pc:spChg chg="mod">
          <ac:chgData name="Soumaya ZERHOUNI" userId="690e4aa6-586b-4341-8f1a-54a3e7457441" providerId="ADAL" clId="{69AAD651-E566-4914-B951-51E57822A563}" dt="2024-01-31T17:23:32.412" v="6710" actId="2711"/>
          <ac:spMkLst>
            <pc:docMk/>
            <pc:sldMk cId="3375436117" sldId="2147482335"/>
            <ac:spMk id="56" creationId="{2830F68A-A37D-D5CB-70B0-BDD8B46D64E6}"/>
          </ac:spMkLst>
        </pc:spChg>
        <pc:spChg chg="mod">
          <ac:chgData name="Soumaya ZERHOUNI" userId="690e4aa6-586b-4341-8f1a-54a3e7457441" providerId="ADAL" clId="{69AAD651-E566-4914-B951-51E57822A563}" dt="2024-01-31T17:23:32.412" v="6710" actId="2711"/>
          <ac:spMkLst>
            <pc:docMk/>
            <pc:sldMk cId="3375436117" sldId="2147482335"/>
            <ac:spMk id="57" creationId="{09644C5B-4AA9-9720-DA9D-3B4A7BB73172}"/>
          </ac:spMkLst>
        </pc:spChg>
        <pc:spChg chg="mod">
          <ac:chgData name="Soumaya ZERHOUNI" userId="690e4aa6-586b-4341-8f1a-54a3e7457441" providerId="ADAL" clId="{69AAD651-E566-4914-B951-51E57822A563}" dt="2024-01-31T17:23:32.412" v="6710" actId="2711"/>
          <ac:spMkLst>
            <pc:docMk/>
            <pc:sldMk cId="3375436117" sldId="2147482335"/>
            <ac:spMk id="58" creationId="{E3EBBDA7-C5AF-5C05-ABA7-F8FB0BEDB564}"/>
          </ac:spMkLst>
        </pc:spChg>
        <pc:spChg chg="mod">
          <ac:chgData name="Soumaya ZERHOUNI" userId="690e4aa6-586b-4341-8f1a-54a3e7457441" providerId="ADAL" clId="{69AAD651-E566-4914-B951-51E57822A563}" dt="2024-01-31T17:23:32.412" v="6710" actId="2711"/>
          <ac:spMkLst>
            <pc:docMk/>
            <pc:sldMk cId="3375436117" sldId="2147482335"/>
            <ac:spMk id="59" creationId="{627F65BB-8D8F-E023-026C-62192731BEAC}"/>
          </ac:spMkLst>
        </pc:spChg>
        <pc:spChg chg="mod">
          <ac:chgData name="Soumaya ZERHOUNI" userId="690e4aa6-586b-4341-8f1a-54a3e7457441" providerId="ADAL" clId="{69AAD651-E566-4914-B951-51E57822A563}" dt="2024-01-31T17:23:32.412" v="6710" actId="2711"/>
          <ac:spMkLst>
            <pc:docMk/>
            <pc:sldMk cId="3375436117" sldId="2147482335"/>
            <ac:spMk id="60" creationId="{F15DF651-B75A-E7D7-1D82-932C2401351A}"/>
          </ac:spMkLst>
        </pc:spChg>
        <pc:spChg chg="mod">
          <ac:chgData name="Soumaya ZERHOUNI" userId="690e4aa6-586b-4341-8f1a-54a3e7457441" providerId="ADAL" clId="{69AAD651-E566-4914-B951-51E57822A563}" dt="2024-01-31T17:23:32.412" v="6710" actId="2711"/>
          <ac:spMkLst>
            <pc:docMk/>
            <pc:sldMk cId="3375436117" sldId="2147482335"/>
            <ac:spMk id="61" creationId="{18E18167-B0AB-74D2-BE9D-537F893C19ED}"/>
          </ac:spMkLst>
        </pc:spChg>
        <pc:spChg chg="mod">
          <ac:chgData name="Soumaya ZERHOUNI" userId="690e4aa6-586b-4341-8f1a-54a3e7457441" providerId="ADAL" clId="{69AAD651-E566-4914-B951-51E57822A563}" dt="2024-01-31T17:23:32.412" v="6710" actId="2711"/>
          <ac:spMkLst>
            <pc:docMk/>
            <pc:sldMk cId="3375436117" sldId="2147482335"/>
            <ac:spMk id="67" creationId="{87A386C9-AF95-4268-5660-C0FB8B61BFF0}"/>
          </ac:spMkLst>
        </pc:spChg>
        <pc:spChg chg="mod">
          <ac:chgData name="Soumaya ZERHOUNI" userId="690e4aa6-586b-4341-8f1a-54a3e7457441" providerId="ADAL" clId="{69AAD651-E566-4914-B951-51E57822A563}" dt="2024-01-31T17:23:32.412" v="6710" actId="2711"/>
          <ac:spMkLst>
            <pc:docMk/>
            <pc:sldMk cId="3375436117" sldId="2147482335"/>
            <ac:spMk id="69" creationId="{8E1D112B-6D92-7827-FEB7-50258B673604}"/>
          </ac:spMkLst>
        </pc:spChg>
        <pc:graphicFrameChg chg="del mod">
          <ac:chgData name="Soumaya ZERHOUNI" userId="690e4aa6-586b-4341-8f1a-54a3e7457441" providerId="ADAL" clId="{69AAD651-E566-4914-B951-51E57822A563}" dt="2024-02-01T11:10:27.894" v="7178" actId="478"/>
          <ac:graphicFrameMkLst>
            <pc:docMk/>
            <pc:sldMk cId="3375436117" sldId="2147482335"/>
            <ac:graphicFrameMk id="10" creationId="{8FF606D9-6F37-B9CC-8046-CE169B3E410E}"/>
          </ac:graphicFrameMkLst>
        </pc:graphicFrameChg>
      </pc:sldChg>
      <pc:sldChg chg="addSp delSp modSp mod">
        <pc:chgData name="Soumaya ZERHOUNI" userId="690e4aa6-586b-4341-8f1a-54a3e7457441" providerId="ADAL" clId="{69AAD651-E566-4914-B951-51E57822A563}" dt="2024-01-31T17:24:28.893" v="6719"/>
        <pc:sldMkLst>
          <pc:docMk/>
          <pc:sldMk cId="3741534490" sldId="2147482337"/>
        </pc:sldMkLst>
        <pc:spChg chg="mod">
          <ac:chgData name="Soumaya ZERHOUNI" userId="690e4aa6-586b-4341-8f1a-54a3e7457441" providerId="ADAL" clId="{69AAD651-E566-4914-B951-51E57822A563}" dt="2024-01-31T17:24:13.165" v="6717" actId="255"/>
          <ac:spMkLst>
            <pc:docMk/>
            <pc:sldMk cId="3741534490" sldId="2147482337"/>
            <ac:spMk id="3" creationId="{D4E38D81-BD1B-CA7C-5594-3ABC758921A4}"/>
          </ac:spMkLst>
        </pc:spChg>
        <pc:spChg chg="del mod">
          <ac:chgData name="Soumaya ZERHOUNI" userId="690e4aa6-586b-4341-8f1a-54a3e7457441" providerId="ADAL" clId="{69AAD651-E566-4914-B951-51E57822A563}" dt="2024-01-31T17:23:56.484" v="6715" actId="21"/>
          <ac:spMkLst>
            <pc:docMk/>
            <pc:sldMk cId="3741534490" sldId="2147482337"/>
            <ac:spMk id="4" creationId="{B5034AE0-B53E-EEFB-C3F8-191069A9FA7F}"/>
          </ac:spMkLst>
        </pc:spChg>
        <pc:spChg chg="add mod">
          <ac:chgData name="Soumaya ZERHOUNI" userId="690e4aa6-586b-4341-8f1a-54a3e7457441" providerId="ADAL" clId="{69AAD651-E566-4914-B951-51E57822A563}" dt="2024-01-31T17:24:28.893" v="6719"/>
          <ac:spMkLst>
            <pc:docMk/>
            <pc:sldMk cId="3741534490" sldId="2147482337"/>
            <ac:spMk id="6" creationId="{B5034AE0-B53E-EEFB-C3F8-191069A9FA7F}"/>
          </ac:spMkLst>
        </pc:spChg>
        <pc:spChg chg="mod">
          <ac:chgData name="Soumaya ZERHOUNI" userId="690e4aa6-586b-4341-8f1a-54a3e7457441" providerId="ADAL" clId="{69AAD651-E566-4914-B951-51E57822A563}" dt="2024-01-31T17:24:13.165" v="6717" actId="255"/>
          <ac:spMkLst>
            <pc:docMk/>
            <pc:sldMk cId="3741534490" sldId="2147482337"/>
            <ac:spMk id="41" creationId="{7CAAACC4-3B3D-9B2F-87DF-8B270EB1CA14}"/>
          </ac:spMkLst>
        </pc:spChg>
        <pc:spChg chg="mod">
          <ac:chgData name="Soumaya ZERHOUNI" userId="690e4aa6-586b-4341-8f1a-54a3e7457441" providerId="ADAL" clId="{69AAD651-E566-4914-B951-51E57822A563}" dt="2024-01-31T17:24:13.165" v="6717" actId="255"/>
          <ac:spMkLst>
            <pc:docMk/>
            <pc:sldMk cId="3741534490" sldId="2147482337"/>
            <ac:spMk id="42" creationId="{F2EA099A-43EF-C3CA-1F70-C35EA14758FC}"/>
          </ac:spMkLst>
        </pc:spChg>
        <pc:spChg chg="mod">
          <ac:chgData name="Soumaya ZERHOUNI" userId="690e4aa6-586b-4341-8f1a-54a3e7457441" providerId="ADAL" clId="{69AAD651-E566-4914-B951-51E57822A563}" dt="2024-01-31T17:24:13.165" v="6717" actId="255"/>
          <ac:spMkLst>
            <pc:docMk/>
            <pc:sldMk cId="3741534490" sldId="2147482337"/>
            <ac:spMk id="190" creationId="{7228D4CC-A5E2-CD94-0660-BB0FDA6CE920}"/>
          </ac:spMkLst>
        </pc:spChg>
        <pc:spChg chg="mod">
          <ac:chgData name="Soumaya ZERHOUNI" userId="690e4aa6-586b-4341-8f1a-54a3e7457441" providerId="ADAL" clId="{69AAD651-E566-4914-B951-51E57822A563}" dt="2024-01-31T17:24:01.216" v="6716" actId="2711"/>
          <ac:spMkLst>
            <pc:docMk/>
            <pc:sldMk cId="3741534490" sldId="2147482337"/>
            <ac:spMk id="191" creationId="{A53B28F2-8CAA-B9E9-D6D4-5094340CE54A}"/>
          </ac:spMkLst>
        </pc:spChg>
        <pc:spChg chg="mod">
          <ac:chgData name="Soumaya ZERHOUNI" userId="690e4aa6-586b-4341-8f1a-54a3e7457441" providerId="ADAL" clId="{69AAD651-E566-4914-B951-51E57822A563}" dt="2024-01-31T17:24:01.216" v="6716" actId="2711"/>
          <ac:spMkLst>
            <pc:docMk/>
            <pc:sldMk cId="3741534490" sldId="2147482337"/>
            <ac:spMk id="192" creationId="{3C5BAE56-434E-31E5-6186-0A238F2167B9}"/>
          </ac:spMkLst>
        </pc:spChg>
        <pc:spChg chg="mod">
          <ac:chgData name="Soumaya ZERHOUNI" userId="690e4aa6-586b-4341-8f1a-54a3e7457441" providerId="ADAL" clId="{69AAD651-E566-4914-B951-51E57822A563}" dt="2024-01-31T17:24:01.216" v="6716" actId="2711"/>
          <ac:spMkLst>
            <pc:docMk/>
            <pc:sldMk cId="3741534490" sldId="2147482337"/>
            <ac:spMk id="193" creationId="{B243D059-BB55-72C9-539A-458ABE8E5C7C}"/>
          </ac:spMkLst>
        </pc:spChg>
        <pc:spChg chg="mod">
          <ac:chgData name="Soumaya ZERHOUNI" userId="690e4aa6-586b-4341-8f1a-54a3e7457441" providerId="ADAL" clId="{69AAD651-E566-4914-B951-51E57822A563}" dt="2024-01-31T17:24:01.216" v="6716" actId="2711"/>
          <ac:spMkLst>
            <pc:docMk/>
            <pc:sldMk cId="3741534490" sldId="2147482337"/>
            <ac:spMk id="194" creationId="{513CC9D8-5360-46F8-77D1-0896F27F629B}"/>
          </ac:spMkLst>
        </pc:spChg>
        <pc:spChg chg="mod">
          <ac:chgData name="Soumaya ZERHOUNI" userId="690e4aa6-586b-4341-8f1a-54a3e7457441" providerId="ADAL" clId="{69AAD651-E566-4914-B951-51E57822A563}" dt="2024-01-31T17:24:01.216" v="6716" actId="2711"/>
          <ac:spMkLst>
            <pc:docMk/>
            <pc:sldMk cId="3741534490" sldId="2147482337"/>
            <ac:spMk id="195" creationId="{A5C96D53-4498-1E79-FD27-B4AE172FC750}"/>
          </ac:spMkLst>
        </pc:spChg>
        <pc:spChg chg="mod">
          <ac:chgData name="Soumaya ZERHOUNI" userId="690e4aa6-586b-4341-8f1a-54a3e7457441" providerId="ADAL" clId="{69AAD651-E566-4914-B951-51E57822A563}" dt="2024-01-31T17:24:23.911" v="6718" actId="255"/>
          <ac:spMkLst>
            <pc:docMk/>
            <pc:sldMk cId="3741534490" sldId="2147482337"/>
            <ac:spMk id="201" creationId="{2C4ABB04-EA42-6EC1-0989-4DD327CA2799}"/>
          </ac:spMkLst>
        </pc:spChg>
        <pc:spChg chg="mod">
          <ac:chgData name="Soumaya ZERHOUNI" userId="690e4aa6-586b-4341-8f1a-54a3e7457441" providerId="ADAL" clId="{69AAD651-E566-4914-B951-51E57822A563}" dt="2024-01-31T17:24:23.911" v="6718" actId="255"/>
          <ac:spMkLst>
            <pc:docMk/>
            <pc:sldMk cId="3741534490" sldId="2147482337"/>
            <ac:spMk id="202" creationId="{A8EB5BAF-E527-5ABC-1BD8-172C893635BB}"/>
          </ac:spMkLst>
        </pc:spChg>
        <pc:spChg chg="mod">
          <ac:chgData name="Soumaya ZERHOUNI" userId="690e4aa6-586b-4341-8f1a-54a3e7457441" providerId="ADAL" clId="{69AAD651-E566-4914-B951-51E57822A563}" dt="2024-01-31T17:24:23.911" v="6718" actId="255"/>
          <ac:spMkLst>
            <pc:docMk/>
            <pc:sldMk cId="3741534490" sldId="2147482337"/>
            <ac:spMk id="203" creationId="{D113490F-A536-D20A-DBAC-FEFF8816594C}"/>
          </ac:spMkLst>
        </pc:spChg>
        <pc:spChg chg="mod">
          <ac:chgData name="Soumaya ZERHOUNI" userId="690e4aa6-586b-4341-8f1a-54a3e7457441" providerId="ADAL" clId="{69AAD651-E566-4914-B951-51E57822A563}" dt="2024-01-31T17:24:23.911" v="6718" actId="255"/>
          <ac:spMkLst>
            <pc:docMk/>
            <pc:sldMk cId="3741534490" sldId="2147482337"/>
            <ac:spMk id="204" creationId="{44D66E35-4B7E-6762-ED34-1C832269F88C}"/>
          </ac:spMkLst>
        </pc:spChg>
        <pc:spChg chg="mod">
          <ac:chgData name="Soumaya ZERHOUNI" userId="690e4aa6-586b-4341-8f1a-54a3e7457441" providerId="ADAL" clId="{69AAD651-E566-4914-B951-51E57822A563}" dt="2024-01-31T17:24:01.216" v="6716" actId="2711"/>
          <ac:spMkLst>
            <pc:docMk/>
            <pc:sldMk cId="3741534490" sldId="2147482337"/>
            <ac:spMk id="205" creationId="{49B5DD33-35F0-212E-A8FA-A14AC96CC04E}"/>
          </ac:spMkLst>
        </pc:spChg>
        <pc:spChg chg="mod">
          <ac:chgData name="Soumaya ZERHOUNI" userId="690e4aa6-586b-4341-8f1a-54a3e7457441" providerId="ADAL" clId="{69AAD651-E566-4914-B951-51E57822A563}" dt="2024-01-31T17:24:01.216" v="6716" actId="2711"/>
          <ac:spMkLst>
            <pc:docMk/>
            <pc:sldMk cId="3741534490" sldId="2147482337"/>
            <ac:spMk id="216" creationId="{6B560022-1C12-7564-CB0D-95B31F2FB167}"/>
          </ac:spMkLst>
        </pc:spChg>
        <pc:spChg chg="mod">
          <ac:chgData name="Soumaya ZERHOUNI" userId="690e4aa6-586b-4341-8f1a-54a3e7457441" providerId="ADAL" clId="{69AAD651-E566-4914-B951-51E57822A563}" dt="2024-01-31T17:24:01.216" v="6716" actId="2711"/>
          <ac:spMkLst>
            <pc:docMk/>
            <pc:sldMk cId="3741534490" sldId="2147482337"/>
            <ac:spMk id="217" creationId="{EA98F2A5-5A01-B78B-A5F4-5535377ED352}"/>
          </ac:spMkLst>
        </pc:spChg>
        <pc:grpChg chg="mod">
          <ac:chgData name="Soumaya ZERHOUNI" userId="690e4aa6-586b-4341-8f1a-54a3e7457441" providerId="ADAL" clId="{69AAD651-E566-4914-B951-51E57822A563}" dt="2024-01-31T17:24:01.216" v="6716" actId="2711"/>
          <ac:grpSpMkLst>
            <pc:docMk/>
            <pc:sldMk cId="3741534490" sldId="2147482337"/>
            <ac:grpSpMk id="196" creationId="{CF69D58A-C33B-BED9-D34F-50F107566AEB}"/>
          </ac:grpSpMkLst>
        </pc:grpChg>
        <pc:grpChg chg="mod">
          <ac:chgData name="Soumaya ZERHOUNI" userId="690e4aa6-586b-4341-8f1a-54a3e7457441" providerId="ADAL" clId="{69AAD651-E566-4914-B951-51E57822A563}" dt="2024-01-31T17:24:01.216" v="6716" actId="2711"/>
          <ac:grpSpMkLst>
            <pc:docMk/>
            <pc:sldMk cId="3741534490" sldId="2147482337"/>
            <ac:grpSpMk id="207" creationId="{9FD4CC37-6570-5D24-8504-B7639EDDC3AF}"/>
          </ac:grpSpMkLst>
        </pc:grpChg>
        <pc:picChg chg="mod">
          <ac:chgData name="Soumaya ZERHOUNI" userId="690e4aa6-586b-4341-8f1a-54a3e7457441" providerId="ADAL" clId="{69AAD651-E566-4914-B951-51E57822A563}" dt="2024-01-31T17:24:01.216" v="6716" actId="2711"/>
          <ac:picMkLst>
            <pc:docMk/>
            <pc:sldMk cId="3741534490" sldId="2147482337"/>
            <ac:picMk id="218" creationId="{BDE30285-BF5E-1991-D059-C683C814AE1E}"/>
          </ac:picMkLst>
        </pc:picChg>
      </pc:sldChg>
      <pc:sldChg chg="addSp delSp modSp mod">
        <pc:chgData name="Soumaya ZERHOUNI" userId="690e4aa6-586b-4341-8f1a-54a3e7457441" providerId="ADAL" clId="{69AAD651-E566-4914-B951-51E57822A563}" dt="2024-01-31T16:10:30.748" v="6078" actId="478"/>
        <pc:sldMkLst>
          <pc:docMk/>
          <pc:sldMk cId="672324684" sldId="2147482338"/>
        </pc:sldMkLst>
        <pc:picChg chg="add del mod">
          <ac:chgData name="Soumaya ZERHOUNI" userId="690e4aa6-586b-4341-8f1a-54a3e7457441" providerId="ADAL" clId="{69AAD651-E566-4914-B951-51E57822A563}" dt="2024-01-31T16:10:30.748" v="6078" actId="478"/>
          <ac:picMkLst>
            <pc:docMk/>
            <pc:sldMk cId="672324684" sldId="2147482338"/>
            <ac:picMk id="51" creationId="{5AF6E426-6A36-75DF-86E2-BA34732E33EF}"/>
          </ac:picMkLst>
        </pc:picChg>
      </pc:sldChg>
      <pc:sldChg chg="modSp">
        <pc:chgData name="Soumaya ZERHOUNI" userId="690e4aa6-586b-4341-8f1a-54a3e7457441" providerId="ADAL" clId="{69AAD651-E566-4914-B951-51E57822A563}" dt="2024-02-02T14:57:52.041" v="12252" actId="14100"/>
        <pc:sldMkLst>
          <pc:docMk/>
          <pc:sldMk cId="2846877185" sldId="2147482345"/>
        </pc:sldMkLst>
        <pc:picChg chg="mod">
          <ac:chgData name="Soumaya ZERHOUNI" userId="690e4aa6-586b-4341-8f1a-54a3e7457441" providerId="ADAL" clId="{69AAD651-E566-4914-B951-51E57822A563}" dt="2024-02-02T14:57:52.041" v="12252" actId="14100"/>
          <ac:picMkLst>
            <pc:docMk/>
            <pc:sldMk cId="2846877185" sldId="2147482345"/>
            <ac:picMk id="5" creationId="{F90DAD38-2CFC-5CA7-276D-4F37B47B8C35}"/>
          </ac:picMkLst>
        </pc:picChg>
      </pc:sldChg>
      <pc:sldChg chg="addSp delSp modSp mod">
        <pc:chgData name="Soumaya ZERHOUNI" userId="690e4aa6-586b-4341-8f1a-54a3e7457441" providerId="ADAL" clId="{69AAD651-E566-4914-B951-51E57822A563}" dt="2024-02-02T16:18:05.751" v="12715" actId="1036"/>
        <pc:sldMkLst>
          <pc:docMk/>
          <pc:sldMk cId="2124704795" sldId="2147482347"/>
        </pc:sldMkLst>
        <pc:spChg chg="mod">
          <ac:chgData name="Soumaya ZERHOUNI" userId="690e4aa6-586b-4341-8f1a-54a3e7457441" providerId="ADAL" clId="{69AAD651-E566-4914-B951-51E57822A563}" dt="2024-02-02T16:17:07.282" v="12689" actId="14100"/>
          <ac:spMkLst>
            <pc:docMk/>
            <pc:sldMk cId="2124704795" sldId="2147482347"/>
            <ac:spMk id="3" creationId="{E748E0B5-C195-AC33-310F-0A8386CC23A9}"/>
          </ac:spMkLst>
        </pc:spChg>
        <pc:spChg chg="del mod">
          <ac:chgData name="Soumaya ZERHOUNI" userId="690e4aa6-586b-4341-8f1a-54a3e7457441" providerId="ADAL" clId="{69AAD651-E566-4914-B951-51E57822A563}" dt="2024-02-02T15:36:23.714" v="12261" actId="478"/>
          <ac:spMkLst>
            <pc:docMk/>
            <pc:sldMk cId="2124704795" sldId="2147482347"/>
            <ac:spMk id="5" creationId="{B71F450B-4AC1-C892-AECC-9B0F1AB12681}"/>
          </ac:spMkLst>
        </pc:spChg>
        <pc:spChg chg="del">
          <ac:chgData name="Soumaya ZERHOUNI" userId="690e4aa6-586b-4341-8f1a-54a3e7457441" providerId="ADAL" clId="{69AAD651-E566-4914-B951-51E57822A563}" dt="2024-02-02T15:36:47.731" v="12262" actId="478"/>
          <ac:spMkLst>
            <pc:docMk/>
            <pc:sldMk cId="2124704795" sldId="2147482347"/>
            <ac:spMk id="6" creationId="{1F630698-C136-AE99-FFB4-9759DE47E6D9}"/>
          </ac:spMkLst>
        </pc:spChg>
        <pc:spChg chg="del">
          <ac:chgData name="Soumaya ZERHOUNI" userId="690e4aa6-586b-4341-8f1a-54a3e7457441" providerId="ADAL" clId="{69AAD651-E566-4914-B951-51E57822A563}" dt="2024-02-02T15:37:00.793" v="12263" actId="478"/>
          <ac:spMkLst>
            <pc:docMk/>
            <pc:sldMk cId="2124704795" sldId="2147482347"/>
            <ac:spMk id="8" creationId="{BD917ADC-89C5-0539-0F97-20EE14D8B87F}"/>
          </ac:spMkLst>
        </pc:spChg>
        <pc:spChg chg="add del mod">
          <ac:chgData name="Soumaya ZERHOUNI" userId="690e4aa6-586b-4341-8f1a-54a3e7457441" providerId="ADAL" clId="{69AAD651-E566-4914-B951-51E57822A563}" dt="2024-02-02T15:59:46.340" v="12469" actId="21"/>
          <ac:spMkLst>
            <pc:docMk/>
            <pc:sldMk cId="2124704795" sldId="2147482347"/>
            <ac:spMk id="15" creationId="{788E0113-6E4E-A257-CC26-18F42944D0C6}"/>
          </ac:spMkLst>
        </pc:spChg>
        <pc:spChg chg="add del mod">
          <ac:chgData name="Soumaya ZERHOUNI" userId="690e4aa6-586b-4341-8f1a-54a3e7457441" providerId="ADAL" clId="{69AAD651-E566-4914-B951-51E57822A563}" dt="2024-02-02T15:59:46.340" v="12469" actId="21"/>
          <ac:spMkLst>
            <pc:docMk/>
            <pc:sldMk cId="2124704795" sldId="2147482347"/>
            <ac:spMk id="16" creationId="{CDF7FCD6-922B-476A-B5BD-93E1A1FE1CC4}"/>
          </ac:spMkLst>
        </pc:spChg>
        <pc:grpChg chg="mod">
          <ac:chgData name="Soumaya ZERHOUNI" userId="690e4aa6-586b-4341-8f1a-54a3e7457441" providerId="ADAL" clId="{69AAD651-E566-4914-B951-51E57822A563}" dt="2024-02-02T16:17:00.408" v="12687" actId="1037"/>
          <ac:grpSpMkLst>
            <pc:docMk/>
            <pc:sldMk cId="2124704795" sldId="2147482347"/>
            <ac:grpSpMk id="12" creationId="{52631E91-5D60-9460-745A-BE14A15332E3}"/>
          </ac:grpSpMkLst>
        </pc:grpChg>
        <pc:grpChg chg="mod">
          <ac:chgData name="Soumaya ZERHOUNI" userId="690e4aa6-586b-4341-8f1a-54a3e7457441" providerId="ADAL" clId="{69AAD651-E566-4914-B951-51E57822A563}" dt="2024-02-02T16:17:00.408" v="12687" actId="1037"/>
          <ac:grpSpMkLst>
            <pc:docMk/>
            <pc:sldMk cId="2124704795" sldId="2147482347"/>
            <ac:grpSpMk id="20" creationId="{9BC1B3BE-43A8-6131-8F17-271C97D0D414}"/>
          </ac:grpSpMkLst>
        </pc:grpChg>
        <pc:grpChg chg="mod">
          <ac:chgData name="Soumaya ZERHOUNI" userId="690e4aa6-586b-4341-8f1a-54a3e7457441" providerId="ADAL" clId="{69AAD651-E566-4914-B951-51E57822A563}" dt="2024-02-02T16:17:00.408" v="12687" actId="1037"/>
          <ac:grpSpMkLst>
            <pc:docMk/>
            <pc:sldMk cId="2124704795" sldId="2147482347"/>
            <ac:grpSpMk id="25" creationId="{E301386F-7154-92AF-48C8-0556D50277CA}"/>
          </ac:grpSpMkLst>
        </pc:grpChg>
        <pc:grpChg chg="mod">
          <ac:chgData name="Soumaya ZERHOUNI" userId="690e4aa6-586b-4341-8f1a-54a3e7457441" providerId="ADAL" clId="{69AAD651-E566-4914-B951-51E57822A563}" dt="2024-02-02T16:17:00.408" v="12687" actId="1037"/>
          <ac:grpSpMkLst>
            <pc:docMk/>
            <pc:sldMk cId="2124704795" sldId="2147482347"/>
            <ac:grpSpMk id="28" creationId="{B65846D7-B137-900B-C426-B4602223DA8D}"/>
          </ac:grpSpMkLst>
        </pc:grpChg>
        <pc:graphicFrameChg chg="mod modGraphic">
          <ac:chgData name="Soumaya ZERHOUNI" userId="690e4aa6-586b-4341-8f1a-54a3e7457441" providerId="ADAL" clId="{69AAD651-E566-4914-B951-51E57822A563}" dt="2024-02-02T16:17:00.408" v="12687" actId="1037"/>
          <ac:graphicFrameMkLst>
            <pc:docMk/>
            <pc:sldMk cId="2124704795" sldId="2147482347"/>
            <ac:graphicFrameMk id="4" creationId="{9770B5C9-789A-450B-BEFE-7FE09605F540}"/>
          </ac:graphicFrameMkLst>
        </pc:graphicFrameChg>
        <pc:graphicFrameChg chg="mod modGraphic">
          <ac:chgData name="Soumaya ZERHOUNI" userId="690e4aa6-586b-4341-8f1a-54a3e7457441" providerId="ADAL" clId="{69AAD651-E566-4914-B951-51E57822A563}" dt="2024-02-02T16:18:05.751" v="12715" actId="1036"/>
          <ac:graphicFrameMkLst>
            <pc:docMk/>
            <pc:sldMk cId="2124704795" sldId="2147482347"/>
            <ac:graphicFrameMk id="21" creationId="{187B67DD-4F81-4889-A8FC-7A0CDB82050E}"/>
          </ac:graphicFrameMkLst>
        </pc:graphicFrameChg>
        <pc:picChg chg="mod">
          <ac:chgData name="Soumaya ZERHOUNI" userId="690e4aa6-586b-4341-8f1a-54a3e7457441" providerId="ADAL" clId="{69AAD651-E566-4914-B951-51E57822A563}" dt="2024-02-02T16:17:00.408" v="12687" actId="1037"/>
          <ac:picMkLst>
            <pc:docMk/>
            <pc:sldMk cId="2124704795" sldId="2147482347"/>
            <ac:picMk id="2" creationId="{4E12CBAB-424D-480A-6D54-1FF8E366BA7C}"/>
          </ac:picMkLst>
        </pc:picChg>
        <pc:picChg chg="mod">
          <ac:chgData name="Soumaya ZERHOUNI" userId="690e4aa6-586b-4341-8f1a-54a3e7457441" providerId="ADAL" clId="{69AAD651-E566-4914-B951-51E57822A563}" dt="2024-02-02T16:17:00.408" v="12687" actId="1037"/>
          <ac:picMkLst>
            <pc:docMk/>
            <pc:sldMk cId="2124704795" sldId="2147482347"/>
            <ac:picMk id="7" creationId="{9A0AFC1C-7BD0-D98F-9168-A5BC94F22245}"/>
          </ac:picMkLst>
        </pc:picChg>
        <pc:picChg chg="mod">
          <ac:chgData name="Soumaya ZERHOUNI" userId="690e4aa6-586b-4341-8f1a-54a3e7457441" providerId="ADAL" clId="{69AAD651-E566-4914-B951-51E57822A563}" dt="2024-02-02T16:17:00.408" v="12687" actId="1037"/>
          <ac:picMkLst>
            <pc:docMk/>
            <pc:sldMk cId="2124704795" sldId="2147482347"/>
            <ac:picMk id="9" creationId="{D1729B3F-A3BA-C13B-3B2D-109F6BB9DFEF}"/>
          </ac:picMkLst>
        </pc:picChg>
        <pc:picChg chg="mod">
          <ac:chgData name="Soumaya ZERHOUNI" userId="690e4aa6-586b-4341-8f1a-54a3e7457441" providerId="ADAL" clId="{69AAD651-E566-4914-B951-51E57822A563}" dt="2024-02-02T16:17:00.408" v="12687" actId="1037"/>
          <ac:picMkLst>
            <pc:docMk/>
            <pc:sldMk cId="2124704795" sldId="2147482347"/>
            <ac:picMk id="13" creationId="{18FF6491-16C7-76BB-AABC-5EBF0E5B3214}"/>
          </ac:picMkLst>
        </pc:picChg>
        <pc:picChg chg="mod">
          <ac:chgData name="Soumaya ZERHOUNI" userId="690e4aa6-586b-4341-8f1a-54a3e7457441" providerId="ADAL" clId="{69AAD651-E566-4914-B951-51E57822A563}" dt="2024-02-02T16:17:00.408" v="12687" actId="1037"/>
          <ac:picMkLst>
            <pc:docMk/>
            <pc:sldMk cId="2124704795" sldId="2147482347"/>
            <ac:picMk id="14" creationId="{76D75EDD-3944-E10F-6D5C-D5AD51548BC3}"/>
          </ac:picMkLst>
        </pc:picChg>
        <pc:picChg chg="mod">
          <ac:chgData name="Soumaya ZERHOUNI" userId="690e4aa6-586b-4341-8f1a-54a3e7457441" providerId="ADAL" clId="{69AAD651-E566-4914-B951-51E57822A563}" dt="2024-02-02T16:17:00.408" v="12687" actId="1037"/>
          <ac:picMkLst>
            <pc:docMk/>
            <pc:sldMk cId="2124704795" sldId="2147482347"/>
            <ac:picMk id="23" creationId="{4B0EC740-BAB6-80F6-2049-BDB1F556A5C7}"/>
          </ac:picMkLst>
        </pc:picChg>
        <pc:picChg chg="mod">
          <ac:chgData name="Soumaya ZERHOUNI" userId="690e4aa6-586b-4341-8f1a-54a3e7457441" providerId="ADAL" clId="{69AAD651-E566-4914-B951-51E57822A563}" dt="2024-02-02T16:17:00.408" v="12687" actId="1037"/>
          <ac:picMkLst>
            <pc:docMk/>
            <pc:sldMk cId="2124704795" sldId="2147482347"/>
            <ac:picMk id="24" creationId="{40074F63-41F3-CE9D-8152-5DC40D2AFD6C}"/>
          </ac:picMkLst>
        </pc:picChg>
        <pc:picChg chg="mod">
          <ac:chgData name="Soumaya ZERHOUNI" userId="690e4aa6-586b-4341-8f1a-54a3e7457441" providerId="ADAL" clId="{69AAD651-E566-4914-B951-51E57822A563}" dt="2024-02-02T16:17:00.408" v="12687" actId="1037"/>
          <ac:picMkLst>
            <pc:docMk/>
            <pc:sldMk cId="2124704795" sldId="2147482347"/>
            <ac:picMk id="26" creationId="{CCA1F33E-5480-CB6C-8E1D-665D9541F1C5}"/>
          </ac:picMkLst>
        </pc:picChg>
        <pc:picChg chg="mod">
          <ac:chgData name="Soumaya ZERHOUNI" userId="690e4aa6-586b-4341-8f1a-54a3e7457441" providerId="ADAL" clId="{69AAD651-E566-4914-B951-51E57822A563}" dt="2024-02-02T16:17:00.408" v="12687" actId="1037"/>
          <ac:picMkLst>
            <pc:docMk/>
            <pc:sldMk cId="2124704795" sldId="2147482347"/>
            <ac:picMk id="27" creationId="{FBA8D883-CAF3-5077-72BA-B14DBF3DAB3E}"/>
          </ac:picMkLst>
        </pc:picChg>
        <pc:picChg chg="mod">
          <ac:chgData name="Soumaya ZERHOUNI" userId="690e4aa6-586b-4341-8f1a-54a3e7457441" providerId="ADAL" clId="{69AAD651-E566-4914-B951-51E57822A563}" dt="2024-02-02T16:17:00.408" v="12687" actId="1037"/>
          <ac:picMkLst>
            <pc:docMk/>
            <pc:sldMk cId="2124704795" sldId="2147482347"/>
            <ac:picMk id="29" creationId="{93B0E445-6A68-B86F-D9D4-B11317313717}"/>
          </ac:picMkLst>
        </pc:picChg>
        <pc:picChg chg="mod">
          <ac:chgData name="Soumaya ZERHOUNI" userId="690e4aa6-586b-4341-8f1a-54a3e7457441" providerId="ADAL" clId="{69AAD651-E566-4914-B951-51E57822A563}" dt="2024-02-02T16:17:00.408" v="12687" actId="1037"/>
          <ac:picMkLst>
            <pc:docMk/>
            <pc:sldMk cId="2124704795" sldId="2147482347"/>
            <ac:picMk id="30" creationId="{AF13418A-665A-D1E2-0F8C-A98FCA6763D9}"/>
          </ac:picMkLst>
        </pc:picChg>
        <pc:picChg chg="mod">
          <ac:chgData name="Soumaya ZERHOUNI" userId="690e4aa6-586b-4341-8f1a-54a3e7457441" providerId="ADAL" clId="{69AAD651-E566-4914-B951-51E57822A563}" dt="2024-02-02T16:17:00.408" v="12687" actId="1037"/>
          <ac:picMkLst>
            <pc:docMk/>
            <pc:sldMk cId="2124704795" sldId="2147482347"/>
            <ac:picMk id="46083" creationId="{D5359D95-FF97-4EB3-8C65-2EB2B28C4DD8}"/>
          </ac:picMkLst>
        </pc:picChg>
      </pc:sldChg>
      <pc:sldChg chg="modSp mod">
        <pc:chgData name="Soumaya ZERHOUNI" userId="690e4aa6-586b-4341-8f1a-54a3e7457441" providerId="ADAL" clId="{69AAD651-E566-4914-B951-51E57822A563}" dt="2024-02-01T11:38:28.575" v="7907" actId="1076"/>
        <pc:sldMkLst>
          <pc:docMk/>
          <pc:sldMk cId="2378650059" sldId="2147482351"/>
        </pc:sldMkLst>
        <pc:spChg chg="mod">
          <ac:chgData name="Soumaya ZERHOUNI" userId="690e4aa6-586b-4341-8f1a-54a3e7457441" providerId="ADAL" clId="{69AAD651-E566-4914-B951-51E57822A563}" dt="2024-02-01T11:38:28.575" v="7907" actId="1076"/>
          <ac:spMkLst>
            <pc:docMk/>
            <pc:sldMk cId="2378650059" sldId="2147482351"/>
            <ac:spMk id="5" creationId="{F6963DBD-6630-26BB-D420-17F863813466}"/>
          </ac:spMkLst>
        </pc:spChg>
      </pc:sldChg>
      <pc:sldChg chg="addSp delSp modSp del mod">
        <pc:chgData name="Soumaya ZERHOUNI" userId="690e4aa6-586b-4341-8f1a-54a3e7457441" providerId="ADAL" clId="{69AAD651-E566-4914-B951-51E57822A563}" dt="2024-02-01T14:06:38.699" v="8990" actId="47"/>
        <pc:sldMkLst>
          <pc:docMk/>
          <pc:sldMk cId="2423801388" sldId="2147482353"/>
        </pc:sldMkLst>
        <pc:spChg chg="mod">
          <ac:chgData name="Soumaya ZERHOUNI" userId="690e4aa6-586b-4341-8f1a-54a3e7457441" providerId="ADAL" clId="{69AAD651-E566-4914-B951-51E57822A563}" dt="2024-02-01T12:33:45.340" v="8058" actId="12788"/>
          <ac:spMkLst>
            <pc:docMk/>
            <pc:sldMk cId="2423801388" sldId="2147482353"/>
            <ac:spMk id="22" creationId="{DB0661A6-E7D9-68FE-BB5D-F60C3D2143AB}"/>
          </ac:spMkLst>
        </pc:spChg>
        <pc:spChg chg="mod topLvl">
          <ac:chgData name="Soumaya ZERHOUNI" userId="690e4aa6-586b-4341-8f1a-54a3e7457441" providerId="ADAL" clId="{69AAD651-E566-4914-B951-51E57822A563}" dt="2024-02-01T12:33:38.221" v="8056" actId="165"/>
          <ac:spMkLst>
            <pc:docMk/>
            <pc:sldMk cId="2423801388" sldId="2147482353"/>
            <ac:spMk id="26" creationId="{E1AC5E22-852B-1F53-1B14-EDE0B7D4986E}"/>
          </ac:spMkLst>
        </pc:spChg>
        <pc:spChg chg="mod topLvl">
          <ac:chgData name="Soumaya ZERHOUNI" userId="690e4aa6-586b-4341-8f1a-54a3e7457441" providerId="ADAL" clId="{69AAD651-E566-4914-B951-51E57822A563}" dt="2024-02-01T12:33:38.221" v="8056" actId="165"/>
          <ac:spMkLst>
            <pc:docMk/>
            <pc:sldMk cId="2423801388" sldId="2147482353"/>
            <ac:spMk id="28" creationId="{147B2909-1383-913D-D613-2F8D1AEE51C7}"/>
          </ac:spMkLst>
        </pc:spChg>
        <pc:spChg chg="mod topLvl">
          <ac:chgData name="Soumaya ZERHOUNI" userId="690e4aa6-586b-4341-8f1a-54a3e7457441" providerId="ADAL" clId="{69AAD651-E566-4914-B951-51E57822A563}" dt="2024-02-01T12:33:38.221" v="8056" actId="165"/>
          <ac:spMkLst>
            <pc:docMk/>
            <pc:sldMk cId="2423801388" sldId="2147482353"/>
            <ac:spMk id="30" creationId="{6E1CD508-B83C-5AB2-B637-34124C586CA8}"/>
          </ac:spMkLst>
        </pc:spChg>
        <pc:spChg chg="mod topLvl">
          <ac:chgData name="Soumaya ZERHOUNI" userId="690e4aa6-586b-4341-8f1a-54a3e7457441" providerId="ADAL" clId="{69AAD651-E566-4914-B951-51E57822A563}" dt="2024-02-01T12:33:45.340" v="8058" actId="12788"/>
          <ac:spMkLst>
            <pc:docMk/>
            <pc:sldMk cId="2423801388" sldId="2147482353"/>
            <ac:spMk id="43" creationId="{9A3A27F2-D257-396B-F35C-BA0E194A6200}"/>
          </ac:spMkLst>
        </pc:spChg>
        <pc:spChg chg="add mod ord">
          <ac:chgData name="Soumaya ZERHOUNI" userId="690e4aa6-586b-4341-8f1a-54a3e7457441" providerId="ADAL" clId="{69AAD651-E566-4914-B951-51E57822A563}" dt="2024-02-01T12:33:49.164" v="8059" actId="1076"/>
          <ac:spMkLst>
            <pc:docMk/>
            <pc:sldMk cId="2423801388" sldId="2147482353"/>
            <ac:spMk id="44" creationId="{E4FEE2AA-D462-BABA-32C5-FD242D59393C}"/>
          </ac:spMkLst>
        </pc:spChg>
        <pc:spChg chg="mod">
          <ac:chgData name="Soumaya ZERHOUNI" userId="690e4aa6-586b-4341-8f1a-54a3e7457441" providerId="ADAL" clId="{69AAD651-E566-4914-B951-51E57822A563}" dt="2024-02-01T11:42:42.787" v="7946" actId="164"/>
          <ac:spMkLst>
            <pc:docMk/>
            <pc:sldMk cId="2423801388" sldId="2147482353"/>
            <ac:spMk id="48" creationId="{6FD809D1-AFF5-A7B9-76E6-017799C23F93}"/>
          </ac:spMkLst>
        </pc:spChg>
        <pc:spChg chg="mod">
          <ac:chgData name="Soumaya ZERHOUNI" userId="690e4aa6-586b-4341-8f1a-54a3e7457441" providerId="ADAL" clId="{69AAD651-E566-4914-B951-51E57822A563}" dt="2024-02-01T11:42:42.787" v="7946" actId="164"/>
          <ac:spMkLst>
            <pc:docMk/>
            <pc:sldMk cId="2423801388" sldId="2147482353"/>
            <ac:spMk id="53" creationId="{D8EAF499-2F60-FCF4-5F47-72E4B971D9D0}"/>
          </ac:spMkLst>
        </pc:spChg>
        <pc:spChg chg="add mod">
          <ac:chgData name="Soumaya ZERHOUNI" userId="690e4aa6-586b-4341-8f1a-54a3e7457441" providerId="ADAL" clId="{69AAD651-E566-4914-B951-51E57822A563}" dt="2024-02-01T12:24:55.636" v="7966"/>
          <ac:spMkLst>
            <pc:docMk/>
            <pc:sldMk cId="2423801388" sldId="2147482353"/>
            <ac:spMk id="63" creationId="{28182E4D-4BCA-C4B3-FD2E-F9A9A6A36E01}"/>
          </ac:spMkLst>
        </pc:spChg>
        <pc:grpChg chg="add mod">
          <ac:chgData name="Soumaya ZERHOUNI" userId="690e4aa6-586b-4341-8f1a-54a3e7457441" providerId="ADAL" clId="{69AAD651-E566-4914-B951-51E57822A563}" dt="2024-02-01T11:42:42.787" v="7946" actId="164"/>
          <ac:grpSpMkLst>
            <pc:docMk/>
            <pc:sldMk cId="2423801388" sldId="2147482353"/>
            <ac:grpSpMk id="45" creationId="{D0CF1308-24EC-340B-9133-41A99DFDD3A6}"/>
          </ac:grpSpMkLst>
        </pc:grpChg>
        <pc:grpChg chg="add del mod">
          <ac:chgData name="Soumaya ZERHOUNI" userId="690e4aa6-586b-4341-8f1a-54a3e7457441" providerId="ADAL" clId="{69AAD651-E566-4914-B951-51E57822A563}" dt="2024-02-01T12:33:38.221" v="8056" actId="165"/>
          <ac:grpSpMkLst>
            <pc:docMk/>
            <pc:sldMk cId="2423801388" sldId="2147482353"/>
            <ac:grpSpMk id="46" creationId="{23762753-79E1-42E6-0F55-AB5FAE905A74}"/>
          </ac:grpSpMkLst>
        </pc:grpChg>
        <pc:picChg chg="mod">
          <ac:chgData name="Soumaya ZERHOUNI" userId="690e4aa6-586b-4341-8f1a-54a3e7457441" providerId="ADAL" clId="{69AAD651-E566-4914-B951-51E57822A563}" dt="2024-02-01T11:42:42.787" v="7946" actId="164"/>
          <ac:picMkLst>
            <pc:docMk/>
            <pc:sldMk cId="2423801388" sldId="2147482353"/>
            <ac:picMk id="97" creationId="{2973FEAF-1985-351C-4CE2-4E884276E5FA}"/>
          </ac:picMkLst>
        </pc:picChg>
      </pc:sldChg>
      <pc:sldChg chg="addSp delSp modSp mod">
        <pc:chgData name="Soumaya ZERHOUNI" userId="690e4aa6-586b-4341-8f1a-54a3e7457441" providerId="ADAL" clId="{69AAD651-E566-4914-B951-51E57822A563}" dt="2024-02-02T16:14:20.871" v="12638" actId="1038"/>
        <pc:sldMkLst>
          <pc:docMk/>
          <pc:sldMk cId="640653412" sldId="2147482356"/>
        </pc:sldMkLst>
        <pc:spChg chg="mod">
          <ac:chgData name="Soumaya ZERHOUNI" userId="690e4aa6-586b-4341-8f1a-54a3e7457441" providerId="ADAL" clId="{69AAD651-E566-4914-B951-51E57822A563}" dt="2024-02-02T16:14:12.111" v="12633" actId="1038"/>
          <ac:spMkLst>
            <pc:docMk/>
            <pc:sldMk cId="640653412" sldId="2147482356"/>
            <ac:spMk id="3" creationId="{CF60017C-3A32-999B-F354-16F529553FD9}"/>
          </ac:spMkLst>
        </pc:spChg>
        <pc:spChg chg="mod">
          <ac:chgData name="Soumaya ZERHOUNI" userId="690e4aa6-586b-4341-8f1a-54a3e7457441" providerId="ADAL" clId="{69AAD651-E566-4914-B951-51E57822A563}" dt="2024-02-02T16:14:12.111" v="12633" actId="1038"/>
          <ac:spMkLst>
            <pc:docMk/>
            <pc:sldMk cId="640653412" sldId="2147482356"/>
            <ac:spMk id="4" creationId="{6DBF4285-446D-93EE-6BCA-ECF50980FEB5}"/>
          </ac:spMkLst>
        </pc:spChg>
        <pc:spChg chg="add del mod">
          <ac:chgData name="Soumaya ZERHOUNI" userId="690e4aa6-586b-4341-8f1a-54a3e7457441" providerId="ADAL" clId="{69AAD651-E566-4914-B951-51E57822A563}" dt="2024-02-02T15:50:46.254" v="12323" actId="21"/>
          <ac:spMkLst>
            <pc:docMk/>
            <pc:sldMk cId="640653412" sldId="2147482356"/>
            <ac:spMk id="5" creationId="{788E0113-6E4E-A257-CC26-18F42944D0C6}"/>
          </ac:spMkLst>
        </pc:spChg>
        <pc:spChg chg="add del mod">
          <ac:chgData name="Soumaya ZERHOUNI" userId="690e4aa6-586b-4341-8f1a-54a3e7457441" providerId="ADAL" clId="{69AAD651-E566-4914-B951-51E57822A563}" dt="2024-02-02T15:50:46.254" v="12323" actId="21"/>
          <ac:spMkLst>
            <pc:docMk/>
            <pc:sldMk cId="640653412" sldId="2147482356"/>
            <ac:spMk id="6" creationId="{CDF7FCD6-922B-476A-B5BD-93E1A1FE1CC4}"/>
          </ac:spMkLst>
        </pc:spChg>
        <pc:spChg chg="mod">
          <ac:chgData name="Soumaya ZERHOUNI" userId="690e4aa6-586b-4341-8f1a-54a3e7457441" providerId="ADAL" clId="{69AAD651-E566-4914-B951-51E57822A563}" dt="2024-02-02T16:11:27.003" v="12521" actId="14100"/>
          <ac:spMkLst>
            <pc:docMk/>
            <pc:sldMk cId="640653412" sldId="2147482356"/>
            <ac:spMk id="27" creationId="{ACD544D7-8DC3-5856-F0C9-21F79FFB9636}"/>
          </ac:spMkLst>
        </pc:spChg>
        <pc:spChg chg="mod">
          <ac:chgData name="Soumaya ZERHOUNI" userId="690e4aa6-586b-4341-8f1a-54a3e7457441" providerId="ADAL" clId="{69AAD651-E566-4914-B951-51E57822A563}" dt="2024-02-02T16:14:12.111" v="12633" actId="1038"/>
          <ac:spMkLst>
            <pc:docMk/>
            <pc:sldMk cId="640653412" sldId="2147482356"/>
            <ac:spMk id="31" creationId="{3AC823BD-1669-0CEA-1D4F-C203FEFE42B0}"/>
          </ac:spMkLst>
        </pc:spChg>
        <pc:spChg chg="mod">
          <ac:chgData name="Soumaya ZERHOUNI" userId="690e4aa6-586b-4341-8f1a-54a3e7457441" providerId="ADAL" clId="{69AAD651-E566-4914-B951-51E57822A563}" dt="2024-02-02T16:14:12.111" v="12633" actId="1038"/>
          <ac:spMkLst>
            <pc:docMk/>
            <pc:sldMk cId="640653412" sldId="2147482356"/>
            <ac:spMk id="34" creationId="{B58A50D5-7D27-C71D-FE74-6D432B95F95D}"/>
          </ac:spMkLst>
        </pc:spChg>
        <pc:graphicFrameChg chg="mod">
          <ac:chgData name="Soumaya ZERHOUNI" userId="690e4aa6-586b-4341-8f1a-54a3e7457441" providerId="ADAL" clId="{69AAD651-E566-4914-B951-51E57822A563}" dt="2024-02-02T16:14:20.871" v="12638" actId="1038"/>
          <ac:graphicFrameMkLst>
            <pc:docMk/>
            <pc:sldMk cId="640653412" sldId="2147482356"/>
            <ac:graphicFrameMk id="28" creationId="{E4230C11-2551-0E57-9DB5-05C11F338106}"/>
          </ac:graphicFrameMkLst>
        </pc:graphicFrameChg>
        <pc:graphicFrameChg chg="mod modGraphic">
          <ac:chgData name="Soumaya ZERHOUNI" userId="690e4aa6-586b-4341-8f1a-54a3e7457441" providerId="ADAL" clId="{69AAD651-E566-4914-B951-51E57822A563}" dt="2024-02-02T16:14:12.111" v="12633" actId="1038"/>
          <ac:graphicFrameMkLst>
            <pc:docMk/>
            <pc:sldMk cId="640653412" sldId="2147482356"/>
            <ac:graphicFrameMk id="29" creationId="{4D03668A-A032-F5A8-05D2-385D21257EA3}"/>
          </ac:graphicFrameMkLst>
        </pc:graphicFrameChg>
        <pc:picChg chg="mod">
          <ac:chgData name="Soumaya ZERHOUNI" userId="690e4aa6-586b-4341-8f1a-54a3e7457441" providerId="ADAL" clId="{69AAD651-E566-4914-B951-51E57822A563}" dt="2024-02-02T16:14:12.111" v="12633" actId="1038"/>
          <ac:picMkLst>
            <pc:docMk/>
            <pc:sldMk cId="640653412" sldId="2147482356"/>
            <ac:picMk id="30" creationId="{CA9BF488-67E0-5E27-E524-AA04B47E6E3C}"/>
          </ac:picMkLst>
        </pc:picChg>
        <pc:picChg chg="mod">
          <ac:chgData name="Soumaya ZERHOUNI" userId="690e4aa6-586b-4341-8f1a-54a3e7457441" providerId="ADAL" clId="{69AAD651-E566-4914-B951-51E57822A563}" dt="2024-02-02T16:14:12.111" v="12633" actId="1038"/>
          <ac:picMkLst>
            <pc:docMk/>
            <pc:sldMk cId="640653412" sldId="2147482356"/>
            <ac:picMk id="32" creationId="{AC7CEB50-882B-A91A-5990-66B91DAB4E4E}"/>
          </ac:picMkLst>
        </pc:picChg>
        <pc:picChg chg="mod">
          <ac:chgData name="Soumaya ZERHOUNI" userId="690e4aa6-586b-4341-8f1a-54a3e7457441" providerId="ADAL" clId="{69AAD651-E566-4914-B951-51E57822A563}" dt="2024-02-02T16:14:12.111" v="12633" actId="1038"/>
          <ac:picMkLst>
            <pc:docMk/>
            <pc:sldMk cId="640653412" sldId="2147482356"/>
            <ac:picMk id="33" creationId="{DCE29F07-A3D0-FC2F-8466-6040D8EF7A81}"/>
          </ac:picMkLst>
        </pc:picChg>
        <pc:picChg chg="mod">
          <ac:chgData name="Soumaya ZERHOUNI" userId="690e4aa6-586b-4341-8f1a-54a3e7457441" providerId="ADAL" clId="{69AAD651-E566-4914-B951-51E57822A563}" dt="2024-02-02T16:14:12.111" v="12633" actId="1038"/>
          <ac:picMkLst>
            <pc:docMk/>
            <pc:sldMk cId="640653412" sldId="2147482356"/>
            <ac:picMk id="35" creationId="{7D7042DF-2F9D-6872-7CD4-918FD8C4010D}"/>
          </ac:picMkLst>
        </pc:picChg>
        <pc:picChg chg="mod">
          <ac:chgData name="Soumaya ZERHOUNI" userId="690e4aa6-586b-4341-8f1a-54a3e7457441" providerId="ADAL" clId="{69AAD651-E566-4914-B951-51E57822A563}" dt="2024-02-02T16:14:12.111" v="12633" actId="1038"/>
          <ac:picMkLst>
            <pc:docMk/>
            <pc:sldMk cId="640653412" sldId="2147482356"/>
            <ac:picMk id="36" creationId="{CF6E7A9D-E898-894E-7A1E-5C66C3C866A0}"/>
          </ac:picMkLst>
        </pc:picChg>
        <pc:picChg chg="mod">
          <ac:chgData name="Soumaya ZERHOUNI" userId="690e4aa6-586b-4341-8f1a-54a3e7457441" providerId="ADAL" clId="{69AAD651-E566-4914-B951-51E57822A563}" dt="2024-02-02T16:14:12.111" v="12633" actId="1038"/>
          <ac:picMkLst>
            <pc:docMk/>
            <pc:sldMk cId="640653412" sldId="2147482356"/>
            <ac:picMk id="37" creationId="{0BD7BDAD-4133-3F4F-39B6-3A5CFAC0EE1C}"/>
          </ac:picMkLst>
        </pc:picChg>
      </pc:sldChg>
      <pc:sldChg chg="addSp delSp modSp mod">
        <pc:chgData name="Soumaya ZERHOUNI" userId="690e4aa6-586b-4341-8f1a-54a3e7457441" providerId="ADAL" clId="{69AAD651-E566-4914-B951-51E57822A563}" dt="2024-02-01T15:38:57.806" v="10930" actId="113"/>
        <pc:sldMkLst>
          <pc:docMk/>
          <pc:sldMk cId="1562959687" sldId="2147482360"/>
        </pc:sldMkLst>
        <pc:spChg chg="del">
          <ac:chgData name="Soumaya ZERHOUNI" userId="690e4aa6-586b-4341-8f1a-54a3e7457441" providerId="ADAL" clId="{69AAD651-E566-4914-B951-51E57822A563}" dt="2024-02-01T15:14:32.290" v="10256" actId="21"/>
          <ac:spMkLst>
            <pc:docMk/>
            <pc:sldMk cId="1562959687" sldId="2147482360"/>
            <ac:spMk id="2" creationId="{4E640376-8601-5D8E-24CC-CD7D457B71B3}"/>
          </ac:spMkLst>
        </pc:spChg>
        <pc:spChg chg="add del mod">
          <ac:chgData name="Soumaya ZERHOUNI" userId="690e4aa6-586b-4341-8f1a-54a3e7457441" providerId="ADAL" clId="{69AAD651-E566-4914-B951-51E57822A563}" dt="2024-02-01T13:57:08.067" v="8699" actId="478"/>
          <ac:spMkLst>
            <pc:docMk/>
            <pc:sldMk cId="1562959687" sldId="2147482360"/>
            <ac:spMk id="2" creationId="{C98DA37E-12D5-A30F-50D2-2480AE121248}"/>
          </ac:spMkLst>
        </pc:spChg>
        <pc:spChg chg="add del mod">
          <ac:chgData name="Soumaya ZERHOUNI" userId="690e4aa6-586b-4341-8f1a-54a3e7457441" providerId="ADAL" clId="{69AAD651-E566-4914-B951-51E57822A563}" dt="2024-02-01T14:01:54.420" v="8960" actId="478"/>
          <ac:spMkLst>
            <pc:docMk/>
            <pc:sldMk cId="1562959687" sldId="2147482360"/>
            <ac:spMk id="4" creationId="{B3529F20-DB95-45E0-FFCE-C62B1C85E459}"/>
          </ac:spMkLst>
        </pc:spChg>
        <pc:spChg chg="add del mod">
          <ac:chgData name="Soumaya ZERHOUNI" userId="690e4aa6-586b-4341-8f1a-54a3e7457441" providerId="ADAL" clId="{69AAD651-E566-4914-B951-51E57822A563}" dt="2024-02-01T14:20:14.494" v="9582" actId="478"/>
          <ac:spMkLst>
            <pc:docMk/>
            <pc:sldMk cId="1562959687" sldId="2147482360"/>
            <ac:spMk id="5" creationId="{B77D2795-F013-5648-155A-5F1EEDF913F2}"/>
          </ac:spMkLst>
        </pc:spChg>
        <pc:spChg chg="add del mod">
          <ac:chgData name="Soumaya ZERHOUNI" userId="690e4aa6-586b-4341-8f1a-54a3e7457441" providerId="ADAL" clId="{69AAD651-E566-4914-B951-51E57822A563}" dt="2024-02-01T14:37:52.647" v="9816" actId="21"/>
          <ac:spMkLst>
            <pc:docMk/>
            <pc:sldMk cId="1562959687" sldId="2147482360"/>
            <ac:spMk id="6" creationId="{90BE3E3F-EDB9-D07E-4EA5-CEEC89346164}"/>
          </ac:spMkLst>
        </pc:spChg>
        <pc:spChg chg="add del mod">
          <ac:chgData name="Soumaya ZERHOUNI" userId="690e4aa6-586b-4341-8f1a-54a3e7457441" providerId="ADAL" clId="{69AAD651-E566-4914-B951-51E57822A563}" dt="2024-02-01T14:37:52.647" v="9816" actId="21"/>
          <ac:spMkLst>
            <pc:docMk/>
            <pc:sldMk cId="1562959687" sldId="2147482360"/>
            <ac:spMk id="7" creationId="{F9FDFA8B-EF27-2977-B769-23E4834E5AA1}"/>
          </ac:spMkLst>
        </pc:spChg>
        <pc:spChg chg="add del mod">
          <ac:chgData name="Soumaya ZERHOUNI" userId="690e4aa6-586b-4341-8f1a-54a3e7457441" providerId="ADAL" clId="{69AAD651-E566-4914-B951-51E57822A563}" dt="2024-02-01T14:37:52.647" v="9816" actId="21"/>
          <ac:spMkLst>
            <pc:docMk/>
            <pc:sldMk cId="1562959687" sldId="2147482360"/>
            <ac:spMk id="8" creationId="{9EC9D0A3-82D4-77C6-4837-3ABE97F178AE}"/>
          </ac:spMkLst>
        </pc:spChg>
        <pc:spChg chg="add del mod">
          <ac:chgData name="Soumaya ZERHOUNI" userId="690e4aa6-586b-4341-8f1a-54a3e7457441" providerId="ADAL" clId="{69AAD651-E566-4914-B951-51E57822A563}" dt="2024-02-01T13:59:57.970" v="8713" actId="478"/>
          <ac:spMkLst>
            <pc:docMk/>
            <pc:sldMk cId="1562959687" sldId="2147482360"/>
            <ac:spMk id="11" creationId="{974C4036-8076-80A6-9851-6D16BF00D2C2}"/>
          </ac:spMkLst>
        </pc:spChg>
        <pc:spChg chg="add del mod">
          <ac:chgData name="Soumaya ZERHOUNI" userId="690e4aa6-586b-4341-8f1a-54a3e7457441" providerId="ADAL" clId="{69AAD651-E566-4914-B951-51E57822A563}" dt="2024-02-01T13:59:57.970" v="8713" actId="478"/>
          <ac:spMkLst>
            <pc:docMk/>
            <pc:sldMk cId="1562959687" sldId="2147482360"/>
            <ac:spMk id="12" creationId="{EE865F47-C138-F3B9-A8FF-814D74844047}"/>
          </ac:spMkLst>
        </pc:spChg>
        <pc:spChg chg="add del mod">
          <ac:chgData name="Soumaya ZERHOUNI" userId="690e4aa6-586b-4341-8f1a-54a3e7457441" providerId="ADAL" clId="{69AAD651-E566-4914-B951-51E57822A563}" dt="2024-02-01T13:59:57.970" v="8713" actId="478"/>
          <ac:spMkLst>
            <pc:docMk/>
            <pc:sldMk cId="1562959687" sldId="2147482360"/>
            <ac:spMk id="13" creationId="{3D37F584-D44E-4A5F-2EDD-BDEA755E8A9D}"/>
          </ac:spMkLst>
        </pc:spChg>
        <pc:spChg chg="add del mod">
          <ac:chgData name="Soumaya ZERHOUNI" userId="690e4aa6-586b-4341-8f1a-54a3e7457441" providerId="ADAL" clId="{69AAD651-E566-4914-B951-51E57822A563}" dt="2024-02-01T13:59:57.970" v="8713" actId="478"/>
          <ac:spMkLst>
            <pc:docMk/>
            <pc:sldMk cId="1562959687" sldId="2147482360"/>
            <ac:spMk id="15" creationId="{94D12B7F-D734-70FA-F231-5B0400E3F1A9}"/>
          </ac:spMkLst>
        </pc:spChg>
        <pc:spChg chg="add del mod">
          <ac:chgData name="Soumaya ZERHOUNI" userId="690e4aa6-586b-4341-8f1a-54a3e7457441" providerId="ADAL" clId="{69AAD651-E566-4914-B951-51E57822A563}" dt="2024-02-01T13:59:57.970" v="8713" actId="478"/>
          <ac:spMkLst>
            <pc:docMk/>
            <pc:sldMk cId="1562959687" sldId="2147482360"/>
            <ac:spMk id="16" creationId="{0273B671-46DA-6795-EA5C-DE52CB720E5E}"/>
          </ac:spMkLst>
        </pc:spChg>
        <pc:spChg chg="add del mod">
          <ac:chgData name="Soumaya ZERHOUNI" userId="690e4aa6-586b-4341-8f1a-54a3e7457441" providerId="ADAL" clId="{69AAD651-E566-4914-B951-51E57822A563}" dt="2024-02-01T13:59:57.970" v="8713" actId="478"/>
          <ac:spMkLst>
            <pc:docMk/>
            <pc:sldMk cId="1562959687" sldId="2147482360"/>
            <ac:spMk id="17" creationId="{CC2896ED-4DE6-6EDF-2BC3-9770290CA8F8}"/>
          </ac:spMkLst>
        </pc:spChg>
        <pc:spChg chg="add del mod">
          <ac:chgData name="Soumaya ZERHOUNI" userId="690e4aa6-586b-4341-8f1a-54a3e7457441" providerId="ADAL" clId="{69AAD651-E566-4914-B951-51E57822A563}" dt="2024-02-01T13:59:57.970" v="8713" actId="478"/>
          <ac:spMkLst>
            <pc:docMk/>
            <pc:sldMk cId="1562959687" sldId="2147482360"/>
            <ac:spMk id="18" creationId="{59C03CCC-FDC5-7641-6DEC-761150AF88F1}"/>
          </ac:spMkLst>
        </pc:spChg>
        <pc:spChg chg="add del mod">
          <ac:chgData name="Soumaya ZERHOUNI" userId="690e4aa6-586b-4341-8f1a-54a3e7457441" providerId="ADAL" clId="{69AAD651-E566-4914-B951-51E57822A563}" dt="2024-02-01T13:59:57.970" v="8713" actId="478"/>
          <ac:spMkLst>
            <pc:docMk/>
            <pc:sldMk cId="1562959687" sldId="2147482360"/>
            <ac:spMk id="19" creationId="{E8359F26-B69F-F6A9-E4EF-B51689E2B6CA}"/>
          </ac:spMkLst>
        </pc:spChg>
        <pc:spChg chg="add del mod">
          <ac:chgData name="Soumaya ZERHOUNI" userId="690e4aa6-586b-4341-8f1a-54a3e7457441" providerId="ADAL" clId="{69AAD651-E566-4914-B951-51E57822A563}" dt="2024-02-01T13:59:57.970" v="8713" actId="478"/>
          <ac:spMkLst>
            <pc:docMk/>
            <pc:sldMk cId="1562959687" sldId="2147482360"/>
            <ac:spMk id="20" creationId="{109014F3-DC5C-E4E4-86B9-19F65F08D4E0}"/>
          </ac:spMkLst>
        </pc:spChg>
        <pc:spChg chg="add del mod">
          <ac:chgData name="Soumaya ZERHOUNI" userId="690e4aa6-586b-4341-8f1a-54a3e7457441" providerId="ADAL" clId="{69AAD651-E566-4914-B951-51E57822A563}" dt="2024-02-01T13:59:57.970" v="8713" actId="478"/>
          <ac:spMkLst>
            <pc:docMk/>
            <pc:sldMk cId="1562959687" sldId="2147482360"/>
            <ac:spMk id="22" creationId="{63E5CC15-0AAE-E2D2-3021-79AB6B5270BD}"/>
          </ac:spMkLst>
        </pc:spChg>
        <pc:spChg chg="add del mod">
          <ac:chgData name="Soumaya ZERHOUNI" userId="690e4aa6-586b-4341-8f1a-54a3e7457441" providerId="ADAL" clId="{69AAD651-E566-4914-B951-51E57822A563}" dt="2024-02-01T13:59:57.970" v="8713" actId="478"/>
          <ac:spMkLst>
            <pc:docMk/>
            <pc:sldMk cId="1562959687" sldId="2147482360"/>
            <ac:spMk id="23" creationId="{D1016B85-0078-D316-7AE5-EA486A74D7FC}"/>
          </ac:spMkLst>
        </pc:spChg>
        <pc:spChg chg="add del mod">
          <ac:chgData name="Soumaya ZERHOUNI" userId="690e4aa6-586b-4341-8f1a-54a3e7457441" providerId="ADAL" clId="{69AAD651-E566-4914-B951-51E57822A563}" dt="2024-02-01T13:59:57.970" v="8713" actId="478"/>
          <ac:spMkLst>
            <pc:docMk/>
            <pc:sldMk cId="1562959687" sldId="2147482360"/>
            <ac:spMk id="26" creationId="{E04A37DB-8D7F-95C0-F3F0-E16766A4F41A}"/>
          </ac:spMkLst>
        </pc:spChg>
        <pc:spChg chg="add del mod">
          <ac:chgData name="Soumaya ZERHOUNI" userId="690e4aa6-586b-4341-8f1a-54a3e7457441" providerId="ADAL" clId="{69AAD651-E566-4914-B951-51E57822A563}" dt="2024-02-01T13:59:57.970" v="8713" actId="478"/>
          <ac:spMkLst>
            <pc:docMk/>
            <pc:sldMk cId="1562959687" sldId="2147482360"/>
            <ac:spMk id="27" creationId="{EE6FBA8D-A12E-3D72-A796-0E49B82F9B77}"/>
          </ac:spMkLst>
        </pc:spChg>
        <pc:spChg chg="add del mod">
          <ac:chgData name="Soumaya ZERHOUNI" userId="690e4aa6-586b-4341-8f1a-54a3e7457441" providerId="ADAL" clId="{69AAD651-E566-4914-B951-51E57822A563}" dt="2024-02-01T13:59:57.970" v="8713" actId="478"/>
          <ac:spMkLst>
            <pc:docMk/>
            <pc:sldMk cId="1562959687" sldId="2147482360"/>
            <ac:spMk id="28" creationId="{AA82CE51-E04C-292E-A065-0BE1A219390A}"/>
          </ac:spMkLst>
        </pc:spChg>
        <pc:spChg chg="add del mod">
          <ac:chgData name="Soumaya ZERHOUNI" userId="690e4aa6-586b-4341-8f1a-54a3e7457441" providerId="ADAL" clId="{69AAD651-E566-4914-B951-51E57822A563}" dt="2024-02-01T13:59:57.970" v="8713" actId="478"/>
          <ac:spMkLst>
            <pc:docMk/>
            <pc:sldMk cId="1562959687" sldId="2147482360"/>
            <ac:spMk id="29" creationId="{B82F56FE-3AFB-2CE2-9121-56E71DFDF116}"/>
          </ac:spMkLst>
        </pc:spChg>
        <pc:spChg chg="add del mod">
          <ac:chgData name="Soumaya ZERHOUNI" userId="690e4aa6-586b-4341-8f1a-54a3e7457441" providerId="ADAL" clId="{69AAD651-E566-4914-B951-51E57822A563}" dt="2024-02-01T13:59:57.970" v="8713" actId="478"/>
          <ac:spMkLst>
            <pc:docMk/>
            <pc:sldMk cId="1562959687" sldId="2147482360"/>
            <ac:spMk id="30" creationId="{CEFA8156-8F46-2B11-BFB8-F5AFAECD36AA}"/>
          </ac:spMkLst>
        </pc:spChg>
        <pc:spChg chg="add del mod">
          <ac:chgData name="Soumaya ZERHOUNI" userId="690e4aa6-586b-4341-8f1a-54a3e7457441" providerId="ADAL" clId="{69AAD651-E566-4914-B951-51E57822A563}" dt="2024-02-01T13:59:57.970" v="8713" actId="478"/>
          <ac:spMkLst>
            <pc:docMk/>
            <pc:sldMk cId="1562959687" sldId="2147482360"/>
            <ac:spMk id="32" creationId="{7D04180E-DD17-5B64-7A28-7DAD5031FA5D}"/>
          </ac:spMkLst>
        </pc:spChg>
        <pc:spChg chg="add del mod">
          <ac:chgData name="Soumaya ZERHOUNI" userId="690e4aa6-586b-4341-8f1a-54a3e7457441" providerId="ADAL" clId="{69AAD651-E566-4914-B951-51E57822A563}" dt="2024-02-01T13:59:57.970" v="8713" actId="478"/>
          <ac:spMkLst>
            <pc:docMk/>
            <pc:sldMk cId="1562959687" sldId="2147482360"/>
            <ac:spMk id="33" creationId="{634A4AD0-4435-1A5F-C5F2-8F2330FF5AB7}"/>
          </ac:spMkLst>
        </pc:spChg>
        <pc:spChg chg="mod topLvl">
          <ac:chgData name="Soumaya ZERHOUNI" userId="690e4aa6-586b-4341-8f1a-54a3e7457441" providerId="ADAL" clId="{69AAD651-E566-4914-B951-51E57822A563}" dt="2024-02-01T15:18:26.880" v="10452" actId="1076"/>
          <ac:spMkLst>
            <pc:docMk/>
            <pc:sldMk cId="1562959687" sldId="2147482360"/>
            <ac:spMk id="34" creationId="{1FB324DE-9684-84A8-FE0A-01F842A20926}"/>
          </ac:spMkLst>
        </pc:spChg>
        <pc:spChg chg="mod topLvl">
          <ac:chgData name="Soumaya ZERHOUNI" userId="690e4aa6-586b-4341-8f1a-54a3e7457441" providerId="ADAL" clId="{69AAD651-E566-4914-B951-51E57822A563}" dt="2024-02-01T15:18:26.880" v="10452" actId="1076"/>
          <ac:spMkLst>
            <pc:docMk/>
            <pc:sldMk cId="1562959687" sldId="2147482360"/>
            <ac:spMk id="35" creationId="{2D1A23E7-4A58-6776-9E02-528C115D30A0}"/>
          </ac:spMkLst>
        </pc:spChg>
        <pc:spChg chg="add del mod">
          <ac:chgData name="Soumaya ZERHOUNI" userId="690e4aa6-586b-4341-8f1a-54a3e7457441" providerId="ADAL" clId="{69AAD651-E566-4914-B951-51E57822A563}" dt="2024-02-01T13:59:57.970" v="8713" actId="478"/>
          <ac:spMkLst>
            <pc:docMk/>
            <pc:sldMk cId="1562959687" sldId="2147482360"/>
            <ac:spMk id="36" creationId="{DE587CFB-AD87-F576-CFC7-B879E57F7EBC}"/>
          </ac:spMkLst>
        </pc:spChg>
        <pc:spChg chg="add del mod">
          <ac:chgData name="Soumaya ZERHOUNI" userId="690e4aa6-586b-4341-8f1a-54a3e7457441" providerId="ADAL" clId="{69AAD651-E566-4914-B951-51E57822A563}" dt="2024-02-01T13:59:57.970" v="8713" actId="478"/>
          <ac:spMkLst>
            <pc:docMk/>
            <pc:sldMk cId="1562959687" sldId="2147482360"/>
            <ac:spMk id="37" creationId="{98F46E52-118A-4674-A48A-34A31E75BDDF}"/>
          </ac:spMkLst>
        </pc:spChg>
        <pc:spChg chg="mod">
          <ac:chgData name="Soumaya ZERHOUNI" userId="690e4aa6-586b-4341-8f1a-54a3e7457441" providerId="ADAL" clId="{69AAD651-E566-4914-B951-51E57822A563}" dt="2024-02-01T15:18:26.880" v="10452" actId="1076"/>
          <ac:spMkLst>
            <pc:docMk/>
            <pc:sldMk cId="1562959687" sldId="2147482360"/>
            <ac:spMk id="38" creationId="{86719F7C-8D7A-B838-A7B1-3792DC5DE052}"/>
          </ac:spMkLst>
        </pc:spChg>
        <pc:spChg chg="del mod">
          <ac:chgData name="Soumaya ZERHOUNI" userId="690e4aa6-586b-4341-8f1a-54a3e7457441" providerId="ADAL" clId="{69AAD651-E566-4914-B951-51E57822A563}" dt="2024-02-01T12:30:09.708" v="8001"/>
          <ac:spMkLst>
            <pc:docMk/>
            <pc:sldMk cId="1562959687" sldId="2147482360"/>
            <ac:spMk id="39" creationId="{94348693-DB69-F295-3561-39AC79879126}"/>
          </ac:spMkLst>
        </pc:spChg>
        <pc:spChg chg="mod topLvl">
          <ac:chgData name="Soumaya ZERHOUNI" userId="690e4aa6-586b-4341-8f1a-54a3e7457441" providerId="ADAL" clId="{69AAD651-E566-4914-B951-51E57822A563}" dt="2024-02-01T14:28:17.491" v="9634" actId="1076"/>
          <ac:spMkLst>
            <pc:docMk/>
            <pc:sldMk cId="1562959687" sldId="2147482360"/>
            <ac:spMk id="40" creationId="{E097C3A1-3AD5-74AA-FA1D-D23D433B9BAE}"/>
          </ac:spMkLst>
        </pc:spChg>
        <pc:spChg chg="mod topLvl">
          <ac:chgData name="Soumaya ZERHOUNI" userId="690e4aa6-586b-4341-8f1a-54a3e7457441" providerId="ADAL" clId="{69AAD651-E566-4914-B951-51E57822A563}" dt="2024-02-01T14:28:32.416" v="9636" actId="14100"/>
          <ac:spMkLst>
            <pc:docMk/>
            <pc:sldMk cId="1562959687" sldId="2147482360"/>
            <ac:spMk id="41" creationId="{5C5D0844-4A85-AFBA-45DF-78EC679BC5B3}"/>
          </ac:spMkLst>
        </pc:spChg>
        <pc:spChg chg="mod">
          <ac:chgData name="Soumaya ZERHOUNI" userId="690e4aa6-586b-4341-8f1a-54a3e7457441" providerId="ADAL" clId="{69AAD651-E566-4914-B951-51E57822A563}" dt="2024-02-01T15:38:57.806" v="10930" actId="113"/>
          <ac:spMkLst>
            <pc:docMk/>
            <pc:sldMk cId="1562959687" sldId="2147482360"/>
            <ac:spMk id="42" creationId="{80931179-9DEA-ABBE-EA30-B289A5CC8045}"/>
          </ac:spMkLst>
        </pc:spChg>
        <pc:spChg chg="add del mod">
          <ac:chgData name="Soumaya ZERHOUNI" userId="690e4aa6-586b-4341-8f1a-54a3e7457441" providerId="ADAL" clId="{69AAD651-E566-4914-B951-51E57822A563}" dt="2024-02-01T13:59:57.970" v="8713" actId="478"/>
          <ac:spMkLst>
            <pc:docMk/>
            <pc:sldMk cId="1562959687" sldId="2147482360"/>
            <ac:spMk id="43" creationId="{B215AF4E-10E3-B5DD-E9BC-C4128DF70833}"/>
          </ac:spMkLst>
        </pc:spChg>
        <pc:spChg chg="del mod topLvl">
          <ac:chgData name="Soumaya ZERHOUNI" userId="690e4aa6-586b-4341-8f1a-54a3e7457441" providerId="ADAL" clId="{69AAD651-E566-4914-B951-51E57822A563}" dt="2024-02-01T15:14:32.290" v="10256" actId="21"/>
          <ac:spMkLst>
            <pc:docMk/>
            <pc:sldMk cId="1562959687" sldId="2147482360"/>
            <ac:spMk id="44" creationId="{44AF8DE0-B2E8-E07C-5112-B250F8EEB092}"/>
          </ac:spMkLst>
        </pc:spChg>
        <pc:spChg chg="del mod topLvl">
          <ac:chgData name="Soumaya ZERHOUNI" userId="690e4aa6-586b-4341-8f1a-54a3e7457441" providerId="ADAL" clId="{69AAD651-E566-4914-B951-51E57822A563}" dt="2024-02-01T15:14:32.290" v="10256" actId="21"/>
          <ac:spMkLst>
            <pc:docMk/>
            <pc:sldMk cId="1562959687" sldId="2147482360"/>
            <ac:spMk id="45" creationId="{3ECE7F6E-9B0E-4751-2DC0-257271D70C3C}"/>
          </ac:spMkLst>
        </pc:spChg>
        <pc:spChg chg="del mod">
          <ac:chgData name="Soumaya ZERHOUNI" userId="690e4aa6-586b-4341-8f1a-54a3e7457441" providerId="ADAL" clId="{69AAD651-E566-4914-B951-51E57822A563}" dt="2024-02-01T15:14:32.290" v="10256" actId="21"/>
          <ac:spMkLst>
            <pc:docMk/>
            <pc:sldMk cId="1562959687" sldId="2147482360"/>
            <ac:spMk id="46" creationId="{193CAC60-FA30-5E92-F332-7F53A9091DA4}"/>
          </ac:spMkLst>
        </pc:spChg>
        <pc:spChg chg="add del mod">
          <ac:chgData name="Soumaya ZERHOUNI" userId="690e4aa6-586b-4341-8f1a-54a3e7457441" providerId="ADAL" clId="{69AAD651-E566-4914-B951-51E57822A563}" dt="2024-02-01T13:59:57.970" v="8713" actId="478"/>
          <ac:spMkLst>
            <pc:docMk/>
            <pc:sldMk cId="1562959687" sldId="2147482360"/>
            <ac:spMk id="47" creationId="{D07A6535-8CD5-055A-D8E1-8980FAC8406B}"/>
          </ac:spMkLst>
        </pc:spChg>
        <pc:spChg chg="add del mod">
          <ac:chgData name="Soumaya ZERHOUNI" userId="690e4aa6-586b-4341-8f1a-54a3e7457441" providerId="ADAL" clId="{69AAD651-E566-4914-B951-51E57822A563}" dt="2024-02-01T13:59:57.970" v="8713" actId="478"/>
          <ac:spMkLst>
            <pc:docMk/>
            <pc:sldMk cId="1562959687" sldId="2147482360"/>
            <ac:spMk id="48" creationId="{1A56619F-873A-518D-F537-0DE24CB7E437}"/>
          </ac:spMkLst>
        </pc:spChg>
        <pc:spChg chg="mod">
          <ac:chgData name="Soumaya ZERHOUNI" userId="690e4aa6-586b-4341-8f1a-54a3e7457441" providerId="ADAL" clId="{69AAD651-E566-4914-B951-51E57822A563}" dt="2024-02-01T14:36:12.071" v="9813" actId="1076"/>
          <ac:spMkLst>
            <pc:docMk/>
            <pc:sldMk cId="1562959687" sldId="2147482360"/>
            <ac:spMk id="49" creationId="{98F638C8-F329-1F0C-3DAB-0AB7BAE35C03}"/>
          </ac:spMkLst>
        </pc:spChg>
        <pc:spChg chg="add del mod">
          <ac:chgData name="Soumaya ZERHOUNI" userId="690e4aa6-586b-4341-8f1a-54a3e7457441" providerId="ADAL" clId="{69AAD651-E566-4914-B951-51E57822A563}" dt="2024-02-01T13:59:57.970" v="8713" actId="478"/>
          <ac:spMkLst>
            <pc:docMk/>
            <pc:sldMk cId="1562959687" sldId="2147482360"/>
            <ac:spMk id="50" creationId="{3290B0F7-F9D9-C88C-8E7B-6BBAB269829A}"/>
          </ac:spMkLst>
        </pc:spChg>
        <pc:spChg chg="add del mod">
          <ac:chgData name="Soumaya ZERHOUNI" userId="690e4aa6-586b-4341-8f1a-54a3e7457441" providerId="ADAL" clId="{69AAD651-E566-4914-B951-51E57822A563}" dt="2024-02-01T13:59:57.970" v="8713" actId="478"/>
          <ac:spMkLst>
            <pc:docMk/>
            <pc:sldMk cId="1562959687" sldId="2147482360"/>
            <ac:spMk id="51" creationId="{A2732C04-691F-8BB3-B9BF-5CAF15DDCD95}"/>
          </ac:spMkLst>
        </pc:spChg>
        <pc:spChg chg="add del mod">
          <ac:chgData name="Soumaya ZERHOUNI" userId="690e4aa6-586b-4341-8f1a-54a3e7457441" providerId="ADAL" clId="{69AAD651-E566-4914-B951-51E57822A563}" dt="2024-02-01T13:59:57.970" v="8713" actId="478"/>
          <ac:spMkLst>
            <pc:docMk/>
            <pc:sldMk cId="1562959687" sldId="2147482360"/>
            <ac:spMk id="52" creationId="{D80B15F9-AA23-24C7-F415-8589FFC3BD0D}"/>
          </ac:spMkLst>
        </pc:spChg>
        <pc:spChg chg="add del mod">
          <ac:chgData name="Soumaya ZERHOUNI" userId="690e4aa6-586b-4341-8f1a-54a3e7457441" providerId="ADAL" clId="{69AAD651-E566-4914-B951-51E57822A563}" dt="2024-02-01T15:29:25.017" v="10922" actId="21"/>
          <ac:spMkLst>
            <pc:docMk/>
            <pc:sldMk cId="1562959687" sldId="2147482360"/>
            <ac:spMk id="57" creationId="{10039D4B-66AD-7E1B-8FEA-D0EC5149FCCD}"/>
          </ac:spMkLst>
        </pc:spChg>
        <pc:spChg chg="add mod">
          <ac:chgData name="Soumaya ZERHOUNI" userId="690e4aa6-586b-4341-8f1a-54a3e7457441" providerId="ADAL" clId="{69AAD651-E566-4914-B951-51E57822A563}" dt="2024-02-01T15:37:12.560" v="10928" actId="1076"/>
          <ac:spMkLst>
            <pc:docMk/>
            <pc:sldMk cId="1562959687" sldId="2147482360"/>
            <ac:spMk id="58" creationId="{17D52768-7827-E8ED-2091-1E4319A2DE64}"/>
          </ac:spMkLst>
        </pc:spChg>
        <pc:spChg chg="add del mod">
          <ac:chgData name="Soumaya ZERHOUNI" userId="690e4aa6-586b-4341-8f1a-54a3e7457441" providerId="ADAL" clId="{69AAD651-E566-4914-B951-51E57822A563}" dt="2024-02-01T15:14:39.679" v="10258" actId="21"/>
          <ac:spMkLst>
            <pc:docMk/>
            <pc:sldMk cId="1562959687" sldId="2147482360"/>
            <ac:spMk id="59" creationId="{2F54E258-02DA-426B-5FD4-80D5B368B154}"/>
          </ac:spMkLst>
        </pc:spChg>
        <pc:spChg chg="add del mod">
          <ac:chgData name="Soumaya ZERHOUNI" userId="690e4aa6-586b-4341-8f1a-54a3e7457441" providerId="ADAL" clId="{69AAD651-E566-4914-B951-51E57822A563}" dt="2024-02-01T15:28:58.128" v="10919" actId="478"/>
          <ac:spMkLst>
            <pc:docMk/>
            <pc:sldMk cId="1562959687" sldId="2147482360"/>
            <ac:spMk id="60" creationId="{07957F29-9EFC-AA77-82B5-7872E9E8A89E}"/>
          </ac:spMkLst>
        </pc:spChg>
        <pc:spChg chg="add del mod">
          <ac:chgData name="Soumaya ZERHOUNI" userId="690e4aa6-586b-4341-8f1a-54a3e7457441" providerId="ADAL" clId="{69AAD651-E566-4914-B951-51E57822A563}" dt="2024-02-01T15:23:04.686" v="10785" actId="478"/>
          <ac:spMkLst>
            <pc:docMk/>
            <pc:sldMk cId="1562959687" sldId="2147482360"/>
            <ac:spMk id="61" creationId="{028703CF-D0C2-C18A-0ED5-DE6C20A23EA3}"/>
          </ac:spMkLst>
        </pc:spChg>
        <pc:grpChg chg="add del mod">
          <ac:chgData name="Soumaya ZERHOUNI" userId="690e4aa6-586b-4341-8f1a-54a3e7457441" providerId="ADAL" clId="{69AAD651-E566-4914-B951-51E57822A563}" dt="2024-02-01T14:26:50.916" v="9623" actId="165"/>
          <ac:grpSpMkLst>
            <pc:docMk/>
            <pc:sldMk cId="1562959687" sldId="2147482360"/>
            <ac:grpSpMk id="54" creationId="{FBA3BA09-CF4B-F7FD-615C-A178FFD24E10}"/>
          </ac:grpSpMkLst>
        </pc:grpChg>
        <pc:grpChg chg="add del mod">
          <ac:chgData name="Soumaya ZERHOUNI" userId="690e4aa6-586b-4341-8f1a-54a3e7457441" providerId="ADAL" clId="{69AAD651-E566-4914-B951-51E57822A563}" dt="2024-02-01T14:26:50.916" v="9623" actId="165"/>
          <ac:grpSpMkLst>
            <pc:docMk/>
            <pc:sldMk cId="1562959687" sldId="2147482360"/>
            <ac:grpSpMk id="55" creationId="{60127455-344F-AAEA-D9EF-6FFECBA2CBB1}"/>
          </ac:grpSpMkLst>
        </pc:grpChg>
        <pc:grpChg chg="add del mod">
          <ac:chgData name="Soumaya ZERHOUNI" userId="690e4aa6-586b-4341-8f1a-54a3e7457441" providerId="ADAL" clId="{69AAD651-E566-4914-B951-51E57822A563}" dt="2024-02-01T14:26:50.916" v="9623" actId="165"/>
          <ac:grpSpMkLst>
            <pc:docMk/>
            <pc:sldMk cId="1562959687" sldId="2147482360"/>
            <ac:grpSpMk id="56" creationId="{0463E2FB-2471-EFFA-D713-E144CD6BBE35}"/>
          </ac:grpSpMkLst>
        </pc:grpChg>
        <pc:graphicFrameChg chg="add del mod">
          <ac:chgData name="Soumaya ZERHOUNI" userId="690e4aa6-586b-4341-8f1a-54a3e7457441" providerId="ADAL" clId="{69AAD651-E566-4914-B951-51E57822A563}" dt="2024-02-01T13:59:57.970" v="8713" actId="478"/>
          <ac:graphicFrameMkLst>
            <pc:docMk/>
            <pc:sldMk cId="1562959687" sldId="2147482360"/>
            <ac:graphicFrameMk id="14" creationId="{152003CA-D3DF-52D4-97E3-C0CC30EF38C7}"/>
          </ac:graphicFrameMkLst>
        </pc:graphicFrameChg>
        <pc:picChg chg="add del mod modCrop">
          <ac:chgData name="Soumaya ZERHOUNI" userId="690e4aa6-586b-4341-8f1a-54a3e7457441" providerId="ADAL" clId="{69AAD651-E566-4914-B951-51E57822A563}" dt="2024-02-01T13:59:02.294" v="8711" actId="478"/>
          <ac:picMkLst>
            <pc:docMk/>
            <pc:sldMk cId="1562959687" sldId="2147482360"/>
            <ac:picMk id="10" creationId="{F62FB8F8-99BD-6484-1F66-4CADE25B279B}"/>
          </ac:picMkLst>
        </pc:picChg>
        <pc:picChg chg="add del mod">
          <ac:chgData name="Soumaya ZERHOUNI" userId="690e4aa6-586b-4341-8f1a-54a3e7457441" providerId="ADAL" clId="{69AAD651-E566-4914-B951-51E57822A563}" dt="2024-02-01T13:59:57.970" v="8713" actId="478"/>
          <ac:picMkLst>
            <pc:docMk/>
            <pc:sldMk cId="1562959687" sldId="2147482360"/>
            <ac:picMk id="21" creationId="{984921C9-0532-D614-66EE-8FC935786752}"/>
          </ac:picMkLst>
        </pc:picChg>
        <pc:picChg chg="add del mod">
          <ac:chgData name="Soumaya ZERHOUNI" userId="690e4aa6-586b-4341-8f1a-54a3e7457441" providerId="ADAL" clId="{69AAD651-E566-4914-B951-51E57822A563}" dt="2024-02-01T13:59:57.970" v="8713" actId="478"/>
          <ac:picMkLst>
            <pc:docMk/>
            <pc:sldMk cId="1562959687" sldId="2147482360"/>
            <ac:picMk id="24" creationId="{F53CF33A-9592-CCF7-5B2E-7E1B79D5F856}"/>
          </ac:picMkLst>
        </pc:picChg>
        <pc:picChg chg="add del mod">
          <ac:chgData name="Soumaya ZERHOUNI" userId="690e4aa6-586b-4341-8f1a-54a3e7457441" providerId="ADAL" clId="{69AAD651-E566-4914-B951-51E57822A563}" dt="2024-02-01T13:59:57.970" v="8713" actId="478"/>
          <ac:picMkLst>
            <pc:docMk/>
            <pc:sldMk cId="1562959687" sldId="2147482360"/>
            <ac:picMk id="31" creationId="{8D32079F-9424-0C89-5710-0BE6883572F9}"/>
          </ac:picMkLst>
        </pc:picChg>
        <pc:picChg chg="add del mod">
          <ac:chgData name="Soumaya ZERHOUNI" userId="690e4aa6-586b-4341-8f1a-54a3e7457441" providerId="ADAL" clId="{69AAD651-E566-4914-B951-51E57822A563}" dt="2024-02-01T13:59:57.970" v="8713" actId="478"/>
          <ac:picMkLst>
            <pc:docMk/>
            <pc:sldMk cId="1562959687" sldId="2147482360"/>
            <ac:picMk id="53" creationId="{2C3C0531-F7A2-279C-E5F1-172ECFB37032}"/>
          </ac:picMkLst>
        </pc:picChg>
      </pc:sldChg>
      <pc:sldChg chg="addSp delSp modSp add mod modShow">
        <pc:chgData name="Soumaya ZERHOUNI" userId="690e4aa6-586b-4341-8f1a-54a3e7457441" providerId="ADAL" clId="{69AAD651-E566-4914-B951-51E57822A563}" dt="2024-02-01T14:14:00.323" v="9108" actId="729"/>
        <pc:sldMkLst>
          <pc:docMk/>
          <pc:sldMk cId="3572027075" sldId="2147482361"/>
        </pc:sldMkLst>
        <pc:spChg chg="mod">
          <ac:chgData name="Soumaya ZERHOUNI" userId="690e4aa6-586b-4341-8f1a-54a3e7457441" providerId="ADAL" clId="{69AAD651-E566-4914-B951-51E57822A563}" dt="2024-02-01T12:46:54.393" v="8185" actId="165"/>
          <ac:spMkLst>
            <pc:docMk/>
            <pc:sldMk cId="3572027075" sldId="2147482361"/>
            <ac:spMk id="5" creationId="{9EDECFD8-DC95-1668-57F3-8AA0891F9221}"/>
          </ac:spMkLst>
        </pc:spChg>
        <pc:spChg chg="mod">
          <ac:chgData name="Soumaya ZERHOUNI" userId="690e4aa6-586b-4341-8f1a-54a3e7457441" providerId="ADAL" clId="{69AAD651-E566-4914-B951-51E57822A563}" dt="2024-02-01T12:46:54.393" v="8185" actId="165"/>
          <ac:spMkLst>
            <pc:docMk/>
            <pc:sldMk cId="3572027075" sldId="2147482361"/>
            <ac:spMk id="7" creationId="{31612BBD-5FAE-AFC9-E34B-9CAF99080330}"/>
          </ac:spMkLst>
        </pc:spChg>
        <pc:spChg chg="mod">
          <ac:chgData name="Soumaya ZERHOUNI" userId="690e4aa6-586b-4341-8f1a-54a3e7457441" providerId="ADAL" clId="{69AAD651-E566-4914-B951-51E57822A563}" dt="2024-02-01T12:46:54.393" v="8185" actId="165"/>
          <ac:spMkLst>
            <pc:docMk/>
            <pc:sldMk cId="3572027075" sldId="2147482361"/>
            <ac:spMk id="8" creationId="{1BC48B08-B840-1601-E132-78CA5E90CECC}"/>
          </ac:spMkLst>
        </pc:spChg>
        <pc:spChg chg="mod">
          <ac:chgData name="Soumaya ZERHOUNI" userId="690e4aa6-586b-4341-8f1a-54a3e7457441" providerId="ADAL" clId="{69AAD651-E566-4914-B951-51E57822A563}" dt="2024-02-01T12:46:54.393" v="8185" actId="165"/>
          <ac:spMkLst>
            <pc:docMk/>
            <pc:sldMk cId="3572027075" sldId="2147482361"/>
            <ac:spMk id="9" creationId="{80539596-89AB-6C73-78C0-92D8EF24B840}"/>
          </ac:spMkLst>
        </pc:spChg>
        <pc:spChg chg="mod">
          <ac:chgData name="Soumaya ZERHOUNI" userId="690e4aa6-586b-4341-8f1a-54a3e7457441" providerId="ADAL" clId="{69AAD651-E566-4914-B951-51E57822A563}" dt="2024-02-01T12:46:54.393" v="8185" actId="165"/>
          <ac:spMkLst>
            <pc:docMk/>
            <pc:sldMk cId="3572027075" sldId="2147482361"/>
            <ac:spMk id="10" creationId="{72F6860C-EE79-2D34-5960-D80CF59939A7}"/>
          </ac:spMkLst>
        </pc:spChg>
        <pc:spChg chg="mod">
          <ac:chgData name="Soumaya ZERHOUNI" userId="690e4aa6-586b-4341-8f1a-54a3e7457441" providerId="ADAL" clId="{69AAD651-E566-4914-B951-51E57822A563}" dt="2024-02-01T12:46:54.393" v="8185" actId="165"/>
          <ac:spMkLst>
            <pc:docMk/>
            <pc:sldMk cId="3572027075" sldId="2147482361"/>
            <ac:spMk id="12" creationId="{71D9BCC6-639A-BDCD-A875-171851C01A58}"/>
          </ac:spMkLst>
        </pc:spChg>
        <pc:spChg chg="mod">
          <ac:chgData name="Soumaya ZERHOUNI" userId="690e4aa6-586b-4341-8f1a-54a3e7457441" providerId="ADAL" clId="{69AAD651-E566-4914-B951-51E57822A563}" dt="2024-02-01T12:46:54.393" v="8185" actId="165"/>
          <ac:spMkLst>
            <pc:docMk/>
            <pc:sldMk cId="3572027075" sldId="2147482361"/>
            <ac:spMk id="13" creationId="{1618AC90-3277-CA9B-57A4-EE82C54574AF}"/>
          </ac:spMkLst>
        </pc:spChg>
        <pc:spChg chg="mod">
          <ac:chgData name="Soumaya ZERHOUNI" userId="690e4aa6-586b-4341-8f1a-54a3e7457441" providerId="ADAL" clId="{69AAD651-E566-4914-B951-51E57822A563}" dt="2024-02-01T12:46:54.393" v="8185" actId="165"/>
          <ac:spMkLst>
            <pc:docMk/>
            <pc:sldMk cId="3572027075" sldId="2147482361"/>
            <ac:spMk id="15" creationId="{49A5D792-CD61-45A3-8F08-37A2D40C2F4E}"/>
          </ac:spMkLst>
        </pc:spChg>
        <pc:spChg chg="mod">
          <ac:chgData name="Soumaya ZERHOUNI" userId="690e4aa6-586b-4341-8f1a-54a3e7457441" providerId="ADAL" clId="{69AAD651-E566-4914-B951-51E57822A563}" dt="2024-02-01T12:46:54.393" v="8185" actId="165"/>
          <ac:spMkLst>
            <pc:docMk/>
            <pc:sldMk cId="3572027075" sldId="2147482361"/>
            <ac:spMk id="17" creationId="{D3BCFA8F-1A17-B99D-96A2-F0A53941559C}"/>
          </ac:spMkLst>
        </pc:spChg>
        <pc:spChg chg="mod topLvl">
          <ac:chgData name="Soumaya ZERHOUNI" userId="690e4aa6-586b-4341-8f1a-54a3e7457441" providerId="ADAL" clId="{69AAD651-E566-4914-B951-51E57822A563}" dt="2024-02-01T12:46:54.393" v="8185" actId="165"/>
          <ac:spMkLst>
            <pc:docMk/>
            <pc:sldMk cId="3572027075" sldId="2147482361"/>
            <ac:spMk id="18" creationId="{FC583004-EE05-1F5C-23A4-2E5C775A156D}"/>
          </ac:spMkLst>
        </pc:spChg>
        <pc:spChg chg="mod">
          <ac:chgData name="Soumaya ZERHOUNI" userId="690e4aa6-586b-4341-8f1a-54a3e7457441" providerId="ADAL" clId="{69AAD651-E566-4914-B951-51E57822A563}" dt="2024-02-01T12:46:54.393" v="8185" actId="165"/>
          <ac:spMkLst>
            <pc:docMk/>
            <pc:sldMk cId="3572027075" sldId="2147482361"/>
            <ac:spMk id="19" creationId="{AB92D326-DCAD-5EC8-169E-47FC4720AB99}"/>
          </ac:spMkLst>
        </pc:spChg>
        <pc:spChg chg="mod topLvl">
          <ac:chgData name="Soumaya ZERHOUNI" userId="690e4aa6-586b-4341-8f1a-54a3e7457441" providerId="ADAL" clId="{69AAD651-E566-4914-B951-51E57822A563}" dt="2024-02-01T12:46:54.393" v="8185" actId="165"/>
          <ac:spMkLst>
            <pc:docMk/>
            <pc:sldMk cId="3572027075" sldId="2147482361"/>
            <ac:spMk id="20" creationId="{384D5CE8-3527-C19A-E8DD-15A14CA35F7B}"/>
          </ac:spMkLst>
        </pc:spChg>
        <pc:spChg chg="mod topLvl">
          <ac:chgData name="Soumaya ZERHOUNI" userId="690e4aa6-586b-4341-8f1a-54a3e7457441" providerId="ADAL" clId="{69AAD651-E566-4914-B951-51E57822A563}" dt="2024-02-01T12:46:54.393" v="8185" actId="165"/>
          <ac:spMkLst>
            <pc:docMk/>
            <pc:sldMk cId="3572027075" sldId="2147482361"/>
            <ac:spMk id="21" creationId="{EF649595-2B9A-D1EC-1BED-E3088412C1E3}"/>
          </ac:spMkLst>
        </pc:spChg>
        <pc:spChg chg="mod topLvl">
          <ac:chgData name="Soumaya ZERHOUNI" userId="690e4aa6-586b-4341-8f1a-54a3e7457441" providerId="ADAL" clId="{69AAD651-E566-4914-B951-51E57822A563}" dt="2024-02-01T12:46:54.393" v="8185" actId="165"/>
          <ac:spMkLst>
            <pc:docMk/>
            <pc:sldMk cId="3572027075" sldId="2147482361"/>
            <ac:spMk id="22" creationId="{DB0661A6-E7D9-68FE-BB5D-F60C3D2143AB}"/>
          </ac:spMkLst>
        </pc:spChg>
        <pc:spChg chg="mod">
          <ac:chgData name="Soumaya ZERHOUNI" userId="690e4aa6-586b-4341-8f1a-54a3e7457441" providerId="ADAL" clId="{69AAD651-E566-4914-B951-51E57822A563}" dt="2024-02-01T12:46:54.393" v="8185" actId="165"/>
          <ac:spMkLst>
            <pc:docMk/>
            <pc:sldMk cId="3572027075" sldId="2147482361"/>
            <ac:spMk id="24" creationId="{EF0F4379-7209-8599-77B1-80675214D746}"/>
          </ac:spMkLst>
        </pc:spChg>
        <pc:spChg chg="mod topLvl">
          <ac:chgData name="Soumaya ZERHOUNI" userId="690e4aa6-586b-4341-8f1a-54a3e7457441" providerId="ADAL" clId="{69AAD651-E566-4914-B951-51E57822A563}" dt="2024-02-01T12:29:44.481" v="7991" actId="165"/>
          <ac:spMkLst>
            <pc:docMk/>
            <pc:sldMk cId="3572027075" sldId="2147482361"/>
            <ac:spMk id="25" creationId="{E1AC5E22-852B-1F53-1B14-EDE0B7D4986E}"/>
          </ac:spMkLst>
        </pc:spChg>
        <pc:spChg chg="mod topLvl">
          <ac:chgData name="Soumaya ZERHOUNI" userId="690e4aa6-586b-4341-8f1a-54a3e7457441" providerId="ADAL" clId="{69AAD651-E566-4914-B951-51E57822A563}" dt="2024-02-01T12:47:55.891" v="8190" actId="12788"/>
          <ac:spMkLst>
            <pc:docMk/>
            <pc:sldMk cId="3572027075" sldId="2147482361"/>
            <ac:spMk id="26" creationId="{E1AC5E22-852B-1F53-1B14-EDE0B7D4986E}"/>
          </ac:spMkLst>
        </pc:spChg>
        <pc:spChg chg="mod topLvl">
          <ac:chgData name="Soumaya ZERHOUNI" userId="690e4aa6-586b-4341-8f1a-54a3e7457441" providerId="ADAL" clId="{69AAD651-E566-4914-B951-51E57822A563}" dt="2024-02-01T12:47:46.608" v="8187" actId="12788"/>
          <ac:spMkLst>
            <pc:docMk/>
            <pc:sldMk cId="3572027075" sldId="2147482361"/>
            <ac:spMk id="28" creationId="{147B2909-1383-913D-D613-2F8D1AEE51C7}"/>
          </ac:spMkLst>
        </pc:spChg>
        <pc:spChg chg="mod">
          <ac:chgData name="Soumaya ZERHOUNI" userId="690e4aa6-586b-4341-8f1a-54a3e7457441" providerId="ADAL" clId="{69AAD651-E566-4914-B951-51E57822A563}" dt="2024-02-01T12:46:54.393" v="8185" actId="165"/>
          <ac:spMkLst>
            <pc:docMk/>
            <pc:sldMk cId="3572027075" sldId="2147482361"/>
            <ac:spMk id="29" creationId="{01D60BA5-B0A1-500A-DEDA-7D301C50324F}"/>
          </ac:spMkLst>
        </pc:spChg>
        <pc:spChg chg="mod topLvl">
          <ac:chgData name="Soumaya ZERHOUNI" userId="690e4aa6-586b-4341-8f1a-54a3e7457441" providerId="ADAL" clId="{69AAD651-E566-4914-B951-51E57822A563}" dt="2024-02-01T12:47:42.331" v="8186" actId="12788"/>
          <ac:spMkLst>
            <pc:docMk/>
            <pc:sldMk cId="3572027075" sldId="2147482361"/>
            <ac:spMk id="30" creationId="{6E1CD508-B83C-5AB2-B637-34124C586CA8}"/>
          </ac:spMkLst>
        </pc:spChg>
        <pc:spChg chg="mod">
          <ac:chgData name="Soumaya ZERHOUNI" userId="690e4aa6-586b-4341-8f1a-54a3e7457441" providerId="ADAL" clId="{69AAD651-E566-4914-B951-51E57822A563}" dt="2024-02-01T12:46:54.393" v="8185" actId="165"/>
          <ac:spMkLst>
            <pc:docMk/>
            <pc:sldMk cId="3572027075" sldId="2147482361"/>
            <ac:spMk id="31" creationId="{59CAA81F-B0FB-80FC-960D-8852967137B4}"/>
          </ac:spMkLst>
        </pc:spChg>
        <pc:spChg chg="mod topLvl">
          <ac:chgData name="Soumaya ZERHOUNI" userId="690e4aa6-586b-4341-8f1a-54a3e7457441" providerId="ADAL" clId="{69AAD651-E566-4914-B951-51E57822A563}" dt="2024-02-01T12:29:44.481" v="7991" actId="165"/>
          <ac:spMkLst>
            <pc:docMk/>
            <pc:sldMk cId="3572027075" sldId="2147482361"/>
            <ac:spMk id="32" creationId="{147B2909-1383-913D-D613-2F8D1AEE51C7}"/>
          </ac:spMkLst>
        </pc:spChg>
        <pc:spChg chg="mod">
          <ac:chgData name="Soumaya ZERHOUNI" userId="690e4aa6-586b-4341-8f1a-54a3e7457441" providerId="ADAL" clId="{69AAD651-E566-4914-B951-51E57822A563}" dt="2024-02-01T12:46:54.393" v="8185" actId="165"/>
          <ac:spMkLst>
            <pc:docMk/>
            <pc:sldMk cId="3572027075" sldId="2147482361"/>
            <ac:spMk id="33" creationId="{13F6D2BA-63EF-F901-5C46-119737AAF8F1}"/>
          </ac:spMkLst>
        </pc:spChg>
        <pc:spChg chg="mod topLvl">
          <ac:chgData name="Soumaya ZERHOUNI" userId="690e4aa6-586b-4341-8f1a-54a3e7457441" providerId="ADAL" clId="{69AAD651-E566-4914-B951-51E57822A563}" dt="2024-02-01T12:29:44.481" v="7991" actId="165"/>
          <ac:spMkLst>
            <pc:docMk/>
            <pc:sldMk cId="3572027075" sldId="2147482361"/>
            <ac:spMk id="34" creationId="{6E1CD508-B83C-5AB2-B637-34124C586CA8}"/>
          </ac:spMkLst>
        </pc:spChg>
        <pc:spChg chg="mod topLvl">
          <ac:chgData name="Soumaya ZERHOUNI" userId="690e4aa6-586b-4341-8f1a-54a3e7457441" providerId="ADAL" clId="{69AAD651-E566-4914-B951-51E57822A563}" dt="2024-02-01T12:29:44.481" v="7991" actId="165"/>
          <ac:spMkLst>
            <pc:docMk/>
            <pc:sldMk cId="3572027075" sldId="2147482361"/>
            <ac:spMk id="35" creationId="{9A3A27F2-D257-396B-F35C-BA0E194A6200}"/>
          </ac:spMkLst>
        </pc:spChg>
        <pc:spChg chg="mod topLvl">
          <ac:chgData name="Soumaya ZERHOUNI" userId="690e4aa6-586b-4341-8f1a-54a3e7457441" providerId="ADAL" clId="{69AAD651-E566-4914-B951-51E57822A563}" dt="2024-02-01T14:03:17.877" v="8967" actId="255"/>
          <ac:spMkLst>
            <pc:docMk/>
            <pc:sldMk cId="3572027075" sldId="2147482361"/>
            <ac:spMk id="36" creationId="{485DC901-F136-02B3-E77B-DB4DCF7629F0}"/>
          </ac:spMkLst>
        </pc:spChg>
        <pc:spChg chg="mod topLvl">
          <ac:chgData name="Soumaya ZERHOUNI" userId="690e4aa6-586b-4341-8f1a-54a3e7457441" providerId="ADAL" clId="{69AAD651-E566-4914-B951-51E57822A563}" dt="2024-02-01T14:03:17.877" v="8967" actId="255"/>
          <ac:spMkLst>
            <pc:docMk/>
            <pc:sldMk cId="3572027075" sldId="2147482361"/>
            <ac:spMk id="37" creationId="{5BE20F26-87D3-7AB5-F8EE-B25385FAF0F1}"/>
          </ac:spMkLst>
        </pc:spChg>
        <pc:spChg chg="mod topLvl">
          <ac:chgData name="Soumaya ZERHOUNI" userId="690e4aa6-586b-4341-8f1a-54a3e7457441" providerId="ADAL" clId="{69AAD651-E566-4914-B951-51E57822A563}" dt="2024-02-01T12:46:54.393" v="8185" actId="165"/>
          <ac:spMkLst>
            <pc:docMk/>
            <pc:sldMk cId="3572027075" sldId="2147482361"/>
            <ac:spMk id="43" creationId="{9A3A27F2-D257-396B-F35C-BA0E194A6200}"/>
          </ac:spMkLst>
        </pc:spChg>
        <pc:spChg chg="del mod">
          <ac:chgData name="Soumaya ZERHOUNI" userId="690e4aa6-586b-4341-8f1a-54a3e7457441" providerId="ADAL" clId="{69AAD651-E566-4914-B951-51E57822A563}" dt="2024-02-01T12:40:19.826" v="8175" actId="478"/>
          <ac:spMkLst>
            <pc:docMk/>
            <pc:sldMk cId="3572027075" sldId="2147482361"/>
            <ac:spMk id="44" creationId="{E4FEE2AA-D462-BABA-32C5-FD242D59393C}"/>
          </ac:spMkLst>
        </pc:spChg>
        <pc:spChg chg="mod topLvl">
          <ac:chgData name="Soumaya ZERHOUNI" userId="690e4aa6-586b-4341-8f1a-54a3e7457441" providerId="ADAL" clId="{69AAD651-E566-4914-B951-51E57822A563}" dt="2024-02-01T14:03:17.877" v="8967" actId="255"/>
          <ac:spMkLst>
            <pc:docMk/>
            <pc:sldMk cId="3572027075" sldId="2147482361"/>
            <ac:spMk id="47" creationId="{E2B1786A-CC54-0923-34FE-9E06795851D5}"/>
          </ac:spMkLst>
        </pc:spChg>
        <pc:spChg chg="mod topLvl">
          <ac:chgData name="Soumaya ZERHOUNI" userId="690e4aa6-586b-4341-8f1a-54a3e7457441" providerId="ADAL" clId="{69AAD651-E566-4914-B951-51E57822A563}" dt="2024-02-01T14:03:17.877" v="8967" actId="255"/>
          <ac:spMkLst>
            <pc:docMk/>
            <pc:sldMk cId="3572027075" sldId="2147482361"/>
            <ac:spMk id="48" creationId="{6FD809D1-AFF5-A7B9-76E6-017799C23F93}"/>
          </ac:spMkLst>
        </pc:spChg>
        <pc:spChg chg="mod topLvl">
          <ac:chgData name="Soumaya ZERHOUNI" userId="690e4aa6-586b-4341-8f1a-54a3e7457441" providerId="ADAL" clId="{69AAD651-E566-4914-B951-51E57822A563}" dt="2024-02-01T14:05:30.849" v="8981" actId="20577"/>
          <ac:spMkLst>
            <pc:docMk/>
            <pc:sldMk cId="3572027075" sldId="2147482361"/>
            <ac:spMk id="50" creationId="{CB10D352-BFCA-9ED3-F19C-737FC129AF8C}"/>
          </ac:spMkLst>
        </pc:spChg>
        <pc:spChg chg="mod topLvl">
          <ac:chgData name="Soumaya ZERHOUNI" userId="690e4aa6-586b-4341-8f1a-54a3e7457441" providerId="ADAL" clId="{69AAD651-E566-4914-B951-51E57822A563}" dt="2024-02-01T14:06:13.911" v="8988" actId="20577"/>
          <ac:spMkLst>
            <pc:docMk/>
            <pc:sldMk cId="3572027075" sldId="2147482361"/>
            <ac:spMk id="51" creationId="{93C48C7C-8046-E347-5637-192CEEF8A1F2}"/>
          </ac:spMkLst>
        </pc:spChg>
        <pc:spChg chg="mod topLvl">
          <ac:chgData name="Soumaya ZERHOUNI" userId="690e4aa6-586b-4341-8f1a-54a3e7457441" providerId="ADAL" clId="{69AAD651-E566-4914-B951-51E57822A563}" dt="2024-02-01T14:06:01.697" v="8985" actId="20577"/>
          <ac:spMkLst>
            <pc:docMk/>
            <pc:sldMk cId="3572027075" sldId="2147482361"/>
            <ac:spMk id="52" creationId="{D1E6F53B-1A51-CCBE-77A9-0B0D119D3BCD}"/>
          </ac:spMkLst>
        </pc:spChg>
        <pc:spChg chg="mod topLvl">
          <ac:chgData name="Soumaya ZERHOUNI" userId="690e4aa6-586b-4341-8f1a-54a3e7457441" providerId="ADAL" clId="{69AAD651-E566-4914-B951-51E57822A563}" dt="2024-02-01T14:06:08.126" v="8986" actId="20577"/>
          <ac:spMkLst>
            <pc:docMk/>
            <pc:sldMk cId="3572027075" sldId="2147482361"/>
            <ac:spMk id="53" creationId="{D8EAF499-2F60-FCF4-5F47-72E4B971D9D0}"/>
          </ac:spMkLst>
        </pc:spChg>
        <pc:spChg chg="mod">
          <ac:chgData name="Soumaya ZERHOUNI" userId="690e4aa6-586b-4341-8f1a-54a3e7457441" providerId="ADAL" clId="{69AAD651-E566-4914-B951-51E57822A563}" dt="2024-02-01T14:04:03.788" v="8980" actId="14100"/>
          <ac:spMkLst>
            <pc:docMk/>
            <pc:sldMk cId="3572027075" sldId="2147482361"/>
            <ac:spMk id="55" creationId="{9F75F3E5-F69C-9D3A-7509-EF9C11B0A9CF}"/>
          </ac:spMkLst>
        </pc:spChg>
        <pc:spChg chg="mod">
          <ac:chgData name="Soumaya ZERHOUNI" userId="690e4aa6-586b-4341-8f1a-54a3e7457441" providerId="ADAL" clId="{69AAD651-E566-4914-B951-51E57822A563}" dt="2024-02-01T14:04:03.788" v="8980" actId="14100"/>
          <ac:spMkLst>
            <pc:docMk/>
            <pc:sldMk cId="3572027075" sldId="2147482361"/>
            <ac:spMk id="57" creationId="{274894B7-309A-1B91-6B4F-A0EE0C2A93FF}"/>
          </ac:spMkLst>
        </pc:spChg>
        <pc:spChg chg="mod">
          <ac:chgData name="Soumaya ZERHOUNI" userId="690e4aa6-586b-4341-8f1a-54a3e7457441" providerId="ADAL" clId="{69AAD651-E566-4914-B951-51E57822A563}" dt="2024-02-01T14:04:03.788" v="8980" actId="14100"/>
          <ac:spMkLst>
            <pc:docMk/>
            <pc:sldMk cId="3572027075" sldId="2147482361"/>
            <ac:spMk id="58" creationId="{EFDA0D1F-58E0-D205-3625-A430E77AC18D}"/>
          </ac:spMkLst>
        </pc:spChg>
        <pc:spChg chg="mod">
          <ac:chgData name="Soumaya ZERHOUNI" userId="690e4aa6-586b-4341-8f1a-54a3e7457441" providerId="ADAL" clId="{69AAD651-E566-4914-B951-51E57822A563}" dt="2024-02-01T14:04:03.788" v="8980" actId="14100"/>
          <ac:spMkLst>
            <pc:docMk/>
            <pc:sldMk cId="3572027075" sldId="2147482361"/>
            <ac:spMk id="59" creationId="{3D1D9B72-3844-B3EF-FDF0-42F88CBC45B1}"/>
          </ac:spMkLst>
        </pc:spChg>
        <pc:spChg chg="mod">
          <ac:chgData name="Soumaya ZERHOUNI" userId="690e4aa6-586b-4341-8f1a-54a3e7457441" providerId="ADAL" clId="{69AAD651-E566-4914-B951-51E57822A563}" dt="2024-02-01T12:46:54.393" v="8185" actId="165"/>
          <ac:spMkLst>
            <pc:docMk/>
            <pc:sldMk cId="3572027075" sldId="2147482361"/>
            <ac:spMk id="61" creationId="{F7859FA9-CCD9-4B91-7285-41750E5F66FD}"/>
          </ac:spMkLst>
        </pc:spChg>
        <pc:spChg chg="mod">
          <ac:chgData name="Soumaya ZERHOUNI" userId="690e4aa6-586b-4341-8f1a-54a3e7457441" providerId="ADAL" clId="{69AAD651-E566-4914-B951-51E57822A563}" dt="2024-02-01T12:46:54.393" v="8185" actId="165"/>
          <ac:spMkLst>
            <pc:docMk/>
            <pc:sldMk cId="3572027075" sldId="2147482361"/>
            <ac:spMk id="62" creationId="{BE710194-3199-7047-E19F-9A5F7072B9F8}"/>
          </ac:spMkLst>
        </pc:spChg>
        <pc:spChg chg="mod">
          <ac:chgData name="Soumaya ZERHOUNI" userId="690e4aa6-586b-4341-8f1a-54a3e7457441" providerId="ADAL" clId="{69AAD651-E566-4914-B951-51E57822A563}" dt="2024-02-01T12:46:54.393" v="8185" actId="165"/>
          <ac:spMkLst>
            <pc:docMk/>
            <pc:sldMk cId="3572027075" sldId="2147482361"/>
            <ac:spMk id="72" creationId="{CDB9BD09-CCC6-92C0-77D6-D585BB26AB09}"/>
          </ac:spMkLst>
        </pc:spChg>
        <pc:spChg chg="mod">
          <ac:chgData name="Soumaya ZERHOUNI" userId="690e4aa6-586b-4341-8f1a-54a3e7457441" providerId="ADAL" clId="{69AAD651-E566-4914-B951-51E57822A563}" dt="2024-02-01T12:46:54.393" v="8185" actId="165"/>
          <ac:spMkLst>
            <pc:docMk/>
            <pc:sldMk cId="3572027075" sldId="2147482361"/>
            <ac:spMk id="73" creationId="{8BA8B413-E9EC-307F-993A-21AED1A0DDF0}"/>
          </ac:spMkLst>
        </pc:spChg>
        <pc:spChg chg="mod">
          <ac:chgData name="Soumaya ZERHOUNI" userId="690e4aa6-586b-4341-8f1a-54a3e7457441" providerId="ADAL" clId="{69AAD651-E566-4914-B951-51E57822A563}" dt="2024-02-01T12:46:54.393" v="8185" actId="165"/>
          <ac:spMkLst>
            <pc:docMk/>
            <pc:sldMk cId="3572027075" sldId="2147482361"/>
            <ac:spMk id="74" creationId="{C92CF07E-836C-7034-D0C6-A6E08A4407C1}"/>
          </ac:spMkLst>
        </pc:spChg>
        <pc:spChg chg="mod">
          <ac:chgData name="Soumaya ZERHOUNI" userId="690e4aa6-586b-4341-8f1a-54a3e7457441" providerId="ADAL" clId="{69AAD651-E566-4914-B951-51E57822A563}" dt="2024-02-01T12:46:54.393" v="8185" actId="165"/>
          <ac:spMkLst>
            <pc:docMk/>
            <pc:sldMk cId="3572027075" sldId="2147482361"/>
            <ac:spMk id="75" creationId="{5463EE91-E9F1-761E-8790-16DB95A56490}"/>
          </ac:spMkLst>
        </pc:spChg>
        <pc:spChg chg="mod">
          <ac:chgData name="Soumaya ZERHOUNI" userId="690e4aa6-586b-4341-8f1a-54a3e7457441" providerId="ADAL" clId="{69AAD651-E566-4914-B951-51E57822A563}" dt="2024-02-01T12:46:54.393" v="8185" actId="165"/>
          <ac:spMkLst>
            <pc:docMk/>
            <pc:sldMk cId="3572027075" sldId="2147482361"/>
            <ac:spMk id="76" creationId="{711DD258-A70C-115C-1572-58635575B92D}"/>
          </ac:spMkLst>
        </pc:spChg>
        <pc:spChg chg="mod">
          <ac:chgData name="Soumaya ZERHOUNI" userId="690e4aa6-586b-4341-8f1a-54a3e7457441" providerId="ADAL" clId="{69AAD651-E566-4914-B951-51E57822A563}" dt="2024-02-01T12:46:54.393" v="8185" actId="165"/>
          <ac:spMkLst>
            <pc:docMk/>
            <pc:sldMk cId="3572027075" sldId="2147482361"/>
            <ac:spMk id="77" creationId="{9F47B670-A6C9-76B9-B597-F7769AE7EDE7}"/>
          </ac:spMkLst>
        </pc:spChg>
        <pc:spChg chg="mod">
          <ac:chgData name="Soumaya ZERHOUNI" userId="690e4aa6-586b-4341-8f1a-54a3e7457441" providerId="ADAL" clId="{69AAD651-E566-4914-B951-51E57822A563}" dt="2024-02-01T12:46:54.393" v="8185" actId="165"/>
          <ac:spMkLst>
            <pc:docMk/>
            <pc:sldMk cId="3572027075" sldId="2147482361"/>
            <ac:spMk id="78" creationId="{F09D9D06-5320-7747-600E-9B203B4FA169}"/>
          </ac:spMkLst>
        </pc:spChg>
        <pc:spChg chg="mod">
          <ac:chgData name="Soumaya ZERHOUNI" userId="690e4aa6-586b-4341-8f1a-54a3e7457441" providerId="ADAL" clId="{69AAD651-E566-4914-B951-51E57822A563}" dt="2024-02-01T12:40:13.462" v="8173" actId="14100"/>
          <ac:spMkLst>
            <pc:docMk/>
            <pc:sldMk cId="3572027075" sldId="2147482361"/>
            <ac:spMk id="108" creationId="{6CB497C4-15D0-10D4-906C-2F0B6BF15CBE}"/>
          </ac:spMkLst>
        </pc:spChg>
        <pc:grpChg chg="mod topLvl">
          <ac:chgData name="Soumaya ZERHOUNI" userId="690e4aa6-586b-4341-8f1a-54a3e7457441" providerId="ADAL" clId="{69AAD651-E566-4914-B951-51E57822A563}" dt="2024-02-01T12:46:54.393" v="8185" actId="165"/>
          <ac:grpSpMkLst>
            <pc:docMk/>
            <pc:sldMk cId="3572027075" sldId="2147482361"/>
            <ac:grpSpMk id="4" creationId="{B4EDB457-5530-DA9F-23EC-02689ECEDFB6}"/>
          </ac:grpSpMkLst>
        </pc:grpChg>
        <pc:grpChg chg="mod">
          <ac:chgData name="Soumaya ZERHOUNI" userId="690e4aa6-586b-4341-8f1a-54a3e7457441" providerId="ADAL" clId="{69AAD651-E566-4914-B951-51E57822A563}" dt="2024-02-01T12:46:54.393" v="8185" actId="165"/>
          <ac:grpSpMkLst>
            <pc:docMk/>
            <pc:sldMk cId="3572027075" sldId="2147482361"/>
            <ac:grpSpMk id="6" creationId="{1546815E-738A-B5DE-18E1-E172E8324E19}"/>
          </ac:grpSpMkLst>
        </pc:grpChg>
        <pc:grpChg chg="mod topLvl">
          <ac:chgData name="Soumaya ZERHOUNI" userId="690e4aa6-586b-4341-8f1a-54a3e7457441" providerId="ADAL" clId="{69AAD651-E566-4914-B951-51E57822A563}" dt="2024-02-01T12:46:54.393" v="8185" actId="165"/>
          <ac:grpSpMkLst>
            <pc:docMk/>
            <pc:sldMk cId="3572027075" sldId="2147482361"/>
            <ac:grpSpMk id="11" creationId="{8B284B0A-142C-DB67-6F1F-60C5055AE2BC}"/>
          </ac:grpSpMkLst>
        </pc:grpChg>
        <pc:grpChg chg="mod topLvl">
          <ac:chgData name="Soumaya ZERHOUNI" userId="690e4aa6-586b-4341-8f1a-54a3e7457441" providerId="ADAL" clId="{69AAD651-E566-4914-B951-51E57822A563}" dt="2024-02-01T12:46:54.393" v="8185" actId="165"/>
          <ac:grpSpMkLst>
            <pc:docMk/>
            <pc:sldMk cId="3572027075" sldId="2147482361"/>
            <ac:grpSpMk id="14" creationId="{676DB727-5005-149E-E52C-7DAD23DBD1F1}"/>
          </ac:grpSpMkLst>
        </pc:grpChg>
        <pc:grpChg chg="mod">
          <ac:chgData name="Soumaya ZERHOUNI" userId="690e4aa6-586b-4341-8f1a-54a3e7457441" providerId="ADAL" clId="{69AAD651-E566-4914-B951-51E57822A563}" dt="2024-02-01T12:46:54.393" v="8185" actId="165"/>
          <ac:grpSpMkLst>
            <pc:docMk/>
            <pc:sldMk cId="3572027075" sldId="2147482361"/>
            <ac:grpSpMk id="16" creationId="{43133628-7A41-A233-65E1-32E2921C82B9}"/>
          </ac:grpSpMkLst>
        </pc:grpChg>
        <pc:grpChg chg="mod topLvl">
          <ac:chgData name="Soumaya ZERHOUNI" userId="690e4aa6-586b-4341-8f1a-54a3e7457441" providerId="ADAL" clId="{69AAD651-E566-4914-B951-51E57822A563}" dt="2024-02-01T12:46:54.393" v="8185" actId="165"/>
          <ac:grpSpMkLst>
            <pc:docMk/>
            <pc:sldMk cId="3572027075" sldId="2147482361"/>
            <ac:grpSpMk id="23" creationId="{BBDB3C23-9B66-A5EF-4DA5-6C2FD42855AD}"/>
          </ac:grpSpMkLst>
        </pc:grpChg>
        <pc:grpChg chg="add del mod">
          <ac:chgData name="Soumaya ZERHOUNI" userId="690e4aa6-586b-4341-8f1a-54a3e7457441" providerId="ADAL" clId="{69AAD651-E566-4914-B951-51E57822A563}" dt="2024-02-01T12:46:54.393" v="8185" actId="165"/>
          <ac:grpSpMkLst>
            <pc:docMk/>
            <pc:sldMk cId="3572027075" sldId="2147482361"/>
            <ac:grpSpMk id="25" creationId="{5CC1DC40-567B-AB5F-5878-0E47534F6CCC}"/>
          </ac:grpSpMkLst>
        </pc:grpChg>
        <pc:grpChg chg="mod">
          <ac:chgData name="Soumaya ZERHOUNI" userId="690e4aa6-586b-4341-8f1a-54a3e7457441" providerId="ADAL" clId="{69AAD651-E566-4914-B951-51E57822A563}" dt="2024-02-01T12:46:54.393" v="8185" actId="165"/>
          <ac:grpSpMkLst>
            <pc:docMk/>
            <pc:sldMk cId="3572027075" sldId="2147482361"/>
            <ac:grpSpMk id="27" creationId="{5A8135E0-882B-397C-9728-03CAF3E52C1B}"/>
          </ac:grpSpMkLst>
        </pc:grpChg>
        <pc:grpChg chg="del mod">
          <ac:chgData name="Soumaya ZERHOUNI" userId="690e4aa6-586b-4341-8f1a-54a3e7457441" providerId="ADAL" clId="{69AAD651-E566-4914-B951-51E57822A563}" dt="2024-02-01T12:29:44.481" v="7991" actId="165"/>
          <ac:grpSpMkLst>
            <pc:docMk/>
            <pc:sldMk cId="3572027075" sldId="2147482361"/>
            <ac:grpSpMk id="46" creationId="{23762753-79E1-42E6-0F55-AB5FAE905A74}"/>
          </ac:grpSpMkLst>
        </pc:grpChg>
        <pc:grpChg chg="mod topLvl">
          <ac:chgData name="Soumaya ZERHOUNI" userId="690e4aa6-586b-4341-8f1a-54a3e7457441" providerId="ADAL" clId="{69AAD651-E566-4914-B951-51E57822A563}" dt="2024-02-01T12:46:54.393" v="8185" actId="165"/>
          <ac:grpSpMkLst>
            <pc:docMk/>
            <pc:sldMk cId="3572027075" sldId="2147482361"/>
            <ac:grpSpMk id="60" creationId="{1A55A327-1844-6E11-9E84-9D851DAA04E4}"/>
          </ac:grpSpMkLst>
        </pc:grpChg>
        <pc:grpChg chg="mod topLvl">
          <ac:chgData name="Soumaya ZERHOUNI" userId="690e4aa6-586b-4341-8f1a-54a3e7457441" providerId="ADAL" clId="{69AAD651-E566-4914-B951-51E57822A563}" dt="2024-02-01T12:46:54.393" v="8185" actId="165"/>
          <ac:grpSpMkLst>
            <pc:docMk/>
            <pc:sldMk cId="3572027075" sldId="2147482361"/>
            <ac:grpSpMk id="70" creationId="{AE02FF44-0F90-D038-C9B2-664F86EED3FE}"/>
          </ac:grpSpMkLst>
        </pc:grpChg>
        <pc:picChg chg="mod topLvl">
          <ac:chgData name="Soumaya ZERHOUNI" userId="690e4aa6-586b-4341-8f1a-54a3e7457441" providerId="ADAL" clId="{69AAD651-E566-4914-B951-51E57822A563}" dt="2024-02-01T12:46:54.393" v="8185" actId="165"/>
          <ac:picMkLst>
            <pc:docMk/>
            <pc:sldMk cId="3572027075" sldId="2147482361"/>
            <ac:picMk id="97" creationId="{2973FEAF-1985-351C-4CE2-4E884276E5FA}"/>
          </ac:picMkLst>
        </pc:picChg>
        <pc:picChg chg="mod topLvl">
          <ac:chgData name="Soumaya ZERHOUNI" userId="690e4aa6-586b-4341-8f1a-54a3e7457441" providerId="ADAL" clId="{69AAD651-E566-4914-B951-51E57822A563}" dt="2024-02-01T12:46:54.393" v="8185" actId="165"/>
          <ac:picMkLst>
            <pc:docMk/>
            <pc:sldMk cId="3572027075" sldId="2147482361"/>
            <ac:picMk id="107" creationId="{0B1DB2A8-ECD1-B091-4B2E-3E4430FA3C45}"/>
          </ac:picMkLst>
        </pc:picChg>
      </pc:sldChg>
      <pc:sldChg chg="delSp mod">
        <pc:chgData name="Soumaya ZERHOUNI" userId="690e4aa6-586b-4341-8f1a-54a3e7457441" providerId="ADAL" clId="{69AAD651-E566-4914-B951-51E57822A563}" dt="2024-02-02T13:29:14.929" v="12124" actId="478"/>
        <pc:sldMkLst>
          <pc:docMk/>
          <pc:sldMk cId="646768392" sldId="2147482365"/>
        </pc:sldMkLst>
        <pc:spChg chg="del">
          <ac:chgData name="Soumaya ZERHOUNI" userId="690e4aa6-586b-4341-8f1a-54a3e7457441" providerId="ADAL" clId="{69AAD651-E566-4914-B951-51E57822A563}" dt="2024-02-02T13:29:14.929" v="12124" actId="478"/>
          <ac:spMkLst>
            <pc:docMk/>
            <pc:sldMk cId="646768392" sldId="2147482365"/>
            <ac:spMk id="8" creationId="{FFC6A093-4D8A-A997-6930-DCA8D518066E}"/>
          </ac:spMkLst>
        </pc:spChg>
      </pc:sldChg>
      <pc:sldChg chg="add del">
        <pc:chgData name="Soumaya ZERHOUNI" userId="690e4aa6-586b-4341-8f1a-54a3e7457441" providerId="ADAL" clId="{69AAD651-E566-4914-B951-51E57822A563}" dt="2024-02-01T13:58:44.572" v="8707" actId="47"/>
        <pc:sldMkLst>
          <pc:docMk/>
          <pc:sldMk cId="2972862881" sldId="2147482365"/>
        </pc:sldMkLst>
      </pc:sldChg>
      <pc:sldChg chg="addSp delSp modSp add mod">
        <pc:chgData name="Soumaya ZERHOUNI" userId="690e4aa6-586b-4341-8f1a-54a3e7457441" providerId="ADAL" clId="{69AAD651-E566-4914-B951-51E57822A563}" dt="2024-02-01T15:17:11.706" v="10446" actId="1076"/>
        <pc:sldMkLst>
          <pc:docMk/>
          <pc:sldMk cId="439422961" sldId="2147482366"/>
        </pc:sldMkLst>
        <pc:spChg chg="del mod">
          <ac:chgData name="Soumaya ZERHOUNI" userId="690e4aa6-586b-4341-8f1a-54a3e7457441" providerId="ADAL" clId="{69AAD651-E566-4914-B951-51E57822A563}" dt="2024-02-01T14:23:04.347" v="9614" actId="478"/>
          <ac:spMkLst>
            <pc:docMk/>
            <pc:sldMk cId="439422961" sldId="2147482366"/>
            <ac:spMk id="2" creationId="{144AE03F-6AE9-91A0-ED66-755BB8C5B748}"/>
          </ac:spMkLst>
        </pc:spChg>
        <pc:spChg chg="mod">
          <ac:chgData name="Soumaya ZERHOUNI" userId="690e4aa6-586b-4341-8f1a-54a3e7457441" providerId="ADAL" clId="{69AAD651-E566-4914-B951-51E57822A563}" dt="2024-02-01T14:40:50.284" v="9819" actId="122"/>
          <ac:spMkLst>
            <pc:docMk/>
            <pc:sldMk cId="439422961" sldId="2147482366"/>
            <ac:spMk id="5" creationId="{9EDECFD8-DC95-1668-57F3-8AA0891F9221}"/>
          </ac:spMkLst>
        </pc:spChg>
        <pc:spChg chg="mod">
          <ac:chgData name="Soumaya ZERHOUNI" userId="690e4aa6-586b-4341-8f1a-54a3e7457441" providerId="ADAL" clId="{69AAD651-E566-4914-B951-51E57822A563}" dt="2024-02-01T14:40:50.284" v="9819" actId="122"/>
          <ac:spMkLst>
            <pc:docMk/>
            <pc:sldMk cId="439422961" sldId="2147482366"/>
            <ac:spMk id="7" creationId="{31612BBD-5FAE-AFC9-E34B-9CAF99080330}"/>
          </ac:spMkLst>
        </pc:spChg>
        <pc:spChg chg="mod">
          <ac:chgData name="Soumaya ZERHOUNI" userId="690e4aa6-586b-4341-8f1a-54a3e7457441" providerId="ADAL" clId="{69AAD651-E566-4914-B951-51E57822A563}" dt="2024-02-01T14:40:50.284" v="9819" actId="122"/>
          <ac:spMkLst>
            <pc:docMk/>
            <pc:sldMk cId="439422961" sldId="2147482366"/>
            <ac:spMk id="8" creationId="{1BC48B08-B840-1601-E132-78CA5E90CECC}"/>
          </ac:spMkLst>
        </pc:spChg>
        <pc:spChg chg="mod">
          <ac:chgData name="Soumaya ZERHOUNI" userId="690e4aa6-586b-4341-8f1a-54a3e7457441" providerId="ADAL" clId="{69AAD651-E566-4914-B951-51E57822A563}" dt="2024-02-01T14:40:50.284" v="9819" actId="122"/>
          <ac:spMkLst>
            <pc:docMk/>
            <pc:sldMk cId="439422961" sldId="2147482366"/>
            <ac:spMk id="9" creationId="{80539596-89AB-6C73-78C0-92D8EF24B840}"/>
          </ac:spMkLst>
        </pc:spChg>
        <pc:spChg chg="mod">
          <ac:chgData name="Soumaya ZERHOUNI" userId="690e4aa6-586b-4341-8f1a-54a3e7457441" providerId="ADAL" clId="{69AAD651-E566-4914-B951-51E57822A563}" dt="2024-02-01T14:40:50.284" v="9819" actId="122"/>
          <ac:spMkLst>
            <pc:docMk/>
            <pc:sldMk cId="439422961" sldId="2147482366"/>
            <ac:spMk id="10" creationId="{72F6860C-EE79-2D34-5960-D80CF59939A7}"/>
          </ac:spMkLst>
        </pc:spChg>
        <pc:spChg chg="mod">
          <ac:chgData name="Soumaya ZERHOUNI" userId="690e4aa6-586b-4341-8f1a-54a3e7457441" providerId="ADAL" clId="{69AAD651-E566-4914-B951-51E57822A563}" dt="2024-02-01T14:40:50.284" v="9819" actId="122"/>
          <ac:spMkLst>
            <pc:docMk/>
            <pc:sldMk cId="439422961" sldId="2147482366"/>
            <ac:spMk id="12" creationId="{71D9BCC6-639A-BDCD-A875-171851C01A58}"/>
          </ac:spMkLst>
        </pc:spChg>
        <pc:spChg chg="mod">
          <ac:chgData name="Soumaya ZERHOUNI" userId="690e4aa6-586b-4341-8f1a-54a3e7457441" providerId="ADAL" clId="{69AAD651-E566-4914-B951-51E57822A563}" dt="2024-02-01T14:40:50.284" v="9819" actId="122"/>
          <ac:spMkLst>
            <pc:docMk/>
            <pc:sldMk cId="439422961" sldId="2147482366"/>
            <ac:spMk id="13" creationId="{1618AC90-3277-CA9B-57A4-EE82C54574AF}"/>
          </ac:spMkLst>
        </pc:spChg>
        <pc:spChg chg="mod">
          <ac:chgData name="Soumaya ZERHOUNI" userId="690e4aa6-586b-4341-8f1a-54a3e7457441" providerId="ADAL" clId="{69AAD651-E566-4914-B951-51E57822A563}" dt="2024-02-01T14:40:50.284" v="9819" actId="122"/>
          <ac:spMkLst>
            <pc:docMk/>
            <pc:sldMk cId="439422961" sldId="2147482366"/>
            <ac:spMk id="15" creationId="{49A5D792-CD61-45A3-8F08-37A2D40C2F4E}"/>
          </ac:spMkLst>
        </pc:spChg>
        <pc:spChg chg="mod">
          <ac:chgData name="Soumaya ZERHOUNI" userId="690e4aa6-586b-4341-8f1a-54a3e7457441" providerId="ADAL" clId="{69AAD651-E566-4914-B951-51E57822A563}" dt="2024-02-01T14:40:50.284" v="9819" actId="122"/>
          <ac:spMkLst>
            <pc:docMk/>
            <pc:sldMk cId="439422961" sldId="2147482366"/>
            <ac:spMk id="17" creationId="{D3BCFA8F-1A17-B99D-96A2-F0A53941559C}"/>
          </ac:spMkLst>
        </pc:spChg>
        <pc:spChg chg="mod topLvl">
          <ac:chgData name="Soumaya ZERHOUNI" userId="690e4aa6-586b-4341-8f1a-54a3e7457441" providerId="ADAL" clId="{69AAD651-E566-4914-B951-51E57822A563}" dt="2024-02-01T14:10:08.764" v="9076" actId="12789"/>
          <ac:spMkLst>
            <pc:docMk/>
            <pc:sldMk cId="439422961" sldId="2147482366"/>
            <ac:spMk id="18" creationId="{FC583004-EE05-1F5C-23A4-2E5C775A156D}"/>
          </ac:spMkLst>
        </pc:spChg>
        <pc:spChg chg="mod">
          <ac:chgData name="Soumaya ZERHOUNI" userId="690e4aa6-586b-4341-8f1a-54a3e7457441" providerId="ADAL" clId="{69AAD651-E566-4914-B951-51E57822A563}" dt="2024-02-01T14:40:50.284" v="9819" actId="122"/>
          <ac:spMkLst>
            <pc:docMk/>
            <pc:sldMk cId="439422961" sldId="2147482366"/>
            <ac:spMk id="19" creationId="{AB92D326-DCAD-5EC8-169E-47FC4720AB99}"/>
          </ac:spMkLst>
        </pc:spChg>
        <pc:spChg chg="mod topLvl">
          <ac:chgData name="Soumaya ZERHOUNI" userId="690e4aa6-586b-4341-8f1a-54a3e7457441" providerId="ADAL" clId="{69AAD651-E566-4914-B951-51E57822A563}" dt="2024-02-01T14:10:08.764" v="9076" actId="12789"/>
          <ac:spMkLst>
            <pc:docMk/>
            <pc:sldMk cId="439422961" sldId="2147482366"/>
            <ac:spMk id="20" creationId="{384D5CE8-3527-C19A-E8DD-15A14CA35F7B}"/>
          </ac:spMkLst>
        </pc:spChg>
        <pc:spChg chg="mod topLvl">
          <ac:chgData name="Soumaya ZERHOUNI" userId="690e4aa6-586b-4341-8f1a-54a3e7457441" providerId="ADAL" clId="{69AAD651-E566-4914-B951-51E57822A563}" dt="2024-02-01T14:10:08.764" v="9076" actId="12789"/>
          <ac:spMkLst>
            <pc:docMk/>
            <pc:sldMk cId="439422961" sldId="2147482366"/>
            <ac:spMk id="21" creationId="{EF649595-2B9A-D1EC-1BED-E3088412C1E3}"/>
          </ac:spMkLst>
        </pc:spChg>
        <pc:spChg chg="mod topLvl">
          <ac:chgData name="Soumaya ZERHOUNI" userId="690e4aa6-586b-4341-8f1a-54a3e7457441" providerId="ADAL" clId="{69AAD651-E566-4914-B951-51E57822A563}" dt="2024-02-01T14:10:08.764" v="9076" actId="12789"/>
          <ac:spMkLst>
            <pc:docMk/>
            <pc:sldMk cId="439422961" sldId="2147482366"/>
            <ac:spMk id="22" creationId="{DB0661A6-E7D9-68FE-BB5D-F60C3D2143AB}"/>
          </ac:spMkLst>
        </pc:spChg>
        <pc:spChg chg="mod">
          <ac:chgData name="Soumaya ZERHOUNI" userId="690e4aa6-586b-4341-8f1a-54a3e7457441" providerId="ADAL" clId="{69AAD651-E566-4914-B951-51E57822A563}" dt="2024-02-01T14:40:50.284" v="9819" actId="122"/>
          <ac:spMkLst>
            <pc:docMk/>
            <pc:sldMk cId="439422961" sldId="2147482366"/>
            <ac:spMk id="24" creationId="{EF0F4379-7209-8599-77B1-80675214D746}"/>
          </ac:spMkLst>
        </pc:spChg>
        <pc:spChg chg="add mod">
          <ac:chgData name="Soumaya ZERHOUNI" userId="690e4aa6-586b-4341-8f1a-54a3e7457441" providerId="ADAL" clId="{69AAD651-E566-4914-B951-51E57822A563}" dt="2024-02-01T14:23:04.748" v="9615"/>
          <ac:spMkLst>
            <pc:docMk/>
            <pc:sldMk cId="439422961" sldId="2147482366"/>
            <ac:spMk id="25" creationId="{BC463829-0A12-DC15-2F90-3C2E9CD93F99}"/>
          </ac:spMkLst>
        </pc:spChg>
        <pc:spChg chg="mod topLvl">
          <ac:chgData name="Soumaya ZERHOUNI" userId="690e4aa6-586b-4341-8f1a-54a3e7457441" providerId="ADAL" clId="{69AAD651-E566-4914-B951-51E57822A563}" dt="2024-02-01T14:10:41.427" v="9084" actId="14100"/>
          <ac:spMkLst>
            <pc:docMk/>
            <pc:sldMk cId="439422961" sldId="2147482366"/>
            <ac:spMk id="26" creationId="{E1AC5E22-852B-1F53-1B14-EDE0B7D4986E}"/>
          </ac:spMkLst>
        </pc:spChg>
        <pc:spChg chg="mod topLvl">
          <ac:chgData name="Soumaya ZERHOUNI" userId="690e4aa6-586b-4341-8f1a-54a3e7457441" providerId="ADAL" clId="{69AAD651-E566-4914-B951-51E57822A563}" dt="2024-02-01T14:10:41.427" v="9084" actId="14100"/>
          <ac:spMkLst>
            <pc:docMk/>
            <pc:sldMk cId="439422961" sldId="2147482366"/>
            <ac:spMk id="28" creationId="{147B2909-1383-913D-D613-2F8D1AEE51C7}"/>
          </ac:spMkLst>
        </pc:spChg>
        <pc:spChg chg="mod">
          <ac:chgData name="Soumaya ZERHOUNI" userId="690e4aa6-586b-4341-8f1a-54a3e7457441" providerId="ADAL" clId="{69AAD651-E566-4914-B951-51E57822A563}" dt="2024-02-01T14:40:50.284" v="9819" actId="122"/>
          <ac:spMkLst>
            <pc:docMk/>
            <pc:sldMk cId="439422961" sldId="2147482366"/>
            <ac:spMk id="29" creationId="{01D60BA5-B0A1-500A-DEDA-7D301C50324F}"/>
          </ac:spMkLst>
        </pc:spChg>
        <pc:spChg chg="mod topLvl">
          <ac:chgData name="Soumaya ZERHOUNI" userId="690e4aa6-586b-4341-8f1a-54a3e7457441" providerId="ADAL" clId="{69AAD651-E566-4914-B951-51E57822A563}" dt="2024-02-01T14:10:41.427" v="9084" actId="14100"/>
          <ac:spMkLst>
            <pc:docMk/>
            <pc:sldMk cId="439422961" sldId="2147482366"/>
            <ac:spMk id="30" creationId="{6E1CD508-B83C-5AB2-B637-34124C586CA8}"/>
          </ac:spMkLst>
        </pc:spChg>
        <pc:spChg chg="mod">
          <ac:chgData name="Soumaya ZERHOUNI" userId="690e4aa6-586b-4341-8f1a-54a3e7457441" providerId="ADAL" clId="{69AAD651-E566-4914-B951-51E57822A563}" dt="2024-02-01T14:40:50.284" v="9819" actId="122"/>
          <ac:spMkLst>
            <pc:docMk/>
            <pc:sldMk cId="439422961" sldId="2147482366"/>
            <ac:spMk id="31" creationId="{59CAA81F-B0FB-80FC-960D-8852967137B4}"/>
          </ac:spMkLst>
        </pc:spChg>
        <pc:spChg chg="mod">
          <ac:chgData name="Soumaya ZERHOUNI" userId="690e4aa6-586b-4341-8f1a-54a3e7457441" providerId="ADAL" clId="{69AAD651-E566-4914-B951-51E57822A563}" dt="2024-02-01T14:40:50.284" v="9819" actId="122"/>
          <ac:spMkLst>
            <pc:docMk/>
            <pc:sldMk cId="439422961" sldId="2147482366"/>
            <ac:spMk id="33" creationId="{13F6D2BA-63EF-F901-5C46-119737AAF8F1}"/>
          </ac:spMkLst>
        </pc:spChg>
        <pc:spChg chg="add mod">
          <ac:chgData name="Soumaya ZERHOUNI" userId="690e4aa6-586b-4341-8f1a-54a3e7457441" providerId="ADAL" clId="{69AAD651-E566-4914-B951-51E57822A563}" dt="2024-02-01T14:11:03.799" v="9093" actId="1035"/>
          <ac:spMkLst>
            <pc:docMk/>
            <pc:sldMk cId="439422961" sldId="2147482366"/>
            <ac:spMk id="34" creationId="{6752EF50-C389-C2DC-D705-934876CA7CFE}"/>
          </ac:spMkLst>
        </pc:spChg>
        <pc:spChg chg="del mod topLvl">
          <ac:chgData name="Soumaya ZERHOUNI" userId="690e4aa6-586b-4341-8f1a-54a3e7457441" providerId="ADAL" clId="{69AAD651-E566-4914-B951-51E57822A563}" dt="2024-02-01T15:16:30.558" v="10327" actId="478"/>
          <ac:spMkLst>
            <pc:docMk/>
            <pc:sldMk cId="439422961" sldId="2147482366"/>
            <ac:spMk id="35" creationId="{96C8E1F6-1BDE-E54A-8D61-1EA2A41B31EA}"/>
          </ac:spMkLst>
        </pc:spChg>
        <pc:spChg chg="mod">
          <ac:chgData name="Soumaya ZERHOUNI" userId="690e4aa6-586b-4341-8f1a-54a3e7457441" providerId="ADAL" clId="{69AAD651-E566-4914-B951-51E57822A563}" dt="2024-02-01T14:11:03.799" v="9093" actId="1035"/>
          <ac:spMkLst>
            <pc:docMk/>
            <pc:sldMk cId="439422961" sldId="2147482366"/>
            <ac:spMk id="36" creationId="{485DC901-F136-02B3-E77B-DB4DCF7629F0}"/>
          </ac:spMkLst>
        </pc:spChg>
        <pc:spChg chg="mod">
          <ac:chgData name="Soumaya ZERHOUNI" userId="690e4aa6-586b-4341-8f1a-54a3e7457441" providerId="ADAL" clId="{69AAD651-E566-4914-B951-51E57822A563}" dt="2024-02-01T14:11:03.799" v="9093" actId="1035"/>
          <ac:spMkLst>
            <pc:docMk/>
            <pc:sldMk cId="439422961" sldId="2147482366"/>
            <ac:spMk id="37" creationId="{5BE20F26-87D3-7AB5-F8EE-B25385FAF0F1}"/>
          </ac:spMkLst>
        </pc:spChg>
        <pc:spChg chg="mod">
          <ac:chgData name="Soumaya ZERHOUNI" userId="690e4aa6-586b-4341-8f1a-54a3e7457441" providerId="ADAL" clId="{69AAD651-E566-4914-B951-51E57822A563}" dt="2024-02-01T15:16:23.754" v="10325" actId="571"/>
          <ac:spMkLst>
            <pc:docMk/>
            <pc:sldMk cId="439422961" sldId="2147482366"/>
            <ac:spMk id="39" creationId="{4F89A192-0823-7077-DE06-CCA67A4888BF}"/>
          </ac:spMkLst>
        </pc:spChg>
        <pc:spChg chg="mod">
          <ac:chgData name="Soumaya ZERHOUNI" userId="690e4aa6-586b-4341-8f1a-54a3e7457441" providerId="ADAL" clId="{69AAD651-E566-4914-B951-51E57822A563}" dt="2024-02-01T15:16:23.754" v="10325" actId="571"/>
          <ac:spMkLst>
            <pc:docMk/>
            <pc:sldMk cId="439422961" sldId="2147482366"/>
            <ac:spMk id="40" creationId="{53078299-5C72-E647-7D64-192EB4197AE9}"/>
          </ac:spMkLst>
        </pc:spChg>
        <pc:spChg chg="mod">
          <ac:chgData name="Soumaya ZERHOUNI" userId="690e4aa6-586b-4341-8f1a-54a3e7457441" providerId="ADAL" clId="{69AAD651-E566-4914-B951-51E57822A563}" dt="2024-02-01T15:16:23.754" v="10325" actId="571"/>
          <ac:spMkLst>
            <pc:docMk/>
            <pc:sldMk cId="439422961" sldId="2147482366"/>
            <ac:spMk id="41" creationId="{11DC4EFA-C185-C607-BEB6-0C1F9C3A5DE6}"/>
          </ac:spMkLst>
        </pc:spChg>
        <pc:spChg chg="mod">
          <ac:chgData name="Soumaya ZERHOUNI" userId="690e4aa6-586b-4341-8f1a-54a3e7457441" providerId="ADAL" clId="{69AAD651-E566-4914-B951-51E57822A563}" dt="2024-02-01T15:16:23.754" v="10325" actId="571"/>
          <ac:spMkLst>
            <pc:docMk/>
            <pc:sldMk cId="439422961" sldId="2147482366"/>
            <ac:spMk id="42" creationId="{C15C0694-5F39-4A08-44B4-A9A31768AC75}"/>
          </ac:spMkLst>
        </pc:spChg>
        <pc:spChg chg="mod topLvl">
          <ac:chgData name="Soumaya ZERHOUNI" userId="690e4aa6-586b-4341-8f1a-54a3e7457441" providerId="ADAL" clId="{69AAD651-E566-4914-B951-51E57822A563}" dt="2024-02-01T14:10:59.643" v="9086" actId="12788"/>
          <ac:spMkLst>
            <pc:docMk/>
            <pc:sldMk cId="439422961" sldId="2147482366"/>
            <ac:spMk id="43" creationId="{9A3A27F2-D257-396B-F35C-BA0E194A6200}"/>
          </ac:spMkLst>
        </pc:spChg>
        <pc:spChg chg="add mod">
          <ac:chgData name="Soumaya ZERHOUNI" userId="690e4aa6-586b-4341-8f1a-54a3e7457441" providerId="ADAL" clId="{69AAD651-E566-4914-B951-51E57822A563}" dt="2024-02-01T15:17:11.706" v="10446" actId="1076"/>
          <ac:spMkLst>
            <pc:docMk/>
            <pc:sldMk cId="439422961" sldId="2147482366"/>
            <ac:spMk id="44" creationId="{E73ED2C4-2904-087B-8A0B-C080E08A7418}"/>
          </ac:spMkLst>
        </pc:spChg>
        <pc:spChg chg="mod">
          <ac:chgData name="Soumaya ZERHOUNI" userId="690e4aa6-586b-4341-8f1a-54a3e7457441" providerId="ADAL" clId="{69AAD651-E566-4914-B951-51E57822A563}" dt="2024-02-01T14:11:03.799" v="9093" actId="1035"/>
          <ac:spMkLst>
            <pc:docMk/>
            <pc:sldMk cId="439422961" sldId="2147482366"/>
            <ac:spMk id="47" creationId="{E2B1786A-CC54-0923-34FE-9E06795851D5}"/>
          </ac:spMkLst>
        </pc:spChg>
        <pc:spChg chg="mod">
          <ac:chgData name="Soumaya ZERHOUNI" userId="690e4aa6-586b-4341-8f1a-54a3e7457441" providerId="ADAL" clId="{69AAD651-E566-4914-B951-51E57822A563}" dt="2024-02-01T14:11:03.799" v="9093" actId="1035"/>
          <ac:spMkLst>
            <pc:docMk/>
            <pc:sldMk cId="439422961" sldId="2147482366"/>
            <ac:spMk id="48" creationId="{6FD809D1-AFF5-A7B9-76E6-017799C23F93}"/>
          </ac:spMkLst>
        </pc:spChg>
        <pc:spChg chg="mod topLvl">
          <ac:chgData name="Soumaya ZERHOUNI" userId="690e4aa6-586b-4341-8f1a-54a3e7457441" providerId="ADAL" clId="{69AAD651-E566-4914-B951-51E57822A563}" dt="2024-02-01T14:10:21.060" v="9083" actId="1036"/>
          <ac:spMkLst>
            <pc:docMk/>
            <pc:sldMk cId="439422961" sldId="2147482366"/>
            <ac:spMk id="50" creationId="{CB10D352-BFCA-9ED3-F19C-737FC129AF8C}"/>
          </ac:spMkLst>
        </pc:spChg>
        <pc:spChg chg="mod topLvl">
          <ac:chgData name="Soumaya ZERHOUNI" userId="690e4aa6-586b-4341-8f1a-54a3e7457441" providerId="ADAL" clId="{69AAD651-E566-4914-B951-51E57822A563}" dt="2024-02-01T14:10:21.060" v="9083" actId="1036"/>
          <ac:spMkLst>
            <pc:docMk/>
            <pc:sldMk cId="439422961" sldId="2147482366"/>
            <ac:spMk id="51" creationId="{93C48C7C-8046-E347-5637-192CEEF8A1F2}"/>
          </ac:spMkLst>
        </pc:spChg>
        <pc:spChg chg="mod topLvl">
          <ac:chgData name="Soumaya ZERHOUNI" userId="690e4aa6-586b-4341-8f1a-54a3e7457441" providerId="ADAL" clId="{69AAD651-E566-4914-B951-51E57822A563}" dt="2024-02-01T14:10:21.060" v="9083" actId="1036"/>
          <ac:spMkLst>
            <pc:docMk/>
            <pc:sldMk cId="439422961" sldId="2147482366"/>
            <ac:spMk id="52" creationId="{D1E6F53B-1A51-CCBE-77A9-0B0D119D3BCD}"/>
          </ac:spMkLst>
        </pc:spChg>
        <pc:spChg chg="mod topLvl">
          <ac:chgData name="Soumaya ZERHOUNI" userId="690e4aa6-586b-4341-8f1a-54a3e7457441" providerId="ADAL" clId="{69AAD651-E566-4914-B951-51E57822A563}" dt="2024-02-01T14:10:21.060" v="9083" actId="1036"/>
          <ac:spMkLst>
            <pc:docMk/>
            <pc:sldMk cId="439422961" sldId="2147482366"/>
            <ac:spMk id="53" creationId="{D8EAF499-2F60-FCF4-5F47-72E4B971D9D0}"/>
          </ac:spMkLst>
        </pc:spChg>
        <pc:spChg chg="mod">
          <ac:chgData name="Soumaya ZERHOUNI" userId="690e4aa6-586b-4341-8f1a-54a3e7457441" providerId="ADAL" clId="{69AAD651-E566-4914-B951-51E57822A563}" dt="2024-02-01T14:12:02.533" v="9106" actId="255"/>
          <ac:spMkLst>
            <pc:docMk/>
            <pc:sldMk cId="439422961" sldId="2147482366"/>
            <ac:spMk id="55" creationId="{9F75F3E5-F69C-9D3A-7509-EF9C11B0A9CF}"/>
          </ac:spMkLst>
        </pc:spChg>
        <pc:spChg chg="mod">
          <ac:chgData name="Soumaya ZERHOUNI" userId="690e4aa6-586b-4341-8f1a-54a3e7457441" providerId="ADAL" clId="{69AAD651-E566-4914-B951-51E57822A563}" dt="2024-02-01T14:12:02.533" v="9106" actId="255"/>
          <ac:spMkLst>
            <pc:docMk/>
            <pc:sldMk cId="439422961" sldId="2147482366"/>
            <ac:spMk id="57" creationId="{274894B7-309A-1B91-6B4F-A0EE0C2A93FF}"/>
          </ac:spMkLst>
        </pc:spChg>
        <pc:spChg chg="mod">
          <ac:chgData name="Soumaya ZERHOUNI" userId="690e4aa6-586b-4341-8f1a-54a3e7457441" providerId="ADAL" clId="{69AAD651-E566-4914-B951-51E57822A563}" dt="2024-02-01T14:12:02.533" v="9106" actId="255"/>
          <ac:spMkLst>
            <pc:docMk/>
            <pc:sldMk cId="439422961" sldId="2147482366"/>
            <ac:spMk id="58" creationId="{EFDA0D1F-58E0-D205-3625-A430E77AC18D}"/>
          </ac:spMkLst>
        </pc:spChg>
        <pc:spChg chg="mod">
          <ac:chgData name="Soumaya ZERHOUNI" userId="690e4aa6-586b-4341-8f1a-54a3e7457441" providerId="ADAL" clId="{69AAD651-E566-4914-B951-51E57822A563}" dt="2024-02-01T14:12:02.533" v="9106" actId="255"/>
          <ac:spMkLst>
            <pc:docMk/>
            <pc:sldMk cId="439422961" sldId="2147482366"/>
            <ac:spMk id="59" creationId="{3D1D9B72-3844-B3EF-FDF0-42F88CBC45B1}"/>
          </ac:spMkLst>
        </pc:spChg>
        <pc:spChg chg="mod">
          <ac:chgData name="Soumaya ZERHOUNI" userId="690e4aa6-586b-4341-8f1a-54a3e7457441" providerId="ADAL" clId="{69AAD651-E566-4914-B951-51E57822A563}" dt="2024-02-01T14:07:04.779" v="9011" actId="165"/>
          <ac:spMkLst>
            <pc:docMk/>
            <pc:sldMk cId="439422961" sldId="2147482366"/>
            <ac:spMk id="61" creationId="{F7859FA9-CCD9-4B91-7285-41750E5F66FD}"/>
          </ac:spMkLst>
        </pc:spChg>
        <pc:spChg chg="mod">
          <ac:chgData name="Soumaya ZERHOUNI" userId="690e4aa6-586b-4341-8f1a-54a3e7457441" providerId="ADAL" clId="{69AAD651-E566-4914-B951-51E57822A563}" dt="2024-02-01T14:07:04.779" v="9011" actId="165"/>
          <ac:spMkLst>
            <pc:docMk/>
            <pc:sldMk cId="439422961" sldId="2147482366"/>
            <ac:spMk id="62" creationId="{BE710194-3199-7047-E19F-9A5F7072B9F8}"/>
          </ac:spMkLst>
        </pc:spChg>
        <pc:spChg chg="mod">
          <ac:chgData name="Soumaya ZERHOUNI" userId="690e4aa6-586b-4341-8f1a-54a3e7457441" providerId="ADAL" clId="{69AAD651-E566-4914-B951-51E57822A563}" dt="2024-02-01T14:07:04.779" v="9011" actId="165"/>
          <ac:spMkLst>
            <pc:docMk/>
            <pc:sldMk cId="439422961" sldId="2147482366"/>
            <ac:spMk id="72" creationId="{CDB9BD09-CCC6-92C0-77D6-D585BB26AB09}"/>
          </ac:spMkLst>
        </pc:spChg>
        <pc:spChg chg="mod">
          <ac:chgData name="Soumaya ZERHOUNI" userId="690e4aa6-586b-4341-8f1a-54a3e7457441" providerId="ADAL" clId="{69AAD651-E566-4914-B951-51E57822A563}" dt="2024-02-01T14:07:04.779" v="9011" actId="165"/>
          <ac:spMkLst>
            <pc:docMk/>
            <pc:sldMk cId="439422961" sldId="2147482366"/>
            <ac:spMk id="73" creationId="{8BA8B413-E9EC-307F-993A-21AED1A0DDF0}"/>
          </ac:spMkLst>
        </pc:spChg>
        <pc:spChg chg="mod">
          <ac:chgData name="Soumaya ZERHOUNI" userId="690e4aa6-586b-4341-8f1a-54a3e7457441" providerId="ADAL" clId="{69AAD651-E566-4914-B951-51E57822A563}" dt="2024-02-01T14:07:04.779" v="9011" actId="165"/>
          <ac:spMkLst>
            <pc:docMk/>
            <pc:sldMk cId="439422961" sldId="2147482366"/>
            <ac:spMk id="74" creationId="{C92CF07E-836C-7034-D0C6-A6E08A4407C1}"/>
          </ac:spMkLst>
        </pc:spChg>
        <pc:spChg chg="mod">
          <ac:chgData name="Soumaya ZERHOUNI" userId="690e4aa6-586b-4341-8f1a-54a3e7457441" providerId="ADAL" clId="{69AAD651-E566-4914-B951-51E57822A563}" dt="2024-02-01T14:07:04.779" v="9011" actId="165"/>
          <ac:spMkLst>
            <pc:docMk/>
            <pc:sldMk cId="439422961" sldId="2147482366"/>
            <ac:spMk id="75" creationId="{5463EE91-E9F1-761E-8790-16DB95A56490}"/>
          </ac:spMkLst>
        </pc:spChg>
        <pc:spChg chg="mod">
          <ac:chgData name="Soumaya ZERHOUNI" userId="690e4aa6-586b-4341-8f1a-54a3e7457441" providerId="ADAL" clId="{69AAD651-E566-4914-B951-51E57822A563}" dt="2024-02-01T14:07:04.779" v="9011" actId="165"/>
          <ac:spMkLst>
            <pc:docMk/>
            <pc:sldMk cId="439422961" sldId="2147482366"/>
            <ac:spMk id="76" creationId="{711DD258-A70C-115C-1572-58635575B92D}"/>
          </ac:spMkLst>
        </pc:spChg>
        <pc:spChg chg="mod">
          <ac:chgData name="Soumaya ZERHOUNI" userId="690e4aa6-586b-4341-8f1a-54a3e7457441" providerId="ADAL" clId="{69AAD651-E566-4914-B951-51E57822A563}" dt="2024-02-01T14:07:04.779" v="9011" actId="165"/>
          <ac:spMkLst>
            <pc:docMk/>
            <pc:sldMk cId="439422961" sldId="2147482366"/>
            <ac:spMk id="77" creationId="{9F47B670-A6C9-76B9-B597-F7769AE7EDE7}"/>
          </ac:spMkLst>
        </pc:spChg>
        <pc:spChg chg="mod">
          <ac:chgData name="Soumaya ZERHOUNI" userId="690e4aa6-586b-4341-8f1a-54a3e7457441" providerId="ADAL" clId="{69AAD651-E566-4914-B951-51E57822A563}" dt="2024-02-01T14:07:04.779" v="9011" actId="165"/>
          <ac:spMkLst>
            <pc:docMk/>
            <pc:sldMk cId="439422961" sldId="2147482366"/>
            <ac:spMk id="78" creationId="{F09D9D06-5320-7747-600E-9B203B4FA169}"/>
          </ac:spMkLst>
        </pc:spChg>
        <pc:spChg chg="mod">
          <ac:chgData name="Soumaya ZERHOUNI" userId="690e4aa6-586b-4341-8f1a-54a3e7457441" providerId="ADAL" clId="{69AAD651-E566-4914-B951-51E57822A563}" dt="2024-02-01T14:40:37.340" v="9817" actId="20577"/>
          <ac:spMkLst>
            <pc:docMk/>
            <pc:sldMk cId="439422961" sldId="2147482366"/>
            <ac:spMk id="108" creationId="{6CB497C4-15D0-10D4-906C-2F0B6BF15CBE}"/>
          </ac:spMkLst>
        </pc:spChg>
        <pc:grpChg chg="mod topLvl">
          <ac:chgData name="Soumaya ZERHOUNI" userId="690e4aa6-586b-4341-8f1a-54a3e7457441" providerId="ADAL" clId="{69AAD651-E566-4914-B951-51E57822A563}" dt="2024-02-01T14:11:11.447" v="9097" actId="1035"/>
          <ac:grpSpMkLst>
            <pc:docMk/>
            <pc:sldMk cId="439422961" sldId="2147482366"/>
            <ac:grpSpMk id="4" creationId="{B4EDB457-5530-DA9F-23EC-02689ECEDFB6}"/>
          </ac:grpSpMkLst>
        </pc:grpChg>
        <pc:grpChg chg="mod">
          <ac:chgData name="Soumaya ZERHOUNI" userId="690e4aa6-586b-4341-8f1a-54a3e7457441" providerId="ADAL" clId="{69AAD651-E566-4914-B951-51E57822A563}" dt="2024-02-01T14:07:48.188" v="9021" actId="165"/>
          <ac:grpSpMkLst>
            <pc:docMk/>
            <pc:sldMk cId="439422961" sldId="2147482366"/>
            <ac:grpSpMk id="6" creationId="{1546815E-738A-B5DE-18E1-E172E8324E19}"/>
          </ac:grpSpMkLst>
        </pc:grpChg>
        <pc:grpChg chg="mod topLvl">
          <ac:chgData name="Soumaya ZERHOUNI" userId="690e4aa6-586b-4341-8f1a-54a3e7457441" providerId="ADAL" clId="{69AAD651-E566-4914-B951-51E57822A563}" dt="2024-02-01T14:11:11.447" v="9097" actId="1035"/>
          <ac:grpSpMkLst>
            <pc:docMk/>
            <pc:sldMk cId="439422961" sldId="2147482366"/>
            <ac:grpSpMk id="11" creationId="{8B284B0A-142C-DB67-6F1F-60C5055AE2BC}"/>
          </ac:grpSpMkLst>
        </pc:grpChg>
        <pc:grpChg chg="mod topLvl">
          <ac:chgData name="Soumaya ZERHOUNI" userId="690e4aa6-586b-4341-8f1a-54a3e7457441" providerId="ADAL" clId="{69AAD651-E566-4914-B951-51E57822A563}" dt="2024-02-01T14:11:11.447" v="9097" actId="1035"/>
          <ac:grpSpMkLst>
            <pc:docMk/>
            <pc:sldMk cId="439422961" sldId="2147482366"/>
            <ac:grpSpMk id="14" creationId="{676DB727-5005-149E-E52C-7DAD23DBD1F1}"/>
          </ac:grpSpMkLst>
        </pc:grpChg>
        <pc:grpChg chg="mod">
          <ac:chgData name="Soumaya ZERHOUNI" userId="690e4aa6-586b-4341-8f1a-54a3e7457441" providerId="ADAL" clId="{69AAD651-E566-4914-B951-51E57822A563}" dt="2024-02-01T14:07:48.188" v="9021" actId="165"/>
          <ac:grpSpMkLst>
            <pc:docMk/>
            <pc:sldMk cId="439422961" sldId="2147482366"/>
            <ac:grpSpMk id="16" creationId="{43133628-7A41-A233-65E1-32E2921C82B9}"/>
          </ac:grpSpMkLst>
        </pc:grpChg>
        <pc:grpChg chg="mod topLvl">
          <ac:chgData name="Soumaya ZERHOUNI" userId="690e4aa6-586b-4341-8f1a-54a3e7457441" providerId="ADAL" clId="{69AAD651-E566-4914-B951-51E57822A563}" dt="2024-02-01T14:11:11.447" v="9097" actId="1035"/>
          <ac:grpSpMkLst>
            <pc:docMk/>
            <pc:sldMk cId="439422961" sldId="2147482366"/>
            <ac:grpSpMk id="23" creationId="{BBDB3C23-9B66-A5EF-4DA5-6C2FD42855AD}"/>
          </ac:grpSpMkLst>
        </pc:grpChg>
        <pc:grpChg chg="add del mod">
          <ac:chgData name="Soumaya ZERHOUNI" userId="690e4aa6-586b-4341-8f1a-54a3e7457441" providerId="ADAL" clId="{69AAD651-E566-4914-B951-51E57822A563}" dt="2024-02-01T14:07:04.779" v="9011" actId="165"/>
          <ac:grpSpMkLst>
            <pc:docMk/>
            <pc:sldMk cId="439422961" sldId="2147482366"/>
            <ac:grpSpMk id="25" creationId="{89AB70A0-A6E6-C633-72D0-896CF4274D92}"/>
          </ac:grpSpMkLst>
        </pc:grpChg>
        <pc:grpChg chg="mod">
          <ac:chgData name="Soumaya ZERHOUNI" userId="690e4aa6-586b-4341-8f1a-54a3e7457441" providerId="ADAL" clId="{69AAD651-E566-4914-B951-51E57822A563}" dt="2024-02-01T14:07:48.188" v="9021" actId="165"/>
          <ac:grpSpMkLst>
            <pc:docMk/>
            <pc:sldMk cId="439422961" sldId="2147482366"/>
            <ac:grpSpMk id="27" creationId="{5A8135E0-882B-397C-9728-03CAF3E52C1B}"/>
          </ac:grpSpMkLst>
        </pc:grpChg>
        <pc:grpChg chg="add del mod">
          <ac:chgData name="Soumaya ZERHOUNI" userId="690e4aa6-586b-4341-8f1a-54a3e7457441" providerId="ADAL" clId="{69AAD651-E566-4914-B951-51E57822A563}" dt="2024-02-01T14:07:48.188" v="9021" actId="165"/>
          <ac:grpSpMkLst>
            <pc:docMk/>
            <pc:sldMk cId="439422961" sldId="2147482366"/>
            <ac:grpSpMk id="32" creationId="{3E22187D-D055-8D8B-0B66-F48D9F1DFB94}"/>
          </ac:grpSpMkLst>
        </pc:grpChg>
        <pc:grpChg chg="add del mod">
          <ac:chgData name="Soumaya ZERHOUNI" userId="690e4aa6-586b-4341-8f1a-54a3e7457441" providerId="ADAL" clId="{69AAD651-E566-4914-B951-51E57822A563}" dt="2024-02-01T15:16:30.558" v="10327" actId="478"/>
          <ac:grpSpMkLst>
            <pc:docMk/>
            <pc:sldMk cId="439422961" sldId="2147482366"/>
            <ac:grpSpMk id="32" creationId="{C382A612-8C8D-DA6E-089D-8E01FB20868C}"/>
          </ac:grpSpMkLst>
        </pc:grpChg>
        <pc:grpChg chg="mod topLvl">
          <ac:chgData name="Soumaya ZERHOUNI" userId="690e4aa6-586b-4341-8f1a-54a3e7457441" providerId="ADAL" clId="{69AAD651-E566-4914-B951-51E57822A563}" dt="2024-02-01T15:16:30.558" v="10327" actId="478"/>
          <ac:grpSpMkLst>
            <pc:docMk/>
            <pc:sldMk cId="439422961" sldId="2147482366"/>
            <ac:grpSpMk id="38" creationId="{88812592-87D3-4A79-F0E4-153F1B1A9FDB}"/>
          </ac:grpSpMkLst>
        </pc:grpChg>
        <pc:grpChg chg="mod topLvl">
          <ac:chgData name="Soumaya ZERHOUNI" userId="690e4aa6-586b-4341-8f1a-54a3e7457441" providerId="ADAL" clId="{69AAD651-E566-4914-B951-51E57822A563}" dt="2024-02-01T14:10:16.972" v="9081" actId="1036"/>
          <ac:grpSpMkLst>
            <pc:docMk/>
            <pc:sldMk cId="439422961" sldId="2147482366"/>
            <ac:grpSpMk id="60" creationId="{1A55A327-1844-6E11-9E84-9D851DAA04E4}"/>
          </ac:grpSpMkLst>
        </pc:grpChg>
        <pc:grpChg chg="mod topLvl">
          <ac:chgData name="Soumaya ZERHOUNI" userId="690e4aa6-586b-4341-8f1a-54a3e7457441" providerId="ADAL" clId="{69AAD651-E566-4914-B951-51E57822A563}" dt="2024-02-01T14:10:16.972" v="9081" actId="1036"/>
          <ac:grpSpMkLst>
            <pc:docMk/>
            <pc:sldMk cId="439422961" sldId="2147482366"/>
            <ac:grpSpMk id="70" creationId="{AE02FF44-0F90-D038-C9B2-664F86EED3FE}"/>
          </ac:grpSpMkLst>
        </pc:grpChg>
        <pc:picChg chg="mod topLvl">
          <ac:chgData name="Soumaya ZERHOUNI" userId="690e4aa6-586b-4341-8f1a-54a3e7457441" providerId="ADAL" clId="{69AAD651-E566-4914-B951-51E57822A563}" dt="2024-02-01T14:10:16.972" v="9081" actId="1036"/>
          <ac:picMkLst>
            <pc:docMk/>
            <pc:sldMk cId="439422961" sldId="2147482366"/>
            <ac:picMk id="97" creationId="{2973FEAF-1985-351C-4CE2-4E884276E5FA}"/>
          </ac:picMkLst>
        </pc:picChg>
        <pc:picChg chg="mod topLvl">
          <ac:chgData name="Soumaya ZERHOUNI" userId="690e4aa6-586b-4341-8f1a-54a3e7457441" providerId="ADAL" clId="{69AAD651-E566-4914-B951-51E57822A563}" dt="2024-02-01T14:10:16.972" v="9081" actId="1036"/>
          <ac:picMkLst>
            <pc:docMk/>
            <pc:sldMk cId="439422961" sldId="2147482366"/>
            <ac:picMk id="107" creationId="{0B1DB2A8-ECD1-B091-4B2E-3E4430FA3C45}"/>
          </ac:picMkLst>
        </pc:picChg>
      </pc:sldChg>
      <pc:sldChg chg="modSp mod">
        <pc:chgData name="Soumaya ZERHOUNI" userId="690e4aa6-586b-4341-8f1a-54a3e7457441" providerId="ADAL" clId="{69AAD651-E566-4914-B951-51E57822A563}" dt="2024-02-02T17:26:26.087" v="12856" actId="2"/>
        <pc:sldMkLst>
          <pc:docMk/>
          <pc:sldMk cId="3308541053" sldId="2147482367"/>
        </pc:sldMkLst>
        <pc:spChg chg="mod">
          <ac:chgData name="Soumaya ZERHOUNI" userId="690e4aa6-586b-4341-8f1a-54a3e7457441" providerId="ADAL" clId="{69AAD651-E566-4914-B951-51E57822A563}" dt="2024-02-02T17:26:19.870" v="12852" actId="2"/>
          <ac:spMkLst>
            <pc:docMk/>
            <pc:sldMk cId="3308541053" sldId="2147482367"/>
            <ac:spMk id="10" creationId="{9DFB28B0-3CC5-D6C4-25E0-D4CCFEB38222}"/>
          </ac:spMkLst>
        </pc:spChg>
        <pc:spChg chg="mod">
          <ac:chgData name="Soumaya ZERHOUNI" userId="690e4aa6-586b-4341-8f1a-54a3e7457441" providerId="ADAL" clId="{69AAD651-E566-4914-B951-51E57822A563}" dt="2024-02-02T17:26:26.087" v="12856" actId="2"/>
          <ac:spMkLst>
            <pc:docMk/>
            <pc:sldMk cId="3308541053" sldId="2147482367"/>
            <ac:spMk id="16" creationId="{77957A4E-EC9D-65F8-F4E8-4FB0A831E163}"/>
          </ac:spMkLst>
        </pc:spChg>
        <pc:spChg chg="mod">
          <ac:chgData name="Soumaya ZERHOUNI" userId="690e4aa6-586b-4341-8f1a-54a3e7457441" providerId="ADAL" clId="{69AAD651-E566-4914-B951-51E57822A563}" dt="2024-02-02T17:26:20.528" v="12853" actId="2"/>
          <ac:spMkLst>
            <pc:docMk/>
            <pc:sldMk cId="3308541053" sldId="2147482367"/>
            <ac:spMk id="17" creationId="{E21D0531-348B-B44B-52A4-BB0A9DC2EF36}"/>
          </ac:spMkLst>
        </pc:spChg>
        <pc:spChg chg="mod">
          <ac:chgData name="Soumaya ZERHOUNI" userId="690e4aa6-586b-4341-8f1a-54a3e7457441" providerId="ADAL" clId="{69AAD651-E566-4914-B951-51E57822A563}" dt="2024-02-02T17:26:25.285" v="12855" actId="2"/>
          <ac:spMkLst>
            <pc:docMk/>
            <pc:sldMk cId="3308541053" sldId="2147482367"/>
            <ac:spMk id="20" creationId="{9CDFF9A3-5DB2-E57C-C788-928C71D11BBD}"/>
          </ac:spMkLst>
        </pc:spChg>
        <pc:spChg chg="mod">
          <ac:chgData name="Soumaya ZERHOUNI" userId="690e4aa6-586b-4341-8f1a-54a3e7457441" providerId="ADAL" clId="{69AAD651-E566-4914-B951-51E57822A563}" dt="2024-02-02T17:26:21.668" v="12854" actId="2"/>
          <ac:spMkLst>
            <pc:docMk/>
            <pc:sldMk cId="3308541053" sldId="2147482367"/>
            <ac:spMk id="25" creationId="{77957A4E-EC9D-65F8-F4E8-4FB0A831E163}"/>
          </ac:spMkLst>
        </pc:spChg>
        <pc:spChg chg="mod">
          <ac:chgData name="Soumaya ZERHOUNI" userId="690e4aa6-586b-4341-8f1a-54a3e7457441" providerId="ADAL" clId="{69AAD651-E566-4914-B951-51E57822A563}" dt="2024-02-02T13:38:05.042" v="12136" actId="20577"/>
          <ac:spMkLst>
            <pc:docMk/>
            <pc:sldMk cId="3308541053" sldId="2147482367"/>
            <ac:spMk id="51" creationId="{A7E03E88-E3F3-616B-BFC0-C5E82F19EFE8}"/>
          </ac:spMkLst>
        </pc:spChg>
      </pc:sldChg>
      <pc:sldChg chg="addSp modSp new mod">
        <pc:chgData name="Soumaya ZERHOUNI" userId="690e4aa6-586b-4341-8f1a-54a3e7457441" providerId="ADAL" clId="{69AAD651-E566-4914-B951-51E57822A563}" dt="2024-02-01T15:29:37.483" v="10927" actId="20577"/>
        <pc:sldMkLst>
          <pc:docMk/>
          <pc:sldMk cId="778890531" sldId="2147482368"/>
        </pc:sldMkLst>
        <pc:spChg chg="add mod">
          <ac:chgData name="Soumaya ZERHOUNI" userId="690e4aa6-586b-4341-8f1a-54a3e7457441" providerId="ADAL" clId="{69AAD651-E566-4914-B951-51E57822A563}" dt="2024-02-01T15:17:47.068" v="10451" actId="1076"/>
          <ac:spMkLst>
            <pc:docMk/>
            <pc:sldMk cId="778890531" sldId="2147482368"/>
            <ac:spMk id="4" creationId="{4E640376-8601-5D8E-24CC-CD7D457B71B3}"/>
          </ac:spMkLst>
        </pc:spChg>
        <pc:spChg chg="add mod">
          <ac:chgData name="Soumaya ZERHOUNI" userId="690e4aa6-586b-4341-8f1a-54a3e7457441" providerId="ADAL" clId="{69AAD651-E566-4914-B951-51E57822A563}" dt="2024-02-01T15:17:44.481" v="10450" actId="1076"/>
          <ac:spMkLst>
            <pc:docMk/>
            <pc:sldMk cId="778890531" sldId="2147482368"/>
            <ac:spMk id="5" creationId="{C8558AF3-43A3-C251-8160-F906BB0955E6}"/>
          </ac:spMkLst>
        </pc:spChg>
        <pc:spChg chg="add mod">
          <ac:chgData name="Soumaya ZERHOUNI" userId="690e4aa6-586b-4341-8f1a-54a3e7457441" providerId="ADAL" clId="{69AAD651-E566-4914-B951-51E57822A563}" dt="2024-02-01T15:17:44.481" v="10450" actId="1076"/>
          <ac:spMkLst>
            <pc:docMk/>
            <pc:sldMk cId="778890531" sldId="2147482368"/>
            <ac:spMk id="44" creationId="{44AF8DE0-B2E8-E07C-5112-B250F8EEB092}"/>
          </ac:spMkLst>
        </pc:spChg>
        <pc:spChg chg="add mod">
          <ac:chgData name="Soumaya ZERHOUNI" userId="690e4aa6-586b-4341-8f1a-54a3e7457441" providerId="ADAL" clId="{69AAD651-E566-4914-B951-51E57822A563}" dt="2024-02-01T15:17:44.481" v="10450" actId="1076"/>
          <ac:spMkLst>
            <pc:docMk/>
            <pc:sldMk cId="778890531" sldId="2147482368"/>
            <ac:spMk id="45" creationId="{3ECE7F6E-9B0E-4751-2DC0-257271D70C3C}"/>
          </ac:spMkLst>
        </pc:spChg>
        <pc:spChg chg="add mod">
          <ac:chgData name="Soumaya ZERHOUNI" userId="690e4aa6-586b-4341-8f1a-54a3e7457441" providerId="ADAL" clId="{69AAD651-E566-4914-B951-51E57822A563}" dt="2024-02-01T15:17:44.481" v="10450" actId="1076"/>
          <ac:spMkLst>
            <pc:docMk/>
            <pc:sldMk cId="778890531" sldId="2147482368"/>
            <ac:spMk id="46" creationId="{193CAC60-FA30-5E92-F332-7F53A9091DA4}"/>
          </ac:spMkLst>
        </pc:spChg>
        <pc:spChg chg="add mod">
          <ac:chgData name="Soumaya ZERHOUNI" userId="690e4aa6-586b-4341-8f1a-54a3e7457441" providerId="ADAL" clId="{69AAD651-E566-4914-B951-51E57822A563}" dt="2024-02-01T15:29:37.483" v="10927" actId="20577"/>
          <ac:spMkLst>
            <pc:docMk/>
            <pc:sldMk cId="778890531" sldId="2147482368"/>
            <ac:spMk id="57" creationId="{10039D4B-66AD-7E1B-8FEA-D0EC5149FCCD}"/>
          </ac:spMkLst>
        </pc:spChg>
        <pc:spChg chg="add mod">
          <ac:chgData name="Soumaya ZERHOUNI" userId="690e4aa6-586b-4341-8f1a-54a3e7457441" providerId="ADAL" clId="{69AAD651-E566-4914-B951-51E57822A563}" dt="2024-02-01T15:14:42.357" v="10259"/>
          <ac:spMkLst>
            <pc:docMk/>
            <pc:sldMk cId="778890531" sldId="2147482368"/>
            <ac:spMk id="59" creationId="{2F54E258-02DA-426B-5FD4-80D5B368B154}"/>
          </ac:spMkLst>
        </pc:spChg>
      </pc:sldChg>
      <pc:sldChg chg="addSp delSp modSp mod">
        <pc:chgData name="Soumaya ZERHOUNI" userId="690e4aa6-586b-4341-8f1a-54a3e7457441" providerId="ADAL" clId="{69AAD651-E566-4914-B951-51E57822A563}" dt="2024-02-14T14:52:51.293" v="13094" actId="208"/>
        <pc:sldMkLst>
          <pc:docMk/>
          <pc:sldMk cId="536151402" sldId="2147482373"/>
        </pc:sldMkLst>
        <pc:spChg chg="mod">
          <ac:chgData name="Soumaya ZERHOUNI" userId="690e4aa6-586b-4341-8f1a-54a3e7457441" providerId="ADAL" clId="{69AAD651-E566-4914-B951-51E57822A563}" dt="2024-02-14T14:26:44.116" v="13078" actId="12788"/>
          <ac:spMkLst>
            <pc:docMk/>
            <pc:sldMk cId="536151402" sldId="2147482373"/>
            <ac:spMk id="3" creationId="{4C3B4683-0BF1-DE3D-0D66-603587B369D0}"/>
          </ac:spMkLst>
        </pc:spChg>
        <pc:spChg chg="mod topLvl">
          <ac:chgData name="Soumaya ZERHOUNI" userId="690e4aa6-586b-4341-8f1a-54a3e7457441" providerId="ADAL" clId="{69AAD651-E566-4914-B951-51E57822A563}" dt="2024-02-14T14:27:46.607" v="13085" actId="12789"/>
          <ac:spMkLst>
            <pc:docMk/>
            <pc:sldMk cId="536151402" sldId="2147482373"/>
            <ac:spMk id="4" creationId="{BA474E8A-4FCD-79D1-9CC1-7286B2F8CDD5}"/>
          </ac:spMkLst>
        </pc:spChg>
        <pc:spChg chg="add del mod">
          <ac:chgData name="Soumaya ZERHOUNI" userId="690e4aa6-586b-4341-8f1a-54a3e7457441" providerId="ADAL" clId="{69AAD651-E566-4914-B951-51E57822A563}" dt="2024-02-14T14:51:46.003" v="13086" actId="478"/>
          <ac:spMkLst>
            <pc:docMk/>
            <pc:sldMk cId="536151402" sldId="2147482373"/>
            <ac:spMk id="5" creationId="{F4016F84-DD2C-AC2A-FF16-AC8D9FD30361}"/>
          </ac:spMkLst>
        </pc:spChg>
        <pc:spChg chg="mod topLvl">
          <ac:chgData name="Soumaya ZERHOUNI" userId="690e4aa6-586b-4341-8f1a-54a3e7457441" providerId="ADAL" clId="{69AAD651-E566-4914-B951-51E57822A563}" dt="2024-02-14T14:27:46.607" v="13085" actId="12789"/>
          <ac:spMkLst>
            <pc:docMk/>
            <pc:sldMk cId="536151402" sldId="2147482373"/>
            <ac:spMk id="9" creationId="{2D647BBE-4FAA-C7F2-C5D6-1D0F8DA47CBD}"/>
          </ac:spMkLst>
        </pc:spChg>
        <pc:spChg chg="add mod topLvl">
          <ac:chgData name="Soumaya ZERHOUNI" userId="690e4aa6-586b-4341-8f1a-54a3e7457441" providerId="ADAL" clId="{69AAD651-E566-4914-B951-51E57822A563}" dt="2024-02-14T14:27:46.607" v="13085" actId="12789"/>
          <ac:spMkLst>
            <pc:docMk/>
            <pc:sldMk cId="536151402" sldId="2147482373"/>
            <ac:spMk id="10" creationId="{54FC56AC-1FF0-C4D4-72B4-651C935AE403}"/>
          </ac:spMkLst>
        </pc:spChg>
        <pc:spChg chg="del">
          <ac:chgData name="Soumaya ZERHOUNI" userId="690e4aa6-586b-4341-8f1a-54a3e7457441" providerId="ADAL" clId="{69AAD651-E566-4914-B951-51E57822A563}" dt="2024-02-02T13:06:14.489" v="12116" actId="478"/>
          <ac:spMkLst>
            <pc:docMk/>
            <pc:sldMk cId="536151402" sldId="2147482373"/>
            <ac:spMk id="12" creationId="{3BC848F9-B044-4878-9360-64CD05B4F22B}"/>
          </ac:spMkLst>
        </pc:spChg>
        <pc:spChg chg="del mod">
          <ac:chgData name="Soumaya ZERHOUNI" userId="690e4aa6-586b-4341-8f1a-54a3e7457441" providerId="ADAL" clId="{69AAD651-E566-4914-B951-51E57822A563}" dt="2024-02-02T13:06:12.158" v="12115" actId="478"/>
          <ac:spMkLst>
            <pc:docMk/>
            <pc:sldMk cId="536151402" sldId="2147482373"/>
            <ac:spMk id="13" creationId="{75257E40-4F9D-E4EC-9007-FE32838B0009}"/>
          </ac:spMkLst>
        </pc:spChg>
        <pc:spChg chg="add del">
          <ac:chgData name="Soumaya ZERHOUNI" userId="690e4aa6-586b-4341-8f1a-54a3e7457441" providerId="ADAL" clId="{69AAD651-E566-4914-B951-51E57822A563}" dt="2024-02-14T14:12:56.618" v="13022" actId="22"/>
          <ac:spMkLst>
            <pc:docMk/>
            <pc:sldMk cId="536151402" sldId="2147482373"/>
            <ac:spMk id="13" creationId="{F6F12C10-38F9-DB65-367F-76AF7DB2E28D}"/>
          </ac:spMkLst>
        </pc:spChg>
        <pc:spChg chg="mod topLvl">
          <ac:chgData name="Soumaya ZERHOUNI" userId="690e4aa6-586b-4341-8f1a-54a3e7457441" providerId="ADAL" clId="{69AAD651-E566-4914-B951-51E57822A563}" dt="2024-02-14T14:27:46.607" v="13085" actId="12789"/>
          <ac:spMkLst>
            <pc:docMk/>
            <pc:sldMk cId="536151402" sldId="2147482373"/>
            <ac:spMk id="14" creationId="{4121C995-0AB9-16DD-4069-591EEE3E89A0}"/>
          </ac:spMkLst>
        </pc:spChg>
        <pc:grpChg chg="add del mod topLvl">
          <ac:chgData name="Soumaya ZERHOUNI" userId="690e4aa6-586b-4341-8f1a-54a3e7457441" providerId="ADAL" clId="{69AAD651-E566-4914-B951-51E57822A563}" dt="2024-02-14T14:26:18.024" v="13076" actId="165"/>
          <ac:grpSpMkLst>
            <pc:docMk/>
            <pc:sldMk cId="536151402" sldId="2147482373"/>
            <ac:grpSpMk id="15" creationId="{D734F4F3-96DD-DC54-21AD-95ECAC437243}"/>
          </ac:grpSpMkLst>
        </pc:grpChg>
        <pc:grpChg chg="add del mod topLvl">
          <ac:chgData name="Soumaya ZERHOUNI" userId="690e4aa6-586b-4341-8f1a-54a3e7457441" providerId="ADAL" clId="{69AAD651-E566-4914-B951-51E57822A563}" dt="2024-02-14T14:26:18.024" v="13076" actId="165"/>
          <ac:grpSpMkLst>
            <pc:docMk/>
            <pc:sldMk cId="536151402" sldId="2147482373"/>
            <ac:grpSpMk id="16" creationId="{7F34555F-33FA-DAF1-7B0B-60BAE657BE21}"/>
          </ac:grpSpMkLst>
        </pc:grpChg>
        <pc:grpChg chg="add del mod topLvl">
          <ac:chgData name="Soumaya ZERHOUNI" userId="690e4aa6-586b-4341-8f1a-54a3e7457441" providerId="ADAL" clId="{69AAD651-E566-4914-B951-51E57822A563}" dt="2024-02-14T14:26:18.024" v="13076" actId="165"/>
          <ac:grpSpMkLst>
            <pc:docMk/>
            <pc:sldMk cId="536151402" sldId="2147482373"/>
            <ac:grpSpMk id="17" creationId="{D7B6A102-985A-B7E6-04A0-00C07736553D}"/>
          </ac:grpSpMkLst>
        </pc:grpChg>
        <pc:grpChg chg="add del mod">
          <ac:chgData name="Soumaya ZERHOUNI" userId="690e4aa6-586b-4341-8f1a-54a3e7457441" providerId="ADAL" clId="{69AAD651-E566-4914-B951-51E57822A563}" dt="2024-02-14T14:14:39.856" v="13054" actId="165"/>
          <ac:grpSpMkLst>
            <pc:docMk/>
            <pc:sldMk cId="536151402" sldId="2147482373"/>
            <ac:grpSpMk id="18" creationId="{CFB67D9D-6F54-B211-5490-401C909E17D7}"/>
          </ac:grpSpMkLst>
        </pc:grpChg>
        <pc:grpChg chg="add del mod topLvl">
          <ac:chgData name="Soumaya ZERHOUNI" userId="690e4aa6-586b-4341-8f1a-54a3e7457441" providerId="ADAL" clId="{69AAD651-E566-4914-B951-51E57822A563}" dt="2024-02-14T14:26:18.024" v="13076" actId="165"/>
          <ac:grpSpMkLst>
            <pc:docMk/>
            <pc:sldMk cId="536151402" sldId="2147482373"/>
            <ac:grpSpMk id="21" creationId="{06108ED8-264D-4ED9-EEDB-0600DF4ACB03}"/>
          </ac:grpSpMkLst>
        </pc:grpChg>
        <pc:grpChg chg="add del mod">
          <ac:chgData name="Soumaya ZERHOUNI" userId="690e4aa6-586b-4341-8f1a-54a3e7457441" providerId="ADAL" clId="{69AAD651-E566-4914-B951-51E57822A563}" dt="2024-02-14T14:26:15.707" v="13075" actId="165"/>
          <ac:grpSpMkLst>
            <pc:docMk/>
            <pc:sldMk cId="536151402" sldId="2147482373"/>
            <ac:grpSpMk id="22" creationId="{B35A05B4-A431-73A8-90C0-CFC99071F0A1}"/>
          </ac:grpSpMkLst>
        </pc:grpChg>
        <pc:grpChg chg="add del mod">
          <ac:chgData name="Soumaya ZERHOUNI" userId="690e4aa6-586b-4341-8f1a-54a3e7457441" providerId="ADAL" clId="{69AAD651-E566-4914-B951-51E57822A563}" dt="2024-02-14T14:27:25.219" v="13079" actId="165"/>
          <ac:grpSpMkLst>
            <pc:docMk/>
            <pc:sldMk cId="536151402" sldId="2147482373"/>
            <ac:grpSpMk id="23" creationId="{A5773926-6950-1C42-59E3-02AB496CD337}"/>
          </ac:grpSpMkLst>
        </pc:grpChg>
        <pc:picChg chg="mod topLvl">
          <ac:chgData name="Soumaya ZERHOUNI" userId="690e4aa6-586b-4341-8f1a-54a3e7457441" providerId="ADAL" clId="{69AAD651-E566-4914-B951-51E57822A563}" dt="2024-02-14T14:52:28.174" v="13092" actId="207"/>
          <ac:picMkLst>
            <pc:docMk/>
            <pc:sldMk cId="536151402" sldId="2147482373"/>
            <ac:picMk id="6" creationId="{64B36AD2-CF41-C44E-6008-721C5E4F6CFE}"/>
          </ac:picMkLst>
        </pc:picChg>
        <pc:picChg chg="mod topLvl">
          <ac:chgData name="Soumaya ZERHOUNI" userId="690e4aa6-586b-4341-8f1a-54a3e7457441" providerId="ADAL" clId="{69AAD651-E566-4914-B951-51E57822A563}" dt="2024-02-14T14:52:14.378" v="13090" actId="207"/>
          <ac:picMkLst>
            <pc:docMk/>
            <pc:sldMk cId="536151402" sldId="2147482373"/>
            <ac:picMk id="7" creationId="{8F16ECD6-C2FB-04BC-CCBC-212341D9885D}"/>
          </ac:picMkLst>
        </pc:picChg>
        <pc:picChg chg="add mod topLvl">
          <ac:chgData name="Soumaya ZERHOUNI" userId="690e4aa6-586b-4341-8f1a-54a3e7457441" providerId="ADAL" clId="{69AAD651-E566-4914-B951-51E57822A563}" dt="2024-02-14T14:52:14.378" v="13090" actId="207"/>
          <ac:picMkLst>
            <pc:docMk/>
            <pc:sldMk cId="536151402" sldId="2147482373"/>
            <ac:picMk id="8" creationId="{1838E0F6-6968-89D7-766B-0C01CE21265B}"/>
          </ac:picMkLst>
        </pc:picChg>
        <pc:picChg chg="add mod topLvl">
          <ac:chgData name="Soumaya ZERHOUNI" userId="690e4aa6-586b-4341-8f1a-54a3e7457441" providerId="ADAL" clId="{69AAD651-E566-4914-B951-51E57822A563}" dt="2024-02-14T14:52:51.293" v="13094" actId="208"/>
          <ac:picMkLst>
            <pc:docMk/>
            <pc:sldMk cId="536151402" sldId="2147482373"/>
            <ac:picMk id="20" creationId="{E179D7C6-65B7-B4E9-2803-E5D0CA1D6E11}"/>
          </ac:picMkLst>
        </pc:picChg>
      </pc:sldChg>
      <pc:sldChg chg="addSp delSp modSp mod">
        <pc:chgData name="Soumaya ZERHOUNI" userId="690e4aa6-586b-4341-8f1a-54a3e7457441" providerId="ADAL" clId="{69AAD651-E566-4914-B951-51E57822A563}" dt="2024-02-02T17:20:14.734" v="12835" actId="2"/>
        <pc:sldMkLst>
          <pc:docMk/>
          <pc:sldMk cId="1179137849" sldId="2147482375"/>
        </pc:sldMkLst>
        <pc:spChg chg="add mod">
          <ac:chgData name="Soumaya ZERHOUNI" userId="690e4aa6-586b-4341-8f1a-54a3e7457441" providerId="ADAL" clId="{69AAD651-E566-4914-B951-51E57822A563}" dt="2024-02-01T17:56:01.241" v="11154" actId="571"/>
          <ac:spMkLst>
            <pc:docMk/>
            <pc:sldMk cId="1179137849" sldId="2147482375"/>
            <ac:spMk id="2" creationId="{86A7019D-60C1-D261-8205-F05D8036FA45}"/>
          </ac:spMkLst>
        </pc:spChg>
        <pc:spChg chg="add del mod">
          <ac:chgData name="Soumaya ZERHOUNI" userId="690e4aa6-586b-4341-8f1a-54a3e7457441" providerId="ADAL" clId="{69AAD651-E566-4914-B951-51E57822A563}" dt="2024-02-01T17:31:59.722" v="11046" actId="478"/>
          <ac:spMkLst>
            <pc:docMk/>
            <pc:sldMk cId="1179137849" sldId="2147482375"/>
            <ac:spMk id="2" creationId="{EFE1D416-1972-E281-D578-66482B818F10}"/>
          </ac:spMkLst>
        </pc:spChg>
        <pc:spChg chg="mod">
          <ac:chgData name="Soumaya ZERHOUNI" userId="690e4aa6-586b-4341-8f1a-54a3e7457441" providerId="ADAL" clId="{69AAD651-E566-4914-B951-51E57822A563}" dt="2024-02-02T17:20:12.281" v="12832" actId="2"/>
          <ac:spMkLst>
            <pc:docMk/>
            <pc:sldMk cId="1179137849" sldId="2147482375"/>
            <ac:spMk id="5" creationId="{D35E04FC-D891-243D-A86C-3448119F9392}"/>
          </ac:spMkLst>
        </pc:spChg>
        <pc:spChg chg="mod">
          <ac:chgData name="Soumaya ZERHOUNI" userId="690e4aa6-586b-4341-8f1a-54a3e7457441" providerId="ADAL" clId="{69AAD651-E566-4914-B951-51E57822A563}" dt="2024-02-02T17:09:53.081" v="12831" actId="165"/>
          <ac:spMkLst>
            <pc:docMk/>
            <pc:sldMk cId="1179137849" sldId="2147482375"/>
            <ac:spMk id="7" creationId="{415A9B2F-7974-4681-774C-2107BF8EA1D9}"/>
          </ac:spMkLst>
        </pc:spChg>
        <pc:spChg chg="mod">
          <ac:chgData name="Soumaya ZERHOUNI" userId="690e4aa6-586b-4341-8f1a-54a3e7457441" providerId="ADAL" clId="{69AAD651-E566-4914-B951-51E57822A563}" dt="2024-02-02T17:09:53.081" v="12831" actId="165"/>
          <ac:spMkLst>
            <pc:docMk/>
            <pc:sldMk cId="1179137849" sldId="2147482375"/>
            <ac:spMk id="8" creationId="{230C58B5-926C-B62B-BC44-F65CC839BEEC}"/>
          </ac:spMkLst>
        </pc:spChg>
        <pc:spChg chg="mod">
          <ac:chgData name="Soumaya ZERHOUNI" userId="690e4aa6-586b-4341-8f1a-54a3e7457441" providerId="ADAL" clId="{69AAD651-E566-4914-B951-51E57822A563}" dt="2024-02-02T17:09:53.081" v="12831" actId="165"/>
          <ac:spMkLst>
            <pc:docMk/>
            <pc:sldMk cId="1179137849" sldId="2147482375"/>
            <ac:spMk id="9" creationId="{16BA1B3E-4411-667A-9432-63ABD2A5957F}"/>
          </ac:spMkLst>
        </pc:spChg>
        <pc:spChg chg="mod">
          <ac:chgData name="Soumaya ZERHOUNI" userId="690e4aa6-586b-4341-8f1a-54a3e7457441" providerId="ADAL" clId="{69AAD651-E566-4914-B951-51E57822A563}" dt="2024-02-02T17:09:53.081" v="12831" actId="165"/>
          <ac:spMkLst>
            <pc:docMk/>
            <pc:sldMk cId="1179137849" sldId="2147482375"/>
            <ac:spMk id="10" creationId="{CEDFEDB7-D158-A09A-AA63-8B135DA5E536}"/>
          </ac:spMkLst>
        </pc:spChg>
        <pc:spChg chg="mod">
          <ac:chgData name="Soumaya ZERHOUNI" userId="690e4aa6-586b-4341-8f1a-54a3e7457441" providerId="ADAL" clId="{69AAD651-E566-4914-B951-51E57822A563}" dt="2024-02-01T17:49:58.899" v="11127" actId="20577"/>
          <ac:spMkLst>
            <pc:docMk/>
            <pc:sldMk cId="1179137849" sldId="2147482375"/>
            <ac:spMk id="12" creationId="{546175B7-B9BD-CC13-5097-603671057B7A}"/>
          </ac:spMkLst>
        </pc:spChg>
        <pc:spChg chg="mod">
          <ac:chgData name="Soumaya ZERHOUNI" userId="690e4aa6-586b-4341-8f1a-54a3e7457441" providerId="ADAL" clId="{69AAD651-E566-4914-B951-51E57822A563}" dt="2024-02-01T17:31:29.746" v="11041" actId="207"/>
          <ac:spMkLst>
            <pc:docMk/>
            <pc:sldMk cId="1179137849" sldId="2147482375"/>
            <ac:spMk id="13" creationId="{B48D0A7B-5B6A-EA1D-0376-F4C42578234D}"/>
          </ac:spMkLst>
        </pc:spChg>
        <pc:spChg chg="mod">
          <ac:chgData name="Soumaya ZERHOUNI" userId="690e4aa6-586b-4341-8f1a-54a3e7457441" providerId="ADAL" clId="{69AAD651-E566-4914-B951-51E57822A563}" dt="2024-02-02T17:20:14.054" v="12834" actId="2"/>
          <ac:spMkLst>
            <pc:docMk/>
            <pc:sldMk cId="1179137849" sldId="2147482375"/>
            <ac:spMk id="15" creationId="{0F8D4CE3-4DF4-F869-7693-E7B4E45033E2}"/>
          </ac:spMkLst>
        </pc:spChg>
        <pc:spChg chg="mod">
          <ac:chgData name="Soumaya ZERHOUNI" userId="690e4aa6-586b-4341-8f1a-54a3e7457441" providerId="ADAL" clId="{69AAD651-E566-4914-B951-51E57822A563}" dt="2024-02-02T17:09:53.081" v="12831" actId="165"/>
          <ac:spMkLst>
            <pc:docMk/>
            <pc:sldMk cId="1179137849" sldId="2147482375"/>
            <ac:spMk id="17" creationId="{674FA070-6C4D-EA73-8492-408070F90129}"/>
          </ac:spMkLst>
        </pc:spChg>
        <pc:spChg chg="mod">
          <ac:chgData name="Soumaya ZERHOUNI" userId="690e4aa6-586b-4341-8f1a-54a3e7457441" providerId="ADAL" clId="{69AAD651-E566-4914-B951-51E57822A563}" dt="2024-02-01T17:46:27.096" v="11104" actId="207"/>
          <ac:spMkLst>
            <pc:docMk/>
            <pc:sldMk cId="1179137849" sldId="2147482375"/>
            <ac:spMk id="18" creationId="{BDC18CB0-C423-8802-9064-6BDF28FAD023}"/>
          </ac:spMkLst>
        </pc:spChg>
        <pc:spChg chg="mod">
          <ac:chgData name="Soumaya ZERHOUNI" userId="690e4aa6-586b-4341-8f1a-54a3e7457441" providerId="ADAL" clId="{69AAD651-E566-4914-B951-51E57822A563}" dt="2024-02-02T17:09:53.081" v="12831" actId="165"/>
          <ac:spMkLst>
            <pc:docMk/>
            <pc:sldMk cId="1179137849" sldId="2147482375"/>
            <ac:spMk id="19" creationId="{5C166BBB-1E33-BC39-D5E4-4A60401E0B0D}"/>
          </ac:spMkLst>
        </pc:spChg>
        <pc:spChg chg="mod">
          <ac:chgData name="Soumaya ZERHOUNI" userId="690e4aa6-586b-4341-8f1a-54a3e7457441" providerId="ADAL" clId="{69AAD651-E566-4914-B951-51E57822A563}" dt="2024-02-01T17:46:27.096" v="11104" actId="207"/>
          <ac:spMkLst>
            <pc:docMk/>
            <pc:sldMk cId="1179137849" sldId="2147482375"/>
            <ac:spMk id="20" creationId="{3DEDE969-5FF1-B404-1EB2-DC1824AD2087}"/>
          </ac:spMkLst>
        </pc:spChg>
        <pc:spChg chg="mod">
          <ac:chgData name="Soumaya ZERHOUNI" userId="690e4aa6-586b-4341-8f1a-54a3e7457441" providerId="ADAL" clId="{69AAD651-E566-4914-B951-51E57822A563}" dt="2024-02-01T17:46:27.096" v="11104" actId="207"/>
          <ac:spMkLst>
            <pc:docMk/>
            <pc:sldMk cId="1179137849" sldId="2147482375"/>
            <ac:spMk id="21" creationId="{26D093E9-3D48-AA96-047D-91A092C13E86}"/>
          </ac:spMkLst>
        </pc:spChg>
        <pc:spChg chg="mod">
          <ac:chgData name="Soumaya ZERHOUNI" userId="690e4aa6-586b-4341-8f1a-54a3e7457441" providerId="ADAL" clId="{69AAD651-E566-4914-B951-51E57822A563}" dt="2024-02-01T17:43:44.016" v="11090" actId="207"/>
          <ac:spMkLst>
            <pc:docMk/>
            <pc:sldMk cId="1179137849" sldId="2147482375"/>
            <ac:spMk id="22" creationId="{CA273E3E-35AF-6E1B-26B6-F50D3D1118FF}"/>
          </ac:spMkLst>
        </pc:spChg>
        <pc:spChg chg="mod">
          <ac:chgData name="Soumaya ZERHOUNI" userId="690e4aa6-586b-4341-8f1a-54a3e7457441" providerId="ADAL" clId="{69AAD651-E566-4914-B951-51E57822A563}" dt="2024-02-02T17:20:14.734" v="12835" actId="2"/>
          <ac:spMkLst>
            <pc:docMk/>
            <pc:sldMk cId="1179137849" sldId="2147482375"/>
            <ac:spMk id="24" creationId="{2649774D-DCD3-7B54-D728-FC4F269DA2A8}"/>
          </ac:spMkLst>
        </pc:spChg>
        <pc:spChg chg="mod">
          <ac:chgData name="Soumaya ZERHOUNI" userId="690e4aa6-586b-4341-8f1a-54a3e7457441" providerId="ADAL" clId="{69AAD651-E566-4914-B951-51E57822A563}" dt="2024-02-01T17:46:27.096" v="11104" actId="207"/>
          <ac:spMkLst>
            <pc:docMk/>
            <pc:sldMk cId="1179137849" sldId="2147482375"/>
            <ac:spMk id="26" creationId="{3D4B3A41-FEBB-2E51-C616-E1896C45EE55}"/>
          </ac:spMkLst>
        </pc:spChg>
        <pc:spChg chg="mod">
          <ac:chgData name="Soumaya ZERHOUNI" userId="690e4aa6-586b-4341-8f1a-54a3e7457441" providerId="ADAL" clId="{69AAD651-E566-4914-B951-51E57822A563}" dt="2024-02-01T17:46:27.096" v="11104" actId="207"/>
          <ac:spMkLst>
            <pc:docMk/>
            <pc:sldMk cId="1179137849" sldId="2147482375"/>
            <ac:spMk id="28" creationId="{9D5B1F1A-F793-A073-E536-BBC5F93B5036}"/>
          </ac:spMkLst>
        </pc:spChg>
        <pc:spChg chg="mod">
          <ac:chgData name="Soumaya ZERHOUNI" userId="690e4aa6-586b-4341-8f1a-54a3e7457441" providerId="ADAL" clId="{69AAD651-E566-4914-B951-51E57822A563}" dt="2024-02-01T17:43:38.518" v="11088" actId="207"/>
          <ac:spMkLst>
            <pc:docMk/>
            <pc:sldMk cId="1179137849" sldId="2147482375"/>
            <ac:spMk id="29" creationId="{BEC7B409-1F55-81AE-C539-56E013D4173E}"/>
          </ac:spMkLst>
        </pc:spChg>
        <pc:spChg chg="mod">
          <ac:chgData name="Soumaya ZERHOUNI" userId="690e4aa6-586b-4341-8f1a-54a3e7457441" providerId="ADAL" clId="{69AAD651-E566-4914-B951-51E57822A563}" dt="2024-02-01T17:46:27.096" v="11104" actId="207"/>
          <ac:spMkLst>
            <pc:docMk/>
            <pc:sldMk cId="1179137849" sldId="2147482375"/>
            <ac:spMk id="30" creationId="{D29B3F74-2428-BF29-5D37-7CD9F9493CA3}"/>
          </ac:spMkLst>
        </pc:spChg>
        <pc:spChg chg="mod">
          <ac:chgData name="Soumaya ZERHOUNI" userId="690e4aa6-586b-4341-8f1a-54a3e7457441" providerId="ADAL" clId="{69AAD651-E566-4914-B951-51E57822A563}" dt="2024-02-02T17:09:53.081" v="12831" actId="165"/>
          <ac:spMkLst>
            <pc:docMk/>
            <pc:sldMk cId="1179137849" sldId="2147482375"/>
            <ac:spMk id="31" creationId="{4DB85F2E-0789-7812-8780-466F4FCB41A0}"/>
          </ac:spMkLst>
        </pc:spChg>
        <pc:spChg chg="add del mod">
          <ac:chgData name="Soumaya ZERHOUNI" userId="690e4aa6-586b-4341-8f1a-54a3e7457441" providerId="ADAL" clId="{69AAD651-E566-4914-B951-51E57822A563}" dt="2024-02-02T13:07:52.830" v="12118" actId="478"/>
          <ac:spMkLst>
            <pc:docMk/>
            <pc:sldMk cId="1179137849" sldId="2147482375"/>
            <ac:spMk id="32" creationId="{401FC4CD-59D5-4C8C-FA8C-6D37948EA5CF}"/>
          </ac:spMkLst>
        </pc:spChg>
        <pc:spChg chg="mod">
          <ac:chgData name="Soumaya ZERHOUNI" userId="690e4aa6-586b-4341-8f1a-54a3e7457441" providerId="ADAL" clId="{69AAD651-E566-4914-B951-51E57822A563}" dt="2024-02-02T17:09:53.081" v="12831" actId="165"/>
          <ac:spMkLst>
            <pc:docMk/>
            <pc:sldMk cId="1179137849" sldId="2147482375"/>
            <ac:spMk id="33" creationId="{D980C66E-5C3D-D99F-323B-20DE9AAC1A5B}"/>
          </ac:spMkLst>
        </pc:spChg>
        <pc:spChg chg="mod">
          <ac:chgData name="Soumaya ZERHOUNI" userId="690e4aa6-586b-4341-8f1a-54a3e7457441" providerId="ADAL" clId="{69AAD651-E566-4914-B951-51E57822A563}" dt="2024-02-01T17:46:43.796" v="11106" actId="207"/>
          <ac:spMkLst>
            <pc:docMk/>
            <pc:sldMk cId="1179137849" sldId="2147482375"/>
            <ac:spMk id="34" creationId="{873DF73A-C1D1-4942-3E9B-0A321A9BDD13}"/>
          </ac:spMkLst>
        </pc:spChg>
        <pc:spChg chg="mod">
          <ac:chgData name="Soumaya ZERHOUNI" userId="690e4aa6-586b-4341-8f1a-54a3e7457441" providerId="ADAL" clId="{69AAD651-E566-4914-B951-51E57822A563}" dt="2024-02-01T17:29:12.568" v="10975"/>
          <ac:spMkLst>
            <pc:docMk/>
            <pc:sldMk cId="1179137849" sldId="2147482375"/>
            <ac:spMk id="35" creationId="{5286BA71-2EE5-A13A-11AE-73D2EA36E244}"/>
          </ac:spMkLst>
        </pc:spChg>
        <pc:spChg chg="mod">
          <ac:chgData name="Soumaya ZERHOUNI" userId="690e4aa6-586b-4341-8f1a-54a3e7457441" providerId="ADAL" clId="{69AAD651-E566-4914-B951-51E57822A563}" dt="2024-02-01T17:46:37.151" v="11105" actId="207"/>
          <ac:spMkLst>
            <pc:docMk/>
            <pc:sldMk cId="1179137849" sldId="2147482375"/>
            <ac:spMk id="36" creationId="{D987B0C3-56F9-2BDC-E1DF-0CF163D68854}"/>
          </ac:spMkLst>
        </pc:spChg>
        <pc:spChg chg="mod">
          <ac:chgData name="Soumaya ZERHOUNI" userId="690e4aa6-586b-4341-8f1a-54a3e7457441" providerId="ADAL" clId="{69AAD651-E566-4914-B951-51E57822A563}" dt="2024-02-01T17:46:37.151" v="11105" actId="207"/>
          <ac:spMkLst>
            <pc:docMk/>
            <pc:sldMk cId="1179137849" sldId="2147482375"/>
            <ac:spMk id="37" creationId="{BFD2E105-0DCB-45FE-BAB9-72FA0F573475}"/>
          </ac:spMkLst>
        </pc:spChg>
        <pc:spChg chg="mod">
          <ac:chgData name="Soumaya ZERHOUNI" userId="690e4aa6-586b-4341-8f1a-54a3e7457441" providerId="ADAL" clId="{69AAD651-E566-4914-B951-51E57822A563}" dt="2024-02-02T17:20:13.062" v="12833" actId="2"/>
          <ac:spMkLst>
            <pc:docMk/>
            <pc:sldMk cId="1179137849" sldId="2147482375"/>
            <ac:spMk id="41" creationId="{BA70E30A-414A-3112-C3CC-F436709A434A}"/>
          </ac:spMkLst>
        </pc:spChg>
        <pc:spChg chg="mod">
          <ac:chgData name="Soumaya ZERHOUNI" userId="690e4aa6-586b-4341-8f1a-54a3e7457441" providerId="ADAL" clId="{69AAD651-E566-4914-B951-51E57822A563}" dt="2024-02-01T17:43:58.508" v="11091" actId="208"/>
          <ac:spMkLst>
            <pc:docMk/>
            <pc:sldMk cId="1179137849" sldId="2147482375"/>
            <ac:spMk id="43" creationId="{2ACEE416-D6DB-03D8-A979-B30FBBC1D250}"/>
          </ac:spMkLst>
        </pc:spChg>
        <pc:spChg chg="del mod">
          <ac:chgData name="Soumaya ZERHOUNI" userId="690e4aa6-586b-4341-8f1a-54a3e7457441" providerId="ADAL" clId="{69AAD651-E566-4914-B951-51E57822A563}" dt="2024-02-02T13:07:50.053" v="12117" actId="478"/>
          <ac:spMkLst>
            <pc:docMk/>
            <pc:sldMk cId="1179137849" sldId="2147482375"/>
            <ac:spMk id="44" creationId="{F351C29E-7177-6531-D0EF-C75EE7285A86}"/>
          </ac:spMkLst>
        </pc:spChg>
        <pc:spChg chg="mod">
          <ac:chgData name="Soumaya ZERHOUNI" userId="690e4aa6-586b-4341-8f1a-54a3e7457441" providerId="ADAL" clId="{69AAD651-E566-4914-B951-51E57822A563}" dt="2024-02-01T17:29:12.568" v="10975"/>
          <ac:spMkLst>
            <pc:docMk/>
            <pc:sldMk cId="1179137849" sldId="2147482375"/>
            <ac:spMk id="45" creationId="{1D645BED-C8EE-C545-B15A-59C425042256}"/>
          </ac:spMkLst>
        </pc:spChg>
        <pc:spChg chg="mod">
          <ac:chgData name="Soumaya ZERHOUNI" userId="690e4aa6-586b-4341-8f1a-54a3e7457441" providerId="ADAL" clId="{69AAD651-E566-4914-B951-51E57822A563}" dt="2024-02-01T17:29:12.568" v="10975"/>
          <ac:spMkLst>
            <pc:docMk/>
            <pc:sldMk cId="1179137849" sldId="2147482375"/>
            <ac:spMk id="46" creationId="{9D51EFFB-3842-EE40-2F08-EA3846527F3B}"/>
          </ac:spMkLst>
        </pc:spChg>
        <pc:spChg chg="mod">
          <ac:chgData name="Soumaya ZERHOUNI" userId="690e4aa6-586b-4341-8f1a-54a3e7457441" providerId="ADAL" clId="{69AAD651-E566-4914-B951-51E57822A563}" dt="2024-02-01T17:46:37.151" v="11105" actId="207"/>
          <ac:spMkLst>
            <pc:docMk/>
            <pc:sldMk cId="1179137849" sldId="2147482375"/>
            <ac:spMk id="48" creationId="{71E279F2-EE82-8B2A-0090-5F1404A99FC1}"/>
          </ac:spMkLst>
        </pc:spChg>
        <pc:spChg chg="mod">
          <ac:chgData name="Soumaya ZERHOUNI" userId="690e4aa6-586b-4341-8f1a-54a3e7457441" providerId="ADAL" clId="{69AAD651-E566-4914-B951-51E57822A563}" dt="2024-02-01T17:29:12.568" v="10975"/>
          <ac:spMkLst>
            <pc:docMk/>
            <pc:sldMk cId="1179137849" sldId="2147482375"/>
            <ac:spMk id="49" creationId="{FABE3811-E9D9-0BE0-454B-F326B938BAF1}"/>
          </ac:spMkLst>
        </pc:spChg>
        <pc:spChg chg="mod">
          <ac:chgData name="Soumaya ZERHOUNI" userId="690e4aa6-586b-4341-8f1a-54a3e7457441" providerId="ADAL" clId="{69AAD651-E566-4914-B951-51E57822A563}" dt="2024-02-01T17:33:17.576" v="11050" actId="1035"/>
          <ac:spMkLst>
            <pc:docMk/>
            <pc:sldMk cId="1179137849" sldId="2147482375"/>
            <ac:spMk id="50" creationId="{01D7800D-7DEF-44B5-B6A1-9C6E433B660E}"/>
          </ac:spMkLst>
        </pc:spChg>
        <pc:spChg chg="mod">
          <ac:chgData name="Soumaya ZERHOUNI" userId="690e4aa6-586b-4341-8f1a-54a3e7457441" providerId="ADAL" clId="{69AAD651-E566-4914-B951-51E57822A563}" dt="2024-02-01T17:33:17.576" v="11050" actId="1035"/>
          <ac:spMkLst>
            <pc:docMk/>
            <pc:sldMk cId="1179137849" sldId="2147482375"/>
            <ac:spMk id="51" creationId="{BC9D0164-D080-A053-9E8C-8AC8EC2A4D5D}"/>
          </ac:spMkLst>
        </pc:spChg>
        <pc:spChg chg="mod">
          <ac:chgData name="Soumaya ZERHOUNI" userId="690e4aa6-586b-4341-8f1a-54a3e7457441" providerId="ADAL" clId="{69AAD651-E566-4914-B951-51E57822A563}" dt="2024-02-01T17:33:17.576" v="11050" actId="1035"/>
          <ac:spMkLst>
            <pc:docMk/>
            <pc:sldMk cId="1179137849" sldId="2147482375"/>
            <ac:spMk id="52" creationId="{39A48470-DC4E-B1FC-73FB-6E3C5F76FC28}"/>
          </ac:spMkLst>
        </pc:spChg>
        <pc:spChg chg="mod">
          <ac:chgData name="Soumaya ZERHOUNI" userId="690e4aa6-586b-4341-8f1a-54a3e7457441" providerId="ADAL" clId="{69AAD651-E566-4914-B951-51E57822A563}" dt="2024-02-01T17:44:56.293" v="11094" actId="207"/>
          <ac:spMkLst>
            <pc:docMk/>
            <pc:sldMk cId="1179137849" sldId="2147482375"/>
            <ac:spMk id="53" creationId="{5B6052BF-0EE7-C292-A8F4-F6DD1EE89551}"/>
          </ac:spMkLst>
        </pc:spChg>
        <pc:spChg chg="mod">
          <ac:chgData name="Soumaya ZERHOUNI" userId="690e4aa6-586b-4341-8f1a-54a3e7457441" providerId="ADAL" clId="{69AAD651-E566-4914-B951-51E57822A563}" dt="2024-02-01T17:29:12.568" v="10975"/>
          <ac:spMkLst>
            <pc:docMk/>
            <pc:sldMk cId="1179137849" sldId="2147482375"/>
            <ac:spMk id="54" creationId="{32CA3A07-8B22-5951-85B2-C819D2B052C6}"/>
          </ac:spMkLst>
        </pc:spChg>
        <pc:spChg chg="mod">
          <ac:chgData name="Soumaya ZERHOUNI" userId="690e4aa6-586b-4341-8f1a-54a3e7457441" providerId="ADAL" clId="{69AAD651-E566-4914-B951-51E57822A563}" dt="2024-02-01T17:47:29.911" v="11114" actId="207"/>
          <ac:spMkLst>
            <pc:docMk/>
            <pc:sldMk cId="1179137849" sldId="2147482375"/>
            <ac:spMk id="55" creationId="{C0315A4E-E1F9-19A7-1063-B8C3FB0A0D87}"/>
          </ac:spMkLst>
        </pc:spChg>
        <pc:spChg chg="mod">
          <ac:chgData name="Soumaya ZERHOUNI" userId="690e4aa6-586b-4341-8f1a-54a3e7457441" providerId="ADAL" clId="{69AAD651-E566-4914-B951-51E57822A563}" dt="2024-02-01T17:47:26.930" v="11113" actId="207"/>
          <ac:spMkLst>
            <pc:docMk/>
            <pc:sldMk cId="1179137849" sldId="2147482375"/>
            <ac:spMk id="57" creationId="{DC39C9CA-AAAC-033E-C86E-01B5FE2B1AFA}"/>
          </ac:spMkLst>
        </pc:spChg>
        <pc:spChg chg="mod">
          <ac:chgData name="Soumaya ZERHOUNI" userId="690e4aa6-586b-4341-8f1a-54a3e7457441" providerId="ADAL" clId="{69AAD651-E566-4914-B951-51E57822A563}" dt="2024-02-01T17:47:21.469" v="11112" actId="207"/>
          <ac:spMkLst>
            <pc:docMk/>
            <pc:sldMk cId="1179137849" sldId="2147482375"/>
            <ac:spMk id="58" creationId="{794B039B-049B-372E-7021-4F8C1030565D}"/>
          </ac:spMkLst>
        </pc:spChg>
        <pc:spChg chg="mod">
          <ac:chgData name="Soumaya ZERHOUNI" userId="690e4aa6-586b-4341-8f1a-54a3e7457441" providerId="ADAL" clId="{69AAD651-E566-4914-B951-51E57822A563}" dt="2024-02-01T17:49:20.097" v="11116" actId="207"/>
          <ac:spMkLst>
            <pc:docMk/>
            <pc:sldMk cId="1179137849" sldId="2147482375"/>
            <ac:spMk id="59" creationId="{D5C3EC31-015B-82A6-D34D-974DB7C3E510}"/>
          </ac:spMkLst>
        </pc:spChg>
        <pc:spChg chg="mod">
          <ac:chgData name="Soumaya ZERHOUNI" userId="690e4aa6-586b-4341-8f1a-54a3e7457441" providerId="ADAL" clId="{69AAD651-E566-4914-B951-51E57822A563}" dt="2024-02-01T17:46:27.096" v="11104" actId="207"/>
          <ac:spMkLst>
            <pc:docMk/>
            <pc:sldMk cId="1179137849" sldId="2147482375"/>
            <ac:spMk id="61" creationId="{F3A82C8B-2F5E-34CB-7147-68D65D16111F}"/>
          </ac:spMkLst>
        </pc:spChg>
        <pc:spChg chg="mod">
          <ac:chgData name="Soumaya ZERHOUNI" userId="690e4aa6-586b-4341-8f1a-54a3e7457441" providerId="ADAL" clId="{69AAD651-E566-4914-B951-51E57822A563}" dt="2024-02-01T17:46:27.096" v="11104" actId="207"/>
          <ac:spMkLst>
            <pc:docMk/>
            <pc:sldMk cId="1179137849" sldId="2147482375"/>
            <ac:spMk id="62" creationId="{86377AE0-3A16-0A85-972E-74CCEDC037A1}"/>
          </ac:spMkLst>
        </pc:spChg>
        <pc:spChg chg="mod">
          <ac:chgData name="Soumaya ZERHOUNI" userId="690e4aa6-586b-4341-8f1a-54a3e7457441" providerId="ADAL" clId="{69AAD651-E566-4914-B951-51E57822A563}" dt="2024-02-01T17:29:12.568" v="10975"/>
          <ac:spMkLst>
            <pc:docMk/>
            <pc:sldMk cId="1179137849" sldId="2147482375"/>
            <ac:spMk id="63" creationId="{A3DE71FA-677E-13CA-9315-A29486D3A1F9}"/>
          </ac:spMkLst>
        </pc:spChg>
        <pc:spChg chg="mod">
          <ac:chgData name="Soumaya ZERHOUNI" userId="690e4aa6-586b-4341-8f1a-54a3e7457441" providerId="ADAL" clId="{69AAD651-E566-4914-B951-51E57822A563}" dt="2024-02-01T17:29:12.568" v="10975"/>
          <ac:spMkLst>
            <pc:docMk/>
            <pc:sldMk cId="1179137849" sldId="2147482375"/>
            <ac:spMk id="64" creationId="{2C796AFE-5A0E-0C97-5B6D-3B23FDC2A8E7}"/>
          </ac:spMkLst>
        </pc:spChg>
        <pc:spChg chg="mod">
          <ac:chgData name="Soumaya ZERHOUNI" userId="690e4aa6-586b-4341-8f1a-54a3e7457441" providerId="ADAL" clId="{69AAD651-E566-4914-B951-51E57822A563}" dt="2024-02-01T17:29:12.568" v="10975"/>
          <ac:spMkLst>
            <pc:docMk/>
            <pc:sldMk cId="1179137849" sldId="2147482375"/>
            <ac:spMk id="66" creationId="{55FE2280-415E-88CF-65F6-12FEC75AE72F}"/>
          </ac:spMkLst>
        </pc:spChg>
        <pc:spChg chg="mod">
          <ac:chgData name="Soumaya ZERHOUNI" userId="690e4aa6-586b-4341-8f1a-54a3e7457441" providerId="ADAL" clId="{69AAD651-E566-4914-B951-51E57822A563}" dt="2024-02-01T17:29:12.568" v="10975"/>
          <ac:spMkLst>
            <pc:docMk/>
            <pc:sldMk cId="1179137849" sldId="2147482375"/>
            <ac:spMk id="68" creationId="{C48A70D3-1304-4DBE-8E98-2FBC7D3ED8BA}"/>
          </ac:spMkLst>
        </pc:spChg>
        <pc:spChg chg="mod">
          <ac:chgData name="Soumaya ZERHOUNI" userId="690e4aa6-586b-4341-8f1a-54a3e7457441" providerId="ADAL" clId="{69AAD651-E566-4914-B951-51E57822A563}" dt="2024-02-01T17:29:12.568" v="10975"/>
          <ac:spMkLst>
            <pc:docMk/>
            <pc:sldMk cId="1179137849" sldId="2147482375"/>
            <ac:spMk id="69" creationId="{97FC8E13-331F-AA8A-71D5-F8C6E164CCEA}"/>
          </ac:spMkLst>
        </pc:spChg>
        <pc:spChg chg="mod">
          <ac:chgData name="Soumaya ZERHOUNI" userId="690e4aa6-586b-4341-8f1a-54a3e7457441" providerId="ADAL" clId="{69AAD651-E566-4914-B951-51E57822A563}" dt="2024-02-01T17:46:27.096" v="11104" actId="207"/>
          <ac:spMkLst>
            <pc:docMk/>
            <pc:sldMk cId="1179137849" sldId="2147482375"/>
            <ac:spMk id="72" creationId="{D589CE66-6773-0C63-E0D8-7B89E4EC2B8F}"/>
          </ac:spMkLst>
        </pc:spChg>
        <pc:spChg chg="mod">
          <ac:chgData name="Soumaya ZERHOUNI" userId="690e4aa6-586b-4341-8f1a-54a3e7457441" providerId="ADAL" clId="{69AAD651-E566-4914-B951-51E57822A563}" dt="2024-02-01T17:46:27.096" v="11104" actId="207"/>
          <ac:spMkLst>
            <pc:docMk/>
            <pc:sldMk cId="1179137849" sldId="2147482375"/>
            <ac:spMk id="73" creationId="{AB57BDBD-AC62-9CD0-33A1-34603EFD38C2}"/>
          </ac:spMkLst>
        </pc:spChg>
        <pc:spChg chg="mod">
          <ac:chgData name="Soumaya ZERHOUNI" userId="690e4aa6-586b-4341-8f1a-54a3e7457441" providerId="ADAL" clId="{69AAD651-E566-4914-B951-51E57822A563}" dt="2024-02-01T17:46:27.096" v="11104" actId="207"/>
          <ac:spMkLst>
            <pc:docMk/>
            <pc:sldMk cId="1179137849" sldId="2147482375"/>
            <ac:spMk id="74" creationId="{9426B42F-CF2D-1066-3757-BB6CC4ACEC79}"/>
          </ac:spMkLst>
        </pc:spChg>
        <pc:spChg chg="mod">
          <ac:chgData name="Soumaya ZERHOUNI" userId="690e4aa6-586b-4341-8f1a-54a3e7457441" providerId="ADAL" clId="{69AAD651-E566-4914-B951-51E57822A563}" dt="2024-02-01T17:46:27.096" v="11104" actId="207"/>
          <ac:spMkLst>
            <pc:docMk/>
            <pc:sldMk cId="1179137849" sldId="2147482375"/>
            <ac:spMk id="75" creationId="{8EA46152-2053-8C48-F9CE-1BA27EBD5FEF}"/>
          </ac:spMkLst>
        </pc:spChg>
        <pc:spChg chg="mod">
          <ac:chgData name="Soumaya ZERHOUNI" userId="690e4aa6-586b-4341-8f1a-54a3e7457441" providerId="ADAL" clId="{69AAD651-E566-4914-B951-51E57822A563}" dt="2024-02-01T17:46:27.096" v="11104" actId="207"/>
          <ac:spMkLst>
            <pc:docMk/>
            <pc:sldMk cId="1179137849" sldId="2147482375"/>
            <ac:spMk id="76" creationId="{E1B8385A-1237-F315-3166-C6412E99B884}"/>
          </ac:spMkLst>
        </pc:spChg>
        <pc:spChg chg="mod">
          <ac:chgData name="Soumaya ZERHOUNI" userId="690e4aa6-586b-4341-8f1a-54a3e7457441" providerId="ADAL" clId="{69AAD651-E566-4914-B951-51E57822A563}" dt="2024-02-01T17:46:27.096" v="11104" actId="207"/>
          <ac:spMkLst>
            <pc:docMk/>
            <pc:sldMk cId="1179137849" sldId="2147482375"/>
            <ac:spMk id="77" creationId="{D60A4341-8B83-C346-F12C-EDBA51719BBA}"/>
          </ac:spMkLst>
        </pc:spChg>
        <pc:spChg chg="mod">
          <ac:chgData name="Soumaya ZERHOUNI" userId="690e4aa6-586b-4341-8f1a-54a3e7457441" providerId="ADAL" clId="{69AAD651-E566-4914-B951-51E57822A563}" dt="2024-02-01T17:46:27.096" v="11104" actId="207"/>
          <ac:spMkLst>
            <pc:docMk/>
            <pc:sldMk cId="1179137849" sldId="2147482375"/>
            <ac:spMk id="78" creationId="{8B5A994F-83AF-77CC-243D-735876DD2DEA}"/>
          </ac:spMkLst>
        </pc:spChg>
        <pc:spChg chg="mod">
          <ac:chgData name="Soumaya ZERHOUNI" userId="690e4aa6-586b-4341-8f1a-54a3e7457441" providerId="ADAL" clId="{69AAD651-E566-4914-B951-51E57822A563}" dt="2024-02-01T17:29:12.568" v="10975"/>
          <ac:spMkLst>
            <pc:docMk/>
            <pc:sldMk cId="1179137849" sldId="2147482375"/>
            <ac:spMk id="79" creationId="{5CF3368E-0A79-11E1-97AD-01D3B15A8411}"/>
          </ac:spMkLst>
        </pc:spChg>
        <pc:spChg chg="mod">
          <ac:chgData name="Soumaya ZERHOUNI" userId="690e4aa6-586b-4341-8f1a-54a3e7457441" providerId="ADAL" clId="{69AAD651-E566-4914-B951-51E57822A563}" dt="2024-02-01T17:29:12.568" v="10975"/>
          <ac:spMkLst>
            <pc:docMk/>
            <pc:sldMk cId="1179137849" sldId="2147482375"/>
            <ac:spMk id="103" creationId="{98D7F129-B181-4352-67F8-A062F4DA25AD}"/>
          </ac:spMkLst>
        </pc:spChg>
        <pc:spChg chg="mod">
          <ac:chgData name="Soumaya ZERHOUNI" userId="690e4aa6-586b-4341-8f1a-54a3e7457441" providerId="ADAL" clId="{69AAD651-E566-4914-B951-51E57822A563}" dt="2024-02-01T17:29:12.568" v="10975"/>
          <ac:spMkLst>
            <pc:docMk/>
            <pc:sldMk cId="1179137849" sldId="2147482375"/>
            <ac:spMk id="104" creationId="{AB318A38-DD59-3258-9A34-59E76E16AA11}"/>
          </ac:spMkLst>
        </pc:spChg>
        <pc:spChg chg="mod">
          <ac:chgData name="Soumaya ZERHOUNI" userId="690e4aa6-586b-4341-8f1a-54a3e7457441" providerId="ADAL" clId="{69AAD651-E566-4914-B951-51E57822A563}" dt="2024-02-01T17:29:12.568" v="10975"/>
          <ac:spMkLst>
            <pc:docMk/>
            <pc:sldMk cId="1179137849" sldId="2147482375"/>
            <ac:spMk id="128" creationId="{DF484D13-01CA-94CE-E091-86382E0EEF76}"/>
          </ac:spMkLst>
        </pc:spChg>
        <pc:spChg chg="add del mod">
          <ac:chgData name="Soumaya ZERHOUNI" userId="690e4aa6-586b-4341-8f1a-54a3e7457441" providerId="ADAL" clId="{69AAD651-E566-4914-B951-51E57822A563}" dt="2024-02-01T17:29:21.402" v="11007" actId="478"/>
          <ac:spMkLst>
            <pc:docMk/>
            <pc:sldMk cId="1179137849" sldId="2147482375"/>
            <ac:spMk id="129" creationId="{AEF66695-16B6-02A2-A15E-C7DD5767BA9E}"/>
          </ac:spMkLst>
        </pc:spChg>
        <pc:spChg chg="del mod topLvl">
          <ac:chgData name="Soumaya ZERHOUNI" userId="690e4aa6-586b-4341-8f1a-54a3e7457441" providerId="ADAL" clId="{69AAD651-E566-4914-B951-51E57822A563}" dt="2024-02-01T17:57:43.464" v="11155" actId="478"/>
          <ac:spMkLst>
            <pc:docMk/>
            <pc:sldMk cId="1179137849" sldId="2147482375"/>
            <ac:spMk id="130" creationId="{1ED86353-64DD-7905-3E5F-1362185DCA40}"/>
          </ac:spMkLst>
        </pc:spChg>
        <pc:spChg chg="mod">
          <ac:chgData name="Soumaya ZERHOUNI" userId="690e4aa6-586b-4341-8f1a-54a3e7457441" providerId="ADAL" clId="{69AAD651-E566-4914-B951-51E57822A563}" dt="2024-02-02T17:09:53.081" v="12831" actId="165"/>
          <ac:spMkLst>
            <pc:docMk/>
            <pc:sldMk cId="1179137849" sldId="2147482375"/>
            <ac:spMk id="132" creationId="{849B8D13-9ABF-687E-882E-E65963571767}"/>
          </ac:spMkLst>
        </pc:spChg>
        <pc:spChg chg="mod">
          <ac:chgData name="Soumaya ZERHOUNI" userId="690e4aa6-586b-4341-8f1a-54a3e7457441" providerId="ADAL" clId="{69AAD651-E566-4914-B951-51E57822A563}" dt="2024-02-02T17:09:53.081" v="12831" actId="165"/>
          <ac:spMkLst>
            <pc:docMk/>
            <pc:sldMk cId="1179137849" sldId="2147482375"/>
            <ac:spMk id="133" creationId="{F2B6B5BA-B962-9AE3-03DA-99C689BE65AE}"/>
          </ac:spMkLst>
        </pc:spChg>
        <pc:spChg chg="mod">
          <ac:chgData name="Soumaya ZERHOUNI" userId="690e4aa6-586b-4341-8f1a-54a3e7457441" providerId="ADAL" clId="{69AAD651-E566-4914-B951-51E57822A563}" dt="2024-02-02T17:09:53.081" v="12831" actId="165"/>
          <ac:spMkLst>
            <pc:docMk/>
            <pc:sldMk cId="1179137849" sldId="2147482375"/>
            <ac:spMk id="134" creationId="{10F011AC-A95D-74F3-9308-C987802A086B}"/>
          </ac:spMkLst>
        </pc:spChg>
        <pc:spChg chg="mod">
          <ac:chgData name="Soumaya ZERHOUNI" userId="690e4aa6-586b-4341-8f1a-54a3e7457441" providerId="ADAL" clId="{69AAD651-E566-4914-B951-51E57822A563}" dt="2024-02-02T17:09:53.081" v="12831" actId="165"/>
          <ac:spMkLst>
            <pc:docMk/>
            <pc:sldMk cId="1179137849" sldId="2147482375"/>
            <ac:spMk id="135" creationId="{BE647A1D-93C2-5F26-739B-0E3FC45A9370}"/>
          </ac:spMkLst>
        </pc:spChg>
        <pc:spChg chg="del mod topLvl">
          <ac:chgData name="Soumaya ZERHOUNI" userId="690e4aa6-586b-4341-8f1a-54a3e7457441" providerId="ADAL" clId="{69AAD651-E566-4914-B951-51E57822A563}" dt="2024-02-01T17:57:43.464" v="11155" actId="478"/>
          <ac:spMkLst>
            <pc:docMk/>
            <pc:sldMk cId="1179137849" sldId="2147482375"/>
            <ac:spMk id="137" creationId="{029E8BE4-6EA2-CB8E-3B69-2FDF671E0C8B}"/>
          </ac:spMkLst>
        </pc:spChg>
        <pc:spChg chg="mod topLvl">
          <ac:chgData name="Soumaya ZERHOUNI" userId="690e4aa6-586b-4341-8f1a-54a3e7457441" providerId="ADAL" clId="{69AAD651-E566-4914-B951-51E57822A563}" dt="2024-02-02T17:09:53.081" v="12831" actId="165"/>
          <ac:spMkLst>
            <pc:docMk/>
            <pc:sldMk cId="1179137849" sldId="2147482375"/>
            <ac:spMk id="138" creationId="{751E8FB7-9496-A827-78CE-67BFBBE7F236}"/>
          </ac:spMkLst>
        </pc:spChg>
        <pc:spChg chg="del mod topLvl">
          <ac:chgData name="Soumaya ZERHOUNI" userId="690e4aa6-586b-4341-8f1a-54a3e7457441" providerId="ADAL" clId="{69AAD651-E566-4914-B951-51E57822A563}" dt="2024-02-01T17:57:43.464" v="11155" actId="478"/>
          <ac:spMkLst>
            <pc:docMk/>
            <pc:sldMk cId="1179137849" sldId="2147482375"/>
            <ac:spMk id="140" creationId="{A1093108-872F-4153-9CD1-DFCF6C2D921E}"/>
          </ac:spMkLst>
        </pc:spChg>
        <pc:spChg chg="mod">
          <ac:chgData name="Soumaya ZERHOUNI" userId="690e4aa6-586b-4341-8f1a-54a3e7457441" providerId="ADAL" clId="{69AAD651-E566-4914-B951-51E57822A563}" dt="2024-02-02T17:09:53.081" v="12831" actId="165"/>
          <ac:spMkLst>
            <pc:docMk/>
            <pc:sldMk cId="1179137849" sldId="2147482375"/>
            <ac:spMk id="142" creationId="{84B7D9E3-C474-1FA9-01AE-91DC03AFFE73}"/>
          </ac:spMkLst>
        </pc:spChg>
        <pc:spChg chg="mod">
          <ac:chgData name="Soumaya ZERHOUNI" userId="690e4aa6-586b-4341-8f1a-54a3e7457441" providerId="ADAL" clId="{69AAD651-E566-4914-B951-51E57822A563}" dt="2024-02-02T17:09:53.081" v="12831" actId="165"/>
          <ac:spMkLst>
            <pc:docMk/>
            <pc:sldMk cId="1179137849" sldId="2147482375"/>
            <ac:spMk id="143" creationId="{5C56C02C-3FE0-A558-3638-8DAF5599A6C4}"/>
          </ac:spMkLst>
        </pc:spChg>
        <pc:spChg chg="del mod topLvl">
          <ac:chgData name="Soumaya ZERHOUNI" userId="690e4aa6-586b-4341-8f1a-54a3e7457441" providerId="ADAL" clId="{69AAD651-E566-4914-B951-51E57822A563}" dt="2024-02-01T17:57:43.464" v="11155" actId="478"/>
          <ac:spMkLst>
            <pc:docMk/>
            <pc:sldMk cId="1179137849" sldId="2147482375"/>
            <ac:spMk id="145" creationId="{72B7A951-5804-34D1-8ECE-C48E1D6145C3}"/>
          </ac:spMkLst>
        </pc:spChg>
        <pc:spChg chg="mod">
          <ac:chgData name="Soumaya ZERHOUNI" userId="690e4aa6-586b-4341-8f1a-54a3e7457441" providerId="ADAL" clId="{69AAD651-E566-4914-B951-51E57822A563}" dt="2024-02-02T17:09:53.081" v="12831" actId="165"/>
          <ac:spMkLst>
            <pc:docMk/>
            <pc:sldMk cId="1179137849" sldId="2147482375"/>
            <ac:spMk id="147" creationId="{1685AA7C-A7AC-D578-4916-C468D7FBC302}"/>
          </ac:spMkLst>
        </pc:spChg>
        <pc:spChg chg="mod">
          <ac:chgData name="Soumaya ZERHOUNI" userId="690e4aa6-586b-4341-8f1a-54a3e7457441" providerId="ADAL" clId="{69AAD651-E566-4914-B951-51E57822A563}" dt="2024-02-02T17:09:53.081" v="12831" actId="165"/>
          <ac:spMkLst>
            <pc:docMk/>
            <pc:sldMk cId="1179137849" sldId="2147482375"/>
            <ac:spMk id="148" creationId="{487BA063-8969-D7AB-75E2-A9B9AAAB36A0}"/>
          </ac:spMkLst>
        </pc:spChg>
        <pc:spChg chg="mod">
          <ac:chgData name="Soumaya ZERHOUNI" userId="690e4aa6-586b-4341-8f1a-54a3e7457441" providerId="ADAL" clId="{69AAD651-E566-4914-B951-51E57822A563}" dt="2024-02-02T17:09:53.081" v="12831" actId="165"/>
          <ac:spMkLst>
            <pc:docMk/>
            <pc:sldMk cId="1179137849" sldId="2147482375"/>
            <ac:spMk id="149" creationId="{1238092A-B2F2-ADA0-48F7-E9ABD89C05D8}"/>
          </ac:spMkLst>
        </pc:spChg>
        <pc:grpChg chg="mod">
          <ac:chgData name="Soumaya ZERHOUNI" userId="690e4aa6-586b-4341-8f1a-54a3e7457441" providerId="ADAL" clId="{69AAD651-E566-4914-B951-51E57822A563}" dt="2024-02-02T17:09:53.081" v="12831" actId="165"/>
          <ac:grpSpMkLst>
            <pc:docMk/>
            <pc:sldMk cId="1179137849" sldId="2147482375"/>
            <ac:grpSpMk id="4" creationId="{7A02CAA6-2050-762E-7EE7-B4A191A334A6}"/>
          </ac:grpSpMkLst>
        </pc:grpChg>
        <pc:grpChg chg="mod">
          <ac:chgData name="Soumaya ZERHOUNI" userId="690e4aa6-586b-4341-8f1a-54a3e7457441" providerId="ADAL" clId="{69AAD651-E566-4914-B951-51E57822A563}" dt="2024-02-02T17:09:53.081" v="12831" actId="165"/>
          <ac:grpSpMkLst>
            <pc:docMk/>
            <pc:sldMk cId="1179137849" sldId="2147482375"/>
            <ac:grpSpMk id="6" creationId="{174FDDC4-2F88-2A16-B931-B10F7689A629}"/>
          </ac:grpSpMkLst>
        </pc:grpChg>
        <pc:grpChg chg="mod">
          <ac:chgData name="Soumaya ZERHOUNI" userId="690e4aa6-586b-4341-8f1a-54a3e7457441" providerId="ADAL" clId="{69AAD651-E566-4914-B951-51E57822A563}" dt="2024-02-01T17:31:29.746" v="11041" actId="207"/>
          <ac:grpSpMkLst>
            <pc:docMk/>
            <pc:sldMk cId="1179137849" sldId="2147482375"/>
            <ac:grpSpMk id="11" creationId="{FBDB0477-2876-2CA7-90A3-305085A449FC}"/>
          </ac:grpSpMkLst>
        </pc:grpChg>
        <pc:grpChg chg="mod topLvl">
          <ac:chgData name="Soumaya ZERHOUNI" userId="690e4aa6-586b-4341-8f1a-54a3e7457441" providerId="ADAL" clId="{69AAD651-E566-4914-B951-51E57822A563}" dt="2024-02-02T17:09:53.081" v="12831" actId="165"/>
          <ac:grpSpMkLst>
            <pc:docMk/>
            <pc:sldMk cId="1179137849" sldId="2147482375"/>
            <ac:grpSpMk id="14" creationId="{8055EA9A-AC1F-0014-3B03-3CB7949BE46B}"/>
          </ac:grpSpMkLst>
        </pc:grpChg>
        <pc:grpChg chg="mod">
          <ac:chgData name="Soumaya ZERHOUNI" userId="690e4aa6-586b-4341-8f1a-54a3e7457441" providerId="ADAL" clId="{69AAD651-E566-4914-B951-51E57822A563}" dt="2024-02-02T17:09:53.081" v="12831" actId="165"/>
          <ac:grpSpMkLst>
            <pc:docMk/>
            <pc:sldMk cId="1179137849" sldId="2147482375"/>
            <ac:grpSpMk id="16" creationId="{C27E012A-403A-F41D-4315-0486DF82097F}"/>
          </ac:grpSpMkLst>
        </pc:grpChg>
        <pc:grpChg chg="mod">
          <ac:chgData name="Soumaya ZERHOUNI" userId="690e4aa6-586b-4341-8f1a-54a3e7457441" providerId="ADAL" clId="{69AAD651-E566-4914-B951-51E57822A563}" dt="2024-02-02T17:09:53.081" v="12831" actId="165"/>
          <ac:grpSpMkLst>
            <pc:docMk/>
            <pc:sldMk cId="1179137849" sldId="2147482375"/>
            <ac:grpSpMk id="23" creationId="{A406C5D6-2EAB-2401-ADB3-EABC74ABD4D7}"/>
          </ac:grpSpMkLst>
        </pc:grpChg>
        <pc:grpChg chg="mod">
          <ac:chgData name="Soumaya ZERHOUNI" userId="690e4aa6-586b-4341-8f1a-54a3e7457441" providerId="ADAL" clId="{69AAD651-E566-4914-B951-51E57822A563}" dt="2024-02-02T17:09:53.081" v="12831" actId="165"/>
          <ac:grpSpMkLst>
            <pc:docMk/>
            <pc:sldMk cId="1179137849" sldId="2147482375"/>
            <ac:grpSpMk id="27" creationId="{77BF9604-9485-F922-CA2C-38C87FA59156}"/>
          </ac:grpSpMkLst>
        </pc:grpChg>
        <pc:grpChg chg="add del mod">
          <ac:chgData name="Soumaya ZERHOUNI" userId="690e4aa6-586b-4341-8f1a-54a3e7457441" providerId="ADAL" clId="{69AAD651-E566-4914-B951-51E57822A563}" dt="2024-02-01T17:30:03.714" v="11023" actId="478"/>
          <ac:grpSpMkLst>
            <pc:docMk/>
            <pc:sldMk cId="1179137849" sldId="2147482375"/>
            <ac:grpSpMk id="32" creationId="{503A89B1-0B91-0E12-369A-8007CFD4CE20}"/>
          </ac:grpSpMkLst>
        </pc:grpChg>
        <pc:grpChg chg="mod topLvl">
          <ac:chgData name="Soumaya ZERHOUNI" userId="690e4aa6-586b-4341-8f1a-54a3e7457441" providerId="ADAL" clId="{69AAD651-E566-4914-B951-51E57822A563}" dt="2024-02-02T17:09:53.081" v="12831" actId="165"/>
          <ac:grpSpMkLst>
            <pc:docMk/>
            <pc:sldMk cId="1179137849" sldId="2147482375"/>
            <ac:grpSpMk id="35" creationId="{C0579C96-C93C-8985-168C-EFA900056AE3}"/>
          </ac:grpSpMkLst>
        </pc:grpChg>
        <pc:grpChg chg="del mod">
          <ac:chgData name="Soumaya ZERHOUNI" userId="690e4aa6-586b-4341-8f1a-54a3e7457441" providerId="ADAL" clId="{69AAD651-E566-4914-B951-51E57822A563}" dt="2024-02-01T17:46:11.308" v="11103" actId="478"/>
          <ac:grpSpMkLst>
            <pc:docMk/>
            <pc:sldMk cId="1179137849" sldId="2147482375"/>
            <ac:grpSpMk id="38" creationId="{39FA4CAD-C597-BBEC-836F-4279BEDAB57A}"/>
          </ac:grpSpMkLst>
        </pc:grpChg>
        <pc:grpChg chg="mod">
          <ac:chgData name="Soumaya ZERHOUNI" userId="690e4aa6-586b-4341-8f1a-54a3e7457441" providerId="ADAL" clId="{69AAD651-E566-4914-B951-51E57822A563}" dt="2024-02-01T17:29:12.568" v="10975"/>
          <ac:grpSpMkLst>
            <pc:docMk/>
            <pc:sldMk cId="1179137849" sldId="2147482375"/>
            <ac:grpSpMk id="39" creationId="{10FA6EED-B5E1-39AA-C496-82FBFA70EDCA}"/>
          </ac:grpSpMkLst>
        </pc:grpChg>
        <pc:grpChg chg="mod topLvl">
          <ac:chgData name="Soumaya ZERHOUNI" userId="690e4aa6-586b-4341-8f1a-54a3e7457441" providerId="ADAL" clId="{69AAD651-E566-4914-B951-51E57822A563}" dt="2024-02-02T17:09:53.081" v="12831" actId="165"/>
          <ac:grpSpMkLst>
            <pc:docMk/>
            <pc:sldMk cId="1179137849" sldId="2147482375"/>
            <ac:grpSpMk id="40" creationId="{B8607431-7E2C-235B-CC76-A311C1D5C726}"/>
          </ac:grpSpMkLst>
        </pc:grpChg>
        <pc:grpChg chg="mod topLvl">
          <ac:chgData name="Soumaya ZERHOUNI" userId="690e4aa6-586b-4341-8f1a-54a3e7457441" providerId="ADAL" clId="{69AAD651-E566-4914-B951-51E57822A563}" dt="2024-02-02T17:09:53.081" v="12831" actId="165"/>
          <ac:grpSpMkLst>
            <pc:docMk/>
            <pc:sldMk cId="1179137849" sldId="2147482375"/>
            <ac:grpSpMk id="42" creationId="{5A7F8C3F-4F30-6A12-EEB6-1DF835A309D6}"/>
          </ac:grpSpMkLst>
        </pc:grpChg>
        <pc:grpChg chg="add del mod">
          <ac:chgData name="Soumaya ZERHOUNI" userId="690e4aa6-586b-4341-8f1a-54a3e7457441" providerId="ADAL" clId="{69AAD651-E566-4914-B951-51E57822A563}" dt="2024-02-01T17:30:03.714" v="11023" actId="478"/>
          <ac:grpSpMkLst>
            <pc:docMk/>
            <pc:sldMk cId="1179137849" sldId="2147482375"/>
            <ac:grpSpMk id="56" creationId="{298E5430-6A95-AE9F-26F7-ADCF931C75BB}"/>
          </ac:grpSpMkLst>
        </pc:grpChg>
        <pc:grpChg chg="mod">
          <ac:chgData name="Soumaya ZERHOUNI" userId="690e4aa6-586b-4341-8f1a-54a3e7457441" providerId="ADAL" clId="{69AAD651-E566-4914-B951-51E57822A563}" dt="2024-02-01T17:46:27.096" v="11104" actId="207"/>
          <ac:grpSpMkLst>
            <pc:docMk/>
            <pc:sldMk cId="1179137849" sldId="2147482375"/>
            <ac:grpSpMk id="60" creationId="{DB1FD381-D66E-7825-0BCF-6FA4D2B63DC4}"/>
          </ac:grpSpMkLst>
        </pc:grpChg>
        <pc:grpChg chg="add del mod">
          <ac:chgData name="Soumaya ZERHOUNI" userId="690e4aa6-586b-4341-8f1a-54a3e7457441" providerId="ADAL" clId="{69AAD651-E566-4914-B951-51E57822A563}" dt="2024-02-01T17:30:03.714" v="11023" actId="478"/>
          <ac:grpSpMkLst>
            <pc:docMk/>
            <pc:sldMk cId="1179137849" sldId="2147482375"/>
            <ac:grpSpMk id="65" creationId="{EC553CAA-2A79-FB88-CFB2-B3AA70138526}"/>
          </ac:grpSpMkLst>
        </pc:grpChg>
        <pc:grpChg chg="mod">
          <ac:chgData name="Soumaya ZERHOUNI" userId="690e4aa6-586b-4341-8f1a-54a3e7457441" providerId="ADAL" clId="{69AAD651-E566-4914-B951-51E57822A563}" dt="2024-02-01T17:29:12.568" v="10975"/>
          <ac:grpSpMkLst>
            <pc:docMk/>
            <pc:sldMk cId="1179137849" sldId="2147482375"/>
            <ac:grpSpMk id="67" creationId="{3FBA8396-E5F3-D5AA-B234-A212CBD5E745}"/>
          </ac:grpSpMkLst>
        </pc:grpChg>
        <pc:grpChg chg="add del mod">
          <ac:chgData name="Soumaya ZERHOUNI" userId="690e4aa6-586b-4341-8f1a-54a3e7457441" providerId="ADAL" clId="{69AAD651-E566-4914-B951-51E57822A563}" dt="2024-02-02T17:09:53.081" v="12831" actId="165"/>
          <ac:grpSpMkLst>
            <pc:docMk/>
            <pc:sldMk cId="1179137849" sldId="2147482375"/>
            <ac:grpSpMk id="68" creationId="{B73FFB54-03C5-E423-F5FF-B992940B52FF}"/>
          </ac:grpSpMkLst>
        </pc:grpChg>
        <pc:grpChg chg="mod">
          <ac:chgData name="Soumaya ZERHOUNI" userId="690e4aa6-586b-4341-8f1a-54a3e7457441" providerId="ADAL" clId="{69AAD651-E566-4914-B951-51E57822A563}" dt="2024-02-01T17:46:27.096" v="11104" actId="207"/>
          <ac:grpSpMkLst>
            <pc:docMk/>
            <pc:sldMk cId="1179137849" sldId="2147482375"/>
            <ac:grpSpMk id="70" creationId="{AA2893BA-6E7F-EC13-1BED-CA7789ADDF52}"/>
          </ac:grpSpMkLst>
        </pc:grpChg>
        <pc:grpChg chg="add del mod">
          <ac:chgData name="Soumaya ZERHOUNI" userId="690e4aa6-586b-4341-8f1a-54a3e7457441" providerId="ADAL" clId="{69AAD651-E566-4914-B951-51E57822A563}" dt="2024-02-01T17:30:03.714" v="11023" actId="478"/>
          <ac:grpSpMkLst>
            <pc:docMk/>
            <pc:sldMk cId="1179137849" sldId="2147482375"/>
            <ac:grpSpMk id="71" creationId="{31C6DBD3-1DEF-3930-B60A-2F0E56CF28DA}"/>
          </ac:grpSpMkLst>
        </pc:grpChg>
        <pc:grpChg chg="mod">
          <ac:chgData name="Soumaya ZERHOUNI" userId="690e4aa6-586b-4341-8f1a-54a3e7457441" providerId="ADAL" clId="{69AAD651-E566-4914-B951-51E57822A563}" dt="2024-02-01T17:29:12.568" v="10975"/>
          <ac:grpSpMkLst>
            <pc:docMk/>
            <pc:sldMk cId="1179137849" sldId="2147482375"/>
            <ac:grpSpMk id="102" creationId="{1610A76B-F717-9BFC-8F6D-C2348A0D0411}"/>
          </ac:grpSpMkLst>
        </pc:grpChg>
        <pc:grpChg chg="del mod">
          <ac:chgData name="Soumaya ZERHOUNI" userId="690e4aa6-586b-4341-8f1a-54a3e7457441" providerId="ADAL" clId="{69AAD651-E566-4914-B951-51E57822A563}" dt="2024-02-01T17:31:43.874" v="11045" actId="478"/>
          <ac:grpSpMkLst>
            <pc:docMk/>
            <pc:sldMk cId="1179137849" sldId="2147482375"/>
            <ac:grpSpMk id="105" creationId="{06F01F0A-440C-EDAA-F4B1-F652A9E4333D}"/>
          </ac:grpSpMkLst>
        </pc:grpChg>
        <pc:grpChg chg="del mod">
          <ac:chgData name="Soumaya ZERHOUNI" userId="690e4aa6-586b-4341-8f1a-54a3e7457441" providerId="ADAL" clId="{69AAD651-E566-4914-B951-51E57822A563}" dt="2024-02-01T17:31:43.874" v="11045" actId="478"/>
          <ac:grpSpMkLst>
            <pc:docMk/>
            <pc:sldMk cId="1179137849" sldId="2147482375"/>
            <ac:grpSpMk id="114" creationId="{397739C1-0839-FB6A-11CC-02722A16291D}"/>
          </ac:grpSpMkLst>
        </pc:grpChg>
        <pc:grpChg chg="del mod">
          <ac:chgData name="Soumaya ZERHOUNI" userId="690e4aa6-586b-4341-8f1a-54a3e7457441" providerId="ADAL" clId="{69AAD651-E566-4914-B951-51E57822A563}" dt="2024-02-01T17:31:43.874" v="11045" actId="478"/>
          <ac:grpSpMkLst>
            <pc:docMk/>
            <pc:sldMk cId="1179137849" sldId="2147482375"/>
            <ac:grpSpMk id="117" creationId="{208D1719-431B-03C8-705D-C295388AB6C4}"/>
          </ac:grpSpMkLst>
        </pc:grpChg>
        <pc:grpChg chg="del mod">
          <ac:chgData name="Soumaya ZERHOUNI" userId="690e4aa6-586b-4341-8f1a-54a3e7457441" providerId="ADAL" clId="{69AAD651-E566-4914-B951-51E57822A563}" dt="2024-02-01T17:31:43.874" v="11045" actId="478"/>
          <ac:grpSpMkLst>
            <pc:docMk/>
            <pc:sldMk cId="1179137849" sldId="2147482375"/>
            <ac:grpSpMk id="122" creationId="{021D6796-EBF6-20A4-2A69-4FF705726694}"/>
          </ac:grpSpMkLst>
        </pc:grpChg>
        <pc:grpChg chg="del mod">
          <ac:chgData name="Soumaya ZERHOUNI" userId="690e4aa6-586b-4341-8f1a-54a3e7457441" providerId="ADAL" clId="{69AAD651-E566-4914-B951-51E57822A563}" dt="2024-02-01T17:51:03.541" v="11133" actId="165"/>
          <ac:grpSpMkLst>
            <pc:docMk/>
            <pc:sldMk cId="1179137849" sldId="2147482375"/>
            <ac:grpSpMk id="129" creationId="{CD1C3626-7A88-14FE-8C4B-E15C1328A030}"/>
          </ac:grpSpMkLst>
        </pc:grpChg>
        <pc:grpChg chg="mod topLvl">
          <ac:chgData name="Soumaya ZERHOUNI" userId="690e4aa6-586b-4341-8f1a-54a3e7457441" providerId="ADAL" clId="{69AAD651-E566-4914-B951-51E57822A563}" dt="2024-02-02T17:09:53.081" v="12831" actId="165"/>
          <ac:grpSpMkLst>
            <pc:docMk/>
            <pc:sldMk cId="1179137849" sldId="2147482375"/>
            <ac:grpSpMk id="131" creationId="{640A122F-8A6B-4122-E45A-F5D85F265713}"/>
          </ac:grpSpMkLst>
        </pc:grpChg>
        <pc:grpChg chg="del mod">
          <ac:chgData name="Soumaya ZERHOUNI" userId="690e4aa6-586b-4341-8f1a-54a3e7457441" providerId="ADAL" clId="{69AAD651-E566-4914-B951-51E57822A563}" dt="2024-02-01T17:51:03.541" v="11133" actId="165"/>
          <ac:grpSpMkLst>
            <pc:docMk/>
            <pc:sldMk cId="1179137849" sldId="2147482375"/>
            <ac:grpSpMk id="136" creationId="{8DF9F9FD-17A3-6353-C4F3-4A815015243D}"/>
          </ac:grpSpMkLst>
        </pc:grpChg>
        <pc:grpChg chg="del mod">
          <ac:chgData name="Soumaya ZERHOUNI" userId="690e4aa6-586b-4341-8f1a-54a3e7457441" providerId="ADAL" clId="{69AAD651-E566-4914-B951-51E57822A563}" dt="2024-02-01T17:51:03.541" v="11133" actId="165"/>
          <ac:grpSpMkLst>
            <pc:docMk/>
            <pc:sldMk cId="1179137849" sldId="2147482375"/>
            <ac:grpSpMk id="139" creationId="{F9F397CD-D302-4238-FE5F-B6AE89CC53E6}"/>
          </ac:grpSpMkLst>
        </pc:grpChg>
        <pc:grpChg chg="mod topLvl">
          <ac:chgData name="Soumaya ZERHOUNI" userId="690e4aa6-586b-4341-8f1a-54a3e7457441" providerId="ADAL" clId="{69AAD651-E566-4914-B951-51E57822A563}" dt="2024-02-02T17:09:53.081" v="12831" actId="165"/>
          <ac:grpSpMkLst>
            <pc:docMk/>
            <pc:sldMk cId="1179137849" sldId="2147482375"/>
            <ac:grpSpMk id="141" creationId="{A514B220-DA58-D15D-E03A-2A3C5BCB4BEA}"/>
          </ac:grpSpMkLst>
        </pc:grpChg>
        <pc:grpChg chg="del mod">
          <ac:chgData name="Soumaya ZERHOUNI" userId="690e4aa6-586b-4341-8f1a-54a3e7457441" providerId="ADAL" clId="{69AAD651-E566-4914-B951-51E57822A563}" dt="2024-02-01T17:51:03.541" v="11133" actId="165"/>
          <ac:grpSpMkLst>
            <pc:docMk/>
            <pc:sldMk cId="1179137849" sldId="2147482375"/>
            <ac:grpSpMk id="144" creationId="{7EB87D0B-763D-44F0-DBFD-33F7D3875FF5}"/>
          </ac:grpSpMkLst>
        </pc:grpChg>
        <pc:grpChg chg="mod topLvl">
          <ac:chgData name="Soumaya ZERHOUNI" userId="690e4aa6-586b-4341-8f1a-54a3e7457441" providerId="ADAL" clId="{69AAD651-E566-4914-B951-51E57822A563}" dt="2024-02-02T17:09:53.081" v="12831" actId="165"/>
          <ac:grpSpMkLst>
            <pc:docMk/>
            <pc:sldMk cId="1179137849" sldId="2147482375"/>
            <ac:grpSpMk id="146" creationId="{AEEF124A-3131-F44C-5090-994A29C4EA33}"/>
          </ac:grpSpMkLst>
        </pc:grpChg>
        <pc:picChg chg="mod">
          <ac:chgData name="Soumaya ZERHOUNI" userId="690e4aa6-586b-4341-8f1a-54a3e7457441" providerId="ADAL" clId="{69AAD651-E566-4914-B951-51E57822A563}" dt="2024-02-01T17:45:11.763" v="11097" actId="208"/>
          <ac:picMkLst>
            <pc:docMk/>
            <pc:sldMk cId="1179137849" sldId="2147482375"/>
            <ac:picMk id="97" creationId="{DE0C2A3B-476D-2DCE-82A9-271E18FA04B4}"/>
          </ac:picMkLst>
        </pc:picChg>
        <pc:picChg chg="mod">
          <ac:chgData name="Soumaya ZERHOUNI" userId="690e4aa6-586b-4341-8f1a-54a3e7457441" providerId="ADAL" clId="{69AAD651-E566-4914-B951-51E57822A563}" dt="2024-02-01T17:46:27.096" v="11104" actId="207"/>
          <ac:picMkLst>
            <pc:docMk/>
            <pc:sldMk cId="1179137849" sldId="2147482375"/>
            <ac:picMk id="107" creationId="{615F0EE2-5343-621E-A16A-65EDA9B80B65}"/>
          </ac:picMkLst>
        </pc:picChg>
      </pc:sldChg>
      <pc:sldChg chg="addSp delSp modSp mod">
        <pc:chgData name="Soumaya ZERHOUNI" userId="690e4aa6-586b-4341-8f1a-54a3e7457441" providerId="ADAL" clId="{69AAD651-E566-4914-B951-51E57822A563}" dt="2024-02-02T17:20:56.945" v="12836" actId="20577"/>
        <pc:sldMkLst>
          <pc:docMk/>
          <pc:sldMk cId="3722675707" sldId="2147482376"/>
        </pc:sldMkLst>
        <pc:spChg chg="add mod">
          <ac:chgData name="Soumaya ZERHOUNI" userId="690e4aa6-586b-4341-8f1a-54a3e7457441" providerId="ADAL" clId="{69AAD651-E566-4914-B951-51E57822A563}" dt="2024-02-02T09:49:17.669" v="11613"/>
          <ac:spMkLst>
            <pc:docMk/>
            <pc:sldMk cId="3722675707" sldId="2147482376"/>
            <ac:spMk id="2" creationId="{D2F5C2C2-D54D-BB22-85E0-B8831A04FB96}"/>
          </ac:spMkLst>
        </pc:spChg>
        <pc:spChg chg="add mod">
          <ac:chgData name="Soumaya ZERHOUNI" userId="690e4aa6-586b-4341-8f1a-54a3e7457441" providerId="ADAL" clId="{69AAD651-E566-4914-B951-51E57822A563}" dt="2024-02-02T09:49:17.669" v="11613"/>
          <ac:spMkLst>
            <pc:docMk/>
            <pc:sldMk cId="3722675707" sldId="2147482376"/>
            <ac:spMk id="4" creationId="{340B3417-27B3-DDCF-1C11-0C367ECD2369}"/>
          </ac:spMkLst>
        </pc:spChg>
        <pc:spChg chg="add mod">
          <ac:chgData name="Soumaya ZERHOUNI" userId="690e4aa6-586b-4341-8f1a-54a3e7457441" providerId="ADAL" clId="{69AAD651-E566-4914-B951-51E57822A563}" dt="2024-02-02T09:49:17.669" v="11613"/>
          <ac:spMkLst>
            <pc:docMk/>
            <pc:sldMk cId="3722675707" sldId="2147482376"/>
            <ac:spMk id="6" creationId="{7174F38B-87E4-1390-E36F-514808FE3513}"/>
          </ac:spMkLst>
        </pc:spChg>
        <pc:spChg chg="add mod">
          <ac:chgData name="Soumaya ZERHOUNI" userId="690e4aa6-586b-4341-8f1a-54a3e7457441" providerId="ADAL" clId="{69AAD651-E566-4914-B951-51E57822A563}" dt="2024-02-02T09:49:17.669" v="11613"/>
          <ac:spMkLst>
            <pc:docMk/>
            <pc:sldMk cId="3722675707" sldId="2147482376"/>
            <ac:spMk id="7" creationId="{3BFF8EDA-3D06-7C4C-07F7-B24B3F0EA5F2}"/>
          </ac:spMkLst>
        </pc:spChg>
        <pc:spChg chg="add mod">
          <ac:chgData name="Soumaya ZERHOUNI" userId="690e4aa6-586b-4341-8f1a-54a3e7457441" providerId="ADAL" clId="{69AAD651-E566-4914-B951-51E57822A563}" dt="2024-02-02T09:49:17.669" v="11613"/>
          <ac:spMkLst>
            <pc:docMk/>
            <pc:sldMk cId="3722675707" sldId="2147482376"/>
            <ac:spMk id="8" creationId="{C3DBE788-F20E-2A02-5040-90D770785C89}"/>
          </ac:spMkLst>
        </pc:spChg>
        <pc:spChg chg="add mod">
          <ac:chgData name="Soumaya ZERHOUNI" userId="690e4aa6-586b-4341-8f1a-54a3e7457441" providerId="ADAL" clId="{69AAD651-E566-4914-B951-51E57822A563}" dt="2024-02-02T09:49:17.669" v="11613"/>
          <ac:spMkLst>
            <pc:docMk/>
            <pc:sldMk cId="3722675707" sldId="2147482376"/>
            <ac:spMk id="9" creationId="{5FE0FFF4-B0D0-4FAA-CEF6-0074417BA460}"/>
          </ac:spMkLst>
        </pc:spChg>
        <pc:spChg chg="add mod">
          <ac:chgData name="Soumaya ZERHOUNI" userId="690e4aa6-586b-4341-8f1a-54a3e7457441" providerId="ADAL" clId="{69AAD651-E566-4914-B951-51E57822A563}" dt="2024-02-02T09:49:17.669" v="11613"/>
          <ac:spMkLst>
            <pc:docMk/>
            <pc:sldMk cId="3722675707" sldId="2147482376"/>
            <ac:spMk id="10" creationId="{E3AC06C7-7119-AFF7-424C-D3A4AEEE4F39}"/>
          </ac:spMkLst>
        </pc:spChg>
        <pc:spChg chg="add mod">
          <ac:chgData name="Soumaya ZERHOUNI" userId="690e4aa6-586b-4341-8f1a-54a3e7457441" providerId="ADAL" clId="{69AAD651-E566-4914-B951-51E57822A563}" dt="2024-02-02T09:49:17.669" v="11613"/>
          <ac:spMkLst>
            <pc:docMk/>
            <pc:sldMk cId="3722675707" sldId="2147482376"/>
            <ac:spMk id="11" creationId="{BDF6ED17-003C-E196-B2EF-6C82281D2C9C}"/>
          </ac:spMkLst>
        </pc:spChg>
        <pc:spChg chg="add mod">
          <ac:chgData name="Soumaya ZERHOUNI" userId="690e4aa6-586b-4341-8f1a-54a3e7457441" providerId="ADAL" clId="{69AAD651-E566-4914-B951-51E57822A563}" dt="2024-02-02T09:49:17.669" v="11613"/>
          <ac:spMkLst>
            <pc:docMk/>
            <pc:sldMk cId="3722675707" sldId="2147482376"/>
            <ac:spMk id="13" creationId="{B045B022-FE4F-25F8-7AD9-7D923426211A}"/>
          </ac:spMkLst>
        </pc:spChg>
        <pc:spChg chg="add mod">
          <ac:chgData name="Soumaya ZERHOUNI" userId="690e4aa6-586b-4341-8f1a-54a3e7457441" providerId="ADAL" clId="{69AAD651-E566-4914-B951-51E57822A563}" dt="2024-02-02T09:49:17.669" v="11613"/>
          <ac:spMkLst>
            <pc:docMk/>
            <pc:sldMk cId="3722675707" sldId="2147482376"/>
            <ac:spMk id="14" creationId="{351665EF-D437-001B-25EE-E45D9A657ABF}"/>
          </ac:spMkLst>
        </pc:spChg>
        <pc:spChg chg="mod">
          <ac:chgData name="Soumaya ZERHOUNI" userId="690e4aa6-586b-4341-8f1a-54a3e7457441" providerId="ADAL" clId="{69AAD651-E566-4914-B951-51E57822A563}" dt="2024-02-02T09:53:20.845" v="11623" actId="164"/>
          <ac:spMkLst>
            <pc:docMk/>
            <pc:sldMk cId="3722675707" sldId="2147482376"/>
            <ac:spMk id="16" creationId="{E465B14A-F4B2-3226-092B-9EC270915A34}"/>
          </ac:spMkLst>
        </pc:spChg>
        <pc:spChg chg="mod">
          <ac:chgData name="Soumaya ZERHOUNI" userId="690e4aa6-586b-4341-8f1a-54a3e7457441" providerId="ADAL" clId="{69AAD651-E566-4914-B951-51E57822A563}" dt="2024-02-02T09:53:20.845" v="11623" actId="164"/>
          <ac:spMkLst>
            <pc:docMk/>
            <pc:sldMk cId="3722675707" sldId="2147482376"/>
            <ac:spMk id="17" creationId="{B8E73882-546F-71F9-1123-320874D89843}"/>
          </ac:spMkLst>
        </pc:spChg>
        <pc:spChg chg="mod">
          <ac:chgData name="Soumaya ZERHOUNI" userId="690e4aa6-586b-4341-8f1a-54a3e7457441" providerId="ADAL" clId="{69AAD651-E566-4914-B951-51E57822A563}" dt="2024-02-02T09:53:20.845" v="11623" actId="164"/>
          <ac:spMkLst>
            <pc:docMk/>
            <pc:sldMk cId="3722675707" sldId="2147482376"/>
            <ac:spMk id="18" creationId="{E7507A70-F00E-CA78-75E3-C830E472517C}"/>
          </ac:spMkLst>
        </pc:spChg>
        <pc:spChg chg="mod">
          <ac:chgData name="Soumaya ZERHOUNI" userId="690e4aa6-586b-4341-8f1a-54a3e7457441" providerId="ADAL" clId="{69AAD651-E566-4914-B951-51E57822A563}" dt="2024-02-02T09:53:20.845" v="11623" actId="164"/>
          <ac:spMkLst>
            <pc:docMk/>
            <pc:sldMk cId="3722675707" sldId="2147482376"/>
            <ac:spMk id="19" creationId="{E4AFD9FF-BAE9-FB64-DCD5-7E2132D17258}"/>
          </ac:spMkLst>
        </pc:spChg>
        <pc:spChg chg="mod">
          <ac:chgData name="Soumaya ZERHOUNI" userId="690e4aa6-586b-4341-8f1a-54a3e7457441" providerId="ADAL" clId="{69AAD651-E566-4914-B951-51E57822A563}" dt="2024-02-02T09:53:20.845" v="11623" actId="164"/>
          <ac:spMkLst>
            <pc:docMk/>
            <pc:sldMk cId="3722675707" sldId="2147482376"/>
            <ac:spMk id="20" creationId="{107F99F6-83E9-5574-2F8A-B53F7FBF040C}"/>
          </ac:spMkLst>
        </pc:spChg>
        <pc:spChg chg="mod">
          <ac:chgData name="Soumaya ZERHOUNI" userId="690e4aa6-586b-4341-8f1a-54a3e7457441" providerId="ADAL" clId="{69AAD651-E566-4914-B951-51E57822A563}" dt="2024-02-02T09:53:20.845" v="11623" actId="164"/>
          <ac:spMkLst>
            <pc:docMk/>
            <pc:sldMk cId="3722675707" sldId="2147482376"/>
            <ac:spMk id="21" creationId="{5D113FD1-1C6D-C190-6EC4-6E413AD9A60A}"/>
          </ac:spMkLst>
        </pc:spChg>
        <pc:spChg chg="mod">
          <ac:chgData name="Soumaya ZERHOUNI" userId="690e4aa6-586b-4341-8f1a-54a3e7457441" providerId="ADAL" clId="{69AAD651-E566-4914-B951-51E57822A563}" dt="2024-02-02T09:53:20.845" v="11623" actId="164"/>
          <ac:spMkLst>
            <pc:docMk/>
            <pc:sldMk cId="3722675707" sldId="2147482376"/>
            <ac:spMk id="22" creationId="{39A81E78-D7FE-2DE8-C9D7-B2BF0AED47EF}"/>
          </ac:spMkLst>
        </pc:spChg>
        <pc:spChg chg="mod">
          <ac:chgData name="Soumaya ZERHOUNI" userId="690e4aa6-586b-4341-8f1a-54a3e7457441" providerId="ADAL" clId="{69AAD651-E566-4914-B951-51E57822A563}" dt="2024-02-02T09:53:20.845" v="11623" actId="164"/>
          <ac:spMkLst>
            <pc:docMk/>
            <pc:sldMk cId="3722675707" sldId="2147482376"/>
            <ac:spMk id="23" creationId="{518C8D85-3B8D-E7A8-7821-5A7D6C255D4E}"/>
          </ac:spMkLst>
        </pc:spChg>
        <pc:spChg chg="mod">
          <ac:chgData name="Soumaya ZERHOUNI" userId="690e4aa6-586b-4341-8f1a-54a3e7457441" providerId="ADAL" clId="{69AAD651-E566-4914-B951-51E57822A563}" dt="2024-02-02T09:53:20.845" v="11623" actId="164"/>
          <ac:spMkLst>
            <pc:docMk/>
            <pc:sldMk cId="3722675707" sldId="2147482376"/>
            <ac:spMk id="24" creationId="{5D962F55-CB34-9F51-329B-1BFE41236AE7}"/>
          </ac:spMkLst>
        </pc:spChg>
        <pc:spChg chg="del">
          <ac:chgData name="Soumaya ZERHOUNI" userId="690e4aa6-586b-4341-8f1a-54a3e7457441" providerId="ADAL" clId="{69AAD651-E566-4914-B951-51E57822A563}" dt="2024-02-02T13:08:23.480" v="12119" actId="478"/>
          <ac:spMkLst>
            <pc:docMk/>
            <pc:sldMk cId="3722675707" sldId="2147482376"/>
            <ac:spMk id="25" creationId="{5BDEB673-511D-8971-EE58-BC130C723C75}"/>
          </ac:spMkLst>
        </pc:spChg>
        <pc:spChg chg="add mod">
          <ac:chgData name="Soumaya ZERHOUNI" userId="690e4aa6-586b-4341-8f1a-54a3e7457441" providerId="ADAL" clId="{69AAD651-E566-4914-B951-51E57822A563}" dt="2024-02-02T09:49:17.669" v="11613"/>
          <ac:spMkLst>
            <pc:docMk/>
            <pc:sldMk cId="3722675707" sldId="2147482376"/>
            <ac:spMk id="26" creationId="{83EDE077-94E3-94AC-9B75-059B15E93AD0}"/>
          </ac:spMkLst>
        </pc:spChg>
        <pc:spChg chg="mod">
          <ac:chgData name="Soumaya ZERHOUNI" userId="690e4aa6-586b-4341-8f1a-54a3e7457441" providerId="ADAL" clId="{69AAD651-E566-4914-B951-51E57822A563}" dt="2024-02-02T10:03:10.727" v="11724" actId="1076"/>
          <ac:spMkLst>
            <pc:docMk/>
            <pc:sldMk cId="3722675707" sldId="2147482376"/>
            <ac:spMk id="27" creationId="{7D2A94EB-156D-0C0C-6E65-A5564911D7EE}"/>
          </ac:spMkLst>
        </pc:spChg>
        <pc:spChg chg="mod">
          <ac:chgData name="Soumaya ZERHOUNI" userId="690e4aa6-586b-4341-8f1a-54a3e7457441" providerId="ADAL" clId="{69AAD651-E566-4914-B951-51E57822A563}" dt="2024-02-02T14:08:11.988" v="12192" actId="20577"/>
          <ac:spMkLst>
            <pc:docMk/>
            <pc:sldMk cId="3722675707" sldId="2147482376"/>
            <ac:spMk id="29" creationId="{D665831F-8946-0839-6638-8AEED4A71689}"/>
          </ac:spMkLst>
        </pc:spChg>
        <pc:spChg chg="mod">
          <ac:chgData name="Soumaya ZERHOUNI" userId="690e4aa6-586b-4341-8f1a-54a3e7457441" providerId="ADAL" clId="{69AAD651-E566-4914-B951-51E57822A563}" dt="2024-02-02T17:20:56.945" v="12836" actId="20577"/>
          <ac:spMkLst>
            <pc:docMk/>
            <pc:sldMk cId="3722675707" sldId="2147482376"/>
            <ac:spMk id="30" creationId="{BCCB4956-3174-B1B6-BFF7-F63E44703DF7}"/>
          </ac:spMkLst>
        </pc:spChg>
        <pc:spChg chg="mod">
          <ac:chgData name="Soumaya ZERHOUNI" userId="690e4aa6-586b-4341-8f1a-54a3e7457441" providerId="ADAL" clId="{69AAD651-E566-4914-B951-51E57822A563}" dt="2024-02-01T17:35:13.229" v="11064" actId="408"/>
          <ac:spMkLst>
            <pc:docMk/>
            <pc:sldMk cId="3722675707" sldId="2147482376"/>
            <ac:spMk id="34" creationId="{4ADA6757-9A9E-D7B1-54F1-D4EBB6C1D7B2}"/>
          </ac:spMkLst>
        </pc:spChg>
        <pc:spChg chg="mod">
          <ac:chgData name="Soumaya ZERHOUNI" userId="690e4aa6-586b-4341-8f1a-54a3e7457441" providerId="ADAL" clId="{69AAD651-E566-4914-B951-51E57822A563}" dt="2024-02-01T17:35:05.315" v="11062" actId="12789"/>
          <ac:spMkLst>
            <pc:docMk/>
            <pc:sldMk cId="3722675707" sldId="2147482376"/>
            <ac:spMk id="35" creationId="{F60FBC00-FEF0-A7FA-831A-40480F303C78}"/>
          </ac:spMkLst>
        </pc:spChg>
        <pc:spChg chg="mod">
          <ac:chgData name="Soumaya ZERHOUNI" userId="690e4aa6-586b-4341-8f1a-54a3e7457441" providerId="ADAL" clId="{69AAD651-E566-4914-B951-51E57822A563}" dt="2024-02-02T09:49:17.669" v="11613"/>
          <ac:spMkLst>
            <pc:docMk/>
            <pc:sldMk cId="3722675707" sldId="2147482376"/>
            <ac:spMk id="36" creationId="{BDA82D38-D34E-E7FA-8A1B-EA1F8A1B08B9}"/>
          </ac:spMkLst>
        </pc:spChg>
        <pc:spChg chg="mod">
          <ac:chgData name="Soumaya ZERHOUNI" userId="690e4aa6-586b-4341-8f1a-54a3e7457441" providerId="ADAL" clId="{69AAD651-E566-4914-B951-51E57822A563}" dt="2024-02-02T09:49:17.669" v="11613"/>
          <ac:spMkLst>
            <pc:docMk/>
            <pc:sldMk cId="3722675707" sldId="2147482376"/>
            <ac:spMk id="37" creationId="{63790C7E-B53E-59B1-24D4-16353554EB6C}"/>
          </ac:spMkLst>
        </pc:spChg>
        <pc:spChg chg="mod">
          <ac:chgData name="Soumaya ZERHOUNI" userId="690e4aa6-586b-4341-8f1a-54a3e7457441" providerId="ADAL" clId="{69AAD651-E566-4914-B951-51E57822A563}" dt="2024-02-02T09:49:17.669" v="11613"/>
          <ac:spMkLst>
            <pc:docMk/>
            <pc:sldMk cId="3722675707" sldId="2147482376"/>
            <ac:spMk id="38" creationId="{33615238-95BB-6520-10DD-BB4F46BA2359}"/>
          </ac:spMkLst>
        </pc:spChg>
        <pc:spChg chg="mod">
          <ac:chgData name="Soumaya ZERHOUNI" userId="690e4aa6-586b-4341-8f1a-54a3e7457441" providerId="ADAL" clId="{69AAD651-E566-4914-B951-51E57822A563}" dt="2024-02-01T17:35:05.315" v="11062" actId="12789"/>
          <ac:spMkLst>
            <pc:docMk/>
            <pc:sldMk cId="3722675707" sldId="2147482376"/>
            <ac:spMk id="40" creationId="{EA216833-C012-19F0-1968-6260BF801340}"/>
          </ac:spMkLst>
        </pc:spChg>
        <pc:spChg chg="mod">
          <ac:chgData name="Soumaya ZERHOUNI" userId="690e4aa6-586b-4341-8f1a-54a3e7457441" providerId="ADAL" clId="{69AAD651-E566-4914-B951-51E57822A563}" dt="2024-02-01T17:35:13.229" v="11064" actId="408"/>
          <ac:spMkLst>
            <pc:docMk/>
            <pc:sldMk cId="3722675707" sldId="2147482376"/>
            <ac:spMk id="41" creationId="{6C6C1A0B-C32E-1E94-2304-C1631D8F5722}"/>
          </ac:spMkLst>
        </pc:spChg>
        <pc:spChg chg="mod">
          <ac:chgData name="Soumaya ZERHOUNI" userId="690e4aa6-586b-4341-8f1a-54a3e7457441" providerId="ADAL" clId="{69AAD651-E566-4914-B951-51E57822A563}" dt="2024-02-02T09:49:17.669" v="11613"/>
          <ac:spMkLst>
            <pc:docMk/>
            <pc:sldMk cId="3722675707" sldId="2147482376"/>
            <ac:spMk id="42" creationId="{86402046-DA1D-9947-1352-20C18A897165}"/>
          </ac:spMkLst>
        </pc:spChg>
        <pc:spChg chg="mod">
          <ac:chgData name="Soumaya ZERHOUNI" userId="690e4aa6-586b-4341-8f1a-54a3e7457441" providerId="ADAL" clId="{69AAD651-E566-4914-B951-51E57822A563}" dt="2024-02-02T09:49:17.669" v="11613"/>
          <ac:spMkLst>
            <pc:docMk/>
            <pc:sldMk cId="3722675707" sldId="2147482376"/>
            <ac:spMk id="43" creationId="{25145C66-E717-B7D6-6760-248C4C7EFC11}"/>
          </ac:spMkLst>
        </pc:spChg>
        <pc:spChg chg="mod">
          <ac:chgData name="Soumaya ZERHOUNI" userId="690e4aa6-586b-4341-8f1a-54a3e7457441" providerId="ADAL" clId="{69AAD651-E566-4914-B951-51E57822A563}" dt="2024-02-02T09:49:17.669" v="11613"/>
          <ac:spMkLst>
            <pc:docMk/>
            <pc:sldMk cId="3722675707" sldId="2147482376"/>
            <ac:spMk id="44" creationId="{FC85A062-F556-F030-3276-872ADFAAB19C}"/>
          </ac:spMkLst>
        </pc:spChg>
        <pc:spChg chg="add mod">
          <ac:chgData name="Soumaya ZERHOUNI" userId="690e4aa6-586b-4341-8f1a-54a3e7457441" providerId="ADAL" clId="{69AAD651-E566-4914-B951-51E57822A563}" dt="2024-02-02T09:49:17.669" v="11613"/>
          <ac:spMkLst>
            <pc:docMk/>
            <pc:sldMk cId="3722675707" sldId="2147482376"/>
            <ac:spMk id="45" creationId="{F339520D-241E-250E-A3F7-8C9AF4CDFD1F}"/>
          </ac:spMkLst>
        </pc:spChg>
        <pc:spChg chg="mod">
          <ac:chgData name="Soumaya ZERHOUNI" userId="690e4aa6-586b-4341-8f1a-54a3e7457441" providerId="ADAL" clId="{69AAD651-E566-4914-B951-51E57822A563}" dt="2024-02-02T09:49:17.669" v="11613"/>
          <ac:spMkLst>
            <pc:docMk/>
            <pc:sldMk cId="3722675707" sldId="2147482376"/>
            <ac:spMk id="47" creationId="{D1EA328B-5A24-71B2-0330-E464ED44B706}"/>
          </ac:spMkLst>
        </pc:spChg>
        <pc:spChg chg="mod">
          <ac:chgData name="Soumaya ZERHOUNI" userId="690e4aa6-586b-4341-8f1a-54a3e7457441" providerId="ADAL" clId="{69AAD651-E566-4914-B951-51E57822A563}" dt="2024-02-02T09:49:17.669" v="11613"/>
          <ac:spMkLst>
            <pc:docMk/>
            <pc:sldMk cId="3722675707" sldId="2147482376"/>
            <ac:spMk id="48" creationId="{B7E8C624-819D-358C-2684-C4528A9FC5B7}"/>
          </ac:spMkLst>
        </pc:spChg>
        <pc:spChg chg="add mod">
          <ac:chgData name="Soumaya ZERHOUNI" userId="690e4aa6-586b-4341-8f1a-54a3e7457441" providerId="ADAL" clId="{69AAD651-E566-4914-B951-51E57822A563}" dt="2024-02-02T09:49:17.669" v="11613"/>
          <ac:spMkLst>
            <pc:docMk/>
            <pc:sldMk cId="3722675707" sldId="2147482376"/>
            <ac:spMk id="50" creationId="{0B1CB130-A145-7775-08DC-100D48C261AF}"/>
          </ac:spMkLst>
        </pc:spChg>
        <pc:spChg chg="add mod">
          <ac:chgData name="Soumaya ZERHOUNI" userId="690e4aa6-586b-4341-8f1a-54a3e7457441" providerId="ADAL" clId="{69AAD651-E566-4914-B951-51E57822A563}" dt="2024-02-02T09:49:17.669" v="11613"/>
          <ac:spMkLst>
            <pc:docMk/>
            <pc:sldMk cId="3722675707" sldId="2147482376"/>
            <ac:spMk id="51" creationId="{6FA18008-82FB-F21F-629C-1E1B79FF4E66}"/>
          </ac:spMkLst>
        </pc:spChg>
        <pc:spChg chg="mod">
          <ac:chgData name="Soumaya ZERHOUNI" userId="690e4aa6-586b-4341-8f1a-54a3e7457441" providerId="ADAL" clId="{69AAD651-E566-4914-B951-51E57822A563}" dt="2024-02-02T09:49:17.669" v="11613"/>
          <ac:spMkLst>
            <pc:docMk/>
            <pc:sldMk cId="3722675707" sldId="2147482376"/>
            <ac:spMk id="54" creationId="{8FB2D9A5-D423-34CD-5FEB-036EA43B7EB2}"/>
          </ac:spMkLst>
        </pc:spChg>
        <pc:spChg chg="mod">
          <ac:chgData name="Soumaya ZERHOUNI" userId="690e4aa6-586b-4341-8f1a-54a3e7457441" providerId="ADAL" clId="{69AAD651-E566-4914-B951-51E57822A563}" dt="2024-02-02T09:49:17.669" v="11613"/>
          <ac:spMkLst>
            <pc:docMk/>
            <pc:sldMk cId="3722675707" sldId="2147482376"/>
            <ac:spMk id="55" creationId="{D028F46B-AC59-FBC5-0AE1-2A0A5BFB3A97}"/>
          </ac:spMkLst>
        </pc:spChg>
        <pc:spChg chg="mod">
          <ac:chgData name="Soumaya ZERHOUNI" userId="690e4aa6-586b-4341-8f1a-54a3e7457441" providerId="ADAL" clId="{69AAD651-E566-4914-B951-51E57822A563}" dt="2024-02-02T09:49:17.669" v="11613"/>
          <ac:spMkLst>
            <pc:docMk/>
            <pc:sldMk cId="3722675707" sldId="2147482376"/>
            <ac:spMk id="56" creationId="{F2B5BF38-41CD-BFED-A3D9-287587777F90}"/>
          </ac:spMkLst>
        </pc:spChg>
        <pc:spChg chg="mod">
          <ac:chgData name="Soumaya ZERHOUNI" userId="690e4aa6-586b-4341-8f1a-54a3e7457441" providerId="ADAL" clId="{69AAD651-E566-4914-B951-51E57822A563}" dt="2024-02-02T09:49:17.669" v="11613"/>
          <ac:spMkLst>
            <pc:docMk/>
            <pc:sldMk cId="3722675707" sldId="2147482376"/>
            <ac:spMk id="58" creationId="{EEC5AADA-B327-5B02-FABF-BA9550327B4A}"/>
          </ac:spMkLst>
        </pc:spChg>
        <pc:spChg chg="mod">
          <ac:chgData name="Soumaya ZERHOUNI" userId="690e4aa6-586b-4341-8f1a-54a3e7457441" providerId="ADAL" clId="{69AAD651-E566-4914-B951-51E57822A563}" dt="2024-02-02T09:49:17.669" v="11613"/>
          <ac:spMkLst>
            <pc:docMk/>
            <pc:sldMk cId="3722675707" sldId="2147482376"/>
            <ac:spMk id="59" creationId="{DE15B2B1-02F0-07E2-8922-5BCA15759D92}"/>
          </ac:spMkLst>
        </pc:spChg>
        <pc:spChg chg="mod">
          <ac:chgData name="Soumaya ZERHOUNI" userId="690e4aa6-586b-4341-8f1a-54a3e7457441" providerId="ADAL" clId="{69AAD651-E566-4914-B951-51E57822A563}" dt="2024-02-02T09:49:17.669" v="11613"/>
          <ac:spMkLst>
            <pc:docMk/>
            <pc:sldMk cId="3722675707" sldId="2147482376"/>
            <ac:spMk id="60" creationId="{FD441A99-E009-D0A0-5F96-57B75735DBF0}"/>
          </ac:spMkLst>
        </pc:spChg>
        <pc:spChg chg="add mod">
          <ac:chgData name="Soumaya ZERHOUNI" userId="690e4aa6-586b-4341-8f1a-54a3e7457441" providerId="ADAL" clId="{69AAD651-E566-4914-B951-51E57822A563}" dt="2024-02-02T09:49:17.669" v="11613"/>
          <ac:spMkLst>
            <pc:docMk/>
            <pc:sldMk cId="3722675707" sldId="2147482376"/>
            <ac:spMk id="62" creationId="{BB638067-E8F7-488A-E267-00BCDA512B08}"/>
          </ac:spMkLst>
        </pc:spChg>
        <pc:spChg chg="mod">
          <ac:chgData name="Soumaya ZERHOUNI" userId="690e4aa6-586b-4341-8f1a-54a3e7457441" providerId="ADAL" clId="{69AAD651-E566-4914-B951-51E57822A563}" dt="2024-02-02T09:49:17.669" v="11613"/>
          <ac:spMkLst>
            <pc:docMk/>
            <pc:sldMk cId="3722675707" sldId="2147482376"/>
            <ac:spMk id="64" creationId="{108ECDB4-D737-9788-6511-796742C51694}"/>
          </ac:spMkLst>
        </pc:spChg>
        <pc:spChg chg="mod">
          <ac:chgData name="Soumaya ZERHOUNI" userId="690e4aa6-586b-4341-8f1a-54a3e7457441" providerId="ADAL" clId="{69AAD651-E566-4914-B951-51E57822A563}" dt="2024-02-02T09:49:17.669" v="11613"/>
          <ac:spMkLst>
            <pc:docMk/>
            <pc:sldMk cId="3722675707" sldId="2147482376"/>
            <ac:spMk id="65" creationId="{96CCA356-39F1-D3A6-EA67-C47BF7C57F59}"/>
          </ac:spMkLst>
        </pc:spChg>
        <pc:spChg chg="add mod">
          <ac:chgData name="Soumaya ZERHOUNI" userId="690e4aa6-586b-4341-8f1a-54a3e7457441" providerId="ADAL" clId="{69AAD651-E566-4914-B951-51E57822A563}" dt="2024-02-02T09:49:17.669" v="11613"/>
          <ac:spMkLst>
            <pc:docMk/>
            <pc:sldMk cId="3722675707" sldId="2147482376"/>
            <ac:spMk id="66" creationId="{999F967C-5128-CB11-BC32-922C5A629849}"/>
          </ac:spMkLst>
        </pc:spChg>
        <pc:spChg chg="add del mod">
          <ac:chgData name="Soumaya ZERHOUNI" userId="690e4aa6-586b-4341-8f1a-54a3e7457441" providerId="ADAL" clId="{69AAD651-E566-4914-B951-51E57822A563}" dt="2024-02-02T14:13:48.145" v="12241" actId="478"/>
          <ac:spMkLst>
            <pc:docMk/>
            <pc:sldMk cId="3722675707" sldId="2147482376"/>
            <ac:spMk id="70" creationId="{D313F36C-1222-DB94-0200-F7AF36C43C27}"/>
          </ac:spMkLst>
        </pc:spChg>
        <pc:spChg chg="add del mod">
          <ac:chgData name="Soumaya ZERHOUNI" userId="690e4aa6-586b-4341-8f1a-54a3e7457441" providerId="ADAL" clId="{69AAD651-E566-4914-B951-51E57822A563}" dt="2024-02-02T14:13:32.401" v="12236" actId="478"/>
          <ac:spMkLst>
            <pc:docMk/>
            <pc:sldMk cId="3722675707" sldId="2147482376"/>
            <ac:spMk id="71" creationId="{7D9527BA-1C7E-559D-1F32-2EC3D14F5D45}"/>
          </ac:spMkLst>
        </pc:spChg>
        <pc:spChg chg="add del mod">
          <ac:chgData name="Soumaya ZERHOUNI" userId="690e4aa6-586b-4341-8f1a-54a3e7457441" providerId="ADAL" clId="{69AAD651-E566-4914-B951-51E57822A563}" dt="2024-02-02T14:13:32.401" v="12236" actId="478"/>
          <ac:spMkLst>
            <pc:docMk/>
            <pc:sldMk cId="3722675707" sldId="2147482376"/>
            <ac:spMk id="72" creationId="{65ACFE9C-8281-14D6-09E3-442CE0972F73}"/>
          </ac:spMkLst>
        </pc:spChg>
        <pc:spChg chg="add del mod">
          <ac:chgData name="Soumaya ZERHOUNI" userId="690e4aa6-586b-4341-8f1a-54a3e7457441" providerId="ADAL" clId="{69AAD651-E566-4914-B951-51E57822A563}" dt="2024-02-02T14:13:32.401" v="12236" actId="478"/>
          <ac:spMkLst>
            <pc:docMk/>
            <pc:sldMk cId="3722675707" sldId="2147482376"/>
            <ac:spMk id="74" creationId="{A29F2DDE-FDDC-9673-E37F-1A588C61FBCA}"/>
          </ac:spMkLst>
        </pc:spChg>
        <pc:spChg chg="add del mod">
          <ac:chgData name="Soumaya ZERHOUNI" userId="690e4aa6-586b-4341-8f1a-54a3e7457441" providerId="ADAL" clId="{69AAD651-E566-4914-B951-51E57822A563}" dt="2024-02-02T14:13:32.401" v="12236" actId="478"/>
          <ac:spMkLst>
            <pc:docMk/>
            <pc:sldMk cId="3722675707" sldId="2147482376"/>
            <ac:spMk id="75" creationId="{D0155AAD-990C-D9AB-83D6-7EAB7E6E21BE}"/>
          </ac:spMkLst>
        </pc:spChg>
        <pc:spChg chg="add del mod">
          <ac:chgData name="Soumaya ZERHOUNI" userId="690e4aa6-586b-4341-8f1a-54a3e7457441" providerId="ADAL" clId="{69AAD651-E566-4914-B951-51E57822A563}" dt="2024-02-02T14:13:32.401" v="12236" actId="478"/>
          <ac:spMkLst>
            <pc:docMk/>
            <pc:sldMk cId="3722675707" sldId="2147482376"/>
            <ac:spMk id="76" creationId="{A9E659F0-4D64-C7A3-F450-761C292BFE19}"/>
          </ac:spMkLst>
        </pc:spChg>
        <pc:spChg chg="add del mod">
          <ac:chgData name="Soumaya ZERHOUNI" userId="690e4aa6-586b-4341-8f1a-54a3e7457441" providerId="ADAL" clId="{69AAD651-E566-4914-B951-51E57822A563}" dt="2024-02-02T14:13:32.401" v="12236" actId="478"/>
          <ac:spMkLst>
            <pc:docMk/>
            <pc:sldMk cId="3722675707" sldId="2147482376"/>
            <ac:spMk id="77" creationId="{56936490-BDDE-4973-519C-3DED3E789A73}"/>
          </ac:spMkLst>
        </pc:spChg>
        <pc:spChg chg="add del mod">
          <ac:chgData name="Soumaya ZERHOUNI" userId="690e4aa6-586b-4341-8f1a-54a3e7457441" providerId="ADAL" clId="{69AAD651-E566-4914-B951-51E57822A563}" dt="2024-02-02T14:13:32.401" v="12236" actId="478"/>
          <ac:spMkLst>
            <pc:docMk/>
            <pc:sldMk cId="3722675707" sldId="2147482376"/>
            <ac:spMk id="78" creationId="{2A6C2FE2-AB1C-D021-0632-261A6B60C7D0}"/>
          </ac:spMkLst>
        </pc:spChg>
        <pc:spChg chg="add del mod">
          <ac:chgData name="Soumaya ZERHOUNI" userId="690e4aa6-586b-4341-8f1a-54a3e7457441" providerId="ADAL" clId="{69AAD651-E566-4914-B951-51E57822A563}" dt="2024-02-02T14:13:32.401" v="12236" actId="478"/>
          <ac:spMkLst>
            <pc:docMk/>
            <pc:sldMk cId="3722675707" sldId="2147482376"/>
            <ac:spMk id="79" creationId="{2BCDAD63-FD50-7D31-0AF7-2AABFAAF7AC2}"/>
          </ac:spMkLst>
        </pc:spChg>
        <pc:spChg chg="add del mod">
          <ac:chgData name="Soumaya ZERHOUNI" userId="690e4aa6-586b-4341-8f1a-54a3e7457441" providerId="ADAL" clId="{69AAD651-E566-4914-B951-51E57822A563}" dt="2024-02-02T14:13:32.401" v="12236" actId="478"/>
          <ac:spMkLst>
            <pc:docMk/>
            <pc:sldMk cId="3722675707" sldId="2147482376"/>
            <ac:spMk id="81" creationId="{B8AE7633-37BE-4C62-DD1A-849F2697FDD3}"/>
          </ac:spMkLst>
        </pc:spChg>
        <pc:spChg chg="add del mod">
          <ac:chgData name="Soumaya ZERHOUNI" userId="690e4aa6-586b-4341-8f1a-54a3e7457441" providerId="ADAL" clId="{69AAD651-E566-4914-B951-51E57822A563}" dt="2024-02-02T14:13:32.401" v="12236" actId="478"/>
          <ac:spMkLst>
            <pc:docMk/>
            <pc:sldMk cId="3722675707" sldId="2147482376"/>
            <ac:spMk id="82" creationId="{8D9F05AE-7C38-AD72-1ABB-5C1917B6B2C8}"/>
          </ac:spMkLst>
        </pc:spChg>
        <pc:spChg chg="add del mod">
          <ac:chgData name="Soumaya ZERHOUNI" userId="690e4aa6-586b-4341-8f1a-54a3e7457441" providerId="ADAL" clId="{69AAD651-E566-4914-B951-51E57822A563}" dt="2024-02-02T14:13:32.401" v="12236" actId="478"/>
          <ac:spMkLst>
            <pc:docMk/>
            <pc:sldMk cId="3722675707" sldId="2147482376"/>
            <ac:spMk id="84" creationId="{2649FCEC-D039-D637-3971-B1B203912BAB}"/>
          </ac:spMkLst>
        </pc:spChg>
        <pc:spChg chg="mod">
          <ac:chgData name="Soumaya ZERHOUNI" userId="690e4aa6-586b-4341-8f1a-54a3e7457441" providerId="ADAL" clId="{69AAD651-E566-4914-B951-51E57822A563}" dt="2024-02-02T14:13:23.819" v="12234" actId="403"/>
          <ac:spMkLst>
            <pc:docMk/>
            <pc:sldMk cId="3722675707" sldId="2147482376"/>
            <ac:spMk id="87" creationId="{75F59A1F-09D0-26EB-3168-641330FBF739}"/>
          </ac:spMkLst>
        </pc:spChg>
        <pc:spChg chg="mod">
          <ac:chgData name="Soumaya ZERHOUNI" userId="690e4aa6-586b-4341-8f1a-54a3e7457441" providerId="ADAL" clId="{69AAD651-E566-4914-B951-51E57822A563}" dt="2024-02-02T14:13:23.819" v="12234" actId="403"/>
          <ac:spMkLst>
            <pc:docMk/>
            <pc:sldMk cId="3722675707" sldId="2147482376"/>
            <ac:spMk id="88" creationId="{B0189FE9-4C63-6CBD-CC5F-110D54E6F3CD}"/>
          </ac:spMkLst>
        </pc:spChg>
        <pc:spChg chg="mod">
          <ac:chgData name="Soumaya ZERHOUNI" userId="690e4aa6-586b-4341-8f1a-54a3e7457441" providerId="ADAL" clId="{69AAD651-E566-4914-B951-51E57822A563}" dt="2024-02-02T14:13:23.819" v="12234" actId="403"/>
          <ac:spMkLst>
            <pc:docMk/>
            <pc:sldMk cId="3722675707" sldId="2147482376"/>
            <ac:spMk id="89" creationId="{F3686EBF-0268-F206-1BAB-221708132D97}"/>
          </ac:spMkLst>
        </pc:spChg>
        <pc:spChg chg="add del mod">
          <ac:chgData name="Soumaya ZERHOUNI" userId="690e4aa6-586b-4341-8f1a-54a3e7457441" providerId="ADAL" clId="{69AAD651-E566-4914-B951-51E57822A563}" dt="2024-02-02T14:13:32.401" v="12236" actId="478"/>
          <ac:spMkLst>
            <pc:docMk/>
            <pc:sldMk cId="3722675707" sldId="2147482376"/>
            <ac:spMk id="90" creationId="{89127E84-AF9A-85A6-645B-12D7E745DC1C}"/>
          </ac:spMkLst>
        </pc:spChg>
        <pc:spChg chg="mod">
          <ac:chgData name="Soumaya ZERHOUNI" userId="690e4aa6-586b-4341-8f1a-54a3e7457441" providerId="ADAL" clId="{69AAD651-E566-4914-B951-51E57822A563}" dt="2024-02-02T14:13:23.819" v="12234" actId="403"/>
          <ac:spMkLst>
            <pc:docMk/>
            <pc:sldMk cId="3722675707" sldId="2147482376"/>
            <ac:spMk id="92" creationId="{93F2EA66-E646-23F6-2448-F38D6B803DF2}"/>
          </ac:spMkLst>
        </pc:spChg>
        <pc:spChg chg="mod">
          <ac:chgData name="Soumaya ZERHOUNI" userId="690e4aa6-586b-4341-8f1a-54a3e7457441" providerId="ADAL" clId="{69AAD651-E566-4914-B951-51E57822A563}" dt="2024-02-02T14:13:23.819" v="12234" actId="403"/>
          <ac:spMkLst>
            <pc:docMk/>
            <pc:sldMk cId="3722675707" sldId="2147482376"/>
            <ac:spMk id="93" creationId="{F23F1973-9CC1-C92C-5FE2-660F7A6D6F81}"/>
          </ac:spMkLst>
        </pc:spChg>
        <pc:spChg chg="add del mod">
          <ac:chgData name="Soumaya ZERHOUNI" userId="690e4aa6-586b-4341-8f1a-54a3e7457441" providerId="ADAL" clId="{69AAD651-E566-4914-B951-51E57822A563}" dt="2024-02-02T14:13:32.401" v="12236" actId="478"/>
          <ac:spMkLst>
            <pc:docMk/>
            <pc:sldMk cId="3722675707" sldId="2147482376"/>
            <ac:spMk id="94" creationId="{D8B19805-94EA-7F79-114D-BA4328F2C295}"/>
          </ac:spMkLst>
        </pc:spChg>
        <pc:spChg chg="add del mod">
          <ac:chgData name="Soumaya ZERHOUNI" userId="690e4aa6-586b-4341-8f1a-54a3e7457441" providerId="ADAL" clId="{69AAD651-E566-4914-B951-51E57822A563}" dt="2024-02-02T14:13:32.401" v="12236" actId="478"/>
          <ac:spMkLst>
            <pc:docMk/>
            <pc:sldMk cId="3722675707" sldId="2147482376"/>
            <ac:spMk id="95" creationId="{B53491BF-5831-4516-BCC9-C45361E00AC7}"/>
          </ac:spMkLst>
        </pc:spChg>
        <pc:spChg chg="mod">
          <ac:chgData name="Soumaya ZERHOUNI" userId="690e4aa6-586b-4341-8f1a-54a3e7457441" providerId="ADAL" clId="{69AAD651-E566-4914-B951-51E57822A563}" dt="2024-02-02T14:13:23.819" v="12234" actId="403"/>
          <ac:spMkLst>
            <pc:docMk/>
            <pc:sldMk cId="3722675707" sldId="2147482376"/>
            <ac:spMk id="98" creationId="{29B5E4E0-A6FC-9CA6-E9B8-7A376B69FD44}"/>
          </ac:spMkLst>
        </pc:spChg>
        <pc:spChg chg="mod">
          <ac:chgData name="Soumaya ZERHOUNI" userId="690e4aa6-586b-4341-8f1a-54a3e7457441" providerId="ADAL" clId="{69AAD651-E566-4914-B951-51E57822A563}" dt="2024-02-02T14:13:23.819" v="12234" actId="403"/>
          <ac:spMkLst>
            <pc:docMk/>
            <pc:sldMk cId="3722675707" sldId="2147482376"/>
            <ac:spMk id="99" creationId="{88F93368-9C91-902C-0F30-2D8F66BAC990}"/>
          </ac:spMkLst>
        </pc:spChg>
        <pc:spChg chg="mod">
          <ac:chgData name="Soumaya ZERHOUNI" userId="690e4aa6-586b-4341-8f1a-54a3e7457441" providerId="ADAL" clId="{69AAD651-E566-4914-B951-51E57822A563}" dt="2024-02-02T14:13:23.819" v="12234" actId="403"/>
          <ac:spMkLst>
            <pc:docMk/>
            <pc:sldMk cId="3722675707" sldId="2147482376"/>
            <ac:spMk id="100" creationId="{7FC8D53E-E6B7-58FF-6C7E-B9949BAB869D}"/>
          </ac:spMkLst>
        </pc:spChg>
        <pc:spChg chg="add del mod">
          <ac:chgData name="Soumaya ZERHOUNI" userId="690e4aa6-586b-4341-8f1a-54a3e7457441" providerId="ADAL" clId="{69AAD651-E566-4914-B951-51E57822A563}" dt="2024-02-02T14:13:32.401" v="12236" actId="478"/>
          <ac:spMkLst>
            <pc:docMk/>
            <pc:sldMk cId="3722675707" sldId="2147482376"/>
            <ac:spMk id="102" creationId="{FBEBE461-6476-B699-F5F6-7E8ACB81ED40}"/>
          </ac:spMkLst>
        </pc:spChg>
        <pc:spChg chg="mod">
          <ac:chgData name="Soumaya ZERHOUNI" userId="690e4aa6-586b-4341-8f1a-54a3e7457441" providerId="ADAL" clId="{69AAD651-E566-4914-B951-51E57822A563}" dt="2024-02-02T14:13:23.819" v="12234" actId="403"/>
          <ac:spMkLst>
            <pc:docMk/>
            <pc:sldMk cId="3722675707" sldId="2147482376"/>
            <ac:spMk id="104" creationId="{1A59EABE-5496-2A28-38F8-F01EC11AE88D}"/>
          </ac:spMkLst>
        </pc:spChg>
        <pc:spChg chg="mod">
          <ac:chgData name="Soumaya ZERHOUNI" userId="690e4aa6-586b-4341-8f1a-54a3e7457441" providerId="ADAL" clId="{69AAD651-E566-4914-B951-51E57822A563}" dt="2024-02-02T14:13:23.819" v="12234" actId="403"/>
          <ac:spMkLst>
            <pc:docMk/>
            <pc:sldMk cId="3722675707" sldId="2147482376"/>
            <ac:spMk id="105" creationId="{717D6868-EFC5-6B68-0405-8D9FE072C9A8}"/>
          </ac:spMkLst>
        </pc:spChg>
        <pc:spChg chg="add del mod">
          <ac:chgData name="Soumaya ZERHOUNI" userId="690e4aa6-586b-4341-8f1a-54a3e7457441" providerId="ADAL" clId="{69AAD651-E566-4914-B951-51E57822A563}" dt="2024-02-02T14:13:32.401" v="12236" actId="478"/>
          <ac:spMkLst>
            <pc:docMk/>
            <pc:sldMk cId="3722675707" sldId="2147482376"/>
            <ac:spMk id="106" creationId="{03DBDEEC-78C8-7C87-FAB0-5B69E78EB3F0}"/>
          </ac:spMkLst>
        </pc:spChg>
        <pc:spChg chg="add del mod">
          <ac:chgData name="Soumaya ZERHOUNI" userId="690e4aa6-586b-4341-8f1a-54a3e7457441" providerId="ADAL" clId="{69AAD651-E566-4914-B951-51E57822A563}" dt="2024-02-02T14:13:32.401" v="12236" actId="478"/>
          <ac:spMkLst>
            <pc:docMk/>
            <pc:sldMk cId="3722675707" sldId="2147482376"/>
            <ac:spMk id="108" creationId="{E8F3EE7B-C5F4-D6BF-FF5E-87529369295D}"/>
          </ac:spMkLst>
        </pc:spChg>
        <pc:spChg chg="add del mod">
          <ac:chgData name="Soumaya ZERHOUNI" userId="690e4aa6-586b-4341-8f1a-54a3e7457441" providerId="ADAL" clId="{69AAD651-E566-4914-B951-51E57822A563}" dt="2024-02-02T14:13:32.401" v="12236" actId="478"/>
          <ac:spMkLst>
            <pc:docMk/>
            <pc:sldMk cId="3722675707" sldId="2147482376"/>
            <ac:spMk id="109" creationId="{608B9017-8966-CDCF-E53D-791025E3EE4A}"/>
          </ac:spMkLst>
        </pc:spChg>
        <pc:spChg chg="add del mod">
          <ac:chgData name="Soumaya ZERHOUNI" userId="690e4aa6-586b-4341-8f1a-54a3e7457441" providerId="ADAL" clId="{69AAD651-E566-4914-B951-51E57822A563}" dt="2024-02-02T14:13:32.401" v="12236" actId="478"/>
          <ac:spMkLst>
            <pc:docMk/>
            <pc:sldMk cId="3722675707" sldId="2147482376"/>
            <ac:spMk id="110" creationId="{4B46D2C0-1EC6-FFF4-5A80-EC876F21A374}"/>
          </ac:spMkLst>
        </pc:spChg>
        <pc:spChg chg="add del mod">
          <ac:chgData name="Soumaya ZERHOUNI" userId="690e4aa6-586b-4341-8f1a-54a3e7457441" providerId="ADAL" clId="{69AAD651-E566-4914-B951-51E57822A563}" dt="2024-02-02T14:13:32.401" v="12236" actId="478"/>
          <ac:spMkLst>
            <pc:docMk/>
            <pc:sldMk cId="3722675707" sldId="2147482376"/>
            <ac:spMk id="111" creationId="{F1AAF84E-BB39-E38D-7976-2E977937B1DE}"/>
          </ac:spMkLst>
        </pc:spChg>
        <pc:spChg chg="add mod">
          <ac:chgData name="Soumaya ZERHOUNI" userId="690e4aa6-586b-4341-8f1a-54a3e7457441" providerId="ADAL" clId="{69AAD651-E566-4914-B951-51E57822A563}" dt="2024-02-02T14:13:35.275" v="12237"/>
          <ac:spMkLst>
            <pc:docMk/>
            <pc:sldMk cId="3722675707" sldId="2147482376"/>
            <ac:spMk id="112" creationId="{377C3A3E-410D-B59A-1CEC-46E0A4A35CE2}"/>
          </ac:spMkLst>
        </pc:spChg>
        <pc:spChg chg="add mod">
          <ac:chgData name="Soumaya ZERHOUNI" userId="690e4aa6-586b-4341-8f1a-54a3e7457441" providerId="ADAL" clId="{69AAD651-E566-4914-B951-51E57822A563}" dt="2024-02-02T14:13:35.275" v="12237"/>
          <ac:spMkLst>
            <pc:docMk/>
            <pc:sldMk cId="3722675707" sldId="2147482376"/>
            <ac:spMk id="113" creationId="{BF2CE663-68D9-0133-FE08-7C2DC1C43F38}"/>
          </ac:spMkLst>
        </pc:spChg>
        <pc:spChg chg="add mod">
          <ac:chgData name="Soumaya ZERHOUNI" userId="690e4aa6-586b-4341-8f1a-54a3e7457441" providerId="ADAL" clId="{69AAD651-E566-4914-B951-51E57822A563}" dt="2024-02-02T14:13:35.275" v="12237"/>
          <ac:spMkLst>
            <pc:docMk/>
            <pc:sldMk cId="3722675707" sldId="2147482376"/>
            <ac:spMk id="115" creationId="{47D36DF2-7B59-2BBC-E8D3-EE71677CE918}"/>
          </ac:spMkLst>
        </pc:spChg>
        <pc:spChg chg="add mod">
          <ac:chgData name="Soumaya ZERHOUNI" userId="690e4aa6-586b-4341-8f1a-54a3e7457441" providerId="ADAL" clId="{69AAD651-E566-4914-B951-51E57822A563}" dt="2024-02-02T14:13:35.275" v="12237"/>
          <ac:spMkLst>
            <pc:docMk/>
            <pc:sldMk cId="3722675707" sldId="2147482376"/>
            <ac:spMk id="116" creationId="{50AA65A2-D93A-A013-E062-1D2802AFEB5E}"/>
          </ac:spMkLst>
        </pc:spChg>
        <pc:spChg chg="add mod">
          <ac:chgData name="Soumaya ZERHOUNI" userId="690e4aa6-586b-4341-8f1a-54a3e7457441" providerId="ADAL" clId="{69AAD651-E566-4914-B951-51E57822A563}" dt="2024-02-02T14:13:35.275" v="12237"/>
          <ac:spMkLst>
            <pc:docMk/>
            <pc:sldMk cId="3722675707" sldId="2147482376"/>
            <ac:spMk id="117" creationId="{19DA8A2C-E739-A756-2822-F726B765E117}"/>
          </ac:spMkLst>
        </pc:spChg>
        <pc:spChg chg="add mod">
          <ac:chgData name="Soumaya ZERHOUNI" userId="690e4aa6-586b-4341-8f1a-54a3e7457441" providerId="ADAL" clId="{69AAD651-E566-4914-B951-51E57822A563}" dt="2024-02-02T14:13:35.275" v="12237"/>
          <ac:spMkLst>
            <pc:docMk/>
            <pc:sldMk cId="3722675707" sldId="2147482376"/>
            <ac:spMk id="118" creationId="{57AB5872-84CC-6D6E-8E37-1284C24E9CC6}"/>
          </ac:spMkLst>
        </pc:spChg>
        <pc:spChg chg="add mod">
          <ac:chgData name="Soumaya ZERHOUNI" userId="690e4aa6-586b-4341-8f1a-54a3e7457441" providerId="ADAL" clId="{69AAD651-E566-4914-B951-51E57822A563}" dt="2024-02-02T14:13:35.275" v="12237"/>
          <ac:spMkLst>
            <pc:docMk/>
            <pc:sldMk cId="3722675707" sldId="2147482376"/>
            <ac:spMk id="119" creationId="{8A47C633-D94F-8109-4F0F-57AF0D91D56D}"/>
          </ac:spMkLst>
        </pc:spChg>
        <pc:spChg chg="add mod">
          <ac:chgData name="Soumaya ZERHOUNI" userId="690e4aa6-586b-4341-8f1a-54a3e7457441" providerId="ADAL" clId="{69AAD651-E566-4914-B951-51E57822A563}" dt="2024-02-02T14:13:35.275" v="12237"/>
          <ac:spMkLst>
            <pc:docMk/>
            <pc:sldMk cId="3722675707" sldId="2147482376"/>
            <ac:spMk id="120" creationId="{BE627983-91E3-3CFD-6D0C-0AA5AD5A4121}"/>
          </ac:spMkLst>
        </pc:spChg>
        <pc:spChg chg="add mod">
          <ac:chgData name="Soumaya ZERHOUNI" userId="690e4aa6-586b-4341-8f1a-54a3e7457441" providerId="ADAL" clId="{69AAD651-E566-4914-B951-51E57822A563}" dt="2024-02-02T14:13:35.275" v="12237"/>
          <ac:spMkLst>
            <pc:docMk/>
            <pc:sldMk cId="3722675707" sldId="2147482376"/>
            <ac:spMk id="122" creationId="{8A308446-2F4A-4709-7B22-C4A714A6C4D2}"/>
          </ac:spMkLst>
        </pc:spChg>
        <pc:spChg chg="add mod">
          <ac:chgData name="Soumaya ZERHOUNI" userId="690e4aa6-586b-4341-8f1a-54a3e7457441" providerId="ADAL" clId="{69AAD651-E566-4914-B951-51E57822A563}" dt="2024-02-02T14:13:35.275" v="12237"/>
          <ac:spMkLst>
            <pc:docMk/>
            <pc:sldMk cId="3722675707" sldId="2147482376"/>
            <ac:spMk id="123" creationId="{3071ECB3-64DE-9E40-F7BF-5BBE55DC0473}"/>
          </ac:spMkLst>
        </pc:spChg>
        <pc:spChg chg="add mod">
          <ac:chgData name="Soumaya ZERHOUNI" userId="690e4aa6-586b-4341-8f1a-54a3e7457441" providerId="ADAL" clId="{69AAD651-E566-4914-B951-51E57822A563}" dt="2024-02-02T14:13:35.275" v="12237"/>
          <ac:spMkLst>
            <pc:docMk/>
            <pc:sldMk cId="3722675707" sldId="2147482376"/>
            <ac:spMk id="125" creationId="{4EA44E13-B40E-D061-5FF8-7CD757E1D372}"/>
          </ac:spMkLst>
        </pc:spChg>
        <pc:spChg chg="mod">
          <ac:chgData name="Soumaya ZERHOUNI" userId="690e4aa6-586b-4341-8f1a-54a3e7457441" providerId="ADAL" clId="{69AAD651-E566-4914-B951-51E57822A563}" dt="2024-02-02T14:13:35.275" v="12237"/>
          <ac:spMkLst>
            <pc:docMk/>
            <pc:sldMk cId="3722675707" sldId="2147482376"/>
            <ac:spMk id="128" creationId="{D88F7AEF-3581-3670-21C3-65AEBCF345A7}"/>
          </ac:spMkLst>
        </pc:spChg>
        <pc:spChg chg="mod">
          <ac:chgData name="Soumaya ZERHOUNI" userId="690e4aa6-586b-4341-8f1a-54a3e7457441" providerId="ADAL" clId="{69AAD651-E566-4914-B951-51E57822A563}" dt="2024-02-02T14:13:35.275" v="12237"/>
          <ac:spMkLst>
            <pc:docMk/>
            <pc:sldMk cId="3722675707" sldId="2147482376"/>
            <ac:spMk id="129" creationId="{4CFD60F3-DC5F-FF3A-47E7-60BD81F5171B}"/>
          </ac:spMkLst>
        </pc:spChg>
        <pc:spChg chg="mod">
          <ac:chgData name="Soumaya ZERHOUNI" userId="690e4aa6-586b-4341-8f1a-54a3e7457441" providerId="ADAL" clId="{69AAD651-E566-4914-B951-51E57822A563}" dt="2024-02-02T14:13:35.275" v="12237"/>
          <ac:spMkLst>
            <pc:docMk/>
            <pc:sldMk cId="3722675707" sldId="2147482376"/>
            <ac:spMk id="130" creationId="{16848925-0DC6-71BB-70A2-1C4C2B9944F0}"/>
          </ac:spMkLst>
        </pc:spChg>
        <pc:spChg chg="add mod">
          <ac:chgData name="Soumaya ZERHOUNI" userId="690e4aa6-586b-4341-8f1a-54a3e7457441" providerId="ADAL" clId="{69AAD651-E566-4914-B951-51E57822A563}" dt="2024-02-02T14:13:35.275" v="12237"/>
          <ac:spMkLst>
            <pc:docMk/>
            <pc:sldMk cId="3722675707" sldId="2147482376"/>
            <ac:spMk id="131" creationId="{6FA0C1E6-E7A2-AFAB-4427-0B330A0C8EAE}"/>
          </ac:spMkLst>
        </pc:spChg>
        <pc:spChg chg="mod">
          <ac:chgData name="Soumaya ZERHOUNI" userId="690e4aa6-586b-4341-8f1a-54a3e7457441" providerId="ADAL" clId="{69AAD651-E566-4914-B951-51E57822A563}" dt="2024-02-02T14:13:35.275" v="12237"/>
          <ac:spMkLst>
            <pc:docMk/>
            <pc:sldMk cId="3722675707" sldId="2147482376"/>
            <ac:spMk id="133" creationId="{08F6B186-6A00-32D1-D5C8-B8133EC9753B}"/>
          </ac:spMkLst>
        </pc:spChg>
        <pc:spChg chg="mod">
          <ac:chgData name="Soumaya ZERHOUNI" userId="690e4aa6-586b-4341-8f1a-54a3e7457441" providerId="ADAL" clId="{69AAD651-E566-4914-B951-51E57822A563}" dt="2024-02-02T14:13:35.275" v="12237"/>
          <ac:spMkLst>
            <pc:docMk/>
            <pc:sldMk cId="3722675707" sldId="2147482376"/>
            <ac:spMk id="134" creationId="{BF9CAFD9-246F-1412-0CD0-2E12D3B3BB6D}"/>
          </ac:spMkLst>
        </pc:spChg>
        <pc:spChg chg="add mod">
          <ac:chgData name="Soumaya ZERHOUNI" userId="690e4aa6-586b-4341-8f1a-54a3e7457441" providerId="ADAL" clId="{69AAD651-E566-4914-B951-51E57822A563}" dt="2024-02-02T14:13:35.275" v="12237"/>
          <ac:spMkLst>
            <pc:docMk/>
            <pc:sldMk cId="3722675707" sldId="2147482376"/>
            <ac:spMk id="135" creationId="{0D21C796-602D-B169-85E6-BF6F5737A2AB}"/>
          </ac:spMkLst>
        </pc:spChg>
        <pc:spChg chg="add mod">
          <ac:chgData name="Soumaya ZERHOUNI" userId="690e4aa6-586b-4341-8f1a-54a3e7457441" providerId="ADAL" clId="{69AAD651-E566-4914-B951-51E57822A563}" dt="2024-02-02T14:13:35.275" v="12237"/>
          <ac:spMkLst>
            <pc:docMk/>
            <pc:sldMk cId="3722675707" sldId="2147482376"/>
            <ac:spMk id="136" creationId="{8031AC2A-3E50-A279-DE52-39C2794518F9}"/>
          </ac:spMkLst>
        </pc:spChg>
        <pc:spChg chg="mod">
          <ac:chgData name="Soumaya ZERHOUNI" userId="690e4aa6-586b-4341-8f1a-54a3e7457441" providerId="ADAL" clId="{69AAD651-E566-4914-B951-51E57822A563}" dt="2024-02-02T14:13:35.275" v="12237"/>
          <ac:spMkLst>
            <pc:docMk/>
            <pc:sldMk cId="3722675707" sldId="2147482376"/>
            <ac:spMk id="139" creationId="{8333080F-D96D-7273-F521-D9705C8973CE}"/>
          </ac:spMkLst>
        </pc:spChg>
        <pc:spChg chg="mod">
          <ac:chgData name="Soumaya ZERHOUNI" userId="690e4aa6-586b-4341-8f1a-54a3e7457441" providerId="ADAL" clId="{69AAD651-E566-4914-B951-51E57822A563}" dt="2024-02-02T14:13:35.275" v="12237"/>
          <ac:spMkLst>
            <pc:docMk/>
            <pc:sldMk cId="3722675707" sldId="2147482376"/>
            <ac:spMk id="140" creationId="{174C2B7F-E6EB-87C6-69E8-B6CBAA4BB856}"/>
          </ac:spMkLst>
        </pc:spChg>
        <pc:spChg chg="mod">
          <ac:chgData name="Soumaya ZERHOUNI" userId="690e4aa6-586b-4341-8f1a-54a3e7457441" providerId="ADAL" clId="{69AAD651-E566-4914-B951-51E57822A563}" dt="2024-02-02T14:13:35.275" v="12237"/>
          <ac:spMkLst>
            <pc:docMk/>
            <pc:sldMk cId="3722675707" sldId="2147482376"/>
            <ac:spMk id="141" creationId="{47714F9E-2C38-8157-E7A6-D15C8612A636}"/>
          </ac:spMkLst>
        </pc:spChg>
        <pc:spChg chg="add mod">
          <ac:chgData name="Soumaya ZERHOUNI" userId="690e4aa6-586b-4341-8f1a-54a3e7457441" providerId="ADAL" clId="{69AAD651-E566-4914-B951-51E57822A563}" dt="2024-02-02T14:13:35.275" v="12237"/>
          <ac:spMkLst>
            <pc:docMk/>
            <pc:sldMk cId="3722675707" sldId="2147482376"/>
            <ac:spMk id="143" creationId="{0124BEE3-7A96-8217-D6FD-2FB665CDAA96}"/>
          </ac:spMkLst>
        </pc:spChg>
        <pc:spChg chg="mod">
          <ac:chgData name="Soumaya ZERHOUNI" userId="690e4aa6-586b-4341-8f1a-54a3e7457441" providerId="ADAL" clId="{69AAD651-E566-4914-B951-51E57822A563}" dt="2024-02-02T14:13:35.275" v="12237"/>
          <ac:spMkLst>
            <pc:docMk/>
            <pc:sldMk cId="3722675707" sldId="2147482376"/>
            <ac:spMk id="145" creationId="{A2FC5F88-A0AC-EF52-9812-99D64CF24DA5}"/>
          </ac:spMkLst>
        </pc:spChg>
        <pc:spChg chg="mod">
          <ac:chgData name="Soumaya ZERHOUNI" userId="690e4aa6-586b-4341-8f1a-54a3e7457441" providerId="ADAL" clId="{69AAD651-E566-4914-B951-51E57822A563}" dt="2024-02-02T14:13:35.275" v="12237"/>
          <ac:spMkLst>
            <pc:docMk/>
            <pc:sldMk cId="3722675707" sldId="2147482376"/>
            <ac:spMk id="146" creationId="{B8BD4157-7842-8EC4-25AD-44EA9631DF57}"/>
          </ac:spMkLst>
        </pc:spChg>
        <pc:spChg chg="add mod">
          <ac:chgData name="Soumaya ZERHOUNI" userId="690e4aa6-586b-4341-8f1a-54a3e7457441" providerId="ADAL" clId="{69AAD651-E566-4914-B951-51E57822A563}" dt="2024-02-02T14:13:35.275" v="12237"/>
          <ac:spMkLst>
            <pc:docMk/>
            <pc:sldMk cId="3722675707" sldId="2147482376"/>
            <ac:spMk id="147" creationId="{AAC4341F-D9A1-DA6B-6437-F07AB09A7AD5}"/>
          </ac:spMkLst>
        </pc:spChg>
        <pc:spChg chg="add mod">
          <ac:chgData name="Soumaya ZERHOUNI" userId="690e4aa6-586b-4341-8f1a-54a3e7457441" providerId="ADAL" clId="{69AAD651-E566-4914-B951-51E57822A563}" dt="2024-02-02T14:13:35.275" v="12237"/>
          <ac:spMkLst>
            <pc:docMk/>
            <pc:sldMk cId="3722675707" sldId="2147482376"/>
            <ac:spMk id="149" creationId="{9282C74A-7926-7F39-6A9D-A0303BDE51C4}"/>
          </ac:spMkLst>
        </pc:spChg>
        <pc:spChg chg="add mod">
          <ac:chgData name="Soumaya ZERHOUNI" userId="690e4aa6-586b-4341-8f1a-54a3e7457441" providerId="ADAL" clId="{69AAD651-E566-4914-B951-51E57822A563}" dt="2024-02-02T14:13:35.275" v="12237"/>
          <ac:spMkLst>
            <pc:docMk/>
            <pc:sldMk cId="3722675707" sldId="2147482376"/>
            <ac:spMk id="150" creationId="{0EF53561-8FCD-1388-3DF3-969515670EAA}"/>
          </ac:spMkLst>
        </pc:spChg>
        <pc:spChg chg="add mod">
          <ac:chgData name="Soumaya ZERHOUNI" userId="690e4aa6-586b-4341-8f1a-54a3e7457441" providerId="ADAL" clId="{69AAD651-E566-4914-B951-51E57822A563}" dt="2024-02-02T14:13:35.275" v="12237"/>
          <ac:spMkLst>
            <pc:docMk/>
            <pc:sldMk cId="3722675707" sldId="2147482376"/>
            <ac:spMk id="151" creationId="{E58C2871-2188-0B05-A693-75B0A4F69E46}"/>
          </ac:spMkLst>
        </pc:spChg>
        <pc:spChg chg="add mod">
          <ac:chgData name="Soumaya ZERHOUNI" userId="690e4aa6-586b-4341-8f1a-54a3e7457441" providerId="ADAL" clId="{69AAD651-E566-4914-B951-51E57822A563}" dt="2024-02-02T14:13:35.275" v="12237"/>
          <ac:spMkLst>
            <pc:docMk/>
            <pc:sldMk cId="3722675707" sldId="2147482376"/>
            <ac:spMk id="152" creationId="{F5D8823C-3F53-6F41-5D29-3F7F5CDC30F2}"/>
          </ac:spMkLst>
        </pc:spChg>
        <pc:grpChg chg="add mod">
          <ac:chgData name="Soumaya ZERHOUNI" userId="690e4aa6-586b-4341-8f1a-54a3e7457441" providerId="ADAL" clId="{69AAD651-E566-4914-B951-51E57822A563}" dt="2024-02-02T09:49:17.669" v="11613"/>
          <ac:grpSpMkLst>
            <pc:docMk/>
            <pc:sldMk cId="3722675707" sldId="2147482376"/>
            <ac:grpSpMk id="33" creationId="{1F7157EB-E3D9-6E07-0027-A363057B1C73}"/>
          </ac:grpSpMkLst>
        </pc:grpChg>
        <pc:grpChg chg="add mod">
          <ac:chgData name="Soumaya ZERHOUNI" userId="690e4aa6-586b-4341-8f1a-54a3e7457441" providerId="ADAL" clId="{69AAD651-E566-4914-B951-51E57822A563}" dt="2024-02-02T09:49:17.669" v="11613"/>
          <ac:grpSpMkLst>
            <pc:docMk/>
            <pc:sldMk cId="3722675707" sldId="2147482376"/>
            <ac:grpSpMk id="39" creationId="{0CB56D56-9407-7BDB-4C1B-47BAE6B3DF5B}"/>
          </ac:grpSpMkLst>
        </pc:grpChg>
        <pc:grpChg chg="add mod">
          <ac:chgData name="Soumaya ZERHOUNI" userId="690e4aa6-586b-4341-8f1a-54a3e7457441" providerId="ADAL" clId="{69AAD651-E566-4914-B951-51E57822A563}" dt="2024-02-02T09:49:17.669" v="11613"/>
          <ac:grpSpMkLst>
            <pc:docMk/>
            <pc:sldMk cId="3722675707" sldId="2147482376"/>
            <ac:grpSpMk id="46" creationId="{3786368B-646F-EBAB-E21D-C6C4D347FA89}"/>
          </ac:grpSpMkLst>
        </pc:grpChg>
        <pc:grpChg chg="add mod">
          <ac:chgData name="Soumaya ZERHOUNI" userId="690e4aa6-586b-4341-8f1a-54a3e7457441" providerId="ADAL" clId="{69AAD651-E566-4914-B951-51E57822A563}" dt="2024-02-02T09:49:17.669" v="11613"/>
          <ac:grpSpMkLst>
            <pc:docMk/>
            <pc:sldMk cId="3722675707" sldId="2147482376"/>
            <ac:grpSpMk id="53" creationId="{ED3B26E4-D150-BF75-932F-E7D172338CCA}"/>
          </ac:grpSpMkLst>
        </pc:grpChg>
        <pc:grpChg chg="add mod">
          <ac:chgData name="Soumaya ZERHOUNI" userId="690e4aa6-586b-4341-8f1a-54a3e7457441" providerId="ADAL" clId="{69AAD651-E566-4914-B951-51E57822A563}" dt="2024-02-02T09:49:17.669" v="11613"/>
          <ac:grpSpMkLst>
            <pc:docMk/>
            <pc:sldMk cId="3722675707" sldId="2147482376"/>
            <ac:grpSpMk id="57" creationId="{FD5A00B7-81B1-D0B8-F5A0-1D5FD9327B3F}"/>
          </ac:grpSpMkLst>
        </pc:grpChg>
        <pc:grpChg chg="add mod">
          <ac:chgData name="Soumaya ZERHOUNI" userId="690e4aa6-586b-4341-8f1a-54a3e7457441" providerId="ADAL" clId="{69AAD651-E566-4914-B951-51E57822A563}" dt="2024-02-02T09:49:17.669" v="11613"/>
          <ac:grpSpMkLst>
            <pc:docMk/>
            <pc:sldMk cId="3722675707" sldId="2147482376"/>
            <ac:grpSpMk id="63" creationId="{A4DD5B38-F6AD-C5DD-26BC-5CFBD5C5BCBB}"/>
          </ac:grpSpMkLst>
        </pc:grpChg>
        <pc:grpChg chg="add mod">
          <ac:chgData name="Soumaya ZERHOUNI" userId="690e4aa6-586b-4341-8f1a-54a3e7457441" providerId="ADAL" clId="{69AAD651-E566-4914-B951-51E57822A563}" dt="2024-02-02T09:53:32.996" v="11626" actId="14100"/>
          <ac:grpSpMkLst>
            <pc:docMk/>
            <pc:sldMk cId="3722675707" sldId="2147482376"/>
            <ac:grpSpMk id="69" creationId="{F7FFF798-F006-DE30-7B28-2CF7691E9844}"/>
          </ac:grpSpMkLst>
        </pc:grpChg>
        <pc:grpChg chg="add del mod">
          <ac:chgData name="Soumaya ZERHOUNI" userId="690e4aa6-586b-4341-8f1a-54a3e7457441" providerId="ADAL" clId="{69AAD651-E566-4914-B951-51E57822A563}" dt="2024-02-02T14:13:32.401" v="12236" actId="478"/>
          <ac:grpSpMkLst>
            <pc:docMk/>
            <pc:sldMk cId="3722675707" sldId="2147482376"/>
            <ac:grpSpMk id="86" creationId="{8D420377-1135-6EC8-25EC-5B597AB2C983}"/>
          </ac:grpSpMkLst>
        </pc:grpChg>
        <pc:grpChg chg="add del mod">
          <ac:chgData name="Soumaya ZERHOUNI" userId="690e4aa6-586b-4341-8f1a-54a3e7457441" providerId="ADAL" clId="{69AAD651-E566-4914-B951-51E57822A563}" dt="2024-02-02T14:13:32.401" v="12236" actId="478"/>
          <ac:grpSpMkLst>
            <pc:docMk/>
            <pc:sldMk cId="3722675707" sldId="2147482376"/>
            <ac:grpSpMk id="91" creationId="{47F14507-A218-8984-8803-D4CFE5726931}"/>
          </ac:grpSpMkLst>
        </pc:grpChg>
        <pc:grpChg chg="add del mod">
          <ac:chgData name="Soumaya ZERHOUNI" userId="690e4aa6-586b-4341-8f1a-54a3e7457441" providerId="ADAL" clId="{69AAD651-E566-4914-B951-51E57822A563}" dt="2024-02-02T14:13:32.401" v="12236" actId="478"/>
          <ac:grpSpMkLst>
            <pc:docMk/>
            <pc:sldMk cId="3722675707" sldId="2147482376"/>
            <ac:grpSpMk id="97" creationId="{B90AA4C4-667C-2ED2-983C-D28109468453}"/>
          </ac:grpSpMkLst>
        </pc:grpChg>
        <pc:grpChg chg="add del mod">
          <ac:chgData name="Soumaya ZERHOUNI" userId="690e4aa6-586b-4341-8f1a-54a3e7457441" providerId="ADAL" clId="{69AAD651-E566-4914-B951-51E57822A563}" dt="2024-02-02T14:13:32.401" v="12236" actId="478"/>
          <ac:grpSpMkLst>
            <pc:docMk/>
            <pc:sldMk cId="3722675707" sldId="2147482376"/>
            <ac:grpSpMk id="103" creationId="{72958751-439F-B304-4A69-43113D528204}"/>
          </ac:grpSpMkLst>
        </pc:grpChg>
        <pc:grpChg chg="add mod">
          <ac:chgData name="Soumaya ZERHOUNI" userId="690e4aa6-586b-4341-8f1a-54a3e7457441" providerId="ADAL" clId="{69AAD651-E566-4914-B951-51E57822A563}" dt="2024-02-02T14:13:35.275" v="12237"/>
          <ac:grpSpMkLst>
            <pc:docMk/>
            <pc:sldMk cId="3722675707" sldId="2147482376"/>
            <ac:grpSpMk id="127" creationId="{B9612CAE-F147-5FF7-DF86-F5952967D8AA}"/>
          </ac:grpSpMkLst>
        </pc:grpChg>
        <pc:grpChg chg="add mod">
          <ac:chgData name="Soumaya ZERHOUNI" userId="690e4aa6-586b-4341-8f1a-54a3e7457441" providerId="ADAL" clId="{69AAD651-E566-4914-B951-51E57822A563}" dt="2024-02-02T14:13:35.275" v="12237"/>
          <ac:grpSpMkLst>
            <pc:docMk/>
            <pc:sldMk cId="3722675707" sldId="2147482376"/>
            <ac:grpSpMk id="132" creationId="{C09D45CB-987D-26B3-4579-1AE28EEF46A8}"/>
          </ac:grpSpMkLst>
        </pc:grpChg>
        <pc:grpChg chg="add mod">
          <ac:chgData name="Soumaya ZERHOUNI" userId="690e4aa6-586b-4341-8f1a-54a3e7457441" providerId="ADAL" clId="{69AAD651-E566-4914-B951-51E57822A563}" dt="2024-02-02T14:13:35.275" v="12237"/>
          <ac:grpSpMkLst>
            <pc:docMk/>
            <pc:sldMk cId="3722675707" sldId="2147482376"/>
            <ac:grpSpMk id="138" creationId="{4322E7D3-BD83-D74B-E7D0-B7576B3F25AC}"/>
          </ac:grpSpMkLst>
        </pc:grpChg>
        <pc:grpChg chg="add mod">
          <ac:chgData name="Soumaya ZERHOUNI" userId="690e4aa6-586b-4341-8f1a-54a3e7457441" providerId="ADAL" clId="{69AAD651-E566-4914-B951-51E57822A563}" dt="2024-02-02T14:13:35.275" v="12237"/>
          <ac:grpSpMkLst>
            <pc:docMk/>
            <pc:sldMk cId="3722675707" sldId="2147482376"/>
            <ac:grpSpMk id="144" creationId="{B567870D-DAE3-4441-3F3F-87163991F014}"/>
          </ac:grpSpMkLst>
        </pc:grpChg>
        <pc:graphicFrameChg chg="add mod">
          <ac:chgData name="Soumaya ZERHOUNI" userId="690e4aa6-586b-4341-8f1a-54a3e7457441" providerId="ADAL" clId="{69AAD651-E566-4914-B951-51E57822A563}" dt="2024-02-02T09:49:17.669" v="11613"/>
          <ac:graphicFrameMkLst>
            <pc:docMk/>
            <pc:sldMk cId="3722675707" sldId="2147482376"/>
            <ac:graphicFrameMk id="5" creationId="{B0B05DEA-219C-6523-5063-0F0C2369CFF4}"/>
          </ac:graphicFrameMkLst>
        </pc:graphicFrameChg>
        <pc:graphicFrameChg chg="add del mod">
          <ac:chgData name="Soumaya ZERHOUNI" userId="690e4aa6-586b-4341-8f1a-54a3e7457441" providerId="ADAL" clId="{69AAD651-E566-4914-B951-51E57822A563}" dt="2024-02-02T14:13:32.401" v="12236" actId="478"/>
          <ac:graphicFrameMkLst>
            <pc:docMk/>
            <pc:sldMk cId="3722675707" sldId="2147482376"/>
            <ac:graphicFrameMk id="73" creationId="{3D8562A1-0E39-23D1-76D9-56EB72C4F744}"/>
          </ac:graphicFrameMkLst>
        </pc:graphicFrameChg>
        <pc:graphicFrameChg chg="add mod">
          <ac:chgData name="Soumaya ZERHOUNI" userId="690e4aa6-586b-4341-8f1a-54a3e7457441" providerId="ADAL" clId="{69AAD651-E566-4914-B951-51E57822A563}" dt="2024-02-02T14:13:35.275" v="12237"/>
          <ac:graphicFrameMkLst>
            <pc:docMk/>
            <pc:sldMk cId="3722675707" sldId="2147482376"/>
            <ac:graphicFrameMk id="114" creationId="{9A289F14-C9CE-B08B-0467-50B2492798B5}"/>
          </ac:graphicFrameMkLst>
        </pc:graphicFrameChg>
        <pc:picChg chg="add mod">
          <ac:chgData name="Soumaya ZERHOUNI" userId="690e4aa6-586b-4341-8f1a-54a3e7457441" providerId="ADAL" clId="{69AAD651-E566-4914-B951-51E57822A563}" dt="2024-02-02T09:49:17.669" v="11613"/>
          <ac:picMkLst>
            <pc:docMk/>
            <pc:sldMk cId="3722675707" sldId="2147482376"/>
            <ac:picMk id="12" creationId="{416EFA84-EC84-3C7D-5458-175D61245920}"/>
          </ac:picMkLst>
        </pc:picChg>
        <pc:picChg chg="add mod">
          <ac:chgData name="Soumaya ZERHOUNI" userId="690e4aa6-586b-4341-8f1a-54a3e7457441" providerId="ADAL" clId="{69AAD651-E566-4914-B951-51E57822A563}" dt="2024-02-02T09:49:17.669" v="11613"/>
          <ac:picMkLst>
            <pc:docMk/>
            <pc:sldMk cId="3722675707" sldId="2147482376"/>
            <ac:picMk id="15" creationId="{9B7BF199-5AF1-8C46-1CB4-B93867B9A79F}"/>
          </ac:picMkLst>
        </pc:picChg>
        <pc:picChg chg="add mod">
          <ac:chgData name="Soumaya ZERHOUNI" userId="690e4aa6-586b-4341-8f1a-54a3e7457441" providerId="ADAL" clId="{69AAD651-E566-4914-B951-51E57822A563}" dt="2024-02-02T09:49:17.669" v="11613"/>
          <ac:picMkLst>
            <pc:docMk/>
            <pc:sldMk cId="3722675707" sldId="2147482376"/>
            <ac:picMk id="32" creationId="{54D6C1E3-B898-9B6E-B042-9EF57451AD68}"/>
          </ac:picMkLst>
        </pc:picChg>
        <pc:picChg chg="add mod">
          <ac:chgData name="Soumaya ZERHOUNI" userId="690e4aa6-586b-4341-8f1a-54a3e7457441" providerId="ADAL" clId="{69AAD651-E566-4914-B951-51E57822A563}" dt="2024-02-02T09:49:17.669" v="11613"/>
          <ac:picMkLst>
            <pc:docMk/>
            <pc:sldMk cId="3722675707" sldId="2147482376"/>
            <ac:picMk id="52" creationId="{65A70183-16F2-287A-F040-A0E65FAC6E20}"/>
          </ac:picMkLst>
        </pc:picChg>
        <pc:picChg chg="add mod">
          <ac:chgData name="Soumaya ZERHOUNI" userId="690e4aa6-586b-4341-8f1a-54a3e7457441" providerId="ADAL" clId="{69AAD651-E566-4914-B951-51E57822A563}" dt="2024-02-02T09:49:17.669" v="11613"/>
          <ac:picMkLst>
            <pc:docMk/>
            <pc:sldMk cId="3722675707" sldId="2147482376"/>
            <ac:picMk id="61" creationId="{ED775BE0-A237-B4FA-D717-FA9E951BE871}"/>
          </ac:picMkLst>
        </pc:picChg>
        <pc:picChg chg="add mod">
          <ac:chgData name="Soumaya ZERHOUNI" userId="690e4aa6-586b-4341-8f1a-54a3e7457441" providerId="ADAL" clId="{69AAD651-E566-4914-B951-51E57822A563}" dt="2024-02-02T09:49:17.669" v="11613"/>
          <ac:picMkLst>
            <pc:docMk/>
            <pc:sldMk cId="3722675707" sldId="2147482376"/>
            <ac:picMk id="67" creationId="{E5B296D7-2D20-F72D-6BAC-F96529EC800B}"/>
          </ac:picMkLst>
        </pc:picChg>
        <pc:picChg chg="add del mod">
          <ac:chgData name="Soumaya ZERHOUNI" userId="690e4aa6-586b-4341-8f1a-54a3e7457441" providerId="ADAL" clId="{69AAD651-E566-4914-B951-51E57822A563}" dt="2024-02-02T14:14:02.364" v="12246" actId="478"/>
          <ac:picMkLst>
            <pc:docMk/>
            <pc:sldMk cId="3722675707" sldId="2147482376"/>
            <ac:picMk id="68" creationId="{04C52324-AAC8-CBA7-987A-1DDF4BC97C52}"/>
          </ac:picMkLst>
        </pc:picChg>
        <pc:picChg chg="add del mod">
          <ac:chgData name="Soumaya ZERHOUNI" userId="690e4aa6-586b-4341-8f1a-54a3e7457441" providerId="ADAL" clId="{69AAD651-E566-4914-B951-51E57822A563}" dt="2024-02-02T14:13:32.401" v="12236" actId="478"/>
          <ac:picMkLst>
            <pc:docMk/>
            <pc:sldMk cId="3722675707" sldId="2147482376"/>
            <ac:picMk id="80" creationId="{7F082D9E-E144-7115-8350-DA25990E1F85}"/>
          </ac:picMkLst>
        </pc:picChg>
        <pc:picChg chg="add del mod">
          <ac:chgData name="Soumaya ZERHOUNI" userId="690e4aa6-586b-4341-8f1a-54a3e7457441" providerId="ADAL" clId="{69AAD651-E566-4914-B951-51E57822A563}" dt="2024-02-02T14:13:32.401" v="12236" actId="478"/>
          <ac:picMkLst>
            <pc:docMk/>
            <pc:sldMk cId="3722675707" sldId="2147482376"/>
            <ac:picMk id="83" creationId="{2E8397EF-2032-36F2-316D-1013DD7A7925}"/>
          </ac:picMkLst>
        </pc:picChg>
        <pc:picChg chg="add del mod">
          <ac:chgData name="Soumaya ZERHOUNI" userId="690e4aa6-586b-4341-8f1a-54a3e7457441" providerId="ADAL" clId="{69AAD651-E566-4914-B951-51E57822A563}" dt="2024-02-02T14:13:32.401" v="12236" actId="478"/>
          <ac:picMkLst>
            <pc:docMk/>
            <pc:sldMk cId="3722675707" sldId="2147482376"/>
            <ac:picMk id="85" creationId="{FFDB23DB-51FE-C630-7513-88A4C221B228}"/>
          </ac:picMkLst>
        </pc:picChg>
        <pc:picChg chg="add del mod">
          <ac:chgData name="Soumaya ZERHOUNI" userId="690e4aa6-586b-4341-8f1a-54a3e7457441" providerId="ADAL" clId="{69AAD651-E566-4914-B951-51E57822A563}" dt="2024-02-02T14:13:32.401" v="12236" actId="478"/>
          <ac:picMkLst>
            <pc:docMk/>
            <pc:sldMk cId="3722675707" sldId="2147482376"/>
            <ac:picMk id="96" creationId="{3236F739-4314-6CF6-D9B1-CB4559B345D5}"/>
          </ac:picMkLst>
        </pc:picChg>
        <pc:picChg chg="add del mod">
          <ac:chgData name="Soumaya ZERHOUNI" userId="690e4aa6-586b-4341-8f1a-54a3e7457441" providerId="ADAL" clId="{69AAD651-E566-4914-B951-51E57822A563}" dt="2024-02-02T14:13:32.401" v="12236" actId="478"/>
          <ac:picMkLst>
            <pc:docMk/>
            <pc:sldMk cId="3722675707" sldId="2147482376"/>
            <ac:picMk id="101" creationId="{6BFC1AD0-8E6C-BCF1-F044-59FF74CB6EE7}"/>
          </ac:picMkLst>
        </pc:picChg>
        <pc:picChg chg="add del mod">
          <ac:chgData name="Soumaya ZERHOUNI" userId="690e4aa6-586b-4341-8f1a-54a3e7457441" providerId="ADAL" clId="{69AAD651-E566-4914-B951-51E57822A563}" dt="2024-02-02T14:13:32.401" v="12236" actId="478"/>
          <ac:picMkLst>
            <pc:docMk/>
            <pc:sldMk cId="3722675707" sldId="2147482376"/>
            <ac:picMk id="107" creationId="{C5120D80-8C60-2299-0AE4-4ACEE08AD50B}"/>
          </ac:picMkLst>
        </pc:picChg>
        <pc:picChg chg="add mod">
          <ac:chgData name="Soumaya ZERHOUNI" userId="690e4aa6-586b-4341-8f1a-54a3e7457441" providerId="ADAL" clId="{69AAD651-E566-4914-B951-51E57822A563}" dt="2024-02-02T14:13:35.275" v="12237"/>
          <ac:picMkLst>
            <pc:docMk/>
            <pc:sldMk cId="3722675707" sldId="2147482376"/>
            <ac:picMk id="121" creationId="{53F9BB40-A1B5-F4BB-FC4A-E9D96D261A8D}"/>
          </ac:picMkLst>
        </pc:picChg>
        <pc:picChg chg="add mod">
          <ac:chgData name="Soumaya ZERHOUNI" userId="690e4aa6-586b-4341-8f1a-54a3e7457441" providerId="ADAL" clId="{69AAD651-E566-4914-B951-51E57822A563}" dt="2024-02-02T14:13:35.275" v="12237"/>
          <ac:picMkLst>
            <pc:docMk/>
            <pc:sldMk cId="3722675707" sldId="2147482376"/>
            <ac:picMk id="124" creationId="{7FE734F1-4491-EBC1-420E-175AEE99E30D}"/>
          </ac:picMkLst>
        </pc:picChg>
        <pc:picChg chg="add mod">
          <ac:chgData name="Soumaya ZERHOUNI" userId="690e4aa6-586b-4341-8f1a-54a3e7457441" providerId="ADAL" clId="{69AAD651-E566-4914-B951-51E57822A563}" dt="2024-02-02T14:13:35.275" v="12237"/>
          <ac:picMkLst>
            <pc:docMk/>
            <pc:sldMk cId="3722675707" sldId="2147482376"/>
            <ac:picMk id="126" creationId="{BC1B9034-2883-D25C-B989-15D7B7DB9D83}"/>
          </ac:picMkLst>
        </pc:picChg>
        <pc:picChg chg="add mod">
          <ac:chgData name="Soumaya ZERHOUNI" userId="690e4aa6-586b-4341-8f1a-54a3e7457441" providerId="ADAL" clId="{69AAD651-E566-4914-B951-51E57822A563}" dt="2024-02-02T14:13:35.275" v="12237"/>
          <ac:picMkLst>
            <pc:docMk/>
            <pc:sldMk cId="3722675707" sldId="2147482376"/>
            <ac:picMk id="137" creationId="{9260C418-9BFA-CE14-7738-6B78314B038A}"/>
          </ac:picMkLst>
        </pc:picChg>
        <pc:picChg chg="add mod">
          <ac:chgData name="Soumaya ZERHOUNI" userId="690e4aa6-586b-4341-8f1a-54a3e7457441" providerId="ADAL" clId="{69AAD651-E566-4914-B951-51E57822A563}" dt="2024-02-02T14:13:35.275" v="12237"/>
          <ac:picMkLst>
            <pc:docMk/>
            <pc:sldMk cId="3722675707" sldId="2147482376"/>
            <ac:picMk id="142" creationId="{453945AB-6B63-4AEE-224E-033E4D8EE8F6}"/>
          </ac:picMkLst>
        </pc:picChg>
        <pc:picChg chg="add mod">
          <ac:chgData name="Soumaya ZERHOUNI" userId="690e4aa6-586b-4341-8f1a-54a3e7457441" providerId="ADAL" clId="{69AAD651-E566-4914-B951-51E57822A563}" dt="2024-02-02T14:13:35.275" v="12237"/>
          <ac:picMkLst>
            <pc:docMk/>
            <pc:sldMk cId="3722675707" sldId="2147482376"/>
            <ac:picMk id="148" creationId="{BFDDE586-C921-2FE6-78C3-B8DF649C77EF}"/>
          </ac:picMkLst>
        </pc:picChg>
        <pc:picChg chg="add del mod">
          <ac:chgData name="Soumaya ZERHOUNI" userId="690e4aa6-586b-4341-8f1a-54a3e7457441" providerId="ADAL" clId="{69AAD651-E566-4914-B951-51E57822A563}" dt="2024-02-02T14:14:00.688" v="12245" actId="21"/>
          <ac:picMkLst>
            <pc:docMk/>
            <pc:sldMk cId="3722675707" sldId="2147482376"/>
            <ac:picMk id="153" creationId="{89FF0C5A-BD5F-16B5-93AF-03E229AC1CF1}"/>
          </ac:picMkLst>
        </pc:picChg>
        <pc:picChg chg="add mod">
          <ac:chgData name="Soumaya ZERHOUNI" userId="690e4aa6-586b-4341-8f1a-54a3e7457441" providerId="ADAL" clId="{69AAD651-E566-4914-B951-51E57822A563}" dt="2024-02-02T14:14:02.734" v="12247"/>
          <ac:picMkLst>
            <pc:docMk/>
            <pc:sldMk cId="3722675707" sldId="2147482376"/>
            <ac:picMk id="154" creationId="{89FF0C5A-BD5F-16B5-93AF-03E229AC1CF1}"/>
          </ac:picMkLst>
        </pc:picChg>
      </pc:sldChg>
      <pc:sldChg chg="addSp delSp modSp mod">
        <pc:chgData name="Soumaya ZERHOUNI" userId="690e4aa6-586b-4341-8f1a-54a3e7457441" providerId="ADAL" clId="{69AAD651-E566-4914-B951-51E57822A563}" dt="2024-02-14T11:15:20.092" v="12889" actId="20577"/>
        <pc:sldMkLst>
          <pc:docMk/>
          <pc:sldMk cId="4060980073" sldId="2147482377"/>
        </pc:sldMkLst>
        <pc:spChg chg="mod">
          <ac:chgData name="Soumaya ZERHOUNI" userId="690e4aa6-586b-4341-8f1a-54a3e7457441" providerId="ADAL" clId="{69AAD651-E566-4914-B951-51E57822A563}" dt="2024-02-02T09:37:36.024" v="11574" actId="313"/>
          <ac:spMkLst>
            <pc:docMk/>
            <pc:sldMk cId="4060980073" sldId="2147482377"/>
            <ac:spMk id="2" creationId="{C3C9B16C-EF3E-7B84-C65A-636CF27F5E3A}"/>
          </ac:spMkLst>
        </pc:spChg>
        <pc:spChg chg="add del mod">
          <ac:chgData name="Soumaya ZERHOUNI" userId="690e4aa6-586b-4341-8f1a-54a3e7457441" providerId="ADAL" clId="{69AAD651-E566-4914-B951-51E57822A563}" dt="2024-02-02T09:24:06.594" v="11406" actId="478"/>
          <ac:spMkLst>
            <pc:docMk/>
            <pc:sldMk cId="4060980073" sldId="2147482377"/>
            <ac:spMk id="3" creationId="{0DF7F26C-5DC3-DEC4-3506-DD4DE5F480CB}"/>
          </ac:spMkLst>
        </pc:spChg>
        <pc:spChg chg="del mod">
          <ac:chgData name="Soumaya ZERHOUNI" userId="690e4aa6-586b-4341-8f1a-54a3e7457441" providerId="ADAL" clId="{69AAD651-E566-4914-B951-51E57822A563}" dt="2024-02-02T10:24:39.696" v="11816" actId="478"/>
          <ac:spMkLst>
            <pc:docMk/>
            <pc:sldMk cId="4060980073" sldId="2147482377"/>
            <ac:spMk id="4" creationId="{4F685729-9CF4-BF83-F627-57B0694BAF51}"/>
          </ac:spMkLst>
        </pc:spChg>
        <pc:spChg chg="add del mod">
          <ac:chgData name="Soumaya ZERHOUNI" userId="690e4aa6-586b-4341-8f1a-54a3e7457441" providerId="ADAL" clId="{69AAD651-E566-4914-B951-51E57822A563}" dt="2024-02-02T09:30:00.030" v="11425" actId="478"/>
          <ac:spMkLst>
            <pc:docMk/>
            <pc:sldMk cId="4060980073" sldId="2147482377"/>
            <ac:spMk id="5" creationId="{B81E65C5-C332-3743-9231-EC07C3079650}"/>
          </ac:spMkLst>
        </pc:spChg>
        <pc:spChg chg="del">
          <ac:chgData name="Soumaya ZERHOUNI" userId="690e4aa6-586b-4341-8f1a-54a3e7457441" providerId="ADAL" clId="{69AAD651-E566-4914-B951-51E57822A563}" dt="2024-02-02T13:08:45.943" v="12123" actId="478"/>
          <ac:spMkLst>
            <pc:docMk/>
            <pc:sldMk cId="4060980073" sldId="2147482377"/>
            <ac:spMk id="6" creationId="{06D2A13C-4C1E-E084-EFA4-49C61C372EB9}"/>
          </ac:spMkLst>
        </pc:spChg>
        <pc:spChg chg="add mod">
          <ac:chgData name="Soumaya ZERHOUNI" userId="690e4aa6-586b-4341-8f1a-54a3e7457441" providerId="ADAL" clId="{69AAD651-E566-4914-B951-51E57822A563}" dt="2024-02-02T09:27:37.442" v="11411" actId="14100"/>
          <ac:spMkLst>
            <pc:docMk/>
            <pc:sldMk cId="4060980073" sldId="2147482377"/>
            <ac:spMk id="7" creationId="{5A640A01-91DB-71D9-20A7-C5C69FD04289}"/>
          </ac:spMkLst>
        </pc:spChg>
        <pc:spChg chg="add mod">
          <ac:chgData name="Soumaya ZERHOUNI" userId="690e4aa6-586b-4341-8f1a-54a3e7457441" providerId="ADAL" clId="{69AAD651-E566-4914-B951-51E57822A563}" dt="2024-02-02T09:27:37.442" v="11411" actId="14100"/>
          <ac:spMkLst>
            <pc:docMk/>
            <pc:sldMk cId="4060980073" sldId="2147482377"/>
            <ac:spMk id="8" creationId="{55EB23D2-770B-9377-C3F3-124456DB4704}"/>
          </ac:spMkLst>
        </pc:spChg>
        <pc:spChg chg="add mod">
          <ac:chgData name="Soumaya ZERHOUNI" userId="690e4aa6-586b-4341-8f1a-54a3e7457441" providerId="ADAL" clId="{69AAD651-E566-4914-B951-51E57822A563}" dt="2024-02-02T09:27:37.442" v="11411" actId="14100"/>
          <ac:spMkLst>
            <pc:docMk/>
            <pc:sldMk cId="4060980073" sldId="2147482377"/>
            <ac:spMk id="9" creationId="{4F9C9F0B-CCC0-D7C3-5392-859497747939}"/>
          </ac:spMkLst>
        </pc:spChg>
        <pc:spChg chg="add mod">
          <ac:chgData name="Soumaya ZERHOUNI" userId="690e4aa6-586b-4341-8f1a-54a3e7457441" providerId="ADAL" clId="{69AAD651-E566-4914-B951-51E57822A563}" dt="2024-02-02T09:27:37.442" v="11411" actId="14100"/>
          <ac:spMkLst>
            <pc:docMk/>
            <pc:sldMk cId="4060980073" sldId="2147482377"/>
            <ac:spMk id="10" creationId="{29154224-3534-C023-4758-E9D0E4769727}"/>
          </ac:spMkLst>
        </pc:spChg>
        <pc:spChg chg="add mod">
          <ac:chgData name="Soumaya ZERHOUNI" userId="690e4aa6-586b-4341-8f1a-54a3e7457441" providerId="ADAL" clId="{69AAD651-E566-4914-B951-51E57822A563}" dt="2024-02-02T09:27:37.442" v="11411" actId="14100"/>
          <ac:spMkLst>
            <pc:docMk/>
            <pc:sldMk cId="4060980073" sldId="2147482377"/>
            <ac:spMk id="11" creationId="{D01F3D11-325A-7E82-A933-52732E361DF5}"/>
          </ac:spMkLst>
        </pc:spChg>
        <pc:spChg chg="add mod">
          <ac:chgData name="Soumaya ZERHOUNI" userId="690e4aa6-586b-4341-8f1a-54a3e7457441" providerId="ADAL" clId="{69AAD651-E566-4914-B951-51E57822A563}" dt="2024-02-02T09:27:37.442" v="11411" actId="14100"/>
          <ac:spMkLst>
            <pc:docMk/>
            <pc:sldMk cId="4060980073" sldId="2147482377"/>
            <ac:spMk id="12" creationId="{5AAB0C1B-73C3-831F-D897-D43C50CEF48A}"/>
          </ac:spMkLst>
        </pc:spChg>
        <pc:spChg chg="add mod">
          <ac:chgData name="Soumaya ZERHOUNI" userId="690e4aa6-586b-4341-8f1a-54a3e7457441" providerId="ADAL" clId="{69AAD651-E566-4914-B951-51E57822A563}" dt="2024-02-02T09:27:37.442" v="11411" actId="14100"/>
          <ac:spMkLst>
            <pc:docMk/>
            <pc:sldMk cId="4060980073" sldId="2147482377"/>
            <ac:spMk id="13" creationId="{A3DA1558-FC16-4073-61A7-D0AC2C0E87E9}"/>
          </ac:spMkLst>
        </pc:spChg>
        <pc:spChg chg="add mod">
          <ac:chgData name="Soumaya ZERHOUNI" userId="690e4aa6-586b-4341-8f1a-54a3e7457441" providerId="ADAL" clId="{69AAD651-E566-4914-B951-51E57822A563}" dt="2024-02-02T09:27:37.442" v="11411" actId="14100"/>
          <ac:spMkLst>
            <pc:docMk/>
            <pc:sldMk cId="4060980073" sldId="2147482377"/>
            <ac:spMk id="17" creationId="{252991AB-1A31-3431-02C7-F0FECA047291}"/>
          </ac:spMkLst>
        </pc:spChg>
        <pc:spChg chg="add mod">
          <ac:chgData name="Soumaya ZERHOUNI" userId="690e4aa6-586b-4341-8f1a-54a3e7457441" providerId="ADAL" clId="{69AAD651-E566-4914-B951-51E57822A563}" dt="2024-02-02T09:27:37.442" v="11411" actId="14100"/>
          <ac:spMkLst>
            <pc:docMk/>
            <pc:sldMk cId="4060980073" sldId="2147482377"/>
            <ac:spMk id="20" creationId="{807FB863-06A5-ABB6-C21D-133AE9A6544B}"/>
          </ac:spMkLst>
        </pc:spChg>
        <pc:spChg chg="add mod">
          <ac:chgData name="Soumaya ZERHOUNI" userId="690e4aa6-586b-4341-8f1a-54a3e7457441" providerId="ADAL" clId="{69AAD651-E566-4914-B951-51E57822A563}" dt="2024-02-02T09:27:37.442" v="11411" actId="14100"/>
          <ac:spMkLst>
            <pc:docMk/>
            <pc:sldMk cId="4060980073" sldId="2147482377"/>
            <ac:spMk id="22" creationId="{DB87CD26-4B5E-AC09-F8CE-8DF3426E9FE8}"/>
          </ac:spMkLst>
        </pc:spChg>
        <pc:spChg chg="add mod">
          <ac:chgData name="Soumaya ZERHOUNI" userId="690e4aa6-586b-4341-8f1a-54a3e7457441" providerId="ADAL" clId="{69AAD651-E566-4914-B951-51E57822A563}" dt="2024-02-02T09:27:37.442" v="11411" actId="14100"/>
          <ac:spMkLst>
            <pc:docMk/>
            <pc:sldMk cId="4060980073" sldId="2147482377"/>
            <ac:spMk id="24" creationId="{39D864F4-609E-8C22-1908-64D8BDB61D00}"/>
          </ac:spMkLst>
        </pc:spChg>
        <pc:spChg chg="add mod">
          <ac:chgData name="Soumaya ZERHOUNI" userId="690e4aa6-586b-4341-8f1a-54a3e7457441" providerId="ADAL" clId="{69AAD651-E566-4914-B951-51E57822A563}" dt="2024-02-02T09:27:37.442" v="11411" actId="14100"/>
          <ac:spMkLst>
            <pc:docMk/>
            <pc:sldMk cId="4060980073" sldId="2147482377"/>
            <ac:spMk id="25" creationId="{67C60BB5-DEF2-E248-EEFF-94AD5B2BEEC0}"/>
          </ac:spMkLst>
        </pc:spChg>
        <pc:spChg chg="add mod">
          <ac:chgData name="Soumaya ZERHOUNI" userId="690e4aa6-586b-4341-8f1a-54a3e7457441" providerId="ADAL" clId="{69AAD651-E566-4914-B951-51E57822A563}" dt="2024-02-02T09:27:37.442" v="11411" actId="14100"/>
          <ac:spMkLst>
            <pc:docMk/>
            <pc:sldMk cId="4060980073" sldId="2147482377"/>
            <ac:spMk id="28" creationId="{2AD24E2E-EB67-D538-BA6A-9DDC44C01BE7}"/>
          </ac:spMkLst>
        </pc:spChg>
        <pc:spChg chg="add mod">
          <ac:chgData name="Soumaya ZERHOUNI" userId="690e4aa6-586b-4341-8f1a-54a3e7457441" providerId="ADAL" clId="{69AAD651-E566-4914-B951-51E57822A563}" dt="2024-02-02T09:27:37.442" v="11411" actId="14100"/>
          <ac:spMkLst>
            <pc:docMk/>
            <pc:sldMk cId="4060980073" sldId="2147482377"/>
            <ac:spMk id="29" creationId="{EC007892-32E2-8DD2-8210-EBBB803CFEB2}"/>
          </ac:spMkLst>
        </pc:spChg>
        <pc:spChg chg="add mod">
          <ac:chgData name="Soumaya ZERHOUNI" userId="690e4aa6-586b-4341-8f1a-54a3e7457441" providerId="ADAL" clId="{69AAD651-E566-4914-B951-51E57822A563}" dt="2024-02-02T09:27:37.442" v="11411" actId="14100"/>
          <ac:spMkLst>
            <pc:docMk/>
            <pc:sldMk cId="4060980073" sldId="2147482377"/>
            <ac:spMk id="31" creationId="{F6B162C8-5476-0F30-AF87-A71A822D270E}"/>
          </ac:spMkLst>
        </pc:spChg>
        <pc:spChg chg="add mod">
          <ac:chgData name="Soumaya ZERHOUNI" userId="690e4aa6-586b-4341-8f1a-54a3e7457441" providerId="ADAL" clId="{69AAD651-E566-4914-B951-51E57822A563}" dt="2024-02-02T09:27:37.442" v="11411" actId="14100"/>
          <ac:spMkLst>
            <pc:docMk/>
            <pc:sldMk cId="4060980073" sldId="2147482377"/>
            <ac:spMk id="33" creationId="{E6E7EB93-EF85-66BD-27D0-CC5DBD69ECE4}"/>
          </ac:spMkLst>
        </pc:spChg>
        <pc:spChg chg="add mod">
          <ac:chgData name="Soumaya ZERHOUNI" userId="690e4aa6-586b-4341-8f1a-54a3e7457441" providerId="ADAL" clId="{69AAD651-E566-4914-B951-51E57822A563}" dt="2024-02-02T09:27:37.442" v="11411" actId="14100"/>
          <ac:spMkLst>
            <pc:docMk/>
            <pc:sldMk cId="4060980073" sldId="2147482377"/>
            <ac:spMk id="35" creationId="{58B32B0D-0E19-65B4-0E18-C0A99C3637D1}"/>
          </ac:spMkLst>
        </pc:spChg>
        <pc:spChg chg="mod">
          <ac:chgData name="Soumaya ZERHOUNI" userId="690e4aa6-586b-4341-8f1a-54a3e7457441" providerId="ADAL" clId="{69AAD651-E566-4914-B951-51E57822A563}" dt="2024-02-02T10:52:13.228" v="11982" actId="1076"/>
          <ac:spMkLst>
            <pc:docMk/>
            <pc:sldMk cId="4060980073" sldId="2147482377"/>
            <ac:spMk id="44" creationId="{23C643BE-B132-C34A-64B9-D222C47888DE}"/>
          </ac:spMkLst>
        </pc:spChg>
        <pc:spChg chg="mod">
          <ac:chgData name="Soumaya ZERHOUNI" userId="690e4aa6-586b-4341-8f1a-54a3e7457441" providerId="ADAL" clId="{69AAD651-E566-4914-B951-51E57822A563}" dt="2024-02-02T10:52:13.228" v="11982" actId="1076"/>
          <ac:spMkLst>
            <pc:docMk/>
            <pc:sldMk cId="4060980073" sldId="2147482377"/>
            <ac:spMk id="45" creationId="{98468AA6-AA08-E330-8A12-C2DB7ACFD774}"/>
          </ac:spMkLst>
        </pc:spChg>
        <pc:spChg chg="del mod">
          <ac:chgData name="Soumaya ZERHOUNI" userId="690e4aa6-586b-4341-8f1a-54a3e7457441" providerId="ADAL" clId="{69AAD651-E566-4914-B951-51E57822A563}" dt="2024-02-02T13:08:38.023" v="12122" actId="478"/>
          <ac:spMkLst>
            <pc:docMk/>
            <pc:sldMk cId="4060980073" sldId="2147482377"/>
            <ac:spMk id="46" creationId="{8D02E25C-C3AC-4F21-925D-EE5D7249599E}"/>
          </ac:spMkLst>
        </pc:spChg>
        <pc:spChg chg="del">
          <ac:chgData name="Soumaya ZERHOUNI" userId="690e4aa6-586b-4341-8f1a-54a3e7457441" providerId="ADAL" clId="{69AAD651-E566-4914-B951-51E57822A563}" dt="2024-02-02T13:08:31.991" v="12120" actId="478"/>
          <ac:spMkLst>
            <pc:docMk/>
            <pc:sldMk cId="4060980073" sldId="2147482377"/>
            <ac:spMk id="57" creationId="{C25972A8-F1E3-9EBE-DB4E-92F18428CED2}"/>
          </ac:spMkLst>
        </pc:spChg>
        <pc:spChg chg="add mod">
          <ac:chgData name="Soumaya ZERHOUNI" userId="690e4aa6-586b-4341-8f1a-54a3e7457441" providerId="ADAL" clId="{69AAD651-E566-4914-B951-51E57822A563}" dt="2024-02-02T09:27:37.442" v="11411" actId="14100"/>
          <ac:spMkLst>
            <pc:docMk/>
            <pc:sldMk cId="4060980073" sldId="2147482377"/>
            <ac:spMk id="58" creationId="{A82AA160-48D7-DABE-FB9D-3A9A2F8D4A47}"/>
          </ac:spMkLst>
        </pc:spChg>
        <pc:spChg chg="del">
          <ac:chgData name="Soumaya ZERHOUNI" userId="690e4aa6-586b-4341-8f1a-54a3e7457441" providerId="ADAL" clId="{69AAD651-E566-4914-B951-51E57822A563}" dt="2024-02-02T13:08:35.578" v="12121" actId="478"/>
          <ac:spMkLst>
            <pc:docMk/>
            <pc:sldMk cId="4060980073" sldId="2147482377"/>
            <ac:spMk id="59" creationId="{4FA6A9C2-08E7-3CBF-5A00-3E1353E4CD06}"/>
          </ac:spMkLst>
        </pc:spChg>
        <pc:spChg chg="add mod">
          <ac:chgData name="Soumaya ZERHOUNI" userId="690e4aa6-586b-4341-8f1a-54a3e7457441" providerId="ADAL" clId="{69AAD651-E566-4914-B951-51E57822A563}" dt="2024-02-02T09:27:37.442" v="11411" actId="14100"/>
          <ac:spMkLst>
            <pc:docMk/>
            <pc:sldMk cId="4060980073" sldId="2147482377"/>
            <ac:spMk id="60" creationId="{1CB3236B-3764-6BEF-F515-DC31E0DC6D5C}"/>
          </ac:spMkLst>
        </pc:spChg>
        <pc:spChg chg="mod">
          <ac:chgData name="Soumaya ZERHOUNI" userId="690e4aa6-586b-4341-8f1a-54a3e7457441" providerId="ADAL" clId="{69AAD651-E566-4914-B951-51E57822A563}" dt="2024-02-02T09:27:51.643" v="11414" actId="1076"/>
          <ac:spMkLst>
            <pc:docMk/>
            <pc:sldMk cId="4060980073" sldId="2147482377"/>
            <ac:spMk id="63" creationId="{5A640A01-91DB-71D9-20A7-C5C69FD04289}"/>
          </ac:spMkLst>
        </pc:spChg>
        <pc:spChg chg="mod">
          <ac:chgData name="Soumaya ZERHOUNI" userId="690e4aa6-586b-4341-8f1a-54a3e7457441" providerId="ADAL" clId="{69AAD651-E566-4914-B951-51E57822A563}" dt="2024-02-02T09:27:51.643" v="11414" actId="1076"/>
          <ac:spMkLst>
            <pc:docMk/>
            <pc:sldMk cId="4060980073" sldId="2147482377"/>
            <ac:spMk id="64" creationId="{55EB23D2-770B-9377-C3F3-124456DB4704}"/>
          </ac:spMkLst>
        </pc:spChg>
        <pc:spChg chg="mod">
          <ac:chgData name="Soumaya ZERHOUNI" userId="690e4aa6-586b-4341-8f1a-54a3e7457441" providerId="ADAL" clId="{69AAD651-E566-4914-B951-51E57822A563}" dt="2024-02-02T09:27:51.643" v="11414" actId="1076"/>
          <ac:spMkLst>
            <pc:docMk/>
            <pc:sldMk cId="4060980073" sldId="2147482377"/>
            <ac:spMk id="65" creationId="{4F9C9F0B-CCC0-D7C3-5392-859497747939}"/>
          </ac:spMkLst>
        </pc:spChg>
        <pc:spChg chg="mod">
          <ac:chgData name="Soumaya ZERHOUNI" userId="690e4aa6-586b-4341-8f1a-54a3e7457441" providerId="ADAL" clId="{69AAD651-E566-4914-B951-51E57822A563}" dt="2024-02-02T09:27:51.643" v="11414" actId="1076"/>
          <ac:spMkLst>
            <pc:docMk/>
            <pc:sldMk cId="4060980073" sldId="2147482377"/>
            <ac:spMk id="66" creationId="{29154224-3534-C023-4758-E9D0E4769727}"/>
          </ac:spMkLst>
        </pc:spChg>
        <pc:spChg chg="mod">
          <ac:chgData name="Soumaya ZERHOUNI" userId="690e4aa6-586b-4341-8f1a-54a3e7457441" providerId="ADAL" clId="{69AAD651-E566-4914-B951-51E57822A563}" dt="2024-02-02T09:27:51.643" v="11414" actId="1076"/>
          <ac:spMkLst>
            <pc:docMk/>
            <pc:sldMk cId="4060980073" sldId="2147482377"/>
            <ac:spMk id="67" creationId="{D01F3D11-325A-7E82-A933-52732E361DF5}"/>
          </ac:spMkLst>
        </pc:spChg>
        <pc:spChg chg="mod">
          <ac:chgData name="Soumaya ZERHOUNI" userId="690e4aa6-586b-4341-8f1a-54a3e7457441" providerId="ADAL" clId="{69AAD651-E566-4914-B951-51E57822A563}" dt="2024-02-02T09:27:51.643" v="11414" actId="1076"/>
          <ac:spMkLst>
            <pc:docMk/>
            <pc:sldMk cId="4060980073" sldId="2147482377"/>
            <ac:spMk id="68" creationId="{5AAB0C1B-73C3-831F-D897-D43C50CEF48A}"/>
          </ac:spMkLst>
        </pc:spChg>
        <pc:spChg chg="mod">
          <ac:chgData name="Soumaya ZERHOUNI" userId="690e4aa6-586b-4341-8f1a-54a3e7457441" providerId="ADAL" clId="{69AAD651-E566-4914-B951-51E57822A563}" dt="2024-02-02T09:27:51.643" v="11414" actId="1076"/>
          <ac:spMkLst>
            <pc:docMk/>
            <pc:sldMk cId="4060980073" sldId="2147482377"/>
            <ac:spMk id="69" creationId="{A3DA1558-FC16-4073-61A7-D0AC2C0E87E9}"/>
          </ac:spMkLst>
        </pc:spChg>
        <pc:spChg chg="mod">
          <ac:chgData name="Soumaya ZERHOUNI" userId="690e4aa6-586b-4341-8f1a-54a3e7457441" providerId="ADAL" clId="{69AAD651-E566-4914-B951-51E57822A563}" dt="2024-02-02T09:27:51.643" v="11414" actId="1076"/>
          <ac:spMkLst>
            <pc:docMk/>
            <pc:sldMk cId="4060980073" sldId="2147482377"/>
            <ac:spMk id="73" creationId="{252991AB-1A31-3431-02C7-F0FECA047291}"/>
          </ac:spMkLst>
        </pc:spChg>
        <pc:spChg chg="mod">
          <ac:chgData name="Soumaya ZERHOUNI" userId="690e4aa6-586b-4341-8f1a-54a3e7457441" providerId="ADAL" clId="{69AAD651-E566-4914-B951-51E57822A563}" dt="2024-02-02T09:27:51.643" v="11414" actId="1076"/>
          <ac:spMkLst>
            <pc:docMk/>
            <pc:sldMk cId="4060980073" sldId="2147482377"/>
            <ac:spMk id="76" creationId="{807FB863-06A5-ABB6-C21D-133AE9A6544B}"/>
          </ac:spMkLst>
        </pc:spChg>
        <pc:spChg chg="mod">
          <ac:chgData name="Soumaya ZERHOUNI" userId="690e4aa6-586b-4341-8f1a-54a3e7457441" providerId="ADAL" clId="{69AAD651-E566-4914-B951-51E57822A563}" dt="2024-02-02T09:27:51.643" v="11414" actId="1076"/>
          <ac:spMkLst>
            <pc:docMk/>
            <pc:sldMk cId="4060980073" sldId="2147482377"/>
            <ac:spMk id="78" creationId="{DB87CD26-4B5E-AC09-F8CE-8DF3426E9FE8}"/>
          </ac:spMkLst>
        </pc:spChg>
        <pc:spChg chg="mod">
          <ac:chgData name="Soumaya ZERHOUNI" userId="690e4aa6-586b-4341-8f1a-54a3e7457441" providerId="ADAL" clId="{69AAD651-E566-4914-B951-51E57822A563}" dt="2024-02-02T09:27:51.643" v="11414" actId="1076"/>
          <ac:spMkLst>
            <pc:docMk/>
            <pc:sldMk cId="4060980073" sldId="2147482377"/>
            <ac:spMk id="80" creationId="{39D864F4-609E-8C22-1908-64D8BDB61D00}"/>
          </ac:spMkLst>
        </pc:spChg>
        <pc:spChg chg="mod">
          <ac:chgData name="Soumaya ZERHOUNI" userId="690e4aa6-586b-4341-8f1a-54a3e7457441" providerId="ADAL" clId="{69AAD651-E566-4914-B951-51E57822A563}" dt="2024-02-02T09:27:51.643" v="11414" actId="1076"/>
          <ac:spMkLst>
            <pc:docMk/>
            <pc:sldMk cId="4060980073" sldId="2147482377"/>
            <ac:spMk id="81" creationId="{67C60BB5-DEF2-E248-EEFF-94AD5B2BEEC0}"/>
          </ac:spMkLst>
        </pc:spChg>
        <pc:spChg chg="mod">
          <ac:chgData name="Soumaya ZERHOUNI" userId="690e4aa6-586b-4341-8f1a-54a3e7457441" providerId="ADAL" clId="{69AAD651-E566-4914-B951-51E57822A563}" dt="2024-02-02T09:27:51.643" v="11414" actId="1076"/>
          <ac:spMkLst>
            <pc:docMk/>
            <pc:sldMk cId="4060980073" sldId="2147482377"/>
            <ac:spMk id="84" creationId="{2AD24E2E-EB67-D538-BA6A-9DDC44C01BE7}"/>
          </ac:spMkLst>
        </pc:spChg>
        <pc:spChg chg="mod">
          <ac:chgData name="Soumaya ZERHOUNI" userId="690e4aa6-586b-4341-8f1a-54a3e7457441" providerId="ADAL" clId="{69AAD651-E566-4914-B951-51E57822A563}" dt="2024-02-02T09:27:51.643" v="11414" actId="1076"/>
          <ac:spMkLst>
            <pc:docMk/>
            <pc:sldMk cId="4060980073" sldId="2147482377"/>
            <ac:spMk id="85" creationId="{EC007892-32E2-8DD2-8210-EBBB803CFEB2}"/>
          </ac:spMkLst>
        </pc:spChg>
        <pc:spChg chg="mod">
          <ac:chgData name="Soumaya ZERHOUNI" userId="690e4aa6-586b-4341-8f1a-54a3e7457441" providerId="ADAL" clId="{69AAD651-E566-4914-B951-51E57822A563}" dt="2024-02-02T09:27:51.643" v="11414" actId="1076"/>
          <ac:spMkLst>
            <pc:docMk/>
            <pc:sldMk cId="4060980073" sldId="2147482377"/>
            <ac:spMk id="86" creationId="{F6B162C8-5476-0F30-AF87-A71A822D270E}"/>
          </ac:spMkLst>
        </pc:spChg>
        <pc:spChg chg="mod">
          <ac:chgData name="Soumaya ZERHOUNI" userId="690e4aa6-586b-4341-8f1a-54a3e7457441" providerId="ADAL" clId="{69AAD651-E566-4914-B951-51E57822A563}" dt="2024-02-02T09:27:51.643" v="11414" actId="1076"/>
          <ac:spMkLst>
            <pc:docMk/>
            <pc:sldMk cId="4060980073" sldId="2147482377"/>
            <ac:spMk id="88" creationId="{E6E7EB93-EF85-66BD-27D0-CC5DBD69ECE4}"/>
          </ac:spMkLst>
        </pc:spChg>
        <pc:spChg chg="mod">
          <ac:chgData name="Soumaya ZERHOUNI" userId="690e4aa6-586b-4341-8f1a-54a3e7457441" providerId="ADAL" clId="{69AAD651-E566-4914-B951-51E57822A563}" dt="2024-02-02T09:27:51.643" v="11414" actId="1076"/>
          <ac:spMkLst>
            <pc:docMk/>
            <pc:sldMk cId="4060980073" sldId="2147482377"/>
            <ac:spMk id="90" creationId="{58B32B0D-0E19-65B4-0E18-C0A99C3637D1}"/>
          </ac:spMkLst>
        </pc:spChg>
        <pc:spChg chg="mod">
          <ac:chgData name="Soumaya ZERHOUNI" userId="690e4aa6-586b-4341-8f1a-54a3e7457441" providerId="ADAL" clId="{69AAD651-E566-4914-B951-51E57822A563}" dt="2024-02-02T09:27:51.643" v="11414" actId="1076"/>
          <ac:spMkLst>
            <pc:docMk/>
            <pc:sldMk cId="4060980073" sldId="2147482377"/>
            <ac:spMk id="109" creationId="{A82AA160-48D7-DABE-FB9D-3A9A2F8D4A47}"/>
          </ac:spMkLst>
        </pc:spChg>
        <pc:spChg chg="mod">
          <ac:chgData name="Soumaya ZERHOUNI" userId="690e4aa6-586b-4341-8f1a-54a3e7457441" providerId="ADAL" clId="{69AAD651-E566-4914-B951-51E57822A563}" dt="2024-02-02T09:27:51.643" v="11414" actId="1076"/>
          <ac:spMkLst>
            <pc:docMk/>
            <pc:sldMk cId="4060980073" sldId="2147482377"/>
            <ac:spMk id="110" creationId="{1CB3236B-3764-6BEF-F515-DC31E0DC6D5C}"/>
          </ac:spMkLst>
        </pc:spChg>
        <pc:spChg chg="mod">
          <ac:chgData name="Soumaya ZERHOUNI" userId="690e4aa6-586b-4341-8f1a-54a3e7457441" providerId="ADAL" clId="{69AAD651-E566-4914-B951-51E57822A563}" dt="2024-02-02T09:28:04.019" v="11417" actId="1076"/>
          <ac:spMkLst>
            <pc:docMk/>
            <pc:sldMk cId="4060980073" sldId="2147482377"/>
            <ac:spMk id="112" creationId="{CAE80118-2176-D472-3651-D9472FD1D554}"/>
          </ac:spMkLst>
        </pc:spChg>
        <pc:spChg chg="mod">
          <ac:chgData name="Soumaya ZERHOUNI" userId="690e4aa6-586b-4341-8f1a-54a3e7457441" providerId="ADAL" clId="{69AAD651-E566-4914-B951-51E57822A563}" dt="2024-02-02T09:28:04.019" v="11417" actId="1076"/>
          <ac:spMkLst>
            <pc:docMk/>
            <pc:sldMk cId="4060980073" sldId="2147482377"/>
            <ac:spMk id="113" creationId="{CC931EED-E6B4-93A4-8384-AE9BDBB1E2AE}"/>
          </ac:spMkLst>
        </pc:spChg>
        <pc:spChg chg="mod">
          <ac:chgData name="Soumaya ZERHOUNI" userId="690e4aa6-586b-4341-8f1a-54a3e7457441" providerId="ADAL" clId="{69AAD651-E566-4914-B951-51E57822A563}" dt="2024-02-02T09:28:04.019" v="11417" actId="1076"/>
          <ac:spMkLst>
            <pc:docMk/>
            <pc:sldMk cId="4060980073" sldId="2147482377"/>
            <ac:spMk id="114" creationId="{F529F966-763C-89F1-22CF-DD55934E8787}"/>
          </ac:spMkLst>
        </pc:spChg>
        <pc:spChg chg="mod">
          <ac:chgData name="Soumaya ZERHOUNI" userId="690e4aa6-586b-4341-8f1a-54a3e7457441" providerId="ADAL" clId="{69AAD651-E566-4914-B951-51E57822A563}" dt="2024-02-02T09:28:04.019" v="11417" actId="1076"/>
          <ac:spMkLst>
            <pc:docMk/>
            <pc:sldMk cId="4060980073" sldId="2147482377"/>
            <ac:spMk id="115" creationId="{D0D4240B-1CDB-A585-E8E0-7095153CEF91}"/>
          </ac:spMkLst>
        </pc:spChg>
        <pc:spChg chg="mod">
          <ac:chgData name="Soumaya ZERHOUNI" userId="690e4aa6-586b-4341-8f1a-54a3e7457441" providerId="ADAL" clId="{69AAD651-E566-4914-B951-51E57822A563}" dt="2024-02-02T09:28:04.019" v="11417" actId="1076"/>
          <ac:spMkLst>
            <pc:docMk/>
            <pc:sldMk cId="4060980073" sldId="2147482377"/>
            <ac:spMk id="116" creationId="{AC5E1DCD-5596-6246-6F8F-6076434BEAF5}"/>
          </ac:spMkLst>
        </pc:spChg>
        <pc:spChg chg="mod">
          <ac:chgData name="Soumaya ZERHOUNI" userId="690e4aa6-586b-4341-8f1a-54a3e7457441" providerId="ADAL" clId="{69AAD651-E566-4914-B951-51E57822A563}" dt="2024-02-02T09:28:04.019" v="11417" actId="1076"/>
          <ac:spMkLst>
            <pc:docMk/>
            <pc:sldMk cId="4060980073" sldId="2147482377"/>
            <ac:spMk id="117" creationId="{F03AB20A-FEBA-4C16-1B8E-808E3C203F78}"/>
          </ac:spMkLst>
        </pc:spChg>
        <pc:spChg chg="mod">
          <ac:chgData name="Soumaya ZERHOUNI" userId="690e4aa6-586b-4341-8f1a-54a3e7457441" providerId="ADAL" clId="{69AAD651-E566-4914-B951-51E57822A563}" dt="2024-02-02T09:28:04.019" v="11417" actId="1076"/>
          <ac:spMkLst>
            <pc:docMk/>
            <pc:sldMk cId="4060980073" sldId="2147482377"/>
            <ac:spMk id="118" creationId="{C70CFC55-9E38-EF85-6652-D0BF0D494143}"/>
          </ac:spMkLst>
        </pc:spChg>
        <pc:spChg chg="mod">
          <ac:chgData name="Soumaya ZERHOUNI" userId="690e4aa6-586b-4341-8f1a-54a3e7457441" providerId="ADAL" clId="{69AAD651-E566-4914-B951-51E57822A563}" dt="2024-02-02T09:28:04.019" v="11417" actId="1076"/>
          <ac:spMkLst>
            <pc:docMk/>
            <pc:sldMk cId="4060980073" sldId="2147482377"/>
            <ac:spMk id="122" creationId="{025DFBB9-A19B-B10C-24B9-786D44B0A708}"/>
          </ac:spMkLst>
        </pc:spChg>
        <pc:spChg chg="mod">
          <ac:chgData name="Soumaya ZERHOUNI" userId="690e4aa6-586b-4341-8f1a-54a3e7457441" providerId="ADAL" clId="{69AAD651-E566-4914-B951-51E57822A563}" dt="2024-02-02T09:28:04.019" v="11417" actId="1076"/>
          <ac:spMkLst>
            <pc:docMk/>
            <pc:sldMk cId="4060980073" sldId="2147482377"/>
            <ac:spMk id="125" creationId="{FEAAFA8F-9283-DF94-4D7A-9A0AADF4A79E}"/>
          </ac:spMkLst>
        </pc:spChg>
        <pc:spChg chg="mod">
          <ac:chgData name="Soumaya ZERHOUNI" userId="690e4aa6-586b-4341-8f1a-54a3e7457441" providerId="ADAL" clId="{69AAD651-E566-4914-B951-51E57822A563}" dt="2024-02-02T09:28:04.019" v="11417" actId="1076"/>
          <ac:spMkLst>
            <pc:docMk/>
            <pc:sldMk cId="4060980073" sldId="2147482377"/>
            <ac:spMk id="127" creationId="{DF09057C-7D1B-DCDA-DC2D-B336A7D9A732}"/>
          </ac:spMkLst>
        </pc:spChg>
        <pc:spChg chg="mod">
          <ac:chgData name="Soumaya ZERHOUNI" userId="690e4aa6-586b-4341-8f1a-54a3e7457441" providerId="ADAL" clId="{69AAD651-E566-4914-B951-51E57822A563}" dt="2024-02-02T09:28:04.019" v="11417" actId="1076"/>
          <ac:spMkLst>
            <pc:docMk/>
            <pc:sldMk cId="4060980073" sldId="2147482377"/>
            <ac:spMk id="129" creationId="{4652FBF6-DFBF-95A7-3E28-C3D2147F5C58}"/>
          </ac:spMkLst>
        </pc:spChg>
        <pc:spChg chg="mod">
          <ac:chgData name="Soumaya ZERHOUNI" userId="690e4aa6-586b-4341-8f1a-54a3e7457441" providerId="ADAL" clId="{69AAD651-E566-4914-B951-51E57822A563}" dt="2024-02-02T09:28:04.019" v="11417" actId="1076"/>
          <ac:spMkLst>
            <pc:docMk/>
            <pc:sldMk cId="4060980073" sldId="2147482377"/>
            <ac:spMk id="130" creationId="{9B352FCB-AE93-E390-DBBC-990238185F3B}"/>
          </ac:spMkLst>
        </pc:spChg>
        <pc:spChg chg="mod">
          <ac:chgData name="Soumaya ZERHOUNI" userId="690e4aa6-586b-4341-8f1a-54a3e7457441" providerId="ADAL" clId="{69AAD651-E566-4914-B951-51E57822A563}" dt="2024-02-02T09:28:04.019" v="11417" actId="1076"/>
          <ac:spMkLst>
            <pc:docMk/>
            <pc:sldMk cId="4060980073" sldId="2147482377"/>
            <ac:spMk id="133" creationId="{85BD4C10-7D4F-DF05-DD12-C1B565287104}"/>
          </ac:spMkLst>
        </pc:spChg>
        <pc:spChg chg="mod">
          <ac:chgData name="Soumaya ZERHOUNI" userId="690e4aa6-586b-4341-8f1a-54a3e7457441" providerId="ADAL" clId="{69AAD651-E566-4914-B951-51E57822A563}" dt="2024-02-02T09:28:04.019" v="11417" actId="1076"/>
          <ac:spMkLst>
            <pc:docMk/>
            <pc:sldMk cId="4060980073" sldId="2147482377"/>
            <ac:spMk id="134" creationId="{AACC1A34-05B4-7F43-348E-5E17C1E700DC}"/>
          </ac:spMkLst>
        </pc:spChg>
        <pc:spChg chg="mod">
          <ac:chgData name="Soumaya ZERHOUNI" userId="690e4aa6-586b-4341-8f1a-54a3e7457441" providerId="ADAL" clId="{69AAD651-E566-4914-B951-51E57822A563}" dt="2024-02-02T09:28:04.019" v="11417" actId="1076"/>
          <ac:spMkLst>
            <pc:docMk/>
            <pc:sldMk cId="4060980073" sldId="2147482377"/>
            <ac:spMk id="135" creationId="{496AA4CD-1ADA-799E-0070-F7D0A2D89FF5}"/>
          </ac:spMkLst>
        </pc:spChg>
        <pc:spChg chg="mod">
          <ac:chgData name="Soumaya ZERHOUNI" userId="690e4aa6-586b-4341-8f1a-54a3e7457441" providerId="ADAL" clId="{69AAD651-E566-4914-B951-51E57822A563}" dt="2024-02-02T09:28:04.019" v="11417" actId="1076"/>
          <ac:spMkLst>
            <pc:docMk/>
            <pc:sldMk cId="4060980073" sldId="2147482377"/>
            <ac:spMk id="137" creationId="{ED103FF4-5CE6-C9E0-7AD6-09390B9DBF80}"/>
          </ac:spMkLst>
        </pc:spChg>
        <pc:spChg chg="mod">
          <ac:chgData name="Soumaya ZERHOUNI" userId="690e4aa6-586b-4341-8f1a-54a3e7457441" providerId="ADAL" clId="{69AAD651-E566-4914-B951-51E57822A563}" dt="2024-02-02T09:28:04.019" v="11417" actId="1076"/>
          <ac:spMkLst>
            <pc:docMk/>
            <pc:sldMk cId="4060980073" sldId="2147482377"/>
            <ac:spMk id="139" creationId="{093A8535-5581-7A9F-6433-2A4F33777179}"/>
          </ac:spMkLst>
        </pc:spChg>
        <pc:spChg chg="mod">
          <ac:chgData name="Soumaya ZERHOUNI" userId="690e4aa6-586b-4341-8f1a-54a3e7457441" providerId="ADAL" clId="{69AAD651-E566-4914-B951-51E57822A563}" dt="2024-02-02T09:28:04.019" v="11417" actId="1076"/>
          <ac:spMkLst>
            <pc:docMk/>
            <pc:sldMk cId="4060980073" sldId="2147482377"/>
            <ac:spMk id="158" creationId="{5D2B7A08-555C-C0A6-AD73-007015946FDF}"/>
          </ac:spMkLst>
        </pc:spChg>
        <pc:spChg chg="mod">
          <ac:chgData name="Soumaya ZERHOUNI" userId="690e4aa6-586b-4341-8f1a-54a3e7457441" providerId="ADAL" clId="{69AAD651-E566-4914-B951-51E57822A563}" dt="2024-02-02T09:28:04.019" v="11417" actId="1076"/>
          <ac:spMkLst>
            <pc:docMk/>
            <pc:sldMk cId="4060980073" sldId="2147482377"/>
            <ac:spMk id="159" creationId="{7C0DCEFE-C4DB-DC1A-F602-CF821F34B1EA}"/>
          </ac:spMkLst>
        </pc:spChg>
        <pc:spChg chg="add mod">
          <ac:chgData name="Soumaya ZERHOUNI" userId="690e4aa6-586b-4341-8f1a-54a3e7457441" providerId="ADAL" clId="{69AAD651-E566-4914-B951-51E57822A563}" dt="2024-02-02T09:29:19.740" v="11419"/>
          <ac:spMkLst>
            <pc:docMk/>
            <pc:sldMk cId="4060980073" sldId="2147482377"/>
            <ac:spMk id="160" creationId="{BCE61023-67CD-C23B-7ED3-4E3396A3697B}"/>
          </ac:spMkLst>
        </pc:spChg>
        <pc:spChg chg="add mod">
          <ac:chgData name="Soumaya ZERHOUNI" userId="690e4aa6-586b-4341-8f1a-54a3e7457441" providerId="ADAL" clId="{69AAD651-E566-4914-B951-51E57822A563}" dt="2024-02-02T09:29:19.740" v="11419"/>
          <ac:spMkLst>
            <pc:docMk/>
            <pc:sldMk cId="4060980073" sldId="2147482377"/>
            <ac:spMk id="161" creationId="{58399852-F276-9268-51A8-14BCE0FFAECC}"/>
          </ac:spMkLst>
        </pc:spChg>
        <pc:spChg chg="add mod">
          <ac:chgData name="Soumaya ZERHOUNI" userId="690e4aa6-586b-4341-8f1a-54a3e7457441" providerId="ADAL" clId="{69AAD651-E566-4914-B951-51E57822A563}" dt="2024-02-02T09:29:19.740" v="11419"/>
          <ac:spMkLst>
            <pc:docMk/>
            <pc:sldMk cId="4060980073" sldId="2147482377"/>
            <ac:spMk id="162" creationId="{AB44101E-7540-D43E-5D96-4713E50EF73C}"/>
          </ac:spMkLst>
        </pc:spChg>
        <pc:spChg chg="add mod">
          <ac:chgData name="Soumaya ZERHOUNI" userId="690e4aa6-586b-4341-8f1a-54a3e7457441" providerId="ADAL" clId="{69AAD651-E566-4914-B951-51E57822A563}" dt="2024-02-02T09:29:19.740" v="11419"/>
          <ac:spMkLst>
            <pc:docMk/>
            <pc:sldMk cId="4060980073" sldId="2147482377"/>
            <ac:spMk id="163" creationId="{B475D840-F819-4547-28A1-A238E3B3D858}"/>
          </ac:spMkLst>
        </pc:spChg>
        <pc:spChg chg="add mod">
          <ac:chgData name="Soumaya ZERHOUNI" userId="690e4aa6-586b-4341-8f1a-54a3e7457441" providerId="ADAL" clId="{69AAD651-E566-4914-B951-51E57822A563}" dt="2024-02-02T09:29:19.740" v="11419"/>
          <ac:spMkLst>
            <pc:docMk/>
            <pc:sldMk cId="4060980073" sldId="2147482377"/>
            <ac:spMk id="164" creationId="{188E0EEC-563C-CB32-B387-EBE6BCC68EB3}"/>
          </ac:spMkLst>
        </pc:spChg>
        <pc:spChg chg="add mod">
          <ac:chgData name="Soumaya ZERHOUNI" userId="690e4aa6-586b-4341-8f1a-54a3e7457441" providerId="ADAL" clId="{69AAD651-E566-4914-B951-51E57822A563}" dt="2024-02-02T09:29:19.740" v="11419"/>
          <ac:spMkLst>
            <pc:docMk/>
            <pc:sldMk cId="4060980073" sldId="2147482377"/>
            <ac:spMk id="165" creationId="{320E77EA-AFDB-45B3-ECA4-DFE712E72DDC}"/>
          </ac:spMkLst>
        </pc:spChg>
        <pc:spChg chg="add mod">
          <ac:chgData name="Soumaya ZERHOUNI" userId="690e4aa6-586b-4341-8f1a-54a3e7457441" providerId="ADAL" clId="{69AAD651-E566-4914-B951-51E57822A563}" dt="2024-02-02T09:29:19.740" v="11419"/>
          <ac:spMkLst>
            <pc:docMk/>
            <pc:sldMk cId="4060980073" sldId="2147482377"/>
            <ac:spMk id="166" creationId="{E29BB27A-F9C4-18FB-E363-26BBD20B4516}"/>
          </ac:spMkLst>
        </pc:spChg>
        <pc:spChg chg="add mod">
          <ac:chgData name="Soumaya ZERHOUNI" userId="690e4aa6-586b-4341-8f1a-54a3e7457441" providerId="ADAL" clId="{69AAD651-E566-4914-B951-51E57822A563}" dt="2024-02-02T09:29:19.740" v="11419"/>
          <ac:spMkLst>
            <pc:docMk/>
            <pc:sldMk cId="4060980073" sldId="2147482377"/>
            <ac:spMk id="170" creationId="{82862CB1-46A2-84BE-0F25-B43017BC4692}"/>
          </ac:spMkLst>
        </pc:spChg>
        <pc:spChg chg="add mod">
          <ac:chgData name="Soumaya ZERHOUNI" userId="690e4aa6-586b-4341-8f1a-54a3e7457441" providerId="ADAL" clId="{69AAD651-E566-4914-B951-51E57822A563}" dt="2024-02-02T09:29:19.740" v="11419"/>
          <ac:spMkLst>
            <pc:docMk/>
            <pc:sldMk cId="4060980073" sldId="2147482377"/>
            <ac:spMk id="173" creationId="{8D6D736E-3F60-4813-638C-EDC026E1406A}"/>
          </ac:spMkLst>
        </pc:spChg>
        <pc:spChg chg="add mod">
          <ac:chgData name="Soumaya ZERHOUNI" userId="690e4aa6-586b-4341-8f1a-54a3e7457441" providerId="ADAL" clId="{69AAD651-E566-4914-B951-51E57822A563}" dt="2024-02-02T09:29:19.740" v="11419"/>
          <ac:spMkLst>
            <pc:docMk/>
            <pc:sldMk cId="4060980073" sldId="2147482377"/>
            <ac:spMk id="175" creationId="{65D3AE6C-8633-96E2-1DF3-F8AF41422A39}"/>
          </ac:spMkLst>
        </pc:spChg>
        <pc:spChg chg="add mod">
          <ac:chgData name="Soumaya ZERHOUNI" userId="690e4aa6-586b-4341-8f1a-54a3e7457441" providerId="ADAL" clId="{69AAD651-E566-4914-B951-51E57822A563}" dt="2024-02-02T09:29:19.740" v="11419"/>
          <ac:spMkLst>
            <pc:docMk/>
            <pc:sldMk cId="4060980073" sldId="2147482377"/>
            <ac:spMk id="177" creationId="{3043744E-0090-8749-CA82-2DDF1A1F6574}"/>
          </ac:spMkLst>
        </pc:spChg>
        <pc:spChg chg="add mod">
          <ac:chgData name="Soumaya ZERHOUNI" userId="690e4aa6-586b-4341-8f1a-54a3e7457441" providerId="ADAL" clId="{69AAD651-E566-4914-B951-51E57822A563}" dt="2024-02-02T09:29:19.740" v="11419"/>
          <ac:spMkLst>
            <pc:docMk/>
            <pc:sldMk cId="4060980073" sldId="2147482377"/>
            <ac:spMk id="178" creationId="{053F8B2D-46C3-9676-D348-C5EBCEC04088}"/>
          </ac:spMkLst>
        </pc:spChg>
        <pc:spChg chg="add mod">
          <ac:chgData name="Soumaya ZERHOUNI" userId="690e4aa6-586b-4341-8f1a-54a3e7457441" providerId="ADAL" clId="{69AAD651-E566-4914-B951-51E57822A563}" dt="2024-02-02T09:29:19.740" v="11419"/>
          <ac:spMkLst>
            <pc:docMk/>
            <pc:sldMk cId="4060980073" sldId="2147482377"/>
            <ac:spMk id="181" creationId="{BF8B95D8-EF60-1702-A01D-32141FE3B1AE}"/>
          </ac:spMkLst>
        </pc:spChg>
        <pc:spChg chg="add mod">
          <ac:chgData name="Soumaya ZERHOUNI" userId="690e4aa6-586b-4341-8f1a-54a3e7457441" providerId="ADAL" clId="{69AAD651-E566-4914-B951-51E57822A563}" dt="2024-02-02T09:29:19.740" v="11419"/>
          <ac:spMkLst>
            <pc:docMk/>
            <pc:sldMk cId="4060980073" sldId="2147482377"/>
            <ac:spMk id="182" creationId="{1130FC0F-F7F5-3841-8A0B-253170CB17AE}"/>
          </ac:spMkLst>
        </pc:spChg>
        <pc:spChg chg="add mod">
          <ac:chgData name="Soumaya ZERHOUNI" userId="690e4aa6-586b-4341-8f1a-54a3e7457441" providerId="ADAL" clId="{69AAD651-E566-4914-B951-51E57822A563}" dt="2024-02-02T09:29:19.740" v="11419"/>
          <ac:spMkLst>
            <pc:docMk/>
            <pc:sldMk cId="4060980073" sldId="2147482377"/>
            <ac:spMk id="183" creationId="{2FBF2565-3099-CB97-B12D-6B83F5B79CB8}"/>
          </ac:spMkLst>
        </pc:spChg>
        <pc:spChg chg="add mod">
          <ac:chgData name="Soumaya ZERHOUNI" userId="690e4aa6-586b-4341-8f1a-54a3e7457441" providerId="ADAL" clId="{69AAD651-E566-4914-B951-51E57822A563}" dt="2024-02-02T09:29:19.740" v="11419"/>
          <ac:spMkLst>
            <pc:docMk/>
            <pc:sldMk cId="4060980073" sldId="2147482377"/>
            <ac:spMk id="185" creationId="{C798052D-70E2-D4A0-1A6B-45DBCA796EE2}"/>
          </ac:spMkLst>
        </pc:spChg>
        <pc:spChg chg="add mod">
          <ac:chgData name="Soumaya ZERHOUNI" userId="690e4aa6-586b-4341-8f1a-54a3e7457441" providerId="ADAL" clId="{69AAD651-E566-4914-B951-51E57822A563}" dt="2024-02-02T09:29:19.740" v="11419"/>
          <ac:spMkLst>
            <pc:docMk/>
            <pc:sldMk cId="4060980073" sldId="2147482377"/>
            <ac:spMk id="187" creationId="{07F53672-0ED3-CC60-7D54-790647C5874E}"/>
          </ac:spMkLst>
        </pc:spChg>
        <pc:spChg chg="add mod">
          <ac:chgData name="Soumaya ZERHOUNI" userId="690e4aa6-586b-4341-8f1a-54a3e7457441" providerId="ADAL" clId="{69AAD651-E566-4914-B951-51E57822A563}" dt="2024-02-02T09:29:19.740" v="11419"/>
          <ac:spMkLst>
            <pc:docMk/>
            <pc:sldMk cId="4060980073" sldId="2147482377"/>
            <ac:spMk id="206" creationId="{E97705E1-EF88-73A5-121E-18D70C8A6EAA}"/>
          </ac:spMkLst>
        </pc:spChg>
        <pc:spChg chg="add mod">
          <ac:chgData name="Soumaya ZERHOUNI" userId="690e4aa6-586b-4341-8f1a-54a3e7457441" providerId="ADAL" clId="{69AAD651-E566-4914-B951-51E57822A563}" dt="2024-02-02T09:29:19.740" v="11419"/>
          <ac:spMkLst>
            <pc:docMk/>
            <pc:sldMk cId="4060980073" sldId="2147482377"/>
            <ac:spMk id="207" creationId="{B87CAA3B-43CD-8427-BA6F-E62E429C87CE}"/>
          </ac:spMkLst>
        </pc:spChg>
        <pc:spChg chg="add mod topLvl">
          <ac:chgData name="Soumaya ZERHOUNI" userId="690e4aa6-586b-4341-8f1a-54a3e7457441" providerId="ADAL" clId="{69AAD651-E566-4914-B951-51E57822A563}" dt="2024-02-02T10:50:13.334" v="11965" actId="165"/>
          <ac:spMkLst>
            <pc:docMk/>
            <pc:sldMk cId="4060980073" sldId="2147482377"/>
            <ac:spMk id="210" creationId="{DC076779-930A-9A24-B296-C3B84CC876B6}"/>
          </ac:spMkLst>
        </pc:spChg>
        <pc:spChg chg="add mod topLvl">
          <ac:chgData name="Soumaya ZERHOUNI" userId="690e4aa6-586b-4341-8f1a-54a3e7457441" providerId="ADAL" clId="{69AAD651-E566-4914-B951-51E57822A563}" dt="2024-02-02T10:50:22.740" v="11966" actId="554"/>
          <ac:spMkLst>
            <pc:docMk/>
            <pc:sldMk cId="4060980073" sldId="2147482377"/>
            <ac:spMk id="211" creationId="{F61F26FB-F00A-DAF5-B662-6ED8F5F8D49E}"/>
          </ac:spMkLst>
        </pc:spChg>
        <pc:spChg chg="add mod">
          <ac:chgData name="Soumaya ZERHOUNI" userId="690e4aa6-586b-4341-8f1a-54a3e7457441" providerId="ADAL" clId="{69AAD651-E566-4914-B951-51E57822A563}" dt="2024-02-02T11:01:16.467" v="12001" actId="20577"/>
          <ac:spMkLst>
            <pc:docMk/>
            <pc:sldMk cId="4060980073" sldId="2147482377"/>
            <ac:spMk id="212" creationId="{DF955088-4304-D23D-56F0-1DB222F32CCE}"/>
          </ac:spMkLst>
        </pc:spChg>
        <pc:spChg chg="add mod">
          <ac:chgData name="Soumaya ZERHOUNI" userId="690e4aa6-586b-4341-8f1a-54a3e7457441" providerId="ADAL" clId="{69AAD651-E566-4914-B951-51E57822A563}" dt="2024-02-14T11:15:20.092" v="12889" actId="20577"/>
          <ac:spMkLst>
            <pc:docMk/>
            <pc:sldMk cId="4060980073" sldId="2147482377"/>
            <ac:spMk id="213" creationId="{5328E07C-6E10-144D-794E-6082113538C5}"/>
          </ac:spMkLst>
        </pc:spChg>
        <pc:spChg chg="add del mod">
          <ac:chgData name="Soumaya ZERHOUNI" userId="690e4aa6-586b-4341-8f1a-54a3e7457441" providerId="ADAL" clId="{69AAD651-E566-4914-B951-51E57822A563}" dt="2024-02-02T14:16:24.744" v="12248" actId="20577"/>
          <ac:spMkLst>
            <pc:docMk/>
            <pc:sldMk cId="4060980073" sldId="2147482377"/>
            <ac:spMk id="214" creationId="{E1667487-2DFE-AEA1-B697-B843AD5E8E82}"/>
          </ac:spMkLst>
        </pc:spChg>
        <pc:spChg chg="add mod">
          <ac:chgData name="Soumaya ZERHOUNI" userId="690e4aa6-586b-4341-8f1a-54a3e7457441" providerId="ADAL" clId="{69AAD651-E566-4914-B951-51E57822A563}" dt="2024-02-02T10:22:46.021" v="11776" actId="1076"/>
          <ac:spMkLst>
            <pc:docMk/>
            <pc:sldMk cId="4060980073" sldId="2147482377"/>
            <ac:spMk id="215" creationId="{BABD0DA7-C5BE-E826-17F8-60FD0A00FF1B}"/>
          </ac:spMkLst>
        </pc:spChg>
        <pc:spChg chg="add mod">
          <ac:chgData name="Soumaya ZERHOUNI" userId="690e4aa6-586b-4341-8f1a-54a3e7457441" providerId="ADAL" clId="{69AAD651-E566-4914-B951-51E57822A563}" dt="2024-02-02T10:23:12.522" v="11782"/>
          <ac:spMkLst>
            <pc:docMk/>
            <pc:sldMk cId="4060980073" sldId="2147482377"/>
            <ac:spMk id="216" creationId="{534226C8-CA65-D468-0786-E3CDBD6B39E6}"/>
          </ac:spMkLst>
        </pc:spChg>
        <pc:spChg chg="add del mod">
          <ac:chgData name="Soumaya ZERHOUNI" userId="690e4aa6-586b-4341-8f1a-54a3e7457441" providerId="ADAL" clId="{69AAD651-E566-4914-B951-51E57822A563}" dt="2024-02-02T10:33:10.420" v="11842" actId="478"/>
          <ac:spMkLst>
            <pc:docMk/>
            <pc:sldMk cId="4060980073" sldId="2147482377"/>
            <ac:spMk id="217" creationId="{D766CDA4-9499-84F9-C14D-0063AA8668F7}"/>
          </ac:spMkLst>
        </pc:spChg>
        <pc:spChg chg="add del mod">
          <ac:chgData name="Soumaya ZERHOUNI" userId="690e4aa6-586b-4341-8f1a-54a3e7457441" providerId="ADAL" clId="{69AAD651-E566-4914-B951-51E57822A563}" dt="2024-02-02T10:48:00.756" v="11948" actId="478"/>
          <ac:spMkLst>
            <pc:docMk/>
            <pc:sldMk cId="4060980073" sldId="2147482377"/>
            <ac:spMk id="218" creationId="{024C9F75-92A4-DDFE-061F-87846DDB1DEF}"/>
          </ac:spMkLst>
        </pc:spChg>
        <pc:spChg chg="add del mod">
          <ac:chgData name="Soumaya ZERHOUNI" userId="690e4aa6-586b-4341-8f1a-54a3e7457441" providerId="ADAL" clId="{69AAD651-E566-4914-B951-51E57822A563}" dt="2024-02-02T10:54:02.034" v="11988" actId="478"/>
          <ac:spMkLst>
            <pc:docMk/>
            <pc:sldMk cId="4060980073" sldId="2147482377"/>
            <ac:spMk id="219" creationId="{141C70AC-6365-EB7F-0A51-6AC92C7DBC9D}"/>
          </ac:spMkLst>
        </pc:spChg>
        <pc:grpChg chg="add del mod">
          <ac:chgData name="Soumaya ZERHOUNI" userId="690e4aa6-586b-4341-8f1a-54a3e7457441" providerId="ADAL" clId="{69AAD651-E566-4914-B951-51E57822A563}" dt="2024-02-02T09:27:42.619" v="11412" actId="21"/>
          <ac:grpSpMkLst>
            <pc:docMk/>
            <pc:sldMk cId="4060980073" sldId="2147482377"/>
            <ac:grpSpMk id="61" creationId="{766A3DC8-9F9A-DD91-E14D-574645A1C589}"/>
          </ac:grpSpMkLst>
        </pc:grpChg>
        <pc:grpChg chg="add del mod">
          <ac:chgData name="Soumaya ZERHOUNI" userId="690e4aa6-586b-4341-8f1a-54a3e7457441" providerId="ADAL" clId="{69AAD651-E566-4914-B951-51E57822A563}" dt="2024-02-02T09:27:55.972" v="11415" actId="478"/>
          <ac:grpSpMkLst>
            <pc:docMk/>
            <pc:sldMk cId="4060980073" sldId="2147482377"/>
            <ac:grpSpMk id="62" creationId="{766A3DC8-9F9A-DD91-E14D-574645A1C589}"/>
          </ac:grpSpMkLst>
        </pc:grpChg>
        <pc:grpChg chg="add del mod">
          <ac:chgData name="Soumaya ZERHOUNI" userId="690e4aa6-586b-4341-8f1a-54a3e7457441" providerId="ADAL" clId="{69AAD651-E566-4914-B951-51E57822A563}" dt="2024-02-02T09:28:05.799" v="11418" actId="478"/>
          <ac:grpSpMkLst>
            <pc:docMk/>
            <pc:sldMk cId="4060980073" sldId="2147482377"/>
            <ac:grpSpMk id="111" creationId="{9F097FD1-7215-8FC3-2BF8-AEA1D1449A8E}"/>
          </ac:grpSpMkLst>
        </pc:grpChg>
        <pc:grpChg chg="add mod topLvl">
          <ac:chgData name="Soumaya ZERHOUNI" userId="690e4aa6-586b-4341-8f1a-54a3e7457441" providerId="ADAL" clId="{69AAD651-E566-4914-B951-51E57822A563}" dt="2024-02-02T10:51:26.459" v="11976" actId="14100"/>
          <ac:grpSpMkLst>
            <pc:docMk/>
            <pc:sldMk cId="4060980073" sldId="2147482377"/>
            <ac:grpSpMk id="220" creationId="{D255B99D-377E-DB42-2543-73A363EF66D3}"/>
          </ac:grpSpMkLst>
        </pc:grpChg>
        <pc:grpChg chg="add del mod">
          <ac:chgData name="Soumaya ZERHOUNI" userId="690e4aa6-586b-4341-8f1a-54a3e7457441" providerId="ADAL" clId="{69AAD651-E566-4914-B951-51E57822A563}" dt="2024-02-02T10:50:13.334" v="11965" actId="165"/>
          <ac:grpSpMkLst>
            <pc:docMk/>
            <pc:sldMk cId="4060980073" sldId="2147482377"/>
            <ac:grpSpMk id="221" creationId="{E0204914-6FCA-CBA9-C2A4-D3E4B0512D41}"/>
          </ac:grpSpMkLst>
        </pc:grpChg>
        <pc:picChg chg="add mod">
          <ac:chgData name="Soumaya ZERHOUNI" userId="690e4aa6-586b-4341-8f1a-54a3e7457441" providerId="ADAL" clId="{69AAD651-E566-4914-B951-51E57822A563}" dt="2024-02-02T09:27:37.442" v="11411" actId="14100"/>
          <ac:picMkLst>
            <pc:docMk/>
            <pc:sldMk cId="4060980073" sldId="2147482377"/>
            <ac:picMk id="18" creationId="{975A5326-8955-3FF7-7CD6-3A85DD19391C}"/>
          </ac:picMkLst>
        </pc:picChg>
        <pc:picChg chg="add mod">
          <ac:chgData name="Soumaya ZERHOUNI" userId="690e4aa6-586b-4341-8f1a-54a3e7457441" providerId="ADAL" clId="{69AAD651-E566-4914-B951-51E57822A563}" dt="2024-02-02T09:27:37.442" v="11411" actId="14100"/>
          <ac:picMkLst>
            <pc:docMk/>
            <pc:sldMk cId="4060980073" sldId="2147482377"/>
            <ac:picMk id="21" creationId="{25026B95-6C76-A53D-91EA-9B6CCA42BDCF}"/>
          </ac:picMkLst>
        </pc:picChg>
        <pc:picChg chg="add mod">
          <ac:chgData name="Soumaya ZERHOUNI" userId="690e4aa6-586b-4341-8f1a-54a3e7457441" providerId="ADAL" clId="{69AAD651-E566-4914-B951-51E57822A563}" dt="2024-02-02T09:27:37.442" v="11411" actId="14100"/>
          <ac:picMkLst>
            <pc:docMk/>
            <pc:sldMk cId="4060980073" sldId="2147482377"/>
            <ac:picMk id="23" creationId="{788B1367-FA3C-CFE3-7D09-52C3363B1717}"/>
          </ac:picMkLst>
        </pc:picChg>
        <pc:picChg chg="add mod">
          <ac:chgData name="Soumaya ZERHOUNI" userId="690e4aa6-586b-4341-8f1a-54a3e7457441" providerId="ADAL" clId="{69AAD651-E566-4914-B951-51E57822A563}" dt="2024-02-02T09:27:37.442" v="11411" actId="14100"/>
          <ac:picMkLst>
            <pc:docMk/>
            <pc:sldMk cId="4060980073" sldId="2147482377"/>
            <ac:picMk id="26" creationId="{B529D7B4-8FA3-158D-2C8D-082001F80825}"/>
          </ac:picMkLst>
        </pc:picChg>
        <pc:picChg chg="add mod">
          <ac:chgData name="Soumaya ZERHOUNI" userId="690e4aa6-586b-4341-8f1a-54a3e7457441" providerId="ADAL" clId="{69AAD651-E566-4914-B951-51E57822A563}" dt="2024-02-02T09:27:37.442" v="11411" actId="14100"/>
          <ac:picMkLst>
            <pc:docMk/>
            <pc:sldMk cId="4060980073" sldId="2147482377"/>
            <ac:picMk id="27" creationId="{9ECD4B59-2506-0043-2C9A-CA49F66A7A16}"/>
          </ac:picMkLst>
        </pc:picChg>
        <pc:picChg chg="del mod">
          <ac:chgData name="Soumaya ZERHOUNI" userId="690e4aa6-586b-4341-8f1a-54a3e7457441" providerId="ADAL" clId="{69AAD651-E566-4914-B951-51E57822A563}" dt="2024-02-02T09:30:00.030" v="11425" actId="478"/>
          <ac:picMkLst>
            <pc:docMk/>
            <pc:sldMk cId="4060980073" sldId="2147482377"/>
            <ac:picMk id="30" creationId="{407547C6-EAD5-E81B-2EA1-93917B8A23E1}"/>
          </ac:picMkLst>
        </pc:picChg>
        <pc:picChg chg="add mod">
          <ac:chgData name="Soumaya ZERHOUNI" userId="690e4aa6-586b-4341-8f1a-54a3e7457441" providerId="ADAL" clId="{69AAD651-E566-4914-B951-51E57822A563}" dt="2024-02-02T09:27:37.442" v="11411" actId="14100"/>
          <ac:picMkLst>
            <pc:docMk/>
            <pc:sldMk cId="4060980073" sldId="2147482377"/>
            <ac:picMk id="32" creationId="{E3E0BA7D-52F4-1F1E-8257-45226DEC83FD}"/>
          </ac:picMkLst>
        </pc:picChg>
        <pc:picChg chg="add mod">
          <ac:chgData name="Soumaya ZERHOUNI" userId="690e4aa6-586b-4341-8f1a-54a3e7457441" providerId="ADAL" clId="{69AAD651-E566-4914-B951-51E57822A563}" dt="2024-02-02T09:27:37.442" v="11411" actId="14100"/>
          <ac:picMkLst>
            <pc:docMk/>
            <pc:sldMk cId="4060980073" sldId="2147482377"/>
            <ac:picMk id="34" creationId="{EA63BAE1-A20B-AC10-927B-9F9EB81411AA}"/>
          </ac:picMkLst>
        </pc:picChg>
        <pc:picChg chg="add mod">
          <ac:chgData name="Soumaya ZERHOUNI" userId="690e4aa6-586b-4341-8f1a-54a3e7457441" providerId="ADAL" clId="{69AAD651-E566-4914-B951-51E57822A563}" dt="2024-02-02T09:27:37.442" v="11411" actId="14100"/>
          <ac:picMkLst>
            <pc:docMk/>
            <pc:sldMk cId="4060980073" sldId="2147482377"/>
            <ac:picMk id="36" creationId="{36BF7B02-BA86-BF43-347E-EF2FDAFC0283}"/>
          </ac:picMkLst>
        </pc:picChg>
        <pc:picChg chg="add mod">
          <ac:chgData name="Soumaya ZERHOUNI" userId="690e4aa6-586b-4341-8f1a-54a3e7457441" providerId="ADAL" clId="{69AAD651-E566-4914-B951-51E57822A563}" dt="2024-02-02T09:27:37.442" v="11411" actId="14100"/>
          <ac:picMkLst>
            <pc:docMk/>
            <pc:sldMk cId="4060980073" sldId="2147482377"/>
            <ac:picMk id="38" creationId="{5D1D1AE4-6F24-5644-D289-140F0641F979}"/>
          </ac:picMkLst>
        </pc:picChg>
        <pc:picChg chg="add mod">
          <ac:chgData name="Soumaya ZERHOUNI" userId="690e4aa6-586b-4341-8f1a-54a3e7457441" providerId="ADAL" clId="{69AAD651-E566-4914-B951-51E57822A563}" dt="2024-02-02T09:27:37.442" v="11411" actId="14100"/>
          <ac:picMkLst>
            <pc:docMk/>
            <pc:sldMk cId="4060980073" sldId="2147482377"/>
            <ac:picMk id="39" creationId="{02BCA792-C7E3-C694-B67F-7D892C3D7F47}"/>
          </ac:picMkLst>
        </pc:picChg>
        <pc:picChg chg="add mod">
          <ac:chgData name="Soumaya ZERHOUNI" userId="690e4aa6-586b-4341-8f1a-54a3e7457441" providerId="ADAL" clId="{69AAD651-E566-4914-B951-51E57822A563}" dt="2024-02-02T09:27:37.442" v="11411" actId="14100"/>
          <ac:picMkLst>
            <pc:docMk/>
            <pc:sldMk cId="4060980073" sldId="2147482377"/>
            <ac:picMk id="40" creationId="{69BBF4E8-85C1-7A94-EB28-5BCCCA812439}"/>
          </ac:picMkLst>
        </pc:picChg>
        <pc:picChg chg="add mod">
          <ac:chgData name="Soumaya ZERHOUNI" userId="690e4aa6-586b-4341-8f1a-54a3e7457441" providerId="ADAL" clId="{69AAD651-E566-4914-B951-51E57822A563}" dt="2024-02-02T09:27:37.442" v="11411" actId="14100"/>
          <ac:picMkLst>
            <pc:docMk/>
            <pc:sldMk cId="4060980073" sldId="2147482377"/>
            <ac:picMk id="41" creationId="{5E861530-0504-3886-731D-4D8F3DB4ABCE}"/>
          </ac:picMkLst>
        </pc:picChg>
        <pc:picChg chg="add mod">
          <ac:chgData name="Soumaya ZERHOUNI" userId="690e4aa6-586b-4341-8f1a-54a3e7457441" providerId="ADAL" clId="{69AAD651-E566-4914-B951-51E57822A563}" dt="2024-02-02T09:27:37.442" v="11411" actId="14100"/>
          <ac:picMkLst>
            <pc:docMk/>
            <pc:sldMk cId="4060980073" sldId="2147482377"/>
            <ac:picMk id="42" creationId="{A3BB2952-D558-4C62-AF74-55CB5462B809}"/>
          </ac:picMkLst>
        </pc:picChg>
        <pc:picChg chg="add mod">
          <ac:chgData name="Soumaya ZERHOUNI" userId="690e4aa6-586b-4341-8f1a-54a3e7457441" providerId="ADAL" clId="{69AAD651-E566-4914-B951-51E57822A563}" dt="2024-02-02T09:27:37.442" v="11411" actId="14100"/>
          <ac:picMkLst>
            <pc:docMk/>
            <pc:sldMk cId="4060980073" sldId="2147482377"/>
            <ac:picMk id="43" creationId="{4F8FB26C-1A25-6CF6-3538-62E30ABE2926}"/>
          </ac:picMkLst>
        </pc:picChg>
        <pc:picChg chg="add mod">
          <ac:chgData name="Soumaya ZERHOUNI" userId="690e4aa6-586b-4341-8f1a-54a3e7457441" providerId="ADAL" clId="{69AAD651-E566-4914-B951-51E57822A563}" dt="2024-02-02T09:27:37.442" v="11411" actId="14100"/>
          <ac:picMkLst>
            <pc:docMk/>
            <pc:sldMk cId="4060980073" sldId="2147482377"/>
            <ac:picMk id="47" creationId="{BB24AE77-4F0D-D8BA-8F2A-3C749BCB23F4}"/>
          </ac:picMkLst>
        </pc:picChg>
        <pc:picChg chg="add mod">
          <ac:chgData name="Soumaya ZERHOUNI" userId="690e4aa6-586b-4341-8f1a-54a3e7457441" providerId="ADAL" clId="{69AAD651-E566-4914-B951-51E57822A563}" dt="2024-02-02T09:27:37.442" v="11411" actId="14100"/>
          <ac:picMkLst>
            <pc:docMk/>
            <pc:sldMk cId="4060980073" sldId="2147482377"/>
            <ac:picMk id="48" creationId="{3DD2924C-D1FE-2F47-5A04-C45E6A5DC959}"/>
          </ac:picMkLst>
        </pc:picChg>
        <pc:picChg chg="add mod">
          <ac:chgData name="Soumaya ZERHOUNI" userId="690e4aa6-586b-4341-8f1a-54a3e7457441" providerId="ADAL" clId="{69AAD651-E566-4914-B951-51E57822A563}" dt="2024-02-02T09:27:37.442" v="11411" actId="14100"/>
          <ac:picMkLst>
            <pc:docMk/>
            <pc:sldMk cId="4060980073" sldId="2147482377"/>
            <ac:picMk id="49" creationId="{AF88947F-22FC-4F00-535F-AD3F74C86732}"/>
          </ac:picMkLst>
        </pc:picChg>
        <pc:picChg chg="add mod">
          <ac:chgData name="Soumaya ZERHOUNI" userId="690e4aa6-586b-4341-8f1a-54a3e7457441" providerId="ADAL" clId="{69AAD651-E566-4914-B951-51E57822A563}" dt="2024-02-02T09:27:37.442" v="11411" actId="14100"/>
          <ac:picMkLst>
            <pc:docMk/>
            <pc:sldMk cId="4060980073" sldId="2147482377"/>
            <ac:picMk id="50" creationId="{4787B02A-EC13-B5EA-BC23-21D5146EBA29}"/>
          </ac:picMkLst>
        </pc:picChg>
        <pc:picChg chg="add mod">
          <ac:chgData name="Soumaya ZERHOUNI" userId="690e4aa6-586b-4341-8f1a-54a3e7457441" providerId="ADAL" clId="{69AAD651-E566-4914-B951-51E57822A563}" dt="2024-02-02T09:27:37.442" v="11411" actId="14100"/>
          <ac:picMkLst>
            <pc:docMk/>
            <pc:sldMk cId="4060980073" sldId="2147482377"/>
            <ac:picMk id="51" creationId="{359FC50F-E2D0-A876-F1CA-EFAC50F2DD8B}"/>
          </ac:picMkLst>
        </pc:picChg>
        <pc:picChg chg="add mod">
          <ac:chgData name="Soumaya ZERHOUNI" userId="690e4aa6-586b-4341-8f1a-54a3e7457441" providerId="ADAL" clId="{69AAD651-E566-4914-B951-51E57822A563}" dt="2024-02-02T09:27:37.442" v="11411" actId="14100"/>
          <ac:picMkLst>
            <pc:docMk/>
            <pc:sldMk cId="4060980073" sldId="2147482377"/>
            <ac:picMk id="52" creationId="{83B9659A-0A74-3A21-9F46-AFA695675109}"/>
          </ac:picMkLst>
        </pc:picChg>
        <pc:picChg chg="add mod">
          <ac:chgData name="Soumaya ZERHOUNI" userId="690e4aa6-586b-4341-8f1a-54a3e7457441" providerId="ADAL" clId="{69AAD651-E566-4914-B951-51E57822A563}" dt="2024-02-02T09:27:37.442" v="11411" actId="14100"/>
          <ac:picMkLst>
            <pc:docMk/>
            <pc:sldMk cId="4060980073" sldId="2147482377"/>
            <ac:picMk id="53" creationId="{DF5CD7F5-FB27-E4A2-ECD0-CAAD13FF3AD2}"/>
          </ac:picMkLst>
        </pc:picChg>
        <pc:picChg chg="add mod">
          <ac:chgData name="Soumaya ZERHOUNI" userId="690e4aa6-586b-4341-8f1a-54a3e7457441" providerId="ADAL" clId="{69AAD651-E566-4914-B951-51E57822A563}" dt="2024-02-02T09:27:37.442" v="11411" actId="14100"/>
          <ac:picMkLst>
            <pc:docMk/>
            <pc:sldMk cId="4060980073" sldId="2147482377"/>
            <ac:picMk id="54" creationId="{20EDDB25-DE51-EAA2-85DA-62C0452D7AC7}"/>
          </ac:picMkLst>
        </pc:picChg>
        <pc:picChg chg="add mod">
          <ac:chgData name="Soumaya ZERHOUNI" userId="690e4aa6-586b-4341-8f1a-54a3e7457441" providerId="ADAL" clId="{69AAD651-E566-4914-B951-51E57822A563}" dt="2024-02-02T09:27:37.442" v="11411" actId="14100"/>
          <ac:picMkLst>
            <pc:docMk/>
            <pc:sldMk cId="4060980073" sldId="2147482377"/>
            <ac:picMk id="55" creationId="{F89B5769-F8D8-748A-1679-72B6FED5D2D1}"/>
          </ac:picMkLst>
        </pc:picChg>
        <pc:picChg chg="add mod">
          <ac:chgData name="Soumaya ZERHOUNI" userId="690e4aa6-586b-4341-8f1a-54a3e7457441" providerId="ADAL" clId="{69AAD651-E566-4914-B951-51E57822A563}" dt="2024-02-02T09:27:37.442" v="11411" actId="14100"/>
          <ac:picMkLst>
            <pc:docMk/>
            <pc:sldMk cId="4060980073" sldId="2147482377"/>
            <ac:picMk id="56" creationId="{D2717868-DED4-E4DE-E59B-37E1A11C0CDE}"/>
          </ac:picMkLst>
        </pc:picChg>
        <pc:picChg chg="mod">
          <ac:chgData name="Soumaya ZERHOUNI" userId="690e4aa6-586b-4341-8f1a-54a3e7457441" providerId="ADAL" clId="{69AAD651-E566-4914-B951-51E57822A563}" dt="2024-02-02T09:27:51.643" v="11414" actId="1076"/>
          <ac:picMkLst>
            <pc:docMk/>
            <pc:sldMk cId="4060980073" sldId="2147482377"/>
            <ac:picMk id="74" creationId="{975A5326-8955-3FF7-7CD6-3A85DD19391C}"/>
          </ac:picMkLst>
        </pc:picChg>
        <pc:picChg chg="mod">
          <ac:chgData name="Soumaya ZERHOUNI" userId="690e4aa6-586b-4341-8f1a-54a3e7457441" providerId="ADAL" clId="{69AAD651-E566-4914-B951-51E57822A563}" dt="2024-02-02T09:27:51.643" v="11414" actId="1076"/>
          <ac:picMkLst>
            <pc:docMk/>
            <pc:sldMk cId="4060980073" sldId="2147482377"/>
            <ac:picMk id="77" creationId="{25026B95-6C76-A53D-91EA-9B6CCA42BDCF}"/>
          </ac:picMkLst>
        </pc:picChg>
        <pc:picChg chg="mod">
          <ac:chgData name="Soumaya ZERHOUNI" userId="690e4aa6-586b-4341-8f1a-54a3e7457441" providerId="ADAL" clId="{69AAD651-E566-4914-B951-51E57822A563}" dt="2024-02-02T09:27:51.643" v="11414" actId="1076"/>
          <ac:picMkLst>
            <pc:docMk/>
            <pc:sldMk cId="4060980073" sldId="2147482377"/>
            <ac:picMk id="79" creationId="{788B1367-FA3C-CFE3-7D09-52C3363B1717}"/>
          </ac:picMkLst>
        </pc:picChg>
        <pc:picChg chg="mod">
          <ac:chgData name="Soumaya ZERHOUNI" userId="690e4aa6-586b-4341-8f1a-54a3e7457441" providerId="ADAL" clId="{69AAD651-E566-4914-B951-51E57822A563}" dt="2024-02-02T09:27:51.643" v="11414" actId="1076"/>
          <ac:picMkLst>
            <pc:docMk/>
            <pc:sldMk cId="4060980073" sldId="2147482377"/>
            <ac:picMk id="82" creationId="{B529D7B4-8FA3-158D-2C8D-082001F80825}"/>
          </ac:picMkLst>
        </pc:picChg>
        <pc:picChg chg="mod">
          <ac:chgData name="Soumaya ZERHOUNI" userId="690e4aa6-586b-4341-8f1a-54a3e7457441" providerId="ADAL" clId="{69AAD651-E566-4914-B951-51E57822A563}" dt="2024-02-02T09:27:51.643" v="11414" actId="1076"/>
          <ac:picMkLst>
            <pc:docMk/>
            <pc:sldMk cId="4060980073" sldId="2147482377"/>
            <ac:picMk id="83" creationId="{9ECD4B59-2506-0043-2C9A-CA49F66A7A16}"/>
          </ac:picMkLst>
        </pc:picChg>
        <pc:picChg chg="mod">
          <ac:chgData name="Soumaya ZERHOUNI" userId="690e4aa6-586b-4341-8f1a-54a3e7457441" providerId="ADAL" clId="{69AAD651-E566-4914-B951-51E57822A563}" dt="2024-02-02T09:27:51.643" v="11414" actId="1076"/>
          <ac:picMkLst>
            <pc:docMk/>
            <pc:sldMk cId="4060980073" sldId="2147482377"/>
            <ac:picMk id="87" creationId="{E3E0BA7D-52F4-1F1E-8257-45226DEC83FD}"/>
          </ac:picMkLst>
        </pc:picChg>
        <pc:picChg chg="mod">
          <ac:chgData name="Soumaya ZERHOUNI" userId="690e4aa6-586b-4341-8f1a-54a3e7457441" providerId="ADAL" clId="{69AAD651-E566-4914-B951-51E57822A563}" dt="2024-02-02T09:27:51.643" v="11414" actId="1076"/>
          <ac:picMkLst>
            <pc:docMk/>
            <pc:sldMk cId="4060980073" sldId="2147482377"/>
            <ac:picMk id="89" creationId="{EA63BAE1-A20B-AC10-927B-9F9EB81411AA}"/>
          </ac:picMkLst>
        </pc:picChg>
        <pc:picChg chg="mod">
          <ac:chgData name="Soumaya ZERHOUNI" userId="690e4aa6-586b-4341-8f1a-54a3e7457441" providerId="ADAL" clId="{69AAD651-E566-4914-B951-51E57822A563}" dt="2024-02-02T09:27:51.643" v="11414" actId="1076"/>
          <ac:picMkLst>
            <pc:docMk/>
            <pc:sldMk cId="4060980073" sldId="2147482377"/>
            <ac:picMk id="91" creationId="{36BF7B02-BA86-BF43-347E-EF2FDAFC0283}"/>
          </ac:picMkLst>
        </pc:picChg>
        <pc:picChg chg="mod">
          <ac:chgData name="Soumaya ZERHOUNI" userId="690e4aa6-586b-4341-8f1a-54a3e7457441" providerId="ADAL" clId="{69AAD651-E566-4914-B951-51E57822A563}" dt="2024-02-02T09:27:51.643" v="11414" actId="1076"/>
          <ac:picMkLst>
            <pc:docMk/>
            <pc:sldMk cId="4060980073" sldId="2147482377"/>
            <ac:picMk id="93" creationId="{5D1D1AE4-6F24-5644-D289-140F0641F979}"/>
          </ac:picMkLst>
        </pc:picChg>
        <pc:picChg chg="mod">
          <ac:chgData name="Soumaya ZERHOUNI" userId="690e4aa6-586b-4341-8f1a-54a3e7457441" providerId="ADAL" clId="{69AAD651-E566-4914-B951-51E57822A563}" dt="2024-02-02T09:27:51.643" v="11414" actId="1076"/>
          <ac:picMkLst>
            <pc:docMk/>
            <pc:sldMk cId="4060980073" sldId="2147482377"/>
            <ac:picMk id="94" creationId="{02BCA792-C7E3-C694-B67F-7D892C3D7F47}"/>
          </ac:picMkLst>
        </pc:picChg>
        <pc:picChg chg="mod">
          <ac:chgData name="Soumaya ZERHOUNI" userId="690e4aa6-586b-4341-8f1a-54a3e7457441" providerId="ADAL" clId="{69AAD651-E566-4914-B951-51E57822A563}" dt="2024-02-02T09:27:51.643" v="11414" actId="1076"/>
          <ac:picMkLst>
            <pc:docMk/>
            <pc:sldMk cId="4060980073" sldId="2147482377"/>
            <ac:picMk id="95" creationId="{69BBF4E8-85C1-7A94-EB28-5BCCCA812439}"/>
          </ac:picMkLst>
        </pc:picChg>
        <pc:picChg chg="mod">
          <ac:chgData name="Soumaya ZERHOUNI" userId="690e4aa6-586b-4341-8f1a-54a3e7457441" providerId="ADAL" clId="{69AAD651-E566-4914-B951-51E57822A563}" dt="2024-02-02T09:27:51.643" v="11414" actId="1076"/>
          <ac:picMkLst>
            <pc:docMk/>
            <pc:sldMk cId="4060980073" sldId="2147482377"/>
            <ac:picMk id="96" creationId="{5E861530-0504-3886-731D-4D8F3DB4ABCE}"/>
          </ac:picMkLst>
        </pc:picChg>
        <pc:picChg chg="mod">
          <ac:chgData name="Soumaya ZERHOUNI" userId="690e4aa6-586b-4341-8f1a-54a3e7457441" providerId="ADAL" clId="{69AAD651-E566-4914-B951-51E57822A563}" dt="2024-02-02T09:27:51.643" v="11414" actId="1076"/>
          <ac:picMkLst>
            <pc:docMk/>
            <pc:sldMk cId="4060980073" sldId="2147482377"/>
            <ac:picMk id="97" creationId="{A3BB2952-D558-4C62-AF74-55CB5462B809}"/>
          </ac:picMkLst>
        </pc:picChg>
        <pc:picChg chg="mod">
          <ac:chgData name="Soumaya ZERHOUNI" userId="690e4aa6-586b-4341-8f1a-54a3e7457441" providerId="ADAL" clId="{69AAD651-E566-4914-B951-51E57822A563}" dt="2024-02-02T09:27:51.643" v="11414" actId="1076"/>
          <ac:picMkLst>
            <pc:docMk/>
            <pc:sldMk cId="4060980073" sldId="2147482377"/>
            <ac:picMk id="98" creationId="{4F8FB26C-1A25-6CF6-3538-62E30ABE2926}"/>
          </ac:picMkLst>
        </pc:picChg>
        <pc:picChg chg="mod">
          <ac:chgData name="Soumaya ZERHOUNI" userId="690e4aa6-586b-4341-8f1a-54a3e7457441" providerId="ADAL" clId="{69AAD651-E566-4914-B951-51E57822A563}" dt="2024-02-02T09:27:51.643" v="11414" actId="1076"/>
          <ac:picMkLst>
            <pc:docMk/>
            <pc:sldMk cId="4060980073" sldId="2147482377"/>
            <ac:picMk id="99" creationId="{BB24AE77-4F0D-D8BA-8F2A-3C749BCB23F4}"/>
          </ac:picMkLst>
        </pc:picChg>
        <pc:picChg chg="mod">
          <ac:chgData name="Soumaya ZERHOUNI" userId="690e4aa6-586b-4341-8f1a-54a3e7457441" providerId="ADAL" clId="{69AAD651-E566-4914-B951-51E57822A563}" dt="2024-02-02T09:27:51.643" v="11414" actId="1076"/>
          <ac:picMkLst>
            <pc:docMk/>
            <pc:sldMk cId="4060980073" sldId="2147482377"/>
            <ac:picMk id="100" creationId="{3DD2924C-D1FE-2F47-5A04-C45E6A5DC959}"/>
          </ac:picMkLst>
        </pc:picChg>
        <pc:picChg chg="mod">
          <ac:chgData name="Soumaya ZERHOUNI" userId="690e4aa6-586b-4341-8f1a-54a3e7457441" providerId="ADAL" clId="{69AAD651-E566-4914-B951-51E57822A563}" dt="2024-02-02T09:27:51.643" v="11414" actId="1076"/>
          <ac:picMkLst>
            <pc:docMk/>
            <pc:sldMk cId="4060980073" sldId="2147482377"/>
            <ac:picMk id="101" creationId="{AF88947F-22FC-4F00-535F-AD3F74C86732}"/>
          </ac:picMkLst>
        </pc:picChg>
        <pc:picChg chg="mod">
          <ac:chgData name="Soumaya ZERHOUNI" userId="690e4aa6-586b-4341-8f1a-54a3e7457441" providerId="ADAL" clId="{69AAD651-E566-4914-B951-51E57822A563}" dt="2024-02-02T09:27:51.643" v="11414" actId="1076"/>
          <ac:picMkLst>
            <pc:docMk/>
            <pc:sldMk cId="4060980073" sldId="2147482377"/>
            <ac:picMk id="102" creationId="{4787B02A-EC13-B5EA-BC23-21D5146EBA29}"/>
          </ac:picMkLst>
        </pc:picChg>
        <pc:picChg chg="mod">
          <ac:chgData name="Soumaya ZERHOUNI" userId="690e4aa6-586b-4341-8f1a-54a3e7457441" providerId="ADAL" clId="{69AAD651-E566-4914-B951-51E57822A563}" dt="2024-02-02T09:27:51.643" v="11414" actId="1076"/>
          <ac:picMkLst>
            <pc:docMk/>
            <pc:sldMk cId="4060980073" sldId="2147482377"/>
            <ac:picMk id="103" creationId="{359FC50F-E2D0-A876-F1CA-EFAC50F2DD8B}"/>
          </ac:picMkLst>
        </pc:picChg>
        <pc:picChg chg="mod">
          <ac:chgData name="Soumaya ZERHOUNI" userId="690e4aa6-586b-4341-8f1a-54a3e7457441" providerId="ADAL" clId="{69AAD651-E566-4914-B951-51E57822A563}" dt="2024-02-02T09:27:51.643" v="11414" actId="1076"/>
          <ac:picMkLst>
            <pc:docMk/>
            <pc:sldMk cId="4060980073" sldId="2147482377"/>
            <ac:picMk id="104" creationId="{83B9659A-0A74-3A21-9F46-AFA695675109}"/>
          </ac:picMkLst>
        </pc:picChg>
        <pc:picChg chg="mod">
          <ac:chgData name="Soumaya ZERHOUNI" userId="690e4aa6-586b-4341-8f1a-54a3e7457441" providerId="ADAL" clId="{69AAD651-E566-4914-B951-51E57822A563}" dt="2024-02-02T09:27:51.643" v="11414" actId="1076"/>
          <ac:picMkLst>
            <pc:docMk/>
            <pc:sldMk cId="4060980073" sldId="2147482377"/>
            <ac:picMk id="105" creationId="{DF5CD7F5-FB27-E4A2-ECD0-CAAD13FF3AD2}"/>
          </ac:picMkLst>
        </pc:picChg>
        <pc:picChg chg="mod">
          <ac:chgData name="Soumaya ZERHOUNI" userId="690e4aa6-586b-4341-8f1a-54a3e7457441" providerId="ADAL" clId="{69AAD651-E566-4914-B951-51E57822A563}" dt="2024-02-02T09:27:51.643" v="11414" actId="1076"/>
          <ac:picMkLst>
            <pc:docMk/>
            <pc:sldMk cId="4060980073" sldId="2147482377"/>
            <ac:picMk id="106" creationId="{20EDDB25-DE51-EAA2-85DA-62C0452D7AC7}"/>
          </ac:picMkLst>
        </pc:picChg>
        <pc:picChg chg="mod">
          <ac:chgData name="Soumaya ZERHOUNI" userId="690e4aa6-586b-4341-8f1a-54a3e7457441" providerId="ADAL" clId="{69AAD651-E566-4914-B951-51E57822A563}" dt="2024-02-02T09:27:51.643" v="11414" actId="1076"/>
          <ac:picMkLst>
            <pc:docMk/>
            <pc:sldMk cId="4060980073" sldId="2147482377"/>
            <ac:picMk id="107" creationId="{F89B5769-F8D8-748A-1679-72B6FED5D2D1}"/>
          </ac:picMkLst>
        </pc:picChg>
        <pc:picChg chg="mod">
          <ac:chgData name="Soumaya ZERHOUNI" userId="690e4aa6-586b-4341-8f1a-54a3e7457441" providerId="ADAL" clId="{69AAD651-E566-4914-B951-51E57822A563}" dt="2024-02-02T09:27:51.643" v="11414" actId="1076"/>
          <ac:picMkLst>
            <pc:docMk/>
            <pc:sldMk cId="4060980073" sldId="2147482377"/>
            <ac:picMk id="108" creationId="{D2717868-DED4-E4DE-E59B-37E1A11C0CDE}"/>
          </ac:picMkLst>
        </pc:picChg>
        <pc:picChg chg="mod">
          <ac:chgData name="Soumaya ZERHOUNI" userId="690e4aa6-586b-4341-8f1a-54a3e7457441" providerId="ADAL" clId="{69AAD651-E566-4914-B951-51E57822A563}" dt="2024-02-02T09:28:04.019" v="11417" actId="1076"/>
          <ac:picMkLst>
            <pc:docMk/>
            <pc:sldMk cId="4060980073" sldId="2147482377"/>
            <ac:picMk id="123" creationId="{2C140B9B-E488-1922-9401-6E27A0065254}"/>
          </ac:picMkLst>
        </pc:picChg>
        <pc:picChg chg="mod">
          <ac:chgData name="Soumaya ZERHOUNI" userId="690e4aa6-586b-4341-8f1a-54a3e7457441" providerId="ADAL" clId="{69AAD651-E566-4914-B951-51E57822A563}" dt="2024-02-02T09:28:04.019" v="11417" actId="1076"/>
          <ac:picMkLst>
            <pc:docMk/>
            <pc:sldMk cId="4060980073" sldId="2147482377"/>
            <ac:picMk id="126" creationId="{20118237-37BC-FF5C-4D6F-D820828DE88F}"/>
          </ac:picMkLst>
        </pc:picChg>
        <pc:picChg chg="mod">
          <ac:chgData name="Soumaya ZERHOUNI" userId="690e4aa6-586b-4341-8f1a-54a3e7457441" providerId="ADAL" clId="{69AAD651-E566-4914-B951-51E57822A563}" dt="2024-02-02T09:28:04.019" v="11417" actId="1076"/>
          <ac:picMkLst>
            <pc:docMk/>
            <pc:sldMk cId="4060980073" sldId="2147482377"/>
            <ac:picMk id="128" creationId="{7E94E6DB-3F58-1B83-BD2D-5E1488843846}"/>
          </ac:picMkLst>
        </pc:picChg>
        <pc:picChg chg="mod">
          <ac:chgData name="Soumaya ZERHOUNI" userId="690e4aa6-586b-4341-8f1a-54a3e7457441" providerId="ADAL" clId="{69AAD651-E566-4914-B951-51E57822A563}" dt="2024-02-02T09:28:04.019" v="11417" actId="1076"/>
          <ac:picMkLst>
            <pc:docMk/>
            <pc:sldMk cId="4060980073" sldId="2147482377"/>
            <ac:picMk id="131" creationId="{EC4EF836-94AD-F46D-FC4F-95035003A9E1}"/>
          </ac:picMkLst>
        </pc:picChg>
        <pc:picChg chg="mod">
          <ac:chgData name="Soumaya ZERHOUNI" userId="690e4aa6-586b-4341-8f1a-54a3e7457441" providerId="ADAL" clId="{69AAD651-E566-4914-B951-51E57822A563}" dt="2024-02-02T09:28:04.019" v="11417" actId="1076"/>
          <ac:picMkLst>
            <pc:docMk/>
            <pc:sldMk cId="4060980073" sldId="2147482377"/>
            <ac:picMk id="132" creationId="{F2B5834F-708B-9B07-C8D3-AEB9F118687F}"/>
          </ac:picMkLst>
        </pc:picChg>
        <pc:picChg chg="mod">
          <ac:chgData name="Soumaya ZERHOUNI" userId="690e4aa6-586b-4341-8f1a-54a3e7457441" providerId="ADAL" clId="{69AAD651-E566-4914-B951-51E57822A563}" dt="2024-02-02T09:28:04.019" v="11417" actId="1076"/>
          <ac:picMkLst>
            <pc:docMk/>
            <pc:sldMk cId="4060980073" sldId="2147482377"/>
            <ac:picMk id="136" creationId="{A79DA4AD-91C0-E19E-49D7-82C98339BC96}"/>
          </ac:picMkLst>
        </pc:picChg>
        <pc:picChg chg="mod">
          <ac:chgData name="Soumaya ZERHOUNI" userId="690e4aa6-586b-4341-8f1a-54a3e7457441" providerId="ADAL" clId="{69AAD651-E566-4914-B951-51E57822A563}" dt="2024-02-02T09:28:04.019" v="11417" actId="1076"/>
          <ac:picMkLst>
            <pc:docMk/>
            <pc:sldMk cId="4060980073" sldId="2147482377"/>
            <ac:picMk id="138" creationId="{E4F5FE1B-3F2B-5998-C4F3-73F060483B76}"/>
          </ac:picMkLst>
        </pc:picChg>
        <pc:picChg chg="mod">
          <ac:chgData name="Soumaya ZERHOUNI" userId="690e4aa6-586b-4341-8f1a-54a3e7457441" providerId="ADAL" clId="{69AAD651-E566-4914-B951-51E57822A563}" dt="2024-02-02T09:28:04.019" v="11417" actId="1076"/>
          <ac:picMkLst>
            <pc:docMk/>
            <pc:sldMk cId="4060980073" sldId="2147482377"/>
            <ac:picMk id="140" creationId="{31F7D754-5651-9FDC-00D8-DCA936AF429A}"/>
          </ac:picMkLst>
        </pc:picChg>
        <pc:picChg chg="mod">
          <ac:chgData name="Soumaya ZERHOUNI" userId="690e4aa6-586b-4341-8f1a-54a3e7457441" providerId="ADAL" clId="{69AAD651-E566-4914-B951-51E57822A563}" dt="2024-02-02T09:28:04.019" v="11417" actId="1076"/>
          <ac:picMkLst>
            <pc:docMk/>
            <pc:sldMk cId="4060980073" sldId="2147482377"/>
            <ac:picMk id="142" creationId="{0E3A7482-992F-27D2-87E4-7490B46F81B7}"/>
          </ac:picMkLst>
        </pc:picChg>
        <pc:picChg chg="mod">
          <ac:chgData name="Soumaya ZERHOUNI" userId="690e4aa6-586b-4341-8f1a-54a3e7457441" providerId="ADAL" clId="{69AAD651-E566-4914-B951-51E57822A563}" dt="2024-02-02T09:28:04.019" v="11417" actId="1076"/>
          <ac:picMkLst>
            <pc:docMk/>
            <pc:sldMk cId="4060980073" sldId="2147482377"/>
            <ac:picMk id="143" creationId="{718E7E64-64D8-4618-F5DB-21780CC4A588}"/>
          </ac:picMkLst>
        </pc:picChg>
        <pc:picChg chg="mod">
          <ac:chgData name="Soumaya ZERHOUNI" userId="690e4aa6-586b-4341-8f1a-54a3e7457441" providerId="ADAL" clId="{69AAD651-E566-4914-B951-51E57822A563}" dt="2024-02-02T09:28:04.019" v="11417" actId="1076"/>
          <ac:picMkLst>
            <pc:docMk/>
            <pc:sldMk cId="4060980073" sldId="2147482377"/>
            <ac:picMk id="144" creationId="{91A6C6A6-B343-9DE6-308B-C4DFBC7EEF8A}"/>
          </ac:picMkLst>
        </pc:picChg>
        <pc:picChg chg="mod">
          <ac:chgData name="Soumaya ZERHOUNI" userId="690e4aa6-586b-4341-8f1a-54a3e7457441" providerId="ADAL" clId="{69AAD651-E566-4914-B951-51E57822A563}" dt="2024-02-02T09:28:04.019" v="11417" actId="1076"/>
          <ac:picMkLst>
            <pc:docMk/>
            <pc:sldMk cId="4060980073" sldId="2147482377"/>
            <ac:picMk id="145" creationId="{570C8063-4E25-4F2C-87E4-7CA21D779299}"/>
          </ac:picMkLst>
        </pc:picChg>
        <pc:picChg chg="mod">
          <ac:chgData name="Soumaya ZERHOUNI" userId="690e4aa6-586b-4341-8f1a-54a3e7457441" providerId="ADAL" clId="{69AAD651-E566-4914-B951-51E57822A563}" dt="2024-02-02T09:28:04.019" v="11417" actId="1076"/>
          <ac:picMkLst>
            <pc:docMk/>
            <pc:sldMk cId="4060980073" sldId="2147482377"/>
            <ac:picMk id="146" creationId="{24D6B323-A217-2561-A0F8-5948BD9A25A6}"/>
          </ac:picMkLst>
        </pc:picChg>
        <pc:picChg chg="mod">
          <ac:chgData name="Soumaya ZERHOUNI" userId="690e4aa6-586b-4341-8f1a-54a3e7457441" providerId="ADAL" clId="{69AAD651-E566-4914-B951-51E57822A563}" dt="2024-02-02T09:28:04.019" v="11417" actId="1076"/>
          <ac:picMkLst>
            <pc:docMk/>
            <pc:sldMk cId="4060980073" sldId="2147482377"/>
            <ac:picMk id="147" creationId="{4DC5B8DF-015B-6180-F863-AFF10F64895F}"/>
          </ac:picMkLst>
        </pc:picChg>
        <pc:picChg chg="mod">
          <ac:chgData name="Soumaya ZERHOUNI" userId="690e4aa6-586b-4341-8f1a-54a3e7457441" providerId="ADAL" clId="{69AAD651-E566-4914-B951-51E57822A563}" dt="2024-02-02T09:28:04.019" v="11417" actId="1076"/>
          <ac:picMkLst>
            <pc:docMk/>
            <pc:sldMk cId="4060980073" sldId="2147482377"/>
            <ac:picMk id="148" creationId="{CD055DEF-006F-1A58-9CD4-599CB34AEF40}"/>
          </ac:picMkLst>
        </pc:picChg>
        <pc:picChg chg="mod">
          <ac:chgData name="Soumaya ZERHOUNI" userId="690e4aa6-586b-4341-8f1a-54a3e7457441" providerId="ADAL" clId="{69AAD651-E566-4914-B951-51E57822A563}" dt="2024-02-02T09:28:04.019" v="11417" actId="1076"/>
          <ac:picMkLst>
            <pc:docMk/>
            <pc:sldMk cId="4060980073" sldId="2147482377"/>
            <ac:picMk id="149" creationId="{FC27E1FC-BF60-B81A-733F-AB06517D14B3}"/>
          </ac:picMkLst>
        </pc:picChg>
        <pc:picChg chg="mod">
          <ac:chgData name="Soumaya ZERHOUNI" userId="690e4aa6-586b-4341-8f1a-54a3e7457441" providerId="ADAL" clId="{69AAD651-E566-4914-B951-51E57822A563}" dt="2024-02-02T09:28:04.019" v="11417" actId="1076"/>
          <ac:picMkLst>
            <pc:docMk/>
            <pc:sldMk cId="4060980073" sldId="2147482377"/>
            <ac:picMk id="150" creationId="{9E656923-9687-C886-A35E-C4C43C0C48C8}"/>
          </ac:picMkLst>
        </pc:picChg>
        <pc:picChg chg="mod">
          <ac:chgData name="Soumaya ZERHOUNI" userId="690e4aa6-586b-4341-8f1a-54a3e7457441" providerId="ADAL" clId="{69AAD651-E566-4914-B951-51E57822A563}" dt="2024-02-02T09:28:04.019" v="11417" actId="1076"/>
          <ac:picMkLst>
            <pc:docMk/>
            <pc:sldMk cId="4060980073" sldId="2147482377"/>
            <ac:picMk id="151" creationId="{8DA14266-424E-5C1F-2D23-6D9A1EEBDE84}"/>
          </ac:picMkLst>
        </pc:picChg>
        <pc:picChg chg="mod">
          <ac:chgData name="Soumaya ZERHOUNI" userId="690e4aa6-586b-4341-8f1a-54a3e7457441" providerId="ADAL" clId="{69AAD651-E566-4914-B951-51E57822A563}" dt="2024-02-02T09:28:04.019" v="11417" actId="1076"/>
          <ac:picMkLst>
            <pc:docMk/>
            <pc:sldMk cId="4060980073" sldId="2147482377"/>
            <ac:picMk id="152" creationId="{5590BD6F-D72A-F171-4A55-BEEDBA766D8F}"/>
          </ac:picMkLst>
        </pc:picChg>
        <pc:picChg chg="mod">
          <ac:chgData name="Soumaya ZERHOUNI" userId="690e4aa6-586b-4341-8f1a-54a3e7457441" providerId="ADAL" clId="{69AAD651-E566-4914-B951-51E57822A563}" dt="2024-02-02T09:28:04.019" v="11417" actId="1076"/>
          <ac:picMkLst>
            <pc:docMk/>
            <pc:sldMk cId="4060980073" sldId="2147482377"/>
            <ac:picMk id="153" creationId="{8789D9E9-8E03-9F06-CB54-EC3DD73ECB54}"/>
          </ac:picMkLst>
        </pc:picChg>
        <pc:picChg chg="mod">
          <ac:chgData name="Soumaya ZERHOUNI" userId="690e4aa6-586b-4341-8f1a-54a3e7457441" providerId="ADAL" clId="{69AAD651-E566-4914-B951-51E57822A563}" dt="2024-02-02T09:28:04.019" v="11417" actId="1076"/>
          <ac:picMkLst>
            <pc:docMk/>
            <pc:sldMk cId="4060980073" sldId="2147482377"/>
            <ac:picMk id="154" creationId="{AEB5E56F-7361-6C3B-8E03-F9482E6EE2FF}"/>
          </ac:picMkLst>
        </pc:picChg>
        <pc:picChg chg="mod">
          <ac:chgData name="Soumaya ZERHOUNI" userId="690e4aa6-586b-4341-8f1a-54a3e7457441" providerId="ADAL" clId="{69AAD651-E566-4914-B951-51E57822A563}" dt="2024-02-02T09:28:04.019" v="11417" actId="1076"/>
          <ac:picMkLst>
            <pc:docMk/>
            <pc:sldMk cId="4060980073" sldId="2147482377"/>
            <ac:picMk id="155" creationId="{932AD971-0EEB-FB8C-5063-8D9D7278D02C}"/>
          </ac:picMkLst>
        </pc:picChg>
        <pc:picChg chg="mod">
          <ac:chgData name="Soumaya ZERHOUNI" userId="690e4aa6-586b-4341-8f1a-54a3e7457441" providerId="ADAL" clId="{69AAD651-E566-4914-B951-51E57822A563}" dt="2024-02-02T09:28:04.019" v="11417" actId="1076"/>
          <ac:picMkLst>
            <pc:docMk/>
            <pc:sldMk cId="4060980073" sldId="2147482377"/>
            <ac:picMk id="156" creationId="{93F95248-BAA3-30CC-C5F5-FFAAA415286C}"/>
          </ac:picMkLst>
        </pc:picChg>
        <pc:picChg chg="mod">
          <ac:chgData name="Soumaya ZERHOUNI" userId="690e4aa6-586b-4341-8f1a-54a3e7457441" providerId="ADAL" clId="{69AAD651-E566-4914-B951-51E57822A563}" dt="2024-02-02T09:28:04.019" v="11417" actId="1076"/>
          <ac:picMkLst>
            <pc:docMk/>
            <pc:sldMk cId="4060980073" sldId="2147482377"/>
            <ac:picMk id="157" creationId="{C9C7E9E6-6B08-D20D-3940-A245E76FD5AC}"/>
          </ac:picMkLst>
        </pc:picChg>
        <pc:picChg chg="add mod">
          <ac:chgData name="Soumaya ZERHOUNI" userId="690e4aa6-586b-4341-8f1a-54a3e7457441" providerId="ADAL" clId="{69AAD651-E566-4914-B951-51E57822A563}" dt="2024-02-02T09:29:19.740" v="11419"/>
          <ac:picMkLst>
            <pc:docMk/>
            <pc:sldMk cId="4060980073" sldId="2147482377"/>
            <ac:picMk id="171" creationId="{962099D5-89B9-05DB-3E27-D8248E1644D1}"/>
          </ac:picMkLst>
        </pc:picChg>
        <pc:picChg chg="add mod">
          <ac:chgData name="Soumaya ZERHOUNI" userId="690e4aa6-586b-4341-8f1a-54a3e7457441" providerId="ADAL" clId="{69AAD651-E566-4914-B951-51E57822A563}" dt="2024-02-02T09:29:19.740" v="11419"/>
          <ac:picMkLst>
            <pc:docMk/>
            <pc:sldMk cId="4060980073" sldId="2147482377"/>
            <ac:picMk id="174" creationId="{1B0F746C-C8B5-C26C-F20D-950F043F8092}"/>
          </ac:picMkLst>
        </pc:picChg>
        <pc:picChg chg="add mod">
          <ac:chgData name="Soumaya ZERHOUNI" userId="690e4aa6-586b-4341-8f1a-54a3e7457441" providerId="ADAL" clId="{69AAD651-E566-4914-B951-51E57822A563}" dt="2024-02-02T09:29:19.740" v="11419"/>
          <ac:picMkLst>
            <pc:docMk/>
            <pc:sldMk cId="4060980073" sldId="2147482377"/>
            <ac:picMk id="176" creationId="{CDC0F6BF-E9E3-E805-2C21-3296F2A7FDDA}"/>
          </ac:picMkLst>
        </pc:picChg>
        <pc:picChg chg="add mod">
          <ac:chgData name="Soumaya ZERHOUNI" userId="690e4aa6-586b-4341-8f1a-54a3e7457441" providerId="ADAL" clId="{69AAD651-E566-4914-B951-51E57822A563}" dt="2024-02-02T09:29:19.740" v="11419"/>
          <ac:picMkLst>
            <pc:docMk/>
            <pc:sldMk cId="4060980073" sldId="2147482377"/>
            <ac:picMk id="179" creationId="{4E96D012-85F5-66CD-2175-0AAF65DA1369}"/>
          </ac:picMkLst>
        </pc:picChg>
        <pc:picChg chg="add mod">
          <ac:chgData name="Soumaya ZERHOUNI" userId="690e4aa6-586b-4341-8f1a-54a3e7457441" providerId="ADAL" clId="{69AAD651-E566-4914-B951-51E57822A563}" dt="2024-02-02T09:29:19.740" v="11419"/>
          <ac:picMkLst>
            <pc:docMk/>
            <pc:sldMk cId="4060980073" sldId="2147482377"/>
            <ac:picMk id="180" creationId="{CABF2F35-541B-71C5-E2EF-4259B096171D}"/>
          </ac:picMkLst>
        </pc:picChg>
        <pc:picChg chg="add mod">
          <ac:chgData name="Soumaya ZERHOUNI" userId="690e4aa6-586b-4341-8f1a-54a3e7457441" providerId="ADAL" clId="{69AAD651-E566-4914-B951-51E57822A563}" dt="2024-02-02T09:29:19.740" v="11419"/>
          <ac:picMkLst>
            <pc:docMk/>
            <pc:sldMk cId="4060980073" sldId="2147482377"/>
            <ac:picMk id="184" creationId="{9CF068BE-439B-4A80-7B45-2C9B3445259D}"/>
          </ac:picMkLst>
        </pc:picChg>
        <pc:picChg chg="add mod">
          <ac:chgData name="Soumaya ZERHOUNI" userId="690e4aa6-586b-4341-8f1a-54a3e7457441" providerId="ADAL" clId="{69AAD651-E566-4914-B951-51E57822A563}" dt="2024-02-02T09:29:19.740" v="11419"/>
          <ac:picMkLst>
            <pc:docMk/>
            <pc:sldMk cId="4060980073" sldId="2147482377"/>
            <ac:picMk id="186" creationId="{5284D1A1-806D-CF1A-5921-146F03854CEE}"/>
          </ac:picMkLst>
        </pc:picChg>
        <pc:picChg chg="add mod">
          <ac:chgData name="Soumaya ZERHOUNI" userId="690e4aa6-586b-4341-8f1a-54a3e7457441" providerId="ADAL" clId="{69AAD651-E566-4914-B951-51E57822A563}" dt="2024-02-02T09:29:19.740" v="11419"/>
          <ac:picMkLst>
            <pc:docMk/>
            <pc:sldMk cId="4060980073" sldId="2147482377"/>
            <ac:picMk id="188" creationId="{52C0AE2D-1B17-E936-E7C6-0A2B4312583C}"/>
          </ac:picMkLst>
        </pc:picChg>
        <pc:picChg chg="add mod">
          <ac:chgData name="Soumaya ZERHOUNI" userId="690e4aa6-586b-4341-8f1a-54a3e7457441" providerId="ADAL" clId="{69AAD651-E566-4914-B951-51E57822A563}" dt="2024-02-02T09:29:19.740" v="11419"/>
          <ac:picMkLst>
            <pc:docMk/>
            <pc:sldMk cId="4060980073" sldId="2147482377"/>
            <ac:picMk id="190" creationId="{EC14AFF0-0294-1649-DC95-C0C8DF4D14C7}"/>
          </ac:picMkLst>
        </pc:picChg>
        <pc:picChg chg="add mod">
          <ac:chgData name="Soumaya ZERHOUNI" userId="690e4aa6-586b-4341-8f1a-54a3e7457441" providerId="ADAL" clId="{69AAD651-E566-4914-B951-51E57822A563}" dt="2024-02-02T09:29:19.740" v="11419"/>
          <ac:picMkLst>
            <pc:docMk/>
            <pc:sldMk cId="4060980073" sldId="2147482377"/>
            <ac:picMk id="191" creationId="{BE4959F8-0328-94FF-1BB8-400B1D2BD87B}"/>
          </ac:picMkLst>
        </pc:picChg>
        <pc:picChg chg="add mod">
          <ac:chgData name="Soumaya ZERHOUNI" userId="690e4aa6-586b-4341-8f1a-54a3e7457441" providerId="ADAL" clId="{69AAD651-E566-4914-B951-51E57822A563}" dt="2024-02-02T09:29:19.740" v="11419"/>
          <ac:picMkLst>
            <pc:docMk/>
            <pc:sldMk cId="4060980073" sldId="2147482377"/>
            <ac:picMk id="192" creationId="{709E1EA4-9C21-F665-4145-B1F71C85785C}"/>
          </ac:picMkLst>
        </pc:picChg>
        <pc:picChg chg="add mod">
          <ac:chgData name="Soumaya ZERHOUNI" userId="690e4aa6-586b-4341-8f1a-54a3e7457441" providerId="ADAL" clId="{69AAD651-E566-4914-B951-51E57822A563}" dt="2024-02-02T09:29:19.740" v="11419"/>
          <ac:picMkLst>
            <pc:docMk/>
            <pc:sldMk cId="4060980073" sldId="2147482377"/>
            <ac:picMk id="193" creationId="{B8330B78-7325-9D7E-6701-952336A77062}"/>
          </ac:picMkLst>
        </pc:picChg>
        <pc:picChg chg="add mod">
          <ac:chgData name="Soumaya ZERHOUNI" userId="690e4aa6-586b-4341-8f1a-54a3e7457441" providerId="ADAL" clId="{69AAD651-E566-4914-B951-51E57822A563}" dt="2024-02-02T09:29:19.740" v="11419"/>
          <ac:picMkLst>
            <pc:docMk/>
            <pc:sldMk cId="4060980073" sldId="2147482377"/>
            <ac:picMk id="194" creationId="{8D182EDB-0AB7-E490-9DC1-5AF2DF919145}"/>
          </ac:picMkLst>
        </pc:picChg>
        <pc:picChg chg="add mod">
          <ac:chgData name="Soumaya ZERHOUNI" userId="690e4aa6-586b-4341-8f1a-54a3e7457441" providerId="ADAL" clId="{69AAD651-E566-4914-B951-51E57822A563}" dt="2024-02-02T09:29:19.740" v="11419"/>
          <ac:picMkLst>
            <pc:docMk/>
            <pc:sldMk cId="4060980073" sldId="2147482377"/>
            <ac:picMk id="195" creationId="{C7AF7A47-99A4-E242-5DB1-1114945C80ED}"/>
          </ac:picMkLst>
        </pc:picChg>
        <pc:picChg chg="add mod">
          <ac:chgData name="Soumaya ZERHOUNI" userId="690e4aa6-586b-4341-8f1a-54a3e7457441" providerId="ADAL" clId="{69AAD651-E566-4914-B951-51E57822A563}" dt="2024-02-02T09:29:19.740" v="11419"/>
          <ac:picMkLst>
            <pc:docMk/>
            <pc:sldMk cId="4060980073" sldId="2147482377"/>
            <ac:picMk id="196" creationId="{DF03C327-C507-457D-7308-7D279EE9E9D4}"/>
          </ac:picMkLst>
        </pc:picChg>
        <pc:picChg chg="add mod">
          <ac:chgData name="Soumaya ZERHOUNI" userId="690e4aa6-586b-4341-8f1a-54a3e7457441" providerId="ADAL" clId="{69AAD651-E566-4914-B951-51E57822A563}" dt="2024-02-02T09:29:19.740" v="11419"/>
          <ac:picMkLst>
            <pc:docMk/>
            <pc:sldMk cId="4060980073" sldId="2147482377"/>
            <ac:picMk id="197" creationId="{9A707AED-B1EE-F4B5-9F65-2C9C9FAF7CF3}"/>
          </ac:picMkLst>
        </pc:picChg>
        <pc:picChg chg="add mod">
          <ac:chgData name="Soumaya ZERHOUNI" userId="690e4aa6-586b-4341-8f1a-54a3e7457441" providerId="ADAL" clId="{69AAD651-E566-4914-B951-51E57822A563}" dt="2024-02-02T09:29:19.740" v="11419"/>
          <ac:picMkLst>
            <pc:docMk/>
            <pc:sldMk cId="4060980073" sldId="2147482377"/>
            <ac:picMk id="198" creationId="{C9CAA8D7-88A1-ADA3-7125-4BBD015053AD}"/>
          </ac:picMkLst>
        </pc:picChg>
        <pc:picChg chg="add mod">
          <ac:chgData name="Soumaya ZERHOUNI" userId="690e4aa6-586b-4341-8f1a-54a3e7457441" providerId="ADAL" clId="{69AAD651-E566-4914-B951-51E57822A563}" dt="2024-02-02T09:29:19.740" v="11419"/>
          <ac:picMkLst>
            <pc:docMk/>
            <pc:sldMk cId="4060980073" sldId="2147482377"/>
            <ac:picMk id="199" creationId="{2A4FDEA2-8AEE-711E-22C0-924F86B2318F}"/>
          </ac:picMkLst>
        </pc:picChg>
        <pc:picChg chg="add mod">
          <ac:chgData name="Soumaya ZERHOUNI" userId="690e4aa6-586b-4341-8f1a-54a3e7457441" providerId="ADAL" clId="{69AAD651-E566-4914-B951-51E57822A563}" dt="2024-02-02T09:29:19.740" v="11419"/>
          <ac:picMkLst>
            <pc:docMk/>
            <pc:sldMk cId="4060980073" sldId="2147482377"/>
            <ac:picMk id="200" creationId="{5A3215DB-1D58-1000-30DA-462B89EE2082}"/>
          </ac:picMkLst>
        </pc:picChg>
        <pc:picChg chg="add mod">
          <ac:chgData name="Soumaya ZERHOUNI" userId="690e4aa6-586b-4341-8f1a-54a3e7457441" providerId="ADAL" clId="{69AAD651-E566-4914-B951-51E57822A563}" dt="2024-02-02T09:29:19.740" v="11419"/>
          <ac:picMkLst>
            <pc:docMk/>
            <pc:sldMk cId="4060980073" sldId="2147482377"/>
            <ac:picMk id="201" creationId="{A2A80BD4-E50E-D506-1667-A86CC2CD25D4}"/>
          </ac:picMkLst>
        </pc:picChg>
        <pc:picChg chg="add mod">
          <ac:chgData name="Soumaya ZERHOUNI" userId="690e4aa6-586b-4341-8f1a-54a3e7457441" providerId="ADAL" clId="{69AAD651-E566-4914-B951-51E57822A563}" dt="2024-02-02T09:29:19.740" v="11419"/>
          <ac:picMkLst>
            <pc:docMk/>
            <pc:sldMk cId="4060980073" sldId="2147482377"/>
            <ac:picMk id="202" creationId="{552918B2-833F-416B-950E-7BF3F12BD6F4}"/>
          </ac:picMkLst>
        </pc:picChg>
        <pc:picChg chg="add mod">
          <ac:chgData name="Soumaya ZERHOUNI" userId="690e4aa6-586b-4341-8f1a-54a3e7457441" providerId="ADAL" clId="{69AAD651-E566-4914-B951-51E57822A563}" dt="2024-02-02T09:29:19.740" v="11419"/>
          <ac:picMkLst>
            <pc:docMk/>
            <pc:sldMk cId="4060980073" sldId="2147482377"/>
            <ac:picMk id="203" creationId="{C2EF4C2D-26BA-0B84-A363-0922ECDF3231}"/>
          </ac:picMkLst>
        </pc:picChg>
        <pc:picChg chg="add mod">
          <ac:chgData name="Soumaya ZERHOUNI" userId="690e4aa6-586b-4341-8f1a-54a3e7457441" providerId="ADAL" clId="{69AAD651-E566-4914-B951-51E57822A563}" dt="2024-02-02T09:29:19.740" v="11419"/>
          <ac:picMkLst>
            <pc:docMk/>
            <pc:sldMk cId="4060980073" sldId="2147482377"/>
            <ac:picMk id="204" creationId="{2B417147-130A-B2F4-528D-59820D89F01E}"/>
          </ac:picMkLst>
        </pc:picChg>
        <pc:picChg chg="add mod">
          <ac:chgData name="Soumaya ZERHOUNI" userId="690e4aa6-586b-4341-8f1a-54a3e7457441" providerId="ADAL" clId="{69AAD651-E566-4914-B951-51E57822A563}" dt="2024-02-02T09:29:19.740" v="11419"/>
          <ac:picMkLst>
            <pc:docMk/>
            <pc:sldMk cId="4060980073" sldId="2147482377"/>
            <ac:picMk id="205" creationId="{3858C5DE-CD79-CE6F-0D8A-54510FFA8E4E}"/>
          </ac:picMkLst>
        </pc:picChg>
        <pc:picChg chg="add del mod">
          <ac:chgData name="Soumaya ZERHOUNI" userId="690e4aa6-586b-4341-8f1a-54a3e7457441" providerId="ADAL" clId="{69AAD651-E566-4914-B951-51E57822A563}" dt="2024-02-02T09:29:55.918" v="11424" actId="21"/>
          <ac:picMkLst>
            <pc:docMk/>
            <pc:sldMk cId="4060980073" sldId="2147482377"/>
            <ac:picMk id="208" creationId="{B4C25B23-F62D-D0B2-B4C3-032A8F80DB53}"/>
          </ac:picMkLst>
        </pc:picChg>
        <pc:picChg chg="add mod">
          <ac:chgData name="Soumaya ZERHOUNI" userId="690e4aa6-586b-4341-8f1a-54a3e7457441" providerId="ADAL" clId="{69AAD651-E566-4914-B951-51E57822A563}" dt="2024-02-02T10:52:13.228" v="11982" actId="1076"/>
          <ac:picMkLst>
            <pc:docMk/>
            <pc:sldMk cId="4060980073" sldId="2147482377"/>
            <ac:picMk id="209" creationId="{B4C25B23-F62D-D0B2-B4C3-032A8F80DB53}"/>
          </ac:picMkLst>
        </pc:picChg>
        <pc:cxnChg chg="add mod">
          <ac:chgData name="Soumaya ZERHOUNI" userId="690e4aa6-586b-4341-8f1a-54a3e7457441" providerId="ADAL" clId="{69AAD651-E566-4914-B951-51E57822A563}" dt="2024-02-02T09:27:37.442" v="11411" actId="14100"/>
          <ac:cxnSpMkLst>
            <pc:docMk/>
            <pc:sldMk cId="4060980073" sldId="2147482377"/>
            <ac:cxnSpMk id="14" creationId="{BF4EF020-0054-2A96-889E-1437CBA86764}"/>
          </ac:cxnSpMkLst>
        </pc:cxnChg>
        <pc:cxnChg chg="add mod">
          <ac:chgData name="Soumaya ZERHOUNI" userId="690e4aa6-586b-4341-8f1a-54a3e7457441" providerId="ADAL" clId="{69AAD651-E566-4914-B951-51E57822A563}" dt="2024-02-02T09:27:37.442" v="11411" actId="14100"/>
          <ac:cxnSpMkLst>
            <pc:docMk/>
            <pc:sldMk cId="4060980073" sldId="2147482377"/>
            <ac:cxnSpMk id="15" creationId="{176BBFB1-4E87-F61C-7186-1D200DAC8554}"/>
          </ac:cxnSpMkLst>
        </pc:cxnChg>
        <pc:cxnChg chg="add mod">
          <ac:chgData name="Soumaya ZERHOUNI" userId="690e4aa6-586b-4341-8f1a-54a3e7457441" providerId="ADAL" clId="{69AAD651-E566-4914-B951-51E57822A563}" dt="2024-02-02T09:27:37.442" v="11411" actId="14100"/>
          <ac:cxnSpMkLst>
            <pc:docMk/>
            <pc:sldMk cId="4060980073" sldId="2147482377"/>
            <ac:cxnSpMk id="16" creationId="{5EF8A245-40B8-CE14-318A-531ECE3A3133}"/>
          </ac:cxnSpMkLst>
        </pc:cxnChg>
        <pc:cxnChg chg="add mod">
          <ac:chgData name="Soumaya ZERHOUNI" userId="690e4aa6-586b-4341-8f1a-54a3e7457441" providerId="ADAL" clId="{69AAD651-E566-4914-B951-51E57822A563}" dt="2024-02-02T09:27:37.442" v="11411" actId="14100"/>
          <ac:cxnSpMkLst>
            <pc:docMk/>
            <pc:sldMk cId="4060980073" sldId="2147482377"/>
            <ac:cxnSpMk id="19" creationId="{53067F8C-C2D5-8FE4-73B8-1443E4C05EEE}"/>
          </ac:cxnSpMkLst>
        </pc:cxnChg>
        <pc:cxnChg chg="add mod">
          <ac:chgData name="Soumaya ZERHOUNI" userId="690e4aa6-586b-4341-8f1a-54a3e7457441" providerId="ADAL" clId="{69AAD651-E566-4914-B951-51E57822A563}" dt="2024-02-02T09:27:37.442" v="11411" actId="14100"/>
          <ac:cxnSpMkLst>
            <pc:docMk/>
            <pc:sldMk cId="4060980073" sldId="2147482377"/>
            <ac:cxnSpMk id="37" creationId="{4D183F1F-AA84-D66C-E5E4-003BBF8B6FC9}"/>
          </ac:cxnSpMkLst>
        </pc:cxnChg>
        <pc:cxnChg chg="mod">
          <ac:chgData name="Soumaya ZERHOUNI" userId="690e4aa6-586b-4341-8f1a-54a3e7457441" providerId="ADAL" clId="{69AAD651-E566-4914-B951-51E57822A563}" dt="2024-02-02T09:27:51.643" v="11414" actId="1076"/>
          <ac:cxnSpMkLst>
            <pc:docMk/>
            <pc:sldMk cId="4060980073" sldId="2147482377"/>
            <ac:cxnSpMk id="70" creationId="{BF4EF020-0054-2A96-889E-1437CBA86764}"/>
          </ac:cxnSpMkLst>
        </pc:cxnChg>
        <pc:cxnChg chg="mod">
          <ac:chgData name="Soumaya ZERHOUNI" userId="690e4aa6-586b-4341-8f1a-54a3e7457441" providerId="ADAL" clId="{69AAD651-E566-4914-B951-51E57822A563}" dt="2024-02-02T09:27:51.643" v="11414" actId="1076"/>
          <ac:cxnSpMkLst>
            <pc:docMk/>
            <pc:sldMk cId="4060980073" sldId="2147482377"/>
            <ac:cxnSpMk id="71" creationId="{176BBFB1-4E87-F61C-7186-1D200DAC8554}"/>
          </ac:cxnSpMkLst>
        </pc:cxnChg>
        <pc:cxnChg chg="mod">
          <ac:chgData name="Soumaya ZERHOUNI" userId="690e4aa6-586b-4341-8f1a-54a3e7457441" providerId="ADAL" clId="{69AAD651-E566-4914-B951-51E57822A563}" dt="2024-02-02T09:27:51.643" v="11414" actId="1076"/>
          <ac:cxnSpMkLst>
            <pc:docMk/>
            <pc:sldMk cId="4060980073" sldId="2147482377"/>
            <ac:cxnSpMk id="72" creationId="{5EF8A245-40B8-CE14-318A-531ECE3A3133}"/>
          </ac:cxnSpMkLst>
        </pc:cxnChg>
        <pc:cxnChg chg="mod">
          <ac:chgData name="Soumaya ZERHOUNI" userId="690e4aa6-586b-4341-8f1a-54a3e7457441" providerId="ADAL" clId="{69AAD651-E566-4914-B951-51E57822A563}" dt="2024-02-02T09:27:51.643" v="11414" actId="1076"/>
          <ac:cxnSpMkLst>
            <pc:docMk/>
            <pc:sldMk cId="4060980073" sldId="2147482377"/>
            <ac:cxnSpMk id="75" creationId="{53067F8C-C2D5-8FE4-73B8-1443E4C05EEE}"/>
          </ac:cxnSpMkLst>
        </pc:cxnChg>
        <pc:cxnChg chg="mod">
          <ac:chgData name="Soumaya ZERHOUNI" userId="690e4aa6-586b-4341-8f1a-54a3e7457441" providerId="ADAL" clId="{69AAD651-E566-4914-B951-51E57822A563}" dt="2024-02-02T09:27:51.643" v="11414" actId="1076"/>
          <ac:cxnSpMkLst>
            <pc:docMk/>
            <pc:sldMk cId="4060980073" sldId="2147482377"/>
            <ac:cxnSpMk id="92" creationId="{4D183F1F-AA84-D66C-E5E4-003BBF8B6FC9}"/>
          </ac:cxnSpMkLst>
        </pc:cxnChg>
        <pc:cxnChg chg="mod">
          <ac:chgData name="Soumaya ZERHOUNI" userId="690e4aa6-586b-4341-8f1a-54a3e7457441" providerId="ADAL" clId="{69AAD651-E566-4914-B951-51E57822A563}" dt="2024-02-02T09:28:04.019" v="11417" actId="1076"/>
          <ac:cxnSpMkLst>
            <pc:docMk/>
            <pc:sldMk cId="4060980073" sldId="2147482377"/>
            <ac:cxnSpMk id="119" creationId="{234D9E19-FABF-675A-113D-914271EED3C0}"/>
          </ac:cxnSpMkLst>
        </pc:cxnChg>
        <pc:cxnChg chg="mod">
          <ac:chgData name="Soumaya ZERHOUNI" userId="690e4aa6-586b-4341-8f1a-54a3e7457441" providerId="ADAL" clId="{69AAD651-E566-4914-B951-51E57822A563}" dt="2024-02-02T09:28:04.019" v="11417" actId="1076"/>
          <ac:cxnSpMkLst>
            <pc:docMk/>
            <pc:sldMk cId="4060980073" sldId="2147482377"/>
            <ac:cxnSpMk id="120" creationId="{DB0ACAC5-5459-8E18-9643-22149C376488}"/>
          </ac:cxnSpMkLst>
        </pc:cxnChg>
        <pc:cxnChg chg="mod">
          <ac:chgData name="Soumaya ZERHOUNI" userId="690e4aa6-586b-4341-8f1a-54a3e7457441" providerId="ADAL" clId="{69AAD651-E566-4914-B951-51E57822A563}" dt="2024-02-02T09:28:04.019" v="11417" actId="1076"/>
          <ac:cxnSpMkLst>
            <pc:docMk/>
            <pc:sldMk cId="4060980073" sldId="2147482377"/>
            <ac:cxnSpMk id="121" creationId="{DB73A12C-B676-B5EF-3C3A-0212F3338BBC}"/>
          </ac:cxnSpMkLst>
        </pc:cxnChg>
        <pc:cxnChg chg="mod">
          <ac:chgData name="Soumaya ZERHOUNI" userId="690e4aa6-586b-4341-8f1a-54a3e7457441" providerId="ADAL" clId="{69AAD651-E566-4914-B951-51E57822A563}" dt="2024-02-02T09:28:04.019" v="11417" actId="1076"/>
          <ac:cxnSpMkLst>
            <pc:docMk/>
            <pc:sldMk cId="4060980073" sldId="2147482377"/>
            <ac:cxnSpMk id="124" creationId="{E0EE5660-0126-6BB1-E68F-7BC91115C207}"/>
          </ac:cxnSpMkLst>
        </pc:cxnChg>
        <pc:cxnChg chg="mod">
          <ac:chgData name="Soumaya ZERHOUNI" userId="690e4aa6-586b-4341-8f1a-54a3e7457441" providerId="ADAL" clId="{69AAD651-E566-4914-B951-51E57822A563}" dt="2024-02-02T09:28:04.019" v="11417" actId="1076"/>
          <ac:cxnSpMkLst>
            <pc:docMk/>
            <pc:sldMk cId="4060980073" sldId="2147482377"/>
            <ac:cxnSpMk id="141" creationId="{105C4E41-7249-0B60-AD1B-5AC9D4DCF98F}"/>
          </ac:cxnSpMkLst>
        </pc:cxnChg>
        <pc:cxnChg chg="add mod">
          <ac:chgData name="Soumaya ZERHOUNI" userId="690e4aa6-586b-4341-8f1a-54a3e7457441" providerId="ADAL" clId="{69AAD651-E566-4914-B951-51E57822A563}" dt="2024-02-02T09:29:19.740" v="11419"/>
          <ac:cxnSpMkLst>
            <pc:docMk/>
            <pc:sldMk cId="4060980073" sldId="2147482377"/>
            <ac:cxnSpMk id="167" creationId="{D0D92D05-99E5-037E-37EC-80C74C3A58F0}"/>
          </ac:cxnSpMkLst>
        </pc:cxnChg>
        <pc:cxnChg chg="add mod">
          <ac:chgData name="Soumaya ZERHOUNI" userId="690e4aa6-586b-4341-8f1a-54a3e7457441" providerId="ADAL" clId="{69AAD651-E566-4914-B951-51E57822A563}" dt="2024-02-02T09:29:19.740" v="11419"/>
          <ac:cxnSpMkLst>
            <pc:docMk/>
            <pc:sldMk cId="4060980073" sldId="2147482377"/>
            <ac:cxnSpMk id="168" creationId="{AACB9A79-634C-5E0A-E2FD-ED7448BA4B6E}"/>
          </ac:cxnSpMkLst>
        </pc:cxnChg>
        <pc:cxnChg chg="add mod">
          <ac:chgData name="Soumaya ZERHOUNI" userId="690e4aa6-586b-4341-8f1a-54a3e7457441" providerId="ADAL" clId="{69AAD651-E566-4914-B951-51E57822A563}" dt="2024-02-02T09:29:19.740" v="11419"/>
          <ac:cxnSpMkLst>
            <pc:docMk/>
            <pc:sldMk cId="4060980073" sldId="2147482377"/>
            <ac:cxnSpMk id="169" creationId="{D6959BA7-8368-7D44-8A76-1B5F9B21DBC4}"/>
          </ac:cxnSpMkLst>
        </pc:cxnChg>
        <pc:cxnChg chg="add mod">
          <ac:chgData name="Soumaya ZERHOUNI" userId="690e4aa6-586b-4341-8f1a-54a3e7457441" providerId="ADAL" clId="{69AAD651-E566-4914-B951-51E57822A563}" dt="2024-02-02T09:29:19.740" v="11419"/>
          <ac:cxnSpMkLst>
            <pc:docMk/>
            <pc:sldMk cId="4060980073" sldId="2147482377"/>
            <ac:cxnSpMk id="172" creationId="{CFEB2D93-AF91-09C0-B100-935E267ED625}"/>
          </ac:cxnSpMkLst>
        </pc:cxnChg>
        <pc:cxnChg chg="add mod">
          <ac:chgData name="Soumaya ZERHOUNI" userId="690e4aa6-586b-4341-8f1a-54a3e7457441" providerId="ADAL" clId="{69AAD651-E566-4914-B951-51E57822A563}" dt="2024-02-02T09:29:19.740" v="11419"/>
          <ac:cxnSpMkLst>
            <pc:docMk/>
            <pc:sldMk cId="4060980073" sldId="2147482377"/>
            <ac:cxnSpMk id="189" creationId="{6EE0A6FE-CE74-1825-5819-926F03BA6747}"/>
          </ac:cxnSpMkLst>
        </pc:cxnChg>
      </pc:sldChg>
      <pc:sldChg chg="modSp mod">
        <pc:chgData name="Soumaya ZERHOUNI" userId="690e4aa6-586b-4341-8f1a-54a3e7457441" providerId="ADAL" clId="{69AAD651-E566-4914-B951-51E57822A563}" dt="2024-02-14T11:44:29.219" v="12963" actId="14100"/>
        <pc:sldMkLst>
          <pc:docMk/>
          <pc:sldMk cId="2566787782" sldId="2147482387"/>
        </pc:sldMkLst>
        <pc:spChg chg="mod">
          <ac:chgData name="Soumaya ZERHOUNI" userId="690e4aa6-586b-4341-8f1a-54a3e7457441" providerId="ADAL" clId="{69AAD651-E566-4914-B951-51E57822A563}" dt="2024-02-14T11:44:29.219" v="12963" actId="14100"/>
          <ac:spMkLst>
            <pc:docMk/>
            <pc:sldMk cId="2566787782" sldId="2147482387"/>
            <ac:spMk id="49" creationId="{3C2CB9FD-E0F5-C0DC-27DF-1A4AA45DA099}"/>
          </ac:spMkLst>
        </pc:spChg>
        <pc:spChg chg="mod">
          <ac:chgData name="Soumaya ZERHOUNI" userId="690e4aa6-586b-4341-8f1a-54a3e7457441" providerId="ADAL" clId="{69AAD651-E566-4914-B951-51E57822A563}" dt="2024-02-14T11:25:21.297" v="12955" actId="20577"/>
          <ac:spMkLst>
            <pc:docMk/>
            <pc:sldMk cId="2566787782" sldId="2147482387"/>
            <ac:spMk id="56" creationId="{4E2D8219-6AFB-26A0-8ACE-F94FB841B886}"/>
          </ac:spMkLst>
        </pc:spChg>
      </pc:sldChg>
      <pc:sldChg chg="addSp delSp modSp mod">
        <pc:chgData name="Soumaya ZERHOUNI" userId="690e4aa6-586b-4341-8f1a-54a3e7457441" providerId="ADAL" clId="{69AAD651-E566-4914-B951-51E57822A563}" dt="2024-02-02T16:15:37.208" v="12659"/>
        <pc:sldMkLst>
          <pc:docMk/>
          <pc:sldMk cId="1842583434" sldId="2147482388"/>
        </pc:sldMkLst>
        <pc:spChg chg="mod">
          <ac:chgData name="Soumaya ZERHOUNI" userId="690e4aa6-586b-4341-8f1a-54a3e7457441" providerId="ADAL" clId="{69AAD651-E566-4914-B951-51E57822A563}" dt="2024-02-02T16:11:40.854" v="12523" actId="14100"/>
          <ac:spMkLst>
            <pc:docMk/>
            <pc:sldMk cId="1842583434" sldId="2147482388"/>
            <ac:spMk id="3" creationId="{FC466FF3-69E1-489D-8492-1C11425BD16C}"/>
          </ac:spMkLst>
        </pc:spChg>
        <pc:spChg chg="mod">
          <ac:chgData name="Soumaya ZERHOUNI" userId="690e4aa6-586b-4341-8f1a-54a3e7457441" providerId="ADAL" clId="{69AAD651-E566-4914-B951-51E57822A563}" dt="2024-02-02T16:14:38.444" v="12654" actId="1037"/>
          <ac:spMkLst>
            <pc:docMk/>
            <pc:sldMk cId="1842583434" sldId="2147482388"/>
            <ac:spMk id="13" creationId="{5C8B8B7F-5EF0-C25A-3AEA-51EAD8B690F3}"/>
          </ac:spMkLst>
        </pc:spChg>
        <pc:spChg chg="mod">
          <ac:chgData name="Soumaya ZERHOUNI" userId="690e4aa6-586b-4341-8f1a-54a3e7457441" providerId="ADAL" clId="{69AAD651-E566-4914-B951-51E57822A563}" dt="2024-02-02T16:14:38.444" v="12654" actId="1037"/>
          <ac:spMkLst>
            <pc:docMk/>
            <pc:sldMk cId="1842583434" sldId="2147482388"/>
            <ac:spMk id="14" creationId="{B2F0F65E-19E5-DFF0-9820-698D5DD97F81}"/>
          </ac:spMkLst>
        </pc:spChg>
        <pc:spChg chg="mod">
          <ac:chgData name="Soumaya ZERHOUNI" userId="690e4aa6-586b-4341-8f1a-54a3e7457441" providerId="ADAL" clId="{69AAD651-E566-4914-B951-51E57822A563}" dt="2024-02-02T16:14:38.444" v="12654" actId="1037"/>
          <ac:spMkLst>
            <pc:docMk/>
            <pc:sldMk cId="1842583434" sldId="2147482388"/>
            <ac:spMk id="17" creationId="{28435EB3-3625-7431-2C91-1E7024A9F108}"/>
          </ac:spMkLst>
        </pc:spChg>
        <pc:spChg chg="mod">
          <ac:chgData name="Soumaya ZERHOUNI" userId="690e4aa6-586b-4341-8f1a-54a3e7457441" providerId="ADAL" clId="{69AAD651-E566-4914-B951-51E57822A563}" dt="2024-02-02T16:14:38.444" v="12654" actId="1037"/>
          <ac:spMkLst>
            <pc:docMk/>
            <pc:sldMk cId="1842583434" sldId="2147482388"/>
            <ac:spMk id="18" creationId="{12A62F87-3FCE-FDF4-A3E8-FD91D5B7B87D}"/>
          </ac:spMkLst>
        </pc:spChg>
        <pc:spChg chg="mod">
          <ac:chgData name="Soumaya ZERHOUNI" userId="690e4aa6-586b-4341-8f1a-54a3e7457441" providerId="ADAL" clId="{69AAD651-E566-4914-B951-51E57822A563}" dt="2024-02-02T16:14:38.444" v="12654" actId="1037"/>
          <ac:spMkLst>
            <pc:docMk/>
            <pc:sldMk cId="1842583434" sldId="2147482388"/>
            <ac:spMk id="21" creationId="{9610D408-93CA-AA6C-35AD-AC0384DA3081}"/>
          </ac:spMkLst>
        </pc:spChg>
        <pc:spChg chg="mod">
          <ac:chgData name="Soumaya ZERHOUNI" userId="690e4aa6-586b-4341-8f1a-54a3e7457441" providerId="ADAL" clId="{69AAD651-E566-4914-B951-51E57822A563}" dt="2024-02-02T16:14:38.444" v="12654" actId="1037"/>
          <ac:spMkLst>
            <pc:docMk/>
            <pc:sldMk cId="1842583434" sldId="2147482388"/>
            <ac:spMk id="22" creationId="{382CD4CF-97E3-13A8-131C-1C6742EFCF3D}"/>
          </ac:spMkLst>
        </pc:spChg>
        <pc:spChg chg="mod">
          <ac:chgData name="Soumaya ZERHOUNI" userId="690e4aa6-586b-4341-8f1a-54a3e7457441" providerId="ADAL" clId="{69AAD651-E566-4914-B951-51E57822A563}" dt="2024-02-02T16:14:38.444" v="12654" actId="1037"/>
          <ac:spMkLst>
            <pc:docMk/>
            <pc:sldMk cId="1842583434" sldId="2147482388"/>
            <ac:spMk id="25" creationId="{1E5915D7-C85D-823E-9883-4EFC981B52ED}"/>
          </ac:spMkLst>
        </pc:spChg>
        <pc:spChg chg="mod">
          <ac:chgData name="Soumaya ZERHOUNI" userId="690e4aa6-586b-4341-8f1a-54a3e7457441" providerId="ADAL" clId="{69AAD651-E566-4914-B951-51E57822A563}" dt="2024-02-02T16:14:38.444" v="12654" actId="1037"/>
          <ac:spMkLst>
            <pc:docMk/>
            <pc:sldMk cId="1842583434" sldId="2147482388"/>
            <ac:spMk id="26" creationId="{35DE9C13-A3CE-9245-B91B-BC10FBBE45FE}"/>
          </ac:spMkLst>
        </pc:spChg>
        <pc:spChg chg="add del mod">
          <ac:chgData name="Soumaya ZERHOUNI" userId="690e4aa6-586b-4341-8f1a-54a3e7457441" providerId="ADAL" clId="{69AAD651-E566-4914-B951-51E57822A563}" dt="2024-02-02T15:51:09.299" v="12340" actId="21"/>
          <ac:spMkLst>
            <pc:docMk/>
            <pc:sldMk cId="1842583434" sldId="2147482388"/>
            <ac:spMk id="35" creationId="{788E0113-6E4E-A257-CC26-18F42944D0C6}"/>
          </ac:spMkLst>
        </pc:spChg>
        <pc:spChg chg="add del mod">
          <ac:chgData name="Soumaya ZERHOUNI" userId="690e4aa6-586b-4341-8f1a-54a3e7457441" providerId="ADAL" clId="{69AAD651-E566-4914-B951-51E57822A563}" dt="2024-02-02T15:51:09.299" v="12340" actId="21"/>
          <ac:spMkLst>
            <pc:docMk/>
            <pc:sldMk cId="1842583434" sldId="2147482388"/>
            <ac:spMk id="37" creationId="{CDF7FCD6-922B-476A-B5BD-93E1A1FE1CC4}"/>
          </ac:spMkLst>
        </pc:spChg>
        <pc:graphicFrameChg chg="mod modGraphic">
          <ac:chgData name="Soumaya ZERHOUNI" userId="690e4aa6-586b-4341-8f1a-54a3e7457441" providerId="ADAL" clId="{69AAD651-E566-4914-B951-51E57822A563}" dt="2024-02-02T16:14:42.658" v="12655" actId="14100"/>
          <ac:graphicFrameMkLst>
            <pc:docMk/>
            <pc:sldMk cId="1842583434" sldId="2147482388"/>
            <ac:graphicFrameMk id="5" creationId="{23C91FC6-AA19-F227-3A53-EB9801CD6640}"/>
          </ac:graphicFrameMkLst>
        </pc:graphicFrameChg>
        <pc:graphicFrameChg chg="mod modGraphic">
          <ac:chgData name="Soumaya ZERHOUNI" userId="690e4aa6-586b-4341-8f1a-54a3e7457441" providerId="ADAL" clId="{69AAD651-E566-4914-B951-51E57822A563}" dt="2024-02-02T16:15:37.208" v="12659"/>
          <ac:graphicFrameMkLst>
            <pc:docMk/>
            <pc:sldMk cId="1842583434" sldId="2147482388"/>
            <ac:graphicFrameMk id="28" creationId="{325430F4-DFF6-4179-6403-420FC4DA74C7}"/>
          </ac:graphicFrameMkLst>
        </pc:graphicFrameChg>
        <pc:picChg chg="mod">
          <ac:chgData name="Soumaya ZERHOUNI" userId="690e4aa6-586b-4341-8f1a-54a3e7457441" providerId="ADAL" clId="{69AAD651-E566-4914-B951-51E57822A563}" dt="2024-02-02T16:14:38.444" v="12654" actId="1037"/>
          <ac:picMkLst>
            <pc:docMk/>
            <pc:sldMk cId="1842583434" sldId="2147482388"/>
            <ac:picMk id="4" creationId="{0B19BA0A-6576-915E-D6CE-F0377A4E907B}"/>
          </ac:picMkLst>
        </pc:picChg>
        <pc:picChg chg="mod">
          <ac:chgData name="Soumaya ZERHOUNI" userId="690e4aa6-586b-4341-8f1a-54a3e7457441" providerId="ADAL" clId="{69AAD651-E566-4914-B951-51E57822A563}" dt="2024-02-02T16:14:38.444" v="12654" actId="1037"/>
          <ac:picMkLst>
            <pc:docMk/>
            <pc:sldMk cId="1842583434" sldId="2147482388"/>
            <ac:picMk id="6" creationId="{1A167B89-7C28-F65C-BE5B-4066FC7F0610}"/>
          </ac:picMkLst>
        </pc:picChg>
        <pc:picChg chg="mod">
          <ac:chgData name="Soumaya ZERHOUNI" userId="690e4aa6-586b-4341-8f1a-54a3e7457441" providerId="ADAL" clId="{69AAD651-E566-4914-B951-51E57822A563}" dt="2024-02-02T16:14:38.444" v="12654" actId="1037"/>
          <ac:picMkLst>
            <pc:docMk/>
            <pc:sldMk cId="1842583434" sldId="2147482388"/>
            <ac:picMk id="15" creationId="{AAE44414-6B09-601E-9724-2A00F1C9B4CD}"/>
          </ac:picMkLst>
        </pc:picChg>
        <pc:picChg chg="mod">
          <ac:chgData name="Soumaya ZERHOUNI" userId="690e4aa6-586b-4341-8f1a-54a3e7457441" providerId="ADAL" clId="{69AAD651-E566-4914-B951-51E57822A563}" dt="2024-02-02T16:14:38.444" v="12654" actId="1037"/>
          <ac:picMkLst>
            <pc:docMk/>
            <pc:sldMk cId="1842583434" sldId="2147482388"/>
            <ac:picMk id="16" creationId="{07F74299-8E14-D24B-0ADE-1298BC73829B}"/>
          </ac:picMkLst>
        </pc:picChg>
        <pc:picChg chg="mod">
          <ac:chgData name="Soumaya ZERHOUNI" userId="690e4aa6-586b-4341-8f1a-54a3e7457441" providerId="ADAL" clId="{69AAD651-E566-4914-B951-51E57822A563}" dt="2024-02-02T16:14:38.444" v="12654" actId="1037"/>
          <ac:picMkLst>
            <pc:docMk/>
            <pc:sldMk cId="1842583434" sldId="2147482388"/>
            <ac:picMk id="19" creationId="{A6FFFE5E-0337-1217-7707-A86B56891EF6}"/>
          </ac:picMkLst>
        </pc:picChg>
        <pc:picChg chg="mod">
          <ac:chgData name="Soumaya ZERHOUNI" userId="690e4aa6-586b-4341-8f1a-54a3e7457441" providerId="ADAL" clId="{69AAD651-E566-4914-B951-51E57822A563}" dt="2024-02-02T16:14:38.444" v="12654" actId="1037"/>
          <ac:picMkLst>
            <pc:docMk/>
            <pc:sldMk cId="1842583434" sldId="2147482388"/>
            <ac:picMk id="20" creationId="{0EFFD495-FF89-CBEF-F20B-5DF09A87DBFC}"/>
          </ac:picMkLst>
        </pc:picChg>
        <pc:picChg chg="mod">
          <ac:chgData name="Soumaya ZERHOUNI" userId="690e4aa6-586b-4341-8f1a-54a3e7457441" providerId="ADAL" clId="{69AAD651-E566-4914-B951-51E57822A563}" dt="2024-02-02T16:14:38.444" v="12654" actId="1037"/>
          <ac:picMkLst>
            <pc:docMk/>
            <pc:sldMk cId="1842583434" sldId="2147482388"/>
            <ac:picMk id="23" creationId="{4A5A2F60-4AAB-28BA-5C67-21D6F734F40E}"/>
          </ac:picMkLst>
        </pc:picChg>
        <pc:picChg chg="mod">
          <ac:chgData name="Soumaya ZERHOUNI" userId="690e4aa6-586b-4341-8f1a-54a3e7457441" providerId="ADAL" clId="{69AAD651-E566-4914-B951-51E57822A563}" dt="2024-02-02T16:14:38.444" v="12654" actId="1037"/>
          <ac:picMkLst>
            <pc:docMk/>
            <pc:sldMk cId="1842583434" sldId="2147482388"/>
            <ac:picMk id="24" creationId="{2BA40E29-D3E2-EC73-692A-21DEFD2B0F13}"/>
          </ac:picMkLst>
        </pc:picChg>
      </pc:sldChg>
      <pc:sldChg chg="addSp delSp modSp mod">
        <pc:chgData name="Soumaya ZERHOUNI" userId="690e4aa6-586b-4341-8f1a-54a3e7457441" providerId="ADAL" clId="{69AAD651-E566-4914-B951-51E57822A563}" dt="2024-02-02T16:13:01.791" v="12590" actId="1037"/>
        <pc:sldMkLst>
          <pc:docMk/>
          <pc:sldMk cId="658512743" sldId="2147482390"/>
        </pc:sldMkLst>
        <pc:spChg chg="mod">
          <ac:chgData name="Soumaya ZERHOUNI" userId="690e4aa6-586b-4341-8f1a-54a3e7457441" providerId="ADAL" clId="{69AAD651-E566-4914-B951-51E57822A563}" dt="2024-02-02T16:13:01.791" v="12590" actId="1037"/>
          <ac:spMkLst>
            <pc:docMk/>
            <pc:sldMk cId="658512743" sldId="2147482390"/>
            <ac:spMk id="3" creationId="{A81F6E46-88F1-4780-1C5E-4003BB1D407F}"/>
          </ac:spMkLst>
        </pc:spChg>
        <pc:spChg chg="mod">
          <ac:chgData name="Soumaya ZERHOUNI" userId="690e4aa6-586b-4341-8f1a-54a3e7457441" providerId="ADAL" clId="{69AAD651-E566-4914-B951-51E57822A563}" dt="2024-02-02T16:13:01.791" v="12590" actId="1037"/>
          <ac:spMkLst>
            <pc:docMk/>
            <pc:sldMk cId="658512743" sldId="2147482390"/>
            <ac:spMk id="8" creationId="{12716885-4608-0D82-9372-F6BF41C7DA34}"/>
          </ac:spMkLst>
        </pc:spChg>
        <pc:spChg chg="mod">
          <ac:chgData name="Soumaya ZERHOUNI" userId="690e4aa6-586b-4341-8f1a-54a3e7457441" providerId="ADAL" clId="{69AAD651-E566-4914-B951-51E57822A563}" dt="2024-02-02T16:13:01.791" v="12590" actId="1037"/>
          <ac:spMkLst>
            <pc:docMk/>
            <pc:sldMk cId="658512743" sldId="2147482390"/>
            <ac:spMk id="9" creationId="{B38496E1-4090-CFA7-5EBE-D99B8D2F24E7}"/>
          </ac:spMkLst>
        </pc:spChg>
        <pc:spChg chg="mod">
          <ac:chgData name="Soumaya ZERHOUNI" userId="690e4aa6-586b-4341-8f1a-54a3e7457441" providerId="ADAL" clId="{69AAD651-E566-4914-B951-51E57822A563}" dt="2024-02-02T16:12:31.301" v="12542" actId="14100"/>
          <ac:spMkLst>
            <pc:docMk/>
            <pc:sldMk cId="658512743" sldId="2147482390"/>
            <ac:spMk id="14" creationId="{87DAD0CB-BA53-0307-2077-60A506CA4FD7}"/>
          </ac:spMkLst>
        </pc:spChg>
        <pc:spChg chg="mod">
          <ac:chgData name="Soumaya ZERHOUNI" userId="690e4aa6-586b-4341-8f1a-54a3e7457441" providerId="ADAL" clId="{69AAD651-E566-4914-B951-51E57822A563}" dt="2024-02-02T16:13:01.791" v="12590" actId="1037"/>
          <ac:spMkLst>
            <pc:docMk/>
            <pc:sldMk cId="658512743" sldId="2147482390"/>
            <ac:spMk id="18" creationId="{690CB5BE-295A-7BD0-59DE-542FC4AF7F69}"/>
          </ac:spMkLst>
        </pc:spChg>
        <pc:spChg chg="mod">
          <ac:chgData name="Soumaya ZERHOUNI" userId="690e4aa6-586b-4341-8f1a-54a3e7457441" providerId="ADAL" clId="{69AAD651-E566-4914-B951-51E57822A563}" dt="2024-02-02T16:13:01.791" v="12590" actId="1037"/>
          <ac:spMkLst>
            <pc:docMk/>
            <pc:sldMk cId="658512743" sldId="2147482390"/>
            <ac:spMk id="20" creationId="{4914C355-D376-33F4-1D9E-694460F82876}"/>
          </ac:spMkLst>
        </pc:spChg>
        <pc:spChg chg="add del mod">
          <ac:chgData name="Soumaya ZERHOUNI" userId="690e4aa6-586b-4341-8f1a-54a3e7457441" providerId="ADAL" clId="{69AAD651-E566-4914-B951-51E57822A563}" dt="2024-02-02T15:56:57.117" v="12395" actId="21"/>
          <ac:spMkLst>
            <pc:docMk/>
            <pc:sldMk cId="658512743" sldId="2147482390"/>
            <ac:spMk id="28" creationId="{788E0113-6E4E-A257-CC26-18F42944D0C6}"/>
          </ac:spMkLst>
        </pc:spChg>
        <pc:spChg chg="add del mod">
          <ac:chgData name="Soumaya ZERHOUNI" userId="690e4aa6-586b-4341-8f1a-54a3e7457441" providerId="ADAL" clId="{69AAD651-E566-4914-B951-51E57822A563}" dt="2024-02-02T15:56:57.117" v="12395" actId="21"/>
          <ac:spMkLst>
            <pc:docMk/>
            <pc:sldMk cId="658512743" sldId="2147482390"/>
            <ac:spMk id="29" creationId="{CDF7FCD6-922B-476A-B5BD-93E1A1FE1CC4}"/>
          </ac:spMkLst>
        </pc:spChg>
        <pc:graphicFrameChg chg="mod">
          <ac:chgData name="Soumaya ZERHOUNI" userId="690e4aa6-586b-4341-8f1a-54a3e7457441" providerId="ADAL" clId="{69AAD651-E566-4914-B951-51E57822A563}" dt="2024-02-02T16:13:01.791" v="12590" actId="1037"/>
          <ac:graphicFrameMkLst>
            <pc:docMk/>
            <pc:sldMk cId="658512743" sldId="2147482390"/>
            <ac:graphicFrameMk id="26" creationId="{E46E653B-2228-0C61-B591-32A444DFE713}"/>
          </ac:graphicFrameMkLst>
        </pc:graphicFrameChg>
        <pc:graphicFrameChg chg="mod modGraphic">
          <ac:chgData name="Soumaya ZERHOUNI" userId="690e4aa6-586b-4341-8f1a-54a3e7457441" providerId="ADAL" clId="{69AAD651-E566-4914-B951-51E57822A563}" dt="2024-02-02T15:58:47.740" v="12467" actId="14734"/>
          <ac:graphicFrameMkLst>
            <pc:docMk/>
            <pc:sldMk cId="658512743" sldId="2147482390"/>
            <ac:graphicFrameMk id="27" creationId="{88018A84-A561-22CC-D86C-1BBF7B169F3A}"/>
          </ac:graphicFrameMkLst>
        </pc:graphicFrameChg>
        <pc:picChg chg="mod">
          <ac:chgData name="Soumaya ZERHOUNI" userId="690e4aa6-586b-4341-8f1a-54a3e7457441" providerId="ADAL" clId="{69AAD651-E566-4914-B951-51E57822A563}" dt="2024-02-02T16:13:01.791" v="12590" actId="1037"/>
          <ac:picMkLst>
            <pc:docMk/>
            <pc:sldMk cId="658512743" sldId="2147482390"/>
            <ac:picMk id="2" creationId="{F9A6CD75-D540-5955-B30D-7A63C4841E22}"/>
          </ac:picMkLst>
        </pc:picChg>
        <pc:picChg chg="mod">
          <ac:chgData name="Soumaya ZERHOUNI" userId="690e4aa6-586b-4341-8f1a-54a3e7457441" providerId="ADAL" clId="{69AAD651-E566-4914-B951-51E57822A563}" dt="2024-02-02T16:13:01.791" v="12590" actId="1037"/>
          <ac:picMkLst>
            <pc:docMk/>
            <pc:sldMk cId="658512743" sldId="2147482390"/>
            <ac:picMk id="4" creationId="{921531C1-1862-AF50-EC38-2361C13EA7F5}"/>
          </ac:picMkLst>
        </pc:picChg>
        <pc:picChg chg="mod">
          <ac:chgData name="Soumaya ZERHOUNI" userId="690e4aa6-586b-4341-8f1a-54a3e7457441" providerId="ADAL" clId="{69AAD651-E566-4914-B951-51E57822A563}" dt="2024-02-02T16:13:01.791" v="12590" actId="1037"/>
          <ac:picMkLst>
            <pc:docMk/>
            <pc:sldMk cId="658512743" sldId="2147482390"/>
            <ac:picMk id="7" creationId="{2ECD6760-6360-CDFF-B078-7A4831FE63DA}"/>
          </ac:picMkLst>
        </pc:picChg>
        <pc:picChg chg="mod">
          <ac:chgData name="Soumaya ZERHOUNI" userId="690e4aa6-586b-4341-8f1a-54a3e7457441" providerId="ADAL" clId="{69AAD651-E566-4914-B951-51E57822A563}" dt="2024-02-02T16:13:01.791" v="12590" actId="1037"/>
          <ac:picMkLst>
            <pc:docMk/>
            <pc:sldMk cId="658512743" sldId="2147482390"/>
            <ac:picMk id="10" creationId="{BED0FA13-48E3-B060-8E22-E55B86C0C8BD}"/>
          </ac:picMkLst>
        </pc:picChg>
        <pc:picChg chg="mod">
          <ac:chgData name="Soumaya ZERHOUNI" userId="690e4aa6-586b-4341-8f1a-54a3e7457441" providerId="ADAL" clId="{69AAD651-E566-4914-B951-51E57822A563}" dt="2024-02-02T16:13:01.791" v="12590" actId="1037"/>
          <ac:picMkLst>
            <pc:docMk/>
            <pc:sldMk cId="658512743" sldId="2147482390"/>
            <ac:picMk id="12" creationId="{D83F7AF3-D0F4-520A-9EC8-FF505DE8F120}"/>
          </ac:picMkLst>
        </pc:picChg>
        <pc:picChg chg="mod">
          <ac:chgData name="Soumaya ZERHOUNI" userId="690e4aa6-586b-4341-8f1a-54a3e7457441" providerId="ADAL" clId="{69AAD651-E566-4914-B951-51E57822A563}" dt="2024-02-02T16:13:01.791" v="12590" actId="1037"/>
          <ac:picMkLst>
            <pc:docMk/>
            <pc:sldMk cId="658512743" sldId="2147482390"/>
            <ac:picMk id="13" creationId="{55EAE0BE-5B8D-594F-F760-4CC52DBF142B}"/>
          </ac:picMkLst>
        </pc:picChg>
        <pc:picChg chg="mod">
          <ac:chgData name="Soumaya ZERHOUNI" userId="690e4aa6-586b-4341-8f1a-54a3e7457441" providerId="ADAL" clId="{69AAD651-E566-4914-B951-51E57822A563}" dt="2024-02-02T16:13:01.791" v="12590" actId="1037"/>
          <ac:picMkLst>
            <pc:docMk/>
            <pc:sldMk cId="658512743" sldId="2147482390"/>
            <ac:picMk id="17" creationId="{6BA14544-AB5D-054A-9B87-62B0706BA2F8}"/>
          </ac:picMkLst>
        </pc:picChg>
        <pc:picChg chg="mod">
          <ac:chgData name="Soumaya ZERHOUNI" userId="690e4aa6-586b-4341-8f1a-54a3e7457441" providerId="ADAL" clId="{69AAD651-E566-4914-B951-51E57822A563}" dt="2024-02-02T16:13:01.791" v="12590" actId="1037"/>
          <ac:picMkLst>
            <pc:docMk/>
            <pc:sldMk cId="658512743" sldId="2147482390"/>
            <ac:picMk id="19" creationId="{22BCD53D-4DF6-EE14-2B25-4C847342EAF5}"/>
          </ac:picMkLst>
        </pc:picChg>
      </pc:sldChg>
      <pc:sldChg chg="addSp delSp modSp mod">
        <pc:chgData name="Soumaya ZERHOUNI" userId="690e4aa6-586b-4341-8f1a-54a3e7457441" providerId="ADAL" clId="{69AAD651-E566-4914-B951-51E57822A563}" dt="2024-02-02T16:12:19.432" v="12541" actId="1037"/>
        <pc:sldMkLst>
          <pc:docMk/>
          <pc:sldMk cId="2989955826" sldId="2147482391"/>
        </pc:sldMkLst>
        <pc:spChg chg="mod">
          <ac:chgData name="Soumaya ZERHOUNI" userId="690e4aa6-586b-4341-8f1a-54a3e7457441" providerId="ADAL" clId="{69AAD651-E566-4914-B951-51E57822A563}" dt="2024-02-02T16:12:11.882" v="12535" actId="14100"/>
          <ac:spMkLst>
            <pc:docMk/>
            <pc:sldMk cId="2989955826" sldId="2147482391"/>
            <ac:spMk id="3" creationId="{FC466FF3-69E1-489D-8492-1C11425BD16C}"/>
          </ac:spMkLst>
        </pc:spChg>
        <pc:spChg chg="add del mod">
          <ac:chgData name="Soumaya ZERHOUNI" userId="690e4aa6-586b-4341-8f1a-54a3e7457441" providerId="ADAL" clId="{69AAD651-E566-4914-B951-51E57822A563}" dt="2024-02-02T15:52:32.581" v="12368" actId="21"/>
          <ac:spMkLst>
            <pc:docMk/>
            <pc:sldMk cId="2989955826" sldId="2147482391"/>
            <ac:spMk id="4" creationId="{788E0113-6E4E-A257-CC26-18F42944D0C6}"/>
          </ac:spMkLst>
        </pc:spChg>
        <pc:spChg chg="add del mod">
          <ac:chgData name="Soumaya ZERHOUNI" userId="690e4aa6-586b-4341-8f1a-54a3e7457441" providerId="ADAL" clId="{69AAD651-E566-4914-B951-51E57822A563}" dt="2024-02-02T15:52:32.581" v="12368" actId="21"/>
          <ac:spMkLst>
            <pc:docMk/>
            <pc:sldMk cId="2989955826" sldId="2147482391"/>
            <ac:spMk id="6" creationId="{CDF7FCD6-922B-476A-B5BD-93E1A1FE1CC4}"/>
          </ac:spMkLst>
        </pc:spChg>
        <pc:graphicFrameChg chg="mod">
          <ac:chgData name="Soumaya ZERHOUNI" userId="690e4aa6-586b-4341-8f1a-54a3e7457441" providerId="ADAL" clId="{69AAD651-E566-4914-B951-51E57822A563}" dt="2024-02-02T16:12:19.432" v="12541" actId="1037"/>
          <ac:graphicFrameMkLst>
            <pc:docMk/>
            <pc:sldMk cId="2989955826" sldId="2147482391"/>
            <ac:graphicFrameMk id="5" creationId="{23C91FC6-AA19-F227-3A53-EB9801CD6640}"/>
          </ac:graphicFrameMkLst>
        </pc:graphicFrameChg>
        <pc:graphicFrameChg chg="mod">
          <ac:chgData name="Soumaya ZERHOUNI" userId="690e4aa6-586b-4341-8f1a-54a3e7457441" providerId="ADAL" clId="{69AAD651-E566-4914-B951-51E57822A563}" dt="2024-02-02T15:51:52.811" v="12365" actId="1035"/>
          <ac:graphicFrameMkLst>
            <pc:docMk/>
            <pc:sldMk cId="2989955826" sldId="2147482391"/>
            <ac:graphicFrameMk id="28" creationId="{325430F4-DFF6-4179-6403-420FC4DA74C7}"/>
          </ac:graphicFrameMkLst>
        </pc:graphicFrameChg>
        <pc:picChg chg="mod">
          <ac:chgData name="Soumaya ZERHOUNI" userId="690e4aa6-586b-4341-8f1a-54a3e7457441" providerId="ADAL" clId="{69AAD651-E566-4914-B951-51E57822A563}" dt="2024-02-02T16:12:19.432" v="12541" actId="1037"/>
          <ac:picMkLst>
            <pc:docMk/>
            <pc:sldMk cId="2989955826" sldId="2147482391"/>
            <ac:picMk id="7" creationId="{0482B796-A1B5-75DC-EA4C-50AED882A43B}"/>
          </ac:picMkLst>
        </pc:picChg>
        <pc:picChg chg="mod">
          <ac:chgData name="Soumaya ZERHOUNI" userId="690e4aa6-586b-4341-8f1a-54a3e7457441" providerId="ADAL" clId="{69AAD651-E566-4914-B951-51E57822A563}" dt="2024-02-02T16:12:19.432" v="12541" actId="1037"/>
          <ac:picMkLst>
            <pc:docMk/>
            <pc:sldMk cId="2989955826" sldId="2147482391"/>
            <ac:picMk id="29" creationId="{E26A1F60-CB47-8E92-4344-FDBF4FB35682}"/>
          </ac:picMkLst>
        </pc:picChg>
        <pc:picChg chg="mod">
          <ac:chgData name="Soumaya ZERHOUNI" userId="690e4aa6-586b-4341-8f1a-54a3e7457441" providerId="ADAL" clId="{69AAD651-E566-4914-B951-51E57822A563}" dt="2024-02-02T16:12:19.432" v="12541" actId="1037"/>
          <ac:picMkLst>
            <pc:docMk/>
            <pc:sldMk cId="2989955826" sldId="2147482391"/>
            <ac:picMk id="30" creationId="{EA93F607-D90A-BF1F-092F-F45049082715}"/>
          </ac:picMkLst>
        </pc:picChg>
        <pc:picChg chg="mod">
          <ac:chgData name="Soumaya ZERHOUNI" userId="690e4aa6-586b-4341-8f1a-54a3e7457441" providerId="ADAL" clId="{69AAD651-E566-4914-B951-51E57822A563}" dt="2024-02-02T16:12:19.432" v="12541" actId="1037"/>
          <ac:picMkLst>
            <pc:docMk/>
            <pc:sldMk cId="2989955826" sldId="2147482391"/>
            <ac:picMk id="31" creationId="{4D44A480-EC59-AD19-738D-4D519C89E9F1}"/>
          </ac:picMkLst>
        </pc:picChg>
        <pc:picChg chg="mod">
          <ac:chgData name="Soumaya ZERHOUNI" userId="690e4aa6-586b-4341-8f1a-54a3e7457441" providerId="ADAL" clId="{69AAD651-E566-4914-B951-51E57822A563}" dt="2024-02-02T16:12:19.432" v="12541" actId="1037"/>
          <ac:picMkLst>
            <pc:docMk/>
            <pc:sldMk cId="2989955826" sldId="2147482391"/>
            <ac:picMk id="32" creationId="{CD394441-B67D-06E8-62F6-AF6E69EF7787}"/>
          </ac:picMkLst>
        </pc:picChg>
        <pc:picChg chg="mod">
          <ac:chgData name="Soumaya ZERHOUNI" userId="690e4aa6-586b-4341-8f1a-54a3e7457441" providerId="ADAL" clId="{69AAD651-E566-4914-B951-51E57822A563}" dt="2024-02-02T16:12:19.432" v="12541" actId="1037"/>
          <ac:picMkLst>
            <pc:docMk/>
            <pc:sldMk cId="2989955826" sldId="2147482391"/>
            <ac:picMk id="33" creationId="{B0CD840E-9E1E-AA89-E777-EB5BD6417EE1}"/>
          </ac:picMkLst>
        </pc:picChg>
        <pc:picChg chg="mod">
          <ac:chgData name="Soumaya ZERHOUNI" userId="690e4aa6-586b-4341-8f1a-54a3e7457441" providerId="ADAL" clId="{69AAD651-E566-4914-B951-51E57822A563}" dt="2024-02-02T16:12:19.432" v="12541" actId="1037"/>
          <ac:picMkLst>
            <pc:docMk/>
            <pc:sldMk cId="2989955826" sldId="2147482391"/>
            <ac:picMk id="36" creationId="{62FA64E1-D4B3-B67A-3899-D4BC9F9C5D83}"/>
          </ac:picMkLst>
        </pc:picChg>
        <pc:picChg chg="mod">
          <ac:chgData name="Soumaya ZERHOUNI" userId="690e4aa6-586b-4341-8f1a-54a3e7457441" providerId="ADAL" clId="{69AAD651-E566-4914-B951-51E57822A563}" dt="2024-02-02T16:12:19.432" v="12541" actId="1037"/>
          <ac:picMkLst>
            <pc:docMk/>
            <pc:sldMk cId="2989955826" sldId="2147482391"/>
            <ac:picMk id="2050" creationId="{12FB3EDA-76F9-ED54-718F-0F408E8548AF}"/>
          </ac:picMkLst>
        </pc:picChg>
        <pc:picChg chg="mod">
          <ac:chgData name="Soumaya ZERHOUNI" userId="690e4aa6-586b-4341-8f1a-54a3e7457441" providerId="ADAL" clId="{69AAD651-E566-4914-B951-51E57822A563}" dt="2024-02-02T16:12:19.432" v="12541" actId="1037"/>
          <ac:picMkLst>
            <pc:docMk/>
            <pc:sldMk cId="2989955826" sldId="2147482391"/>
            <ac:picMk id="2056" creationId="{1ECC0582-4EB6-A74C-4490-62FAC826815C}"/>
          </ac:picMkLst>
        </pc:picChg>
        <pc:picChg chg="mod">
          <ac:chgData name="Soumaya ZERHOUNI" userId="690e4aa6-586b-4341-8f1a-54a3e7457441" providerId="ADAL" clId="{69AAD651-E566-4914-B951-51E57822A563}" dt="2024-02-02T16:12:19.432" v="12541" actId="1037"/>
          <ac:picMkLst>
            <pc:docMk/>
            <pc:sldMk cId="2989955826" sldId="2147482391"/>
            <ac:picMk id="2058" creationId="{DE3AF6C2-F7D1-62F9-AC28-C534E7CCD69C}"/>
          </ac:picMkLst>
        </pc:picChg>
        <pc:picChg chg="mod">
          <ac:chgData name="Soumaya ZERHOUNI" userId="690e4aa6-586b-4341-8f1a-54a3e7457441" providerId="ADAL" clId="{69AAD651-E566-4914-B951-51E57822A563}" dt="2024-02-02T16:12:19.432" v="12541" actId="1037"/>
          <ac:picMkLst>
            <pc:docMk/>
            <pc:sldMk cId="2989955826" sldId="2147482391"/>
            <ac:picMk id="2060" creationId="{B4113694-B817-133E-C00D-F3EAD802AC85}"/>
          </ac:picMkLst>
        </pc:picChg>
        <pc:picChg chg="mod">
          <ac:chgData name="Soumaya ZERHOUNI" userId="690e4aa6-586b-4341-8f1a-54a3e7457441" providerId="ADAL" clId="{69AAD651-E566-4914-B951-51E57822A563}" dt="2024-02-02T16:12:19.432" v="12541" actId="1037"/>
          <ac:picMkLst>
            <pc:docMk/>
            <pc:sldMk cId="2989955826" sldId="2147482391"/>
            <ac:picMk id="2062" creationId="{D9DAD584-2171-B6A9-0028-1F932C89B9ED}"/>
          </ac:picMkLst>
        </pc:picChg>
      </pc:sldChg>
      <pc:sldChg chg="new del">
        <pc:chgData name="Soumaya ZERHOUNI" userId="690e4aa6-586b-4341-8f1a-54a3e7457441" providerId="ADAL" clId="{69AAD651-E566-4914-B951-51E57822A563}" dt="2024-02-14T13:19:39.611" v="12965" actId="680"/>
        <pc:sldMkLst>
          <pc:docMk/>
          <pc:sldMk cId="1097354875" sldId="2147482392"/>
        </pc:sldMkLst>
      </pc:sldChg>
      <pc:sldChg chg="new del">
        <pc:chgData name="Soumaya ZERHOUNI" userId="690e4aa6-586b-4341-8f1a-54a3e7457441" providerId="ADAL" clId="{69AAD651-E566-4914-B951-51E57822A563}" dt="2024-02-02T15:46:58.736" v="12269" actId="680"/>
        <pc:sldMkLst>
          <pc:docMk/>
          <pc:sldMk cId="4250646185" sldId="2147482392"/>
        </pc:sldMkLst>
      </pc:sldChg>
      <pc:sldMasterChg chg="modSldLayout">
        <pc:chgData name="Soumaya ZERHOUNI" userId="690e4aa6-586b-4341-8f1a-54a3e7457441" providerId="ADAL" clId="{69AAD651-E566-4914-B951-51E57822A563}" dt="2024-02-15T13:28:23.010" v="13096" actId="478"/>
        <pc:sldMasterMkLst>
          <pc:docMk/>
          <pc:sldMasterMk cId="2334669681" sldId="2147483669"/>
        </pc:sldMasterMkLst>
        <pc:sldLayoutChg chg="delSp modSp mod">
          <pc:chgData name="Soumaya ZERHOUNI" userId="690e4aa6-586b-4341-8f1a-54a3e7457441" providerId="ADAL" clId="{69AAD651-E566-4914-B951-51E57822A563}" dt="2024-02-15T13:28:23.010" v="13096" actId="478"/>
          <pc:sldLayoutMkLst>
            <pc:docMk/>
            <pc:sldMasterMk cId="2334669681" sldId="2147483669"/>
            <pc:sldLayoutMk cId="3545220117" sldId="2147483679"/>
          </pc:sldLayoutMkLst>
          <pc:picChg chg="del mod">
            <ac:chgData name="Soumaya ZERHOUNI" userId="690e4aa6-586b-4341-8f1a-54a3e7457441" providerId="ADAL" clId="{69AAD651-E566-4914-B951-51E57822A563}" dt="2024-02-15T13:28:23.010" v="13096" actId="478"/>
            <ac:picMkLst>
              <pc:docMk/>
              <pc:sldMasterMk cId="2334669681" sldId="2147483669"/>
              <pc:sldLayoutMk cId="3545220117" sldId="2147483679"/>
              <ac:picMk id="28" creationId="{2D2CB7B4-8139-4D62-894C-14DB13503E50}"/>
            </ac:picMkLst>
          </pc:picChg>
        </pc:sldLayoutChg>
      </pc:sldMasterChg>
      <pc:sldMasterChg chg="delSldLayout modSldLayout">
        <pc:chgData name="Soumaya ZERHOUNI" userId="690e4aa6-586b-4341-8f1a-54a3e7457441" providerId="ADAL" clId="{69AAD651-E566-4914-B951-51E57822A563}" dt="2024-01-31T17:25:55.653" v="6721" actId="571"/>
        <pc:sldMasterMkLst>
          <pc:docMk/>
          <pc:sldMasterMk cId="2531651770" sldId="2147483701"/>
        </pc:sldMasterMkLst>
        <pc:sldLayoutChg chg="addSp delSp modSp mod">
          <pc:chgData name="Soumaya ZERHOUNI" userId="690e4aa6-586b-4341-8f1a-54a3e7457441" providerId="ADAL" clId="{69AAD651-E566-4914-B951-51E57822A563}" dt="2024-01-31T17:25:55.653" v="6721" actId="571"/>
          <pc:sldLayoutMkLst>
            <pc:docMk/>
            <pc:sldMasterMk cId="2531651770" sldId="2147483701"/>
            <pc:sldLayoutMk cId="3597575540" sldId="2147483705"/>
          </pc:sldLayoutMkLst>
          <pc:spChg chg="add del mod">
            <ac:chgData name="Soumaya ZERHOUNI" userId="690e4aa6-586b-4341-8f1a-54a3e7457441" providerId="ADAL" clId="{69AAD651-E566-4914-B951-51E57822A563}" dt="2024-01-31T14:56:01.601" v="5417" actId="478"/>
            <ac:spMkLst>
              <pc:docMk/>
              <pc:sldMasterMk cId="2531651770" sldId="2147483701"/>
              <pc:sldLayoutMk cId="3597575540" sldId="2147483705"/>
              <ac:spMk id="2" creationId="{C923D415-F720-84D3-D391-B5291290CE8D}"/>
            </ac:spMkLst>
          </pc:spChg>
          <pc:spChg chg="add del mod">
            <ac:chgData name="Soumaya ZERHOUNI" userId="690e4aa6-586b-4341-8f1a-54a3e7457441" providerId="ADAL" clId="{69AAD651-E566-4914-B951-51E57822A563}" dt="2024-01-31T14:56:01.601" v="5417" actId="478"/>
            <ac:spMkLst>
              <pc:docMk/>
              <pc:sldMasterMk cId="2531651770" sldId="2147483701"/>
              <pc:sldLayoutMk cId="3597575540" sldId="2147483705"/>
              <ac:spMk id="5" creationId="{74001FDF-AD66-5E47-5840-A3253E9B41A7}"/>
            </ac:spMkLst>
          </pc:spChg>
          <pc:spChg chg="add del mod">
            <ac:chgData name="Soumaya ZERHOUNI" userId="690e4aa6-586b-4341-8f1a-54a3e7457441" providerId="ADAL" clId="{69AAD651-E566-4914-B951-51E57822A563}" dt="2024-01-31T14:56:01.601" v="5417" actId="478"/>
            <ac:spMkLst>
              <pc:docMk/>
              <pc:sldMasterMk cId="2531651770" sldId="2147483701"/>
              <pc:sldLayoutMk cId="3597575540" sldId="2147483705"/>
              <ac:spMk id="6" creationId="{A4568D70-2D54-FF34-BA2A-05E801BD283C}"/>
            </ac:spMkLst>
          </pc:spChg>
          <pc:spChg chg="add del mod">
            <ac:chgData name="Soumaya ZERHOUNI" userId="690e4aa6-586b-4341-8f1a-54a3e7457441" providerId="ADAL" clId="{69AAD651-E566-4914-B951-51E57822A563}" dt="2024-01-31T14:56:01.601" v="5417" actId="478"/>
            <ac:spMkLst>
              <pc:docMk/>
              <pc:sldMasterMk cId="2531651770" sldId="2147483701"/>
              <pc:sldLayoutMk cId="3597575540" sldId="2147483705"/>
              <ac:spMk id="13" creationId="{7B153E23-A288-A26C-0767-21701F65A3B4}"/>
            </ac:spMkLst>
          </pc:spChg>
          <pc:spChg chg="add del mod">
            <ac:chgData name="Soumaya ZERHOUNI" userId="690e4aa6-586b-4341-8f1a-54a3e7457441" providerId="ADAL" clId="{69AAD651-E566-4914-B951-51E57822A563}" dt="2024-01-31T14:56:01.601" v="5417" actId="478"/>
            <ac:spMkLst>
              <pc:docMk/>
              <pc:sldMasterMk cId="2531651770" sldId="2147483701"/>
              <pc:sldLayoutMk cId="3597575540" sldId="2147483705"/>
              <ac:spMk id="16" creationId="{667908B6-58D8-539D-933B-C3F4830CD670}"/>
            </ac:spMkLst>
          </pc:spChg>
          <pc:spChg chg="add mod">
            <ac:chgData name="Soumaya ZERHOUNI" userId="690e4aa6-586b-4341-8f1a-54a3e7457441" providerId="ADAL" clId="{69AAD651-E566-4914-B951-51E57822A563}" dt="2024-01-31T17:25:55.653" v="6721" actId="571"/>
            <ac:spMkLst>
              <pc:docMk/>
              <pc:sldMasterMk cId="2531651770" sldId="2147483701"/>
              <pc:sldLayoutMk cId="3597575540" sldId="2147483705"/>
              <ac:spMk id="17" creationId="{7289D407-1AD7-398C-EB43-B1648D06804B}"/>
            </ac:spMkLst>
          </pc:spChg>
          <pc:spChg chg="add mod">
            <ac:chgData name="Soumaya ZERHOUNI" userId="690e4aa6-586b-4341-8f1a-54a3e7457441" providerId="ADAL" clId="{69AAD651-E566-4914-B951-51E57822A563}" dt="2024-01-31T17:25:55.653" v="6721" actId="571"/>
            <ac:spMkLst>
              <pc:docMk/>
              <pc:sldMasterMk cId="2531651770" sldId="2147483701"/>
              <pc:sldLayoutMk cId="3597575540" sldId="2147483705"/>
              <ac:spMk id="18" creationId="{9FDCFE4F-94AD-0EE2-24C6-E65881A2971C}"/>
            </ac:spMkLst>
          </pc:spChg>
          <pc:spChg chg="add mod">
            <ac:chgData name="Soumaya ZERHOUNI" userId="690e4aa6-586b-4341-8f1a-54a3e7457441" providerId="ADAL" clId="{69AAD651-E566-4914-B951-51E57822A563}" dt="2024-01-31T17:25:55.653" v="6721" actId="571"/>
            <ac:spMkLst>
              <pc:docMk/>
              <pc:sldMasterMk cId="2531651770" sldId="2147483701"/>
              <pc:sldLayoutMk cId="3597575540" sldId="2147483705"/>
              <ac:spMk id="19" creationId="{506040DD-575B-4449-A69E-FC229588B9E0}"/>
            </ac:spMkLst>
          </pc:spChg>
          <pc:picChg chg="add mod">
            <ac:chgData name="Soumaya ZERHOUNI" userId="690e4aa6-586b-4341-8f1a-54a3e7457441" providerId="ADAL" clId="{69AAD651-E566-4914-B951-51E57822A563}" dt="2024-01-31T17:25:55.653" v="6721" actId="571"/>
            <ac:picMkLst>
              <pc:docMk/>
              <pc:sldMasterMk cId="2531651770" sldId="2147483701"/>
              <pc:sldLayoutMk cId="3597575540" sldId="2147483705"/>
              <ac:picMk id="20" creationId="{21E9CA1B-4BC4-5139-13B9-829AD6F850CE}"/>
            </ac:picMkLst>
          </pc:picChg>
        </pc:sldLayoutChg>
        <pc:sldLayoutChg chg="addSp delSp modSp mod">
          <pc:chgData name="Soumaya ZERHOUNI" userId="690e4aa6-586b-4341-8f1a-54a3e7457441" providerId="ADAL" clId="{69AAD651-E566-4914-B951-51E57822A563}" dt="2024-01-31T14:56:54.355" v="5422"/>
          <pc:sldLayoutMkLst>
            <pc:docMk/>
            <pc:sldMasterMk cId="2531651770" sldId="2147483701"/>
            <pc:sldLayoutMk cId="3069651829" sldId="2147483706"/>
          </pc:sldLayoutMkLst>
          <pc:spChg chg="del">
            <ac:chgData name="Soumaya ZERHOUNI" userId="690e4aa6-586b-4341-8f1a-54a3e7457441" providerId="ADAL" clId="{69AAD651-E566-4914-B951-51E57822A563}" dt="2024-01-31T14:56:53.875" v="5421" actId="478"/>
            <ac:spMkLst>
              <pc:docMk/>
              <pc:sldMasterMk cId="2531651770" sldId="2147483701"/>
              <pc:sldLayoutMk cId="3069651829" sldId="2147483706"/>
              <ac:spMk id="3" creationId="{C1138F53-0DF2-7A47-8712-DF07788E16AA}"/>
            </ac:spMkLst>
          </pc:spChg>
          <pc:spChg chg="del">
            <ac:chgData name="Soumaya ZERHOUNI" userId="690e4aa6-586b-4341-8f1a-54a3e7457441" providerId="ADAL" clId="{69AAD651-E566-4914-B951-51E57822A563}" dt="2024-01-31T14:56:53.875" v="5421" actId="478"/>
            <ac:spMkLst>
              <pc:docMk/>
              <pc:sldMasterMk cId="2531651770" sldId="2147483701"/>
              <pc:sldLayoutMk cId="3069651829" sldId="2147483706"/>
              <ac:spMk id="4" creationId="{0D32D8FB-3829-A347-ACC6-3EDA816F0A9B}"/>
            </ac:spMkLst>
          </pc:spChg>
          <pc:spChg chg="add mod">
            <ac:chgData name="Soumaya ZERHOUNI" userId="690e4aa6-586b-4341-8f1a-54a3e7457441" providerId="ADAL" clId="{69AAD651-E566-4914-B951-51E57822A563}" dt="2024-01-31T14:56:54.355" v="5422"/>
            <ac:spMkLst>
              <pc:docMk/>
              <pc:sldMasterMk cId="2531651770" sldId="2147483701"/>
              <pc:sldLayoutMk cId="3069651829" sldId="2147483706"/>
              <ac:spMk id="7" creationId="{C7B9C442-CD3C-1776-DDF0-29A700392857}"/>
            </ac:spMkLst>
          </pc:spChg>
          <pc:spChg chg="add mod">
            <ac:chgData name="Soumaya ZERHOUNI" userId="690e4aa6-586b-4341-8f1a-54a3e7457441" providerId="ADAL" clId="{69AAD651-E566-4914-B951-51E57822A563}" dt="2024-01-31T14:56:54.355" v="5422"/>
            <ac:spMkLst>
              <pc:docMk/>
              <pc:sldMasterMk cId="2531651770" sldId="2147483701"/>
              <pc:sldLayoutMk cId="3069651829" sldId="2147483706"/>
              <ac:spMk id="8" creationId="{C3144133-4A7C-9BD3-264D-3614AF9D96C7}"/>
            </ac:spMkLst>
          </pc:spChg>
          <pc:spChg chg="add mod">
            <ac:chgData name="Soumaya ZERHOUNI" userId="690e4aa6-586b-4341-8f1a-54a3e7457441" providerId="ADAL" clId="{69AAD651-E566-4914-B951-51E57822A563}" dt="2024-01-31T14:56:54.355" v="5422"/>
            <ac:spMkLst>
              <pc:docMk/>
              <pc:sldMasterMk cId="2531651770" sldId="2147483701"/>
              <pc:sldLayoutMk cId="3069651829" sldId="2147483706"/>
              <ac:spMk id="12" creationId="{B3F62654-5EAA-4D0E-7D9E-1D0B478214CD}"/>
            </ac:spMkLst>
          </pc:spChg>
          <pc:spChg chg="add mod">
            <ac:chgData name="Soumaya ZERHOUNI" userId="690e4aa6-586b-4341-8f1a-54a3e7457441" providerId="ADAL" clId="{69AAD651-E566-4914-B951-51E57822A563}" dt="2024-01-31T14:56:54.355" v="5422"/>
            <ac:spMkLst>
              <pc:docMk/>
              <pc:sldMasterMk cId="2531651770" sldId="2147483701"/>
              <pc:sldLayoutMk cId="3069651829" sldId="2147483706"/>
              <ac:spMk id="13" creationId="{B2FDA77E-38FE-36E8-940F-777D6796B9AA}"/>
            </ac:spMkLst>
          </pc:spChg>
          <pc:spChg chg="add mod">
            <ac:chgData name="Soumaya ZERHOUNI" userId="690e4aa6-586b-4341-8f1a-54a3e7457441" providerId="ADAL" clId="{69AAD651-E566-4914-B951-51E57822A563}" dt="2024-01-31T14:56:54.355" v="5422"/>
            <ac:spMkLst>
              <pc:docMk/>
              <pc:sldMasterMk cId="2531651770" sldId="2147483701"/>
              <pc:sldLayoutMk cId="3069651829" sldId="2147483706"/>
              <ac:spMk id="14" creationId="{9DD24C2E-D333-D6D2-6342-D9AF96FEF1F5}"/>
            </ac:spMkLst>
          </pc:spChg>
          <pc:grpChg chg="del">
            <ac:chgData name="Soumaya ZERHOUNI" userId="690e4aa6-586b-4341-8f1a-54a3e7457441" providerId="ADAL" clId="{69AAD651-E566-4914-B951-51E57822A563}" dt="2024-01-31T14:56:53.875" v="5421" actId="478"/>
            <ac:grpSpMkLst>
              <pc:docMk/>
              <pc:sldMasterMk cId="2531651770" sldId="2147483701"/>
              <pc:sldLayoutMk cId="3069651829" sldId="2147483706"/>
              <ac:grpSpMk id="2" creationId="{EF47513C-C14D-8D81-FAE4-D59B1C823F85}"/>
            </ac:grpSpMkLst>
          </pc:grpChg>
        </pc:sldLayoutChg>
        <pc:sldLayoutChg chg="addSp delSp modSp mod">
          <pc:chgData name="Soumaya ZERHOUNI" userId="690e4aa6-586b-4341-8f1a-54a3e7457441" providerId="ADAL" clId="{69AAD651-E566-4914-B951-51E57822A563}" dt="2024-01-31T14:55:26.992" v="5413"/>
          <pc:sldLayoutMkLst>
            <pc:docMk/>
            <pc:sldMasterMk cId="2531651770" sldId="2147483701"/>
            <pc:sldLayoutMk cId="448696269" sldId="2147483709"/>
          </pc:sldLayoutMkLst>
          <pc:spChg chg="add mod">
            <ac:chgData name="Soumaya ZERHOUNI" userId="690e4aa6-586b-4341-8f1a-54a3e7457441" providerId="ADAL" clId="{69AAD651-E566-4914-B951-51E57822A563}" dt="2024-01-31T14:55:13.156" v="5408"/>
            <ac:spMkLst>
              <pc:docMk/>
              <pc:sldMasterMk cId="2531651770" sldId="2147483701"/>
              <pc:sldLayoutMk cId="448696269" sldId="2147483709"/>
              <ac:spMk id="2" creationId="{1828ED04-DE09-03C6-2AC3-2936794BB7E3}"/>
            </ac:spMkLst>
          </pc:spChg>
          <pc:spChg chg="del">
            <ac:chgData name="Soumaya ZERHOUNI" userId="690e4aa6-586b-4341-8f1a-54a3e7457441" providerId="ADAL" clId="{69AAD651-E566-4914-B951-51E57822A563}" dt="2024-01-31T14:55:12.755" v="5407" actId="478"/>
            <ac:spMkLst>
              <pc:docMk/>
              <pc:sldMasterMk cId="2531651770" sldId="2147483701"/>
              <pc:sldLayoutMk cId="448696269" sldId="2147483709"/>
              <ac:spMk id="3" creationId="{311860BF-06DE-5D44-9517-3990CA0C7FBB}"/>
            </ac:spMkLst>
          </pc:spChg>
          <pc:spChg chg="del">
            <ac:chgData name="Soumaya ZERHOUNI" userId="690e4aa6-586b-4341-8f1a-54a3e7457441" providerId="ADAL" clId="{69AAD651-E566-4914-B951-51E57822A563}" dt="2024-01-31T14:55:12.755" v="5407" actId="478"/>
            <ac:spMkLst>
              <pc:docMk/>
              <pc:sldMasterMk cId="2531651770" sldId="2147483701"/>
              <pc:sldLayoutMk cId="448696269" sldId="2147483709"/>
              <ac:spMk id="4" creationId="{344AF0B7-651B-1849-9734-94EFCA074FAF}"/>
            </ac:spMkLst>
          </pc:spChg>
          <pc:spChg chg="add mod">
            <ac:chgData name="Soumaya ZERHOUNI" userId="690e4aa6-586b-4341-8f1a-54a3e7457441" providerId="ADAL" clId="{69AAD651-E566-4914-B951-51E57822A563}" dt="2024-01-31T14:55:13.156" v="5408"/>
            <ac:spMkLst>
              <pc:docMk/>
              <pc:sldMasterMk cId="2531651770" sldId="2147483701"/>
              <pc:sldLayoutMk cId="448696269" sldId="2147483709"/>
              <ac:spMk id="5" creationId="{B91B0CFF-BCAD-BFA0-87AA-E03F694061F0}"/>
            </ac:spMkLst>
          </pc:spChg>
          <pc:spChg chg="add mod">
            <ac:chgData name="Soumaya ZERHOUNI" userId="690e4aa6-586b-4341-8f1a-54a3e7457441" providerId="ADAL" clId="{69AAD651-E566-4914-B951-51E57822A563}" dt="2024-01-31T14:55:13.156" v="5408"/>
            <ac:spMkLst>
              <pc:docMk/>
              <pc:sldMasterMk cId="2531651770" sldId="2147483701"/>
              <pc:sldLayoutMk cId="448696269" sldId="2147483709"/>
              <ac:spMk id="6" creationId="{2BC17B8F-440A-4788-25A8-1F450EC9DAED}"/>
            </ac:spMkLst>
          </pc:spChg>
          <pc:spChg chg="del">
            <ac:chgData name="Soumaya ZERHOUNI" userId="690e4aa6-586b-4341-8f1a-54a3e7457441" providerId="ADAL" clId="{69AAD651-E566-4914-B951-51E57822A563}" dt="2024-01-31T14:55:26.244" v="5412" actId="478"/>
            <ac:spMkLst>
              <pc:docMk/>
              <pc:sldMasterMk cId="2531651770" sldId="2147483701"/>
              <pc:sldLayoutMk cId="448696269" sldId="2147483709"/>
              <ac:spMk id="7" creationId="{520ADC7A-34D9-FB47-BD87-5F4C5E73EF97}"/>
            </ac:spMkLst>
          </pc:spChg>
          <pc:spChg chg="del mod">
            <ac:chgData name="Soumaya ZERHOUNI" userId="690e4aa6-586b-4341-8f1a-54a3e7457441" providerId="ADAL" clId="{69AAD651-E566-4914-B951-51E57822A563}" dt="2024-01-31T14:55:26.244" v="5412" actId="478"/>
            <ac:spMkLst>
              <pc:docMk/>
              <pc:sldMasterMk cId="2531651770" sldId="2147483701"/>
              <pc:sldLayoutMk cId="448696269" sldId="2147483709"/>
              <ac:spMk id="8" creationId="{58C68558-4BDB-884D-950A-A16AFB14C666}"/>
            </ac:spMkLst>
          </pc:spChg>
          <pc:spChg chg="del">
            <ac:chgData name="Soumaya ZERHOUNI" userId="690e4aa6-586b-4341-8f1a-54a3e7457441" providerId="ADAL" clId="{69AAD651-E566-4914-B951-51E57822A563}" dt="2024-01-31T14:55:26.244" v="5412" actId="478"/>
            <ac:spMkLst>
              <pc:docMk/>
              <pc:sldMasterMk cId="2531651770" sldId="2147483701"/>
              <pc:sldLayoutMk cId="448696269" sldId="2147483709"/>
              <ac:spMk id="9" creationId="{80C9613B-9636-864F-9D61-59B5C40A4E29}"/>
            </ac:spMkLst>
          </pc:spChg>
          <pc:spChg chg="add mod">
            <ac:chgData name="Soumaya ZERHOUNI" userId="690e4aa6-586b-4341-8f1a-54a3e7457441" providerId="ADAL" clId="{69AAD651-E566-4914-B951-51E57822A563}" dt="2024-01-31T14:55:22.912" v="5411"/>
            <ac:spMkLst>
              <pc:docMk/>
              <pc:sldMasterMk cId="2531651770" sldId="2147483701"/>
              <pc:sldLayoutMk cId="448696269" sldId="2147483709"/>
              <ac:spMk id="10" creationId="{BEB1BE32-D26B-1A33-21ED-29735BB52771}"/>
            </ac:spMkLst>
          </pc:spChg>
          <pc:spChg chg="add mod">
            <ac:chgData name="Soumaya ZERHOUNI" userId="690e4aa6-586b-4341-8f1a-54a3e7457441" providerId="ADAL" clId="{69AAD651-E566-4914-B951-51E57822A563}" dt="2024-01-31T14:55:13.156" v="5408"/>
            <ac:spMkLst>
              <pc:docMk/>
              <pc:sldMasterMk cId="2531651770" sldId="2147483701"/>
              <pc:sldLayoutMk cId="448696269" sldId="2147483709"/>
              <ac:spMk id="13" creationId="{35CE6122-A52D-7E87-F1F8-BF497415B8FD}"/>
            </ac:spMkLst>
          </pc:spChg>
          <pc:spChg chg="add mod">
            <ac:chgData name="Soumaya ZERHOUNI" userId="690e4aa6-586b-4341-8f1a-54a3e7457441" providerId="ADAL" clId="{69AAD651-E566-4914-B951-51E57822A563}" dt="2024-01-31T14:55:26.992" v="5413"/>
            <ac:spMkLst>
              <pc:docMk/>
              <pc:sldMasterMk cId="2531651770" sldId="2147483701"/>
              <pc:sldLayoutMk cId="448696269" sldId="2147483709"/>
              <ac:spMk id="14" creationId="{8821634A-27F1-7F77-0A60-F45A9F3A0DAB}"/>
            </ac:spMkLst>
          </pc:spChg>
          <pc:spChg chg="add mod">
            <ac:chgData name="Soumaya ZERHOUNI" userId="690e4aa6-586b-4341-8f1a-54a3e7457441" providerId="ADAL" clId="{69AAD651-E566-4914-B951-51E57822A563}" dt="2024-01-31T14:55:26.992" v="5413"/>
            <ac:spMkLst>
              <pc:docMk/>
              <pc:sldMasterMk cId="2531651770" sldId="2147483701"/>
              <pc:sldLayoutMk cId="448696269" sldId="2147483709"/>
              <ac:spMk id="18" creationId="{470AA063-4B28-A435-2C6D-61428949F1AC}"/>
            </ac:spMkLst>
          </pc:spChg>
          <pc:spChg chg="add mod">
            <ac:chgData name="Soumaya ZERHOUNI" userId="690e4aa6-586b-4341-8f1a-54a3e7457441" providerId="ADAL" clId="{69AAD651-E566-4914-B951-51E57822A563}" dt="2024-01-31T14:55:26.992" v="5413"/>
            <ac:spMkLst>
              <pc:docMk/>
              <pc:sldMasterMk cId="2531651770" sldId="2147483701"/>
              <pc:sldLayoutMk cId="448696269" sldId="2147483709"/>
              <ac:spMk id="19" creationId="{8817C702-E7DB-D6CA-2E4C-E9D8F837108C}"/>
            </ac:spMkLst>
          </pc:spChg>
          <pc:spChg chg="add mod">
            <ac:chgData name="Soumaya ZERHOUNI" userId="690e4aa6-586b-4341-8f1a-54a3e7457441" providerId="ADAL" clId="{69AAD651-E566-4914-B951-51E57822A563}" dt="2024-01-31T14:55:26.992" v="5413"/>
            <ac:spMkLst>
              <pc:docMk/>
              <pc:sldMasterMk cId="2531651770" sldId="2147483701"/>
              <pc:sldLayoutMk cId="448696269" sldId="2147483709"/>
              <ac:spMk id="20" creationId="{FDF24FF0-FD5E-7CE9-D502-498463E52E5A}"/>
            </ac:spMkLst>
          </pc:spChg>
          <pc:spChg chg="add mod">
            <ac:chgData name="Soumaya ZERHOUNI" userId="690e4aa6-586b-4341-8f1a-54a3e7457441" providerId="ADAL" clId="{69AAD651-E566-4914-B951-51E57822A563}" dt="2024-01-31T14:55:26.992" v="5413"/>
            <ac:spMkLst>
              <pc:docMk/>
              <pc:sldMasterMk cId="2531651770" sldId="2147483701"/>
              <pc:sldLayoutMk cId="448696269" sldId="2147483709"/>
              <ac:spMk id="21" creationId="{21F30DB1-2218-4EF8-95AD-31CAB0206938}"/>
            </ac:spMkLst>
          </pc:spChg>
        </pc:sldLayoutChg>
        <pc:sldLayoutChg chg="addSp delSp modSp mod">
          <pc:chgData name="Soumaya ZERHOUNI" userId="690e4aa6-586b-4341-8f1a-54a3e7457441" providerId="ADAL" clId="{69AAD651-E566-4914-B951-51E57822A563}" dt="2024-01-31T14:56:43.526" v="5420"/>
          <pc:sldLayoutMkLst>
            <pc:docMk/>
            <pc:sldMasterMk cId="2531651770" sldId="2147483701"/>
            <pc:sldLayoutMk cId="844059917" sldId="2147483710"/>
          </pc:sldLayoutMkLst>
          <pc:spChg chg="del">
            <ac:chgData name="Soumaya ZERHOUNI" userId="690e4aa6-586b-4341-8f1a-54a3e7457441" providerId="ADAL" clId="{69AAD651-E566-4914-B951-51E57822A563}" dt="2024-01-31T14:56:42.837" v="5419" actId="478"/>
            <ac:spMkLst>
              <pc:docMk/>
              <pc:sldMasterMk cId="2531651770" sldId="2147483701"/>
              <pc:sldLayoutMk cId="844059917" sldId="2147483710"/>
              <ac:spMk id="3" creationId="{311860BF-06DE-5D44-9517-3990CA0C7FBB}"/>
            </ac:spMkLst>
          </pc:spChg>
          <pc:spChg chg="del">
            <ac:chgData name="Soumaya ZERHOUNI" userId="690e4aa6-586b-4341-8f1a-54a3e7457441" providerId="ADAL" clId="{69AAD651-E566-4914-B951-51E57822A563}" dt="2024-01-31T14:56:42.837" v="5419" actId="478"/>
            <ac:spMkLst>
              <pc:docMk/>
              <pc:sldMasterMk cId="2531651770" sldId="2147483701"/>
              <pc:sldLayoutMk cId="844059917" sldId="2147483710"/>
              <ac:spMk id="4" creationId="{344AF0B7-651B-1849-9734-94EFCA074FAF}"/>
            </ac:spMkLst>
          </pc:spChg>
          <pc:spChg chg="add mod">
            <ac:chgData name="Soumaya ZERHOUNI" userId="690e4aa6-586b-4341-8f1a-54a3e7457441" providerId="ADAL" clId="{69AAD651-E566-4914-B951-51E57822A563}" dt="2024-01-31T14:56:34.489" v="5418"/>
            <ac:spMkLst>
              <pc:docMk/>
              <pc:sldMasterMk cId="2531651770" sldId="2147483701"/>
              <pc:sldLayoutMk cId="844059917" sldId="2147483710"/>
              <ac:spMk id="7" creationId="{4D961AE7-2790-E7E8-4778-6D7DE9C640C9}"/>
            </ac:spMkLst>
          </pc:spChg>
          <pc:spChg chg="add mod">
            <ac:chgData name="Soumaya ZERHOUNI" userId="690e4aa6-586b-4341-8f1a-54a3e7457441" providerId="ADAL" clId="{69AAD651-E566-4914-B951-51E57822A563}" dt="2024-01-31T14:56:34.489" v="5418"/>
            <ac:spMkLst>
              <pc:docMk/>
              <pc:sldMasterMk cId="2531651770" sldId="2147483701"/>
              <pc:sldLayoutMk cId="844059917" sldId="2147483710"/>
              <ac:spMk id="8" creationId="{6B4FC54F-2AAD-3B66-4A6C-76E9581C309D}"/>
            </ac:spMkLst>
          </pc:spChg>
          <pc:spChg chg="add mod">
            <ac:chgData name="Soumaya ZERHOUNI" userId="690e4aa6-586b-4341-8f1a-54a3e7457441" providerId="ADAL" clId="{69AAD651-E566-4914-B951-51E57822A563}" dt="2024-01-31T14:56:34.489" v="5418"/>
            <ac:spMkLst>
              <pc:docMk/>
              <pc:sldMasterMk cId="2531651770" sldId="2147483701"/>
              <pc:sldLayoutMk cId="844059917" sldId="2147483710"/>
              <ac:spMk id="9" creationId="{DD27D9B6-BF23-983E-402B-9E384C716742}"/>
            </ac:spMkLst>
          </pc:spChg>
          <pc:spChg chg="add mod">
            <ac:chgData name="Soumaya ZERHOUNI" userId="690e4aa6-586b-4341-8f1a-54a3e7457441" providerId="ADAL" clId="{69AAD651-E566-4914-B951-51E57822A563}" dt="2024-01-31T14:56:34.489" v="5418"/>
            <ac:spMkLst>
              <pc:docMk/>
              <pc:sldMasterMk cId="2531651770" sldId="2147483701"/>
              <pc:sldLayoutMk cId="844059917" sldId="2147483710"/>
              <ac:spMk id="10" creationId="{483B5DA3-BEB2-160A-06EA-9B87A7BA27CF}"/>
            </ac:spMkLst>
          </pc:spChg>
          <pc:spChg chg="add mod">
            <ac:chgData name="Soumaya ZERHOUNI" userId="690e4aa6-586b-4341-8f1a-54a3e7457441" providerId="ADAL" clId="{69AAD651-E566-4914-B951-51E57822A563}" dt="2024-01-31T14:56:34.489" v="5418"/>
            <ac:spMkLst>
              <pc:docMk/>
              <pc:sldMasterMk cId="2531651770" sldId="2147483701"/>
              <pc:sldLayoutMk cId="844059917" sldId="2147483710"/>
              <ac:spMk id="11" creationId="{FE5971C7-4AC2-9D98-D2B0-81D053A71FDB}"/>
            </ac:spMkLst>
          </pc:spChg>
          <pc:spChg chg="add mod">
            <ac:chgData name="Soumaya ZERHOUNI" userId="690e4aa6-586b-4341-8f1a-54a3e7457441" providerId="ADAL" clId="{69AAD651-E566-4914-B951-51E57822A563}" dt="2024-01-31T14:56:43.526" v="5420"/>
            <ac:spMkLst>
              <pc:docMk/>
              <pc:sldMasterMk cId="2531651770" sldId="2147483701"/>
              <pc:sldLayoutMk cId="844059917" sldId="2147483710"/>
              <ac:spMk id="12" creationId="{41B7B2F7-D2D9-64F1-E358-ECB69F154B74}"/>
            </ac:spMkLst>
          </pc:spChg>
          <pc:spChg chg="add mod">
            <ac:chgData name="Soumaya ZERHOUNI" userId="690e4aa6-586b-4341-8f1a-54a3e7457441" providerId="ADAL" clId="{69AAD651-E566-4914-B951-51E57822A563}" dt="2024-01-31T14:56:43.526" v="5420"/>
            <ac:spMkLst>
              <pc:docMk/>
              <pc:sldMasterMk cId="2531651770" sldId="2147483701"/>
              <pc:sldLayoutMk cId="844059917" sldId="2147483710"/>
              <ac:spMk id="13" creationId="{C617176D-A3F4-4E23-F2EE-A5694C258F15}"/>
            </ac:spMkLst>
          </pc:spChg>
          <pc:spChg chg="add mod">
            <ac:chgData name="Soumaya ZERHOUNI" userId="690e4aa6-586b-4341-8f1a-54a3e7457441" providerId="ADAL" clId="{69AAD651-E566-4914-B951-51E57822A563}" dt="2024-01-31T14:56:43.526" v="5420"/>
            <ac:spMkLst>
              <pc:docMk/>
              <pc:sldMasterMk cId="2531651770" sldId="2147483701"/>
              <pc:sldLayoutMk cId="844059917" sldId="2147483710"/>
              <ac:spMk id="14" creationId="{7149034C-6DE1-05E9-7F80-E396C1549A1F}"/>
            </ac:spMkLst>
          </pc:spChg>
          <pc:spChg chg="add mod">
            <ac:chgData name="Soumaya ZERHOUNI" userId="690e4aa6-586b-4341-8f1a-54a3e7457441" providerId="ADAL" clId="{69AAD651-E566-4914-B951-51E57822A563}" dt="2024-01-31T14:56:43.526" v="5420"/>
            <ac:spMkLst>
              <pc:docMk/>
              <pc:sldMasterMk cId="2531651770" sldId="2147483701"/>
              <pc:sldLayoutMk cId="844059917" sldId="2147483710"/>
              <ac:spMk id="18" creationId="{527941E3-2B6B-8055-E994-E5CDCB044E7E}"/>
            </ac:spMkLst>
          </pc:spChg>
          <pc:spChg chg="add mod">
            <ac:chgData name="Soumaya ZERHOUNI" userId="690e4aa6-586b-4341-8f1a-54a3e7457441" providerId="ADAL" clId="{69AAD651-E566-4914-B951-51E57822A563}" dt="2024-01-31T14:56:43.526" v="5420"/>
            <ac:spMkLst>
              <pc:docMk/>
              <pc:sldMasterMk cId="2531651770" sldId="2147483701"/>
              <pc:sldLayoutMk cId="844059917" sldId="2147483710"/>
              <ac:spMk id="19" creationId="{81FBDF9F-08A2-BAF7-34F3-A20B61A7AF86}"/>
            </ac:spMkLst>
          </pc:spChg>
          <pc:grpChg chg="del">
            <ac:chgData name="Soumaya ZERHOUNI" userId="690e4aa6-586b-4341-8f1a-54a3e7457441" providerId="ADAL" clId="{69AAD651-E566-4914-B951-51E57822A563}" dt="2024-01-31T14:56:42.837" v="5419" actId="478"/>
            <ac:grpSpMkLst>
              <pc:docMk/>
              <pc:sldMasterMk cId="2531651770" sldId="2147483701"/>
              <pc:sldLayoutMk cId="844059917" sldId="2147483710"/>
              <ac:grpSpMk id="2" creationId="{7C195E62-90FC-4AAD-C0F2-43C47EA278C7}"/>
            </ac:grpSpMkLst>
          </pc:grpChg>
        </pc:sldLayoutChg>
        <pc:sldLayoutChg chg="addSp delSp modSp mod">
          <pc:chgData name="Soumaya ZERHOUNI" userId="690e4aa6-586b-4341-8f1a-54a3e7457441" providerId="ADAL" clId="{69AAD651-E566-4914-B951-51E57822A563}" dt="2024-01-31T14:57:31.178" v="5425"/>
          <pc:sldLayoutMkLst>
            <pc:docMk/>
            <pc:sldMasterMk cId="2531651770" sldId="2147483701"/>
            <pc:sldLayoutMk cId="3968307879" sldId="2147483714"/>
          </pc:sldLayoutMkLst>
          <pc:spChg chg="del">
            <ac:chgData name="Soumaya ZERHOUNI" userId="690e4aa6-586b-4341-8f1a-54a3e7457441" providerId="ADAL" clId="{69AAD651-E566-4914-B951-51E57822A563}" dt="2024-01-31T14:57:28.682" v="5423" actId="478"/>
            <ac:spMkLst>
              <pc:docMk/>
              <pc:sldMasterMk cId="2531651770" sldId="2147483701"/>
              <pc:sldLayoutMk cId="3968307879" sldId="2147483714"/>
              <ac:spMk id="3" creationId="{6D8210A6-ED0A-1645-A69D-116D202F4836}"/>
            </ac:spMkLst>
          </pc:spChg>
          <pc:spChg chg="del">
            <ac:chgData name="Soumaya ZERHOUNI" userId="690e4aa6-586b-4341-8f1a-54a3e7457441" providerId="ADAL" clId="{69AAD651-E566-4914-B951-51E57822A563}" dt="2024-01-31T14:57:30.744" v="5424" actId="478"/>
            <ac:spMkLst>
              <pc:docMk/>
              <pc:sldMasterMk cId="2531651770" sldId="2147483701"/>
              <pc:sldLayoutMk cId="3968307879" sldId="2147483714"/>
              <ac:spMk id="4" creationId="{8B6EACA2-2CAB-F743-A7AB-1AE2AD3EE504}"/>
            </ac:spMkLst>
          </pc:spChg>
          <pc:spChg chg="add mod">
            <ac:chgData name="Soumaya ZERHOUNI" userId="690e4aa6-586b-4341-8f1a-54a3e7457441" providerId="ADAL" clId="{69AAD651-E566-4914-B951-51E57822A563}" dt="2024-01-31T14:57:31.178" v="5425"/>
            <ac:spMkLst>
              <pc:docMk/>
              <pc:sldMasterMk cId="2531651770" sldId="2147483701"/>
              <pc:sldLayoutMk cId="3968307879" sldId="2147483714"/>
              <ac:spMk id="7" creationId="{DA61FD4B-0825-3B96-066F-45B4FB6866C1}"/>
            </ac:spMkLst>
          </pc:spChg>
          <pc:spChg chg="add mod">
            <ac:chgData name="Soumaya ZERHOUNI" userId="690e4aa6-586b-4341-8f1a-54a3e7457441" providerId="ADAL" clId="{69AAD651-E566-4914-B951-51E57822A563}" dt="2024-01-31T14:57:31.178" v="5425"/>
            <ac:spMkLst>
              <pc:docMk/>
              <pc:sldMasterMk cId="2531651770" sldId="2147483701"/>
              <pc:sldLayoutMk cId="3968307879" sldId="2147483714"/>
              <ac:spMk id="8" creationId="{92E45BFF-5FAF-008B-826A-C4EB294565AC}"/>
            </ac:spMkLst>
          </pc:spChg>
          <pc:spChg chg="add mod">
            <ac:chgData name="Soumaya ZERHOUNI" userId="690e4aa6-586b-4341-8f1a-54a3e7457441" providerId="ADAL" clId="{69AAD651-E566-4914-B951-51E57822A563}" dt="2024-01-31T14:57:31.178" v="5425"/>
            <ac:spMkLst>
              <pc:docMk/>
              <pc:sldMasterMk cId="2531651770" sldId="2147483701"/>
              <pc:sldLayoutMk cId="3968307879" sldId="2147483714"/>
              <ac:spMk id="12" creationId="{290CBBB4-F38D-3020-94E8-48B8F1ED6694}"/>
            </ac:spMkLst>
          </pc:spChg>
          <pc:spChg chg="add mod">
            <ac:chgData name="Soumaya ZERHOUNI" userId="690e4aa6-586b-4341-8f1a-54a3e7457441" providerId="ADAL" clId="{69AAD651-E566-4914-B951-51E57822A563}" dt="2024-01-31T14:57:31.178" v="5425"/>
            <ac:spMkLst>
              <pc:docMk/>
              <pc:sldMasterMk cId="2531651770" sldId="2147483701"/>
              <pc:sldLayoutMk cId="3968307879" sldId="2147483714"/>
              <ac:spMk id="13" creationId="{4DD1B4BA-5884-6376-FE83-583AD328A437}"/>
            </ac:spMkLst>
          </pc:spChg>
          <pc:spChg chg="add mod">
            <ac:chgData name="Soumaya ZERHOUNI" userId="690e4aa6-586b-4341-8f1a-54a3e7457441" providerId="ADAL" clId="{69AAD651-E566-4914-B951-51E57822A563}" dt="2024-01-31T14:57:31.178" v="5425"/>
            <ac:spMkLst>
              <pc:docMk/>
              <pc:sldMasterMk cId="2531651770" sldId="2147483701"/>
              <pc:sldLayoutMk cId="3968307879" sldId="2147483714"/>
              <ac:spMk id="14" creationId="{75B7F57C-52C3-1369-EC69-70006967455F}"/>
            </ac:spMkLst>
          </pc:spChg>
          <pc:grpChg chg="del">
            <ac:chgData name="Soumaya ZERHOUNI" userId="690e4aa6-586b-4341-8f1a-54a3e7457441" providerId="ADAL" clId="{69AAD651-E566-4914-B951-51E57822A563}" dt="2024-01-31T14:57:28.682" v="5423" actId="478"/>
            <ac:grpSpMkLst>
              <pc:docMk/>
              <pc:sldMasterMk cId="2531651770" sldId="2147483701"/>
              <pc:sldLayoutMk cId="3968307879" sldId="2147483714"/>
              <ac:grpSpMk id="2" creationId="{974504CB-4EDA-0C2C-E0C7-B322AF489189}"/>
            </ac:grpSpMkLst>
          </pc:grpChg>
        </pc:sldLayoutChg>
        <pc:sldLayoutChg chg="addSp delSp modSp mod">
          <pc:chgData name="Soumaya ZERHOUNI" userId="690e4aa6-586b-4341-8f1a-54a3e7457441" providerId="ADAL" clId="{69AAD651-E566-4914-B951-51E57822A563}" dt="2024-01-31T14:57:42.143" v="5427"/>
          <pc:sldLayoutMkLst>
            <pc:docMk/>
            <pc:sldMasterMk cId="2531651770" sldId="2147483701"/>
            <pc:sldLayoutMk cId="3996753744" sldId="2147483718"/>
          </pc:sldLayoutMkLst>
          <pc:spChg chg="del">
            <ac:chgData name="Soumaya ZERHOUNI" userId="690e4aa6-586b-4341-8f1a-54a3e7457441" providerId="ADAL" clId="{69AAD651-E566-4914-B951-51E57822A563}" dt="2024-01-31T14:57:41.740" v="5426" actId="478"/>
            <ac:spMkLst>
              <pc:docMk/>
              <pc:sldMasterMk cId="2531651770" sldId="2147483701"/>
              <pc:sldLayoutMk cId="3996753744" sldId="2147483718"/>
              <ac:spMk id="3" creationId="{FF85F501-6FC1-8544-B1D3-FFAD8B64A56F}"/>
            </ac:spMkLst>
          </pc:spChg>
          <pc:spChg chg="del">
            <ac:chgData name="Soumaya ZERHOUNI" userId="690e4aa6-586b-4341-8f1a-54a3e7457441" providerId="ADAL" clId="{69AAD651-E566-4914-B951-51E57822A563}" dt="2024-01-31T14:57:41.740" v="5426" actId="478"/>
            <ac:spMkLst>
              <pc:docMk/>
              <pc:sldMasterMk cId="2531651770" sldId="2147483701"/>
              <pc:sldLayoutMk cId="3996753744" sldId="2147483718"/>
              <ac:spMk id="4" creationId="{F251FFE7-A674-C14D-ACA5-CE3D6B378E39}"/>
            </ac:spMkLst>
          </pc:spChg>
          <pc:spChg chg="add mod">
            <ac:chgData name="Soumaya ZERHOUNI" userId="690e4aa6-586b-4341-8f1a-54a3e7457441" providerId="ADAL" clId="{69AAD651-E566-4914-B951-51E57822A563}" dt="2024-01-31T14:57:42.143" v="5427"/>
            <ac:spMkLst>
              <pc:docMk/>
              <pc:sldMasterMk cId="2531651770" sldId="2147483701"/>
              <pc:sldLayoutMk cId="3996753744" sldId="2147483718"/>
              <ac:spMk id="7" creationId="{09B1C863-1AA9-F753-C3B8-556C99CE7FAE}"/>
            </ac:spMkLst>
          </pc:spChg>
          <pc:spChg chg="add mod">
            <ac:chgData name="Soumaya ZERHOUNI" userId="690e4aa6-586b-4341-8f1a-54a3e7457441" providerId="ADAL" clId="{69AAD651-E566-4914-B951-51E57822A563}" dt="2024-01-31T14:57:42.143" v="5427"/>
            <ac:spMkLst>
              <pc:docMk/>
              <pc:sldMasterMk cId="2531651770" sldId="2147483701"/>
              <pc:sldLayoutMk cId="3996753744" sldId="2147483718"/>
              <ac:spMk id="8" creationId="{5AFE265B-8D32-25C0-AF0F-6EBFC3265D24}"/>
            </ac:spMkLst>
          </pc:spChg>
          <pc:spChg chg="add mod">
            <ac:chgData name="Soumaya ZERHOUNI" userId="690e4aa6-586b-4341-8f1a-54a3e7457441" providerId="ADAL" clId="{69AAD651-E566-4914-B951-51E57822A563}" dt="2024-01-31T14:57:42.143" v="5427"/>
            <ac:spMkLst>
              <pc:docMk/>
              <pc:sldMasterMk cId="2531651770" sldId="2147483701"/>
              <pc:sldLayoutMk cId="3996753744" sldId="2147483718"/>
              <ac:spMk id="12" creationId="{6ED911EE-23C7-65FC-0E48-2F4C5485C5AF}"/>
            </ac:spMkLst>
          </pc:spChg>
          <pc:spChg chg="add mod">
            <ac:chgData name="Soumaya ZERHOUNI" userId="690e4aa6-586b-4341-8f1a-54a3e7457441" providerId="ADAL" clId="{69AAD651-E566-4914-B951-51E57822A563}" dt="2024-01-31T14:57:42.143" v="5427"/>
            <ac:spMkLst>
              <pc:docMk/>
              <pc:sldMasterMk cId="2531651770" sldId="2147483701"/>
              <pc:sldLayoutMk cId="3996753744" sldId="2147483718"/>
              <ac:spMk id="13" creationId="{40819E81-8623-21A0-2889-69913E1656F8}"/>
            </ac:spMkLst>
          </pc:spChg>
          <pc:spChg chg="add mod">
            <ac:chgData name="Soumaya ZERHOUNI" userId="690e4aa6-586b-4341-8f1a-54a3e7457441" providerId="ADAL" clId="{69AAD651-E566-4914-B951-51E57822A563}" dt="2024-01-31T14:57:42.143" v="5427"/>
            <ac:spMkLst>
              <pc:docMk/>
              <pc:sldMasterMk cId="2531651770" sldId="2147483701"/>
              <pc:sldLayoutMk cId="3996753744" sldId="2147483718"/>
              <ac:spMk id="14" creationId="{30527479-947A-F9A4-3EFC-0657172E7439}"/>
            </ac:spMkLst>
          </pc:spChg>
          <pc:grpChg chg="del">
            <ac:chgData name="Soumaya ZERHOUNI" userId="690e4aa6-586b-4341-8f1a-54a3e7457441" providerId="ADAL" clId="{69AAD651-E566-4914-B951-51E57822A563}" dt="2024-01-31T14:57:41.740" v="5426" actId="478"/>
            <ac:grpSpMkLst>
              <pc:docMk/>
              <pc:sldMasterMk cId="2531651770" sldId="2147483701"/>
              <pc:sldLayoutMk cId="3996753744" sldId="2147483718"/>
              <ac:grpSpMk id="2" creationId="{57202FC6-9E3D-7424-FA1C-CB26ED379786}"/>
            </ac:grpSpMkLst>
          </pc:grpChg>
        </pc:sldLayoutChg>
        <pc:sldLayoutChg chg="addSp modSp">
          <pc:chgData name="Soumaya ZERHOUNI" userId="690e4aa6-586b-4341-8f1a-54a3e7457441" providerId="ADAL" clId="{69AAD651-E566-4914-B951-51E57822A563}" dt="2024-01-31T14:35:24.581" v="5402"/>
          <pc:sldLayoutMkLst>
            <pc:docMk/>
            <pc:sldMasterMk cId="2531651770" sldId="2147483701"/>
            <pc:sldLayoutMk cId="3079842835" sldId="2147483756"/>
          </pc:sldLayoutMkLst>
          <pc:spChg chg="add mod">
            <ac:chgData name="Soumaya ZERHOUNI" userId="690e4aa6-586b-4341-8f1a-54a3e7457441" providerId="ADAL" clId="{69AAD651-E566-4914-B951-51E57822A563}" dt="2024-01-31T14:35:24.581" v="5402"/>
            <ac:spMkLst>
              <pc:docMk/>
              <pc:sldMasterMk cId="2531651770" sldId="2147483701"/>
              <pc:sldLayoutMk cId="3079842835" sldId="2147483756"/>
              <ac:spMk id="2" creationId="{067546C2-62CA-E294-E93D-6D2C30F4D2A0}"/>
            </ac:spMkLst>
          </pc:spChg>
          <pc:spChg chg="add mod">
            <ac:chgData name="Soumaya ZERHOUNI" userId="690e4aa6-586b-4341-8f1a-54a3e7457441" providerId="ADAL" clId="{69AAD651-E566-4914-B951-51E57822A563}" dt="2024-01-31T14:35:24.581" v="5402"/>
            <ac:spMkLst>
              <pc:docMk/>
              <pc:sldMasterMk cId="2531651770" sldId="2147483701"/>
              <pc:sldLayoutMk cId="3079842835" sldId="2147483756"/>
              <ac:spMk id="3" creationId="{C49F52CD-0D5B-0D3F-67A7-53D0E4EB21C8}"/>
            </ac:spMkLst>
          </pc:spChg>
        </pc:sldLayoutChg>
        <pc:sldLayoutChg chg="del">
          <pc:chgData name="Soumaya ZERHOUNI" userId="690e4aa6-586b-4341-8f1a-54a3e7457441" providerId="ADAL" clId="{69AAD651-E566-4914-B951-51E57822A563}" dt="2024-01-30T14:29:19.698" v="4450" actId="47"/>
          <pc:sldLayoutMkLst>
            <pc:docMk/>
            <pc:sldMasterMk cId="2531651770" sldId="2147483701"/>
            <pc:sldLayoutMk cId="2614556943" sldId="2147483864"/>
          </pc:sldLayoutMkLst>
        </pc:sldLayoutChg>
      </pc:sldMasterChg>
      <pc:sldMasterChg chg="modSldLayout">
        <pc:chgData name="Soumaya ZERHOUNI" userId="690e4aa6-586b-4341-8f1a-54a3e7457441" providerId="ADAL" clId="{69AAD651-E566-4914-B951-51E57822A563}" dt="2024-01-31T14:33:16.983" v="5401" actId="478"/>
        <pc:sldMasterMkLst>
          <pc:docMk/>
          <pc:sldMasterMk cId="3044156055" sldId="2147483788"/>
        </pc:sldMasterMkLst>
        <pc:sldLayoutChg chg="addSp delSp modSp mod">
          <pc:chgData name="Soumaya ZERHOUNI" userId="690e4aa6-586b-4341-8f1a-54a3e7457441" providerId="ADAL" clId="{69AAD651-E566-4914-B951-51E57822A563}" dt="2024-01-31T14:33:16.983" v="5401" actId="478"/>
          <pc:sldLayoutMkLst>
            <pc:docMk/>
            <pc:sldMasterMk cId="3044156055" sldId="2147483788"/>
            <pc:sldLayoutMk cId="2699163890" sldId="2147483797"/>
          </pc:sldLayoutMkLst>
          <pc:spChg chg="add del">
            <ac:chgData name="Soumaya ZERHOUNI" userId="690e4aa6-586b-4341-8f1a-54a3e7457441" providerId="ADAL" clId="{69AAD651-E566-4914-B951-51E57822A563}" dt="2024-01-31T14:33:16.983" v="5401" actId="478"/>
            <ac:spMkLst>
              <pc:docMk/>
              <pc:sldMasterMk cId="3044156055" sldId="2147483788"/>
              <pc:sldLayoutMk cId="2699163890" sldId="2147483797"/>
              <ac:spMk id="3" creationId="{311860BF-06DE-5D44-9517-3990CA0C7FBB}"/>
            </ac:spMkLst>
          </pc:spChg>
          <pc:spChg chg="add del">
            <ac:chgData name="Soumaya ZERHOUNI" userId="690e4aa6-586b-4341-8f1a-54a3e7457441" providerId="ADAL" clId="{69AAD651-E566-4914-B951-51E57822A563}" dt="2024-01-31T14:33:16.983" v="5401" actId="478"/>
            <ac:spMkLst>
              <pc:docMk/>
              <pc:sldMasterMk cId="3044156055" sldId="2147483788"/>
              <pc:sldLayoutMk cId="2699163890" sldId="2147483797"/>
              <ac:spMk id="4" creationId="{344AF0B7-651B-1849-9734-94EFCA074FAF}"/>
            </ac:spMkLst>
          </pc:spChg>
          <pc:spChg chg="add mod">
            <ac:chgData name="Soumaya ZERHOUNI" userId="690e4aa6-586b-4341-8f1a-54a3e7457441" providerId="ADAL" clId="{69AAD651-E566-4914-B951-51E57822A563}" dt="2024-01-31T14:33:13.143" v="5399"/>
            <ac:spMkLst>
              <pc:docMk/>
              <pc:sldMasterMk cId="3044156055" sldId="2147483788"/>
              <pc:sldLayoutMk cId="2699163890" sldId="2147483797"/>
              <ac:spMk id="5" creationId="{6FB18D1D-55DC-01F5-A398-105FE1DD2BB3}"/>
            </ac:spMkLst>
          </pc:spChg>
          <pc:spChg chg="add mod">
            <ac:chgData name="Soumaya ZERHOUNI" userId="690e4aa6-586b-4341-8f1a-54a3e7457441" providerId="ADAL" clId="{69AAD651-E566-4914-B951-51E57822A563}" dt="2024-01-31T14:33:13.143" v="5399"/>
            <ac:spMkLst>
              <pc:docMk/>
              <pc:sldMasterMk cId="3044156055" sldId="2147483788"/>
              <pc:sldLayoutMk cId="2699163890" sldId="2147483797"/>
              <ac:spMk id="6" creationId="{CFB9A6EF-53D0-AE7E-B4BE-D9C03F3BBCEC}"/>
            </ac:spMkLst>
          </pc:spChg>
        </pc:sldLayoutChg>
      </pc:sldMasterChg>
      <pc:sldMasterChg chg="addSp delSp modSp mod modSldLayout">
        <pc:chgData name="Soumaya ZERHOUNI" userId="690e4aa6-586b-4341-8f1a-54a3e7457441" providerId="ADAL" clId="{69AAD651-E566-4914-B951-51E57822A563}" dt="2024-01-31T15:46:29.257" v="5767"/>
        <pc:sldMasterMkLst>
          <pc:docMk/>
          <pc:sldMasterMk cId="265491669" sldId="2147483851"/>
        </pc:sldMasterMkLst>
        <pc:spChg chg="del">
          <ac:chgData name="Soumaya ZERHOUNI" userId="690e4aa6-586b-4341-8f1a-54a3e7457441" providerId="ADAL" clId="{69AAD651-E566-4914-B951-51E57822A563}" dt="2024-01-31T15:45:49.030" v="5757" actId="478"/>
          <ac:spMkLst>
            <pc:docMk/>
            <pc:sldMasterMk cId="265491669" sldId="2147483851"/>
            <ac:spMk id="2" creationId="{EBB8AA46-9570-435F-AAB9-026DE42360E8}"/>
          </ac:spMkLst>
        </pc:spChg>
        <pc:spChg chg="add del mod">
          <ac:chgData name="Soumaya ZERHOUNI" userId="690e4aa6-586b-4341-8f1a-54a3e7457441" providerId="ADAL" clId="{69AAD651-E566-4914-B951-51E57822A563}" dt="2024-01-31T15:43:51.308" v="5675" actId="478"/>
          <ac:spMkLst>
            <pc:docMk/>
            <pc:sldMasterMk cId="265491669" sldId="2147483851"/>
            <ac:spMk id="5" creationId="{19185E40-7A15-21C4-B5E8-9D5CB7959E75}"/>
          </ac:spMkLst>
        </pc:spChg>
        <pc:spChg chg="add del mod">
          <ac:chgData name="Soumaya ZERHOUNI" userId="690e4aa6-586b-4341-8f1a-54a3e7457441" providerId="ADAL" clId="{69AAD651-E566-4914-B951-51E57822A563}" dt="2024-01-31T15:43:53.028" v="5676" actId="478"/>
          <ac:spMkLst>
            <pc:docMk/>
            <pc:sldMasterMk cId="265491669" sldId="2147483851"/>
            <ac:spMk id="6" creationId="{BB0E80A0-27ED-12F7-AF2C-8DACD3B9937E}"/>
          </ac:spMkLst>
        </pc:spChg>
        <pc:spChg chg="add del mod">
          <ac:chgData name="Soumaya ZERHOUNI" userId="690e4aa6-586b-4341-8f1a-54a3e7457441" providerId="ADAL" clId="{69AAD651-E566-4914-B951-51E57822A563}" dt="2024-01-31T15:43:56.346" v="5677" actId="478"/>
          <ac:spMkLst>
            <pc:docMk/>
            <pc:sldMasterMk cId="265491669" sldId="2147483851"/>
            <ac:spMk id="7" creationId="{882710BF-C98E-61D4-F5C5-9A6C2624A903}"/>
          </ac:spMkLst>
        </pc:spChg>
        <pc:spChg chg="add del mod">
          <ac:chgData name="Soumaya ZERHOUNI" userId="690e4aa6-586b-4341-8f1a-54a3e7457441" providerId="ADAL" clId="{69AAD651-E566-4914-B951-51E57822A563}" dt="2024-01-31T15:43:56.346" v="5677" actId="478"/>
          <ac:spMkLst>
            <pc:docMk/>
            <pc:sldMasterMk cId="265491669" sldId="2147483851"/>
            <ac:spMk id="8" creationId="{019F511F-8502-19BF-3C6E-CE1C3E0ABDBB}"/>
          </ac:spMkLst>
        </pc:spChg>
        <pc:spChg chg="add mod">
          <ac:chgData name="Soumaya ZERHOUNI" userId="690e4aa6-586b-4341-8f1a-54a3e7457441" providerId="ADAL" clId="{69AAD651-E566-4914-B951-51E57822A563}" dt="2024-01-31T15:43:58.737" v="5678"/>
          <ac:spMkLst>
            <pc:docMk/>
            <pc:sldMasterMk cId="265491669" sldId="2147483851"/>
            <ac:spMk id="10" creationId="{9C1CD919-27A7-24BF-8276-273A7C2831EE}"/>
          </ac:spMkLst>
        </pc:spChg>
        <pc:spChg chg="del mod">
          <ac:chgData name="Soumaya ZERHOUNI" userId="690e4aa6-586b-4341-8f1a-54a3e7457441" providerId="ADAL" clId="{69AAD651-E566-4914-B951-51E57822A563}" dt="2024-01-31T15:43:31.080" v="5669" actId="478"/>
          <ac:spMkLst>
            <pc:docMk/>
            <pc:sldMasterMk cId="265491669" sldId="2147483851"/>
            <ac:spMk id="11" creationId="{D46D4146-3818-4EBD-8BA0-86B0094EFAFF}"/>
          </ac:spMkLst>
        </pc:spChg>
        <pc:spChg chg="add mod">
          <ac:chgData name="Soumaya ZERHOUNI" userId="690e4aa6-586b-4341-8f1a-54a3e7457441" providerId="ADAL" clId="{69AAD651-E566-4914-B951-51E57822A563}" dt="2024-01-31T15:43:58.737" v="5678"/>
          <ac:spMkLst>
            <pc:docMk/>
            <pc:sldMasterMk cId="265491669" sldId="2147483851"/>
            <ac:spMk id="12" creationId="{475943A3-5277-ABFF-8DBD-BCC09A211535}"/>
          </ac:spMkLst>
        </pc:spChg>
        <pc:spChg chg="del">
          <ac:chgData name="Soumaya ZERHOUNI" userId="690e4aa6-586b-4341-8f1a-54a3e7457441" providerId="ADAL" clId="{69AAD651-E566-4914-B951-51E57822A563}" dt="2024-01-31T15:43:33.146" v="5670" actId="478"/>
          <ac:spMkLst>
            <pc:docMk/>
            <pc:sldMasterMk cId="265491669" sldId="2147483851"/>
            <ac:spMk id="13" creationId="{D9FD05E0-611C-4868-8211-16EA744F3B1F}"/>
          </ac:spMkLst>
        </pc:spChg>
        <pc:spChg chg="add del mod">
          <ac:chgData name="Soumaya ZERHOUNI" userId="690e4aa6-586b-4341-8f1a-54a3e7457441" providerId="ADAL" clId="{69AAD651-E566-4914-B951-51E57822A563}" dt="2024-01-31T15:45:49.030" v="5757" actId="478"/>
          <ac:spMkLst>
            <pc:docMk/>
            <pc:sldMasterMk cId="265491669" sldId="2147483851"/>
            <ac:spMk id="14" creationId="{8FDD461C-5DFA-4523-A0D3-A5EE29498563}"/>
          </ac:spMkLst>
        </pc:spChg>
        <pc:spChg chg="add del mod">
          <ac:chgData name="Soumaya ZERHOUNI" userId="690e4aa6-586b-4341-8f1a-54a3e7457441" providerId="ADAL" clId="{69AAD651-E566-4914-B951-51E57822A563}" dt="2024-01-31T15:45:49.030" v="5757" actId="478"/>
          <ac:spMkLst>
            <pc:docMk/>
            <pc:sldMasterMk cId="265491669" sldId="2147483851"/>
            <ac:spMk id="15" creationId="{2DA946A3-6CBB-2A6E-49B8-5E1831887E9F}"/>
          </ac:spMkLst>
        </pc:spChg>
        <pc:spChg chg="add mod">
          <ac:chgData name="Soumaya ZERHOUNI" userId="690e4aa6-586b-4341-8f1a-54a3e7457441" providerId="ADAL" clId="{69AAD651-E566-4914-B951-51E57822A563}" dt="2024-01-31T15:45:41.013" v="5756"/>
          <ac:spMkLst>
            <pc:docMk/>
            <pc:sldMasterMk cId="265491669" sldId="2147483851"/>
            <ac:spMk id="17" creationId="{628D5128-9B71-2998-4436-5B579622C223}"/>
          </ac:spMkLst>
        </pc:spChg>
        <pc:spChg chg="add mod">
          <ac:chgData name="Soumaya ZERHOUNI" userId="690e4aa6-586b-4341-8f1a-54a3e7457441" providerId="ADAL" clId="{69AAD651-E566-4914-B951-51E57822A563}" dt="2024-01-31T15:45:39.711" v="5755"/>
          <ac:spMkLst>
            <pc:docMk/>
            <pc:sldMasterMk cId="265491669" sldId="2147483851"/>
            <ac:spMk id="18" creationId="{A1244A40-5A23-160B-72D7-E1B89902A1AB}"/>
          </ac:spMkLst>
        </pc:spChg>
        <pc:spChg chg="add del mod">
          <ac:chgData name="Soumaya ZERHOUNI" userId="690e4aa6-586b-4341-8f1a-54a3e7457441" providerId="ADAL" clId="{69AAD651-E566-4914-B951-51E57822A563}" dt="2024-01-31T15:46:25.980" v="5764" actId="478"/>
          <ac:spMkLst>
            <pc:docMk/>
            <pc:sldMasterMk cId="265491669" sldId="2147483851"/>
            <ac:spMk id="19" creationId="{9A1A0CC6-DB7C-FC13-73CE-1FA619EC6CC1}"/>
          </ac:spMkLst>
        </pc:spChg>
        <pc:spChg chg="add del mod">
          <ac:chgData name="Soumaya ZERHOUNI" userId="690e4aa6-586b-4341-8f1a-54a3e7457441" providerId="ADAL" clId="{69AAD651-E566-4914-B951-51E57822A563}" dt="2024-01-31T15:46:26.809" v="5765" actId="478"/>
          <ac:spMkLst>
            <pc:docMk/>
            <pc:sldMasterMk cId="265491669" sldId="2147483851"/>
            <ac:spMk id="23" creationId="{17960D30-8124-C733-AE74-8CB6A43A9728}"/>
          </ac:spMkLst>
        </pc:spChg>
        <pc:spChg chg="add mod">
          <ac:chgData name="Soumaya ZERHOUNI" userId="690e4aa6-586b-4341-8f1a-54a3e7457441" providerId="ADAL" clId="{69AAD651-E566-4914-B951-51E57822A563}" dt="2024-01-31T15:46:29.257" v="5767"/>
          <ac:spMkLst>
            <pc:docMk/>
            <pc:sldMasterMk cId="265491669" sldId="2147483851"/>
            <ac:spMk id="24" creationId="{10464BC4-E567-13B0-06EF-764218770825}"/>
          </ac:spMkLst>
        </pc:spChg>
        <pc:spChg chg="add mod">
          <ac:chgData name="Soumaya ZERHOUNI" userId="690e4aa6-586b-4341-8f1a-54a3e7457441" providerId="ADAL" clId="{69AAD651-E566-4914-B951-51E57822A563}" dt="2024-01-31T15:46:28.574" v="5766"/>
          <ac:spMkLst>
            <pc:docMk/>
            <pc:sldMasterMk cId="265491669" sldId="2147483851"/>
            <ac:spMk id="25" creationId="{D6E22140-B384-F89E-6875-5DDF16E9A934}"/>
          </ac:spMkLst>
        </pc:spChg>
        <pc:picChg chg="del">
          <ac:chgData name="Soumaya ZERHOUNI" userId="690e4aa6-586b-4341-8f1a-54a3e7457441" providerId="ADAL" clId="{69AAD651-E566-4914-B951-51E57822A563}" dt="2024-01-31T15:43:48.412" v="5674" actId="478"/>
          <ac:picMkLst>
            <pc:docMk/>
            <pc:sldMasterMk cId="265491669" sldId="2147483851"/>
            <ac:picMk id="4" creationId="{98351332-A0E0-DDAE-BBD6-5E5529FF4157}"/>
          </ac:picMkLst>
        </pc:picChg>
        <pc:picChg chg="add del mod">
          <ac:chgData name="Soumaya ZERHOUNI" userId="690e4aa6-586b-4341-8f1a-54a3e7457441" providerId="ADAL" clId="{69AAD651-E566-4914-B951-51E57822A563}" dt="2024-01-31T15:43:48.412" v="5674" actId="478"/>
          <ac:picMkLst>
            <pc:docMk/>
            <pc:sldMasterMk cId="265491669" sldId="2147483851"/>
            <ac:picMk id="9" creationId="{50E5A8A6-28E4-9273-750F-A0BD144AB688}"/>
          </ac:picMkLst>
        </pc:picChg>
        <pc:picChg chg="add mod">
          <ac:chgData name="Soumaya ZERHOUNI" userId="690e4aa6-586b-4341-8f1a-54a3e7457441" providerId="ADAL" clId="{69AAD651-E566-4914-B951-51E57822A563}" dt="2024-01-31T15:43:58.737" v="5678"/>
          <ac:picMkLst>
            <pc:docMk/>
            <pc:sldMasterMk cId="265491669" sldId="2147483851"/>
            <ac:picMk id="16" creationId="{C86B5E40-D5C8-2D9E-3442-F63F4068E76D}"/>
          </ac:picMkLst>
        </pc:picChg>
        <pc:sldLayoutChg chg="addSp delSp modSp mod">
          <pc:chgData name="Soumaya ZERHOUNI" userId="690e4aa6-586b-4341-8f1a-54a3e7457441" providerId="ADAL" clId="{69AAD651-E566-4914-B951-51E57822A563}" dt="2024-01-31T15:46:19.836" v="5763" actId="478"/>
          <pc:sldLayoutMkLst>
            <pc:docMk/>
            <pc:sldMasterMk cId="265491669" sldId="2147483851"/>
            <pc:sldLayoutMk cId="1992753576" sldId="2147483853"/>
          </pc:sldLayoutMkLst>
          <pc:spChg chg="add del mod">
            <ac:chgData name="Soumaya ZERHOUNI" userId="690e4aa6-586b-4341-8f1a-54a3e7457441" providerId="ADAL" clId="{69AAD651-E566-4914-B951-51E57822A563}" dt="2024-01-31T15:46:19.138" v="5762" actId="478"/>
            <ac:spMkLst>
              <pc:docMk/>
              <pc:sldMasterMk cId="265491669" sldId="2147483851"/>
              <pc:sldLayoutMk cId="1992753576" sldId="2147483853"/>
              <ac:spMk id="2" creationId="{50227E41-F60D-01E5-C248-8D5486DBDA24}"/>
            </ac:spMkLst>
          </pc:spChg>
          <pc:spChg chg="add del mod">
            <ac:chgData name="Soumaya ZERHOUNI" userId="690e4aa6-586b-4341-8f1a-54a3e7457441" providerId="ADAL" clId="{69AAD651-E566-4914-B951-51E57822A563}" dt="2024-01-31T15:46:19.836" v="5763" actId="478"/>
            <ac:spMkLst>
              <pc:docMk/>
              <pc:sldMasterMk cId="265491669" sldId="2147483851"/>
              <pc:sldLayoutMk cId="1992753576" sldId="2147483853"/>
              <ac:spMk id="4" creationId="{E2FBD3E1-6302-72B9-1756-2BE6A52DBB5C}"/>
            </ac:spMkLst>
          </pc:spChg>
          <pc:spChg chg="del">
            <ac:chgData name="Soumaya ZERHOUNI" userId="690e4aa6-586b-4341-8f1a-54a3e7457441" providerId="ADAL" clId="{69AAD651-E566-4914-B951-51E57822A563}" dt="2024-01-31T15:44:44.831" v="5681" actId="478"/>
            <ac:spMkLst>
              <pc:docMk/>
              <pc:sldMasterMk cId="265491669" sldId="2147483851"/>
              <pc:sldLayoutMk cId="1992753576" sldId="2147483853"/>
              <ac:spMk id="9" creationId="{47D5E034-A42F-47EC-9FF1-5AA486AB2FF2}"/>
            </ac:spMkLst>
          </pc:spChg>
          <pc:spChg chg="del">
            <ac:chgData name="Soumaya ZERHOUNI" userId="690e4aa6-586b-4341-8f1a-54a3e7457441" providerId="ADAL" clId="{69AAD651-E566-4914-B951-51E57822A563}" dt="2024-01-31T15:44:44.831" v="5681" actId="478"/>
            <ac:spMkLst>
              <pc:docMk/>
              <pc:sldMasterMk cId="265491669" sldId="2147483851"/>
              <pc:sldLayoutMk cId="1992753576" sldId="2147483853"/>
              <ac:spMk id="10" creationId="{A335984C-2A27-462B-9827-4E8425B56992}"/>
            </ac:spMkLst>
          </pc:spChg>
          <pc:spChg chg="del">
            <ac:chgData name="Soumaya ZERHOUNI" userId="690e4aa6-586b-4341-8f1a-54a3e7457441" providerId="ADAL" clId="{69AAD651-E566-4914-B951-51E57822A563}" dt="2024-01-31T15:44:44.831" v="5681" actId="478"/>
            <ac:spMkLst>
              <pc:docMk/>
              <pc:sldMasterMk cId="265491669" sldId="2147483851"/>
              <pc:sldLayoutMk cId="1992753576" sldId="2147483853"/>
              <ac:spMk id="11" creationId="{3CEC513D-3C53-45DB-8098-C8322285ADC4}"/>
            </ac:spMkLst>
          </pc:spChg>
        </pc:sldLayoutChg>
        <pc:sldLayoutChg chg="addSp delSp modSp mod">
          <pc:chgData name="Soumaya ZERHOUNI" userId="690e4aa6-586b-4341-8f1a-54a3e7457441" providerId="ADAL" clId="{69AAD651-E566-4914-B951-51E57822A563}" dt="2024-01-31T15:46:13.361" v="5761" actId="478"/>
          <pc:sldLayoutMkLst>
            <pc:docMk/>
            <pc:sldMasterMk cId="265491669" sldId="2147483851"/>
            <pc:sldLayoutMk cId="2444745561" sldId="2147483859"/>
          </pc:sldLayoutMkLst>
          <pc:spChg chg="add del mod">
            <ac:chgData name="Soumaya ZERHOUNI" userId="690e4aa6-586b-4341-8f1a-54a3e7457441" providerId="ADAL" clId="{69AAD651-E566-4914-B951-51E57822A563}" dt="2024-01-31T15:46:13.361" v="5761" actId="478"/>
            <ac:spMkLst>
              <pc:docMk/>
              <pc:sldMasterMk cId="265491669" sldId="2147483851"/>
              <pc:sldLayoutMk cId="2444745561" sldId="2147483859"/>
              <ac:spMk id="2" creationId="{DC07E06A-F56F-53D8-9888-C97C05E222A1}"/>
            </ac:spMkLst>
          </pc:spChg>
          <pc:spChg chg="add del mod">
            <ac:chgData name="Soumaya ZERHOUNI" userId="690e4aa6-586b-4341-8f1a-54a3e7457441" providerId="ADAL" clId="{69AAD651-E566-4914-B951-51E57822A563}" dt="2024-01-31T15:46:13.361" v="5761" actId="478"/>
            <ac:spMkLst>
              <pc:docMk/>
              <pc:sldMasterMk cId="265491669" sldId="2147483851"/>
              <pc:sldLayoutMk cId="2444745561" sldId="2147483859"/>
              <ac:spMk id="3" creationId="{E0E7EACD-A80C-06FF-67C7-3C929E2597A7}"/>
            </ac:spMkLst>
          </pc:spChg>
          <pc:spChg chg="del">
            <ac:chgData name="Soumaya ZERHOUNI" userId="690e4aa6-586b-4341-8f1a-54a3e7457441" providerId="ADAL" clId="{69AAD651-E566-4914-B951-51E57822A563}" dt="2024-01-31T15:44:38.557" v="5679" actId="478"/>
            <ac:spMkLst>
              <pc:docMk/>
              <pc:sldMasterMk cId="265491669" sldId="2147483851"/>
              <pc:sldLayoutMk cId="2444745561" sldId="2147483859"/>
              <ac:spMk id="8" creationId="{1DA26396-ED07-4C69-9B15-ABDCFAE9D721}"/>
            </ac:spMkLst>
          </pc:spChg>
          <pc:spChg chg="del">
            <ac:chgData name="Soumaya ZERHOUNI" userId="690e4aa6-586b-4341-8f1a-54a3e7457441" providerId="ADAL" clId="{69AAD651-E566-4914-B951-51E57822A563}" dt="2024-01-31T15:44:38.557" v="5679" actId="478"/>
            <ac:spMkLst>
              <pc:docMk/>
              <pc:sldMasterMk cId="265491669" sldId="2147483851"/>
              <pc:sldLayoutMk cId="2444745561" sldId="2147483859"/>
              <ac:spMk id="9" creationId="{6331A410-096C-495C-83CE-50F365ED2E64}"/>
            </ac:spMkLst>
          </pc:spChg>
          <pc:spChg chg="mod">
            <ac:chgData name="Soumaya ZERHOUNI" userId="690e4aa6-586b-4341-8f1a-54a3e7457441" providerId="ADAL" clId="{69AAD651-E566-4914-B951-51E57822A563}" dt="2024-01-31T15:43:02.131" v="5667" actId="1076"/>
            <ac:spMkLst>
              <pc:docMk/>
              <pc:sldMasterMk cId="265491669" sldId="2147483851"/>
              <pc:sldLayoutMk cId="2444745561" sldId="2147483859"/>
              <ac:spMk id="10" creationId="{F14510E7-71BE-4738-8E87-174916C55DBB}"/>
            </ac:spMkLst>
          </pc:spChg>
        </pc:sldLayoutChg>
      </pc:sldMasterChg>
      <pc:sldMasterChg chg="modSldLayout">
        <pc:chgData name="Soumaya ZERHOUNI" userId="690e4aa6-586b-4341-8f1a-54a3e7457441" providerId="ADAL" clId="{69AAD651-E566-4914-B951-51E57822A563}" dt="2024-01-31T17:26:45.437" v="6723"/>
        <pc:sldMasterMkLst>
          <pc:docMk/>
          <pc:sldMasterMk cId="4016139993" sldId="2147483860"/>
        </pc:sldMasterMkLst>
        <pc:sldLayoutChg chg="addSp delSp modSp mod">
          <pc:chgData name="Soumaya ZERHOUNI" userId="690e4aa6-586b-4341-8f1a-54a3e7457441" providerId="ADAL" clId="{69AAD651-E566-4914-B951-51E57822A563}" dt="2024-01-31T17:26:45.437" v="6723"/>
          <pc:sldLayoutMkLst>
            <pc:docMk/>
            <pc:sldMasterMk cId="4016139993" sldId="2147483860"/>
            <pc:sldLayoutMk cId="3492283895" sldId="2147483868"/>
          </pc:sldLayoutMkLst>
          <pc:spChg chg="del">
            <ac:chgData name="Soumaya ZERHOUNI" userId="690e4aa6-586b-4341-8f1a-54a3e7457441" providerId="ADAL" clId="{69AAD651-E566-4914-B951-51E57822A563}" dt="2024-01-31T17:26:44.728" v="6722" actId="478"/>
            <ac:spMkLst>
              <pc:docMk/>
              <pc:sldMasterMk cId="4016139993" sldId="2147483860"/>
              <pc:sldLayoutMk cId="3492283895" sldId="2147483868"/>
              <ac:spMk id="3" creationId="{311860BF-06DE-5D44-9517-3990CA0C7FBB}"/>
            </ac:spMkLst>
          </pc:spChg>
          <pc:spChg chg="del">
            <ac:chgData name="Soumaya ZERHOUNI" userId="690e4aa6-586b-4341-8f1a-54a3e7457441" providerId="ADAL" clId="{69AAD651-E566-4914-B951-51E57822A563}" dt="2024-01-31T17:26:44.728" v="6722" actId="478"/>
            <ac:spMkLst>
              <pc:docMk/>
              <pc:sldMasterMk cId="4016139993" sldId="2147483860"/>
              <pc:sldLayoutMk cId="3492283895" sldId="2147483868"/>
              <ac:spMk id="4" creationId="{344AF0B7-651B-1849-9734-94EFCA074FAF}"/>
            </ac:spMkLst>
          </pc:spChg>
          <pc:spChg chg="add mod">
            <ac:chgData name="Soumaya ZERHOUNI" userId="690e4aa6-586b-4341-8f1a-54a3e7457441" providerId="ADAL" clId="{69AAD651-E566-4914-B951-51E57822A563}" dt="2024-01-31T17:26:45.437" v="6723"/>
            <ac:spMkLst>
              <pc:docMk/>
              <pc:sldMasterMk cId="4016139993" sldId="2147483860"/>
              <pc:sldLayoutMk cId="3492283895" sldId="2147483868"/>
              <ac:spMk id="5" creationId="{0EA30A5C-C2CA-91B2-8469-BC105218E2B8}"/>
            </ac:spMkLst>
          </pc:spChg>
          <pc:spChg chg="add mod">
            <ac:chgData name="Soumaya ZERHOUNI" userId="690e4aa6-586b-4341-8f1a-54a3e7457441" providerId="ADAL" clId="{69AAD651-E566-4914-B951-51E57822A563}" dt="2024-01-31T17:26:45.437" v="6723"/>
            <ac:spMkLst>
              <pc:docMk/>
              <pc:sldMasterMk cId="4016139993" sldId="2147483860"/>
              <pc:sldLayoutMk cId="3492283895" sldId="2147483868"/>
              <ac:spMk id="6" creationId="{9DF3BF0B-90AB-F252-AEA8-79F7245FAB1D}"/>
            </ac:spMkLst>
          </pc:spChg>
          <pc:spChg chg="del">
            <ac:chgData name="Soumaya ZERHOUNI" userId="690e4aa6-586b-4341-8f1a-54a3e7457441" providerId="ADAL" clId="{69AAD651-E566-4914-B951-51E57822A563}" dt="2024-01-31T17:26:44.728" v="6722" actId="478"/>
            <ac:spMkLst>
              <pc:docMk/>
              <pc:sldMasterMk cId="4016139993" sldId="2147483860"/>
              <pc:sldLayoutMk cId="3492283895" sldId="2147483868"/>
              <ac:spMk id="7" creationId="{520ADC7A-34D9-FB47-BD87-5F4C5E73EF97}"/>
            </ac:spMkLst>
          </pc:spChg>
          <pc:spChg chg="del">
            <ac:chgData name="Soumaya ZERHOUNI" userId="690e4aa6-586b-4341-8f1a-54a3e7457441" providerId="ADAL" clId="{69AAD651-E566-4914-B951-51E57822A563}" dt="2024-01-31T17:26:44.728" v="6722" actId="478"/>
            <ac:spMkLst>
              <pc:docMk/>
              <pc:sldMasterMk cId="4016139993" sldId="2147483860"/>
              <pc:sldLayoutMk cId="3492283895" sldId="2147483868"/>
              <ac:spMk id="9" creationId="{80C9613B-9636-864F-9D61-59B5C40A4E29}"/>
            </ac:spMkLst>
          </pc:spChg>
          <pc:spChg chg="add mod">
            <ac:chgData name="Soumaya ZERHOUNI" userId="690e4aa6-586b-4341-8f1a-54a3e7457441" providerId="ADAL" clId="{69AAD651-E566-4914-B951-51E57822A563}" dt="2024-01-31T17:26:45.437" v="6723"/>
            <ac:spMkLst>
              <pc:docMk/>
              <pc:sldMasterMk cId="4016139993" sldId="2147483860"/>
              <pc:sldLayoutMk cId="3492283895" sldId="2147483868"/>
              <ac:spMk id="10" creationId="{8D2A8D92-3803-4A45-149B-75F9353EE41F}"/>
            </ac:spMkLst>
          </pc:spChg>
          <pc:picChg chg="del">
            <ac:chgData name="Soumaya ZERHOUNI" userId="690e4aa6-586b-4341-8f1a-54a3e7457441" providerId="ADAL" clId="{69AAD651-E566-4914-B951-51E57822A563}" dt="2024-01-31T17:26:44.728" v="6722" actId="478"/>
            <ac:picMkLst>
              <pc:docMk/>
              <pc:sldMasterMk cId="4016139993" sldId="2147483860"/>
              <pc:sldLayoutMk cId="3492283895" sldId="2147483868"/>
              <ac:picMk id="2" creationId="{940E28F3-AF54-4635-6DED-093F2FCE52F2}"/>
            </ac:picMkLst>
          </pc:picChg>
          <pc:picChg chg="add mod">
            <ac:chgData name="Soumaya ZERHOUNI" userId="690e4aa6-586b-4341-8f1a-54a3e7457441" providerId="ADAL" clId="{69AAD651-E566-4914-B951-51E57822A563}" dt="2024-01-31T17:26:45.437" v="6723"/>
            <ac:picMkLst>
              <pc:docMk/>
              <pc:sldMasterMk cId="4016139993" sldId="2147483860"/>
              <pc:sldLayoutMk cId="3492283895" sldId="2147483868"/>
              <ac:picMk id="12" creationId="{A38D23D1-1B97-630F-4A35-0B2706988A31}"/>
            </ac:picMkLst>
          </pc:picChg>
        </pc:sldLayoutChg>
      </pc:sldMasterChg>
      <pc:sldMasterChg chg="del delSldLayout">
        <pc:chgData name="Soumaya ZERHOUNI" userId="690e4aa6-586b-4341-8f1a-54a3e7457441" providerId="ADAL" clId="{69AAD651-E566-4914-B951-51E57822A563}" dt="2024-01-30T13:20:52.642" v="4185" actId="47"/>
        <pc:sldMasterMkLst>
          <pc:docMk/>
          <pc:sldMasterMk cId="185411053" sldId="2147483864"/>
        </pc:sldMasterMkLst>
        <pc:sldLayoutChg chg="del">
          <pc:chgData name="Soumaya ZERHOUNI" userId="690e4aa6-586b-4341-8f1a-54a3e7457441" providerId="ADAL" clId="{69AAD651-E566-4914-B951-51E57822A563}" dt="2024-01-30T13:20:52.642" v="4185" actId="47"/>
          <pc:sldLayoutMkLst>
            <pc:docMk/>
            <pc:sldMasterMk cId="185411053" sldId="2147483864"/>
            <pc:sldLayoutMk cId="3886148949" sldId="2147483865"/>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951270425" sldId="2147483866"/>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1202237845" sldId="2147483867"/>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281090181" sldId="2147483868"/>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1785227427" sldId="2147483869"/>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2632725610" sldId="2147483870"/>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1532637850" sldId="2147483871"/>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488722882" sldId="2147483872"/>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462464209" sldId="2147483873"/>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3022778203" sldId="2147483874"/>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209882648" sldId="2147483875"/>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984613984" sldId="2147483876"/>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1304380281" sldId="2147483877"/>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784092163" sldId="2147483878"/>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3419190874" sldId="2147483879"/>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893466253" sldId="2147483880"/>
          </pc:sldLayoutMkLst>
        </pc:sldLayoutChg>
        <pc:sldLayoutChg chg="del">
          <pc:chgData name="Soumaya ZERHOUNI" userId="690e4aa6-586b-4341-8f1a-54a3e7457441" providerId="ADAL" clId="{69AAD651-E566-4914-B951-51E57822A563}" dt="2024-01-30T13:20:52.642" v="4185" actId="47"/>
          <pc:sldLayoutMkLst>
            <pc:docMk/>
            <pc:sldMasterMk cId="185411053" sldId="2147483864"/>
            <pc:sldLayoutMk cId="1633950772" sldId="2147483881"/>
          </pc:sldLayoutMkLst>
        </pc:sldLayoutChg>
      </pc:sldMasterChg>
    </pc:docChg>
  </pc:docChgLst>
  <pc:docChgLst>
    <pc:chgData name="Julia PONT" userId="6ea7fb32-49be-46d9-9d69-f51ddf012212" providerId="ADAL" clId="{8B10246B-69A5-4D17-936B-D61369DE417E}"/>
    <pc:docChg chg="undo custSel addSld modSld">
      <pc:chgData name="Julia PONT" userId="6ea7fb32-49be-46d9-9d69-f51ddf012212" providerId="ADAL" clId="{8B10246B-69A5-4D17-936B-D61369DE417E}" dt="2024-01-25T17:11:41.234" v="1563" actId="20577"/>
      <pc:docMkLst>
        <pc:docMk/>
      </pc:docMkLst>
      <pc:sldChg chg="addSp modSp">
        <pc:chgData name="Julia PONT" userId="6ea7fb32-49be-46d9-9d69-f51ddf012212" providerId="ADAL" clId="{8B10246B-69A5-4D17-936B-D61369DE417E}" dt="2024-01-25T09:02:17.098" v="654"/>
        <pc:sldMkLst>
          <pc:docMk/>
          <pc:sldMk cId="1240652411" sldId="2076138007"/>
        </pc:sldMkLst>
        <pc:spChg chg="add mod">
          <ac:chgData name="Julia PONT" userId="6ea7fb32-49be-46d9-9d69-f51ddf012212" providerId="ADAL" clId="{8B10246B-69A5-4D17-936B-D61369DE417E}" dt="2024-01-25T09:02:17.098" v="654"/>
          <ac:spMkLst>
            <pc:docMk/>
            <pc:sldMk cId="1240652411" sldId="2076138007"/>
            <ac:spMk id="3" creationId="{23C1427D-4CD2-A230-7633-41DBE8EAE66F}"/>
          </ac:spMkLst>
        </pc:spChg>
      </pc:sldChg>
      <pc:sldChg chg="add">
        <pc:chgData name="Julia PONT" userId="6ea7fb32-49be-46d9-9d69-f51ddf012212" providerId="ADAL" clId="{8B10246B-69A5-4D17-936B-D61369DE417E}" dt="2024-01-23T13:50:54.355" v="2"/>
        <pc:sldMkLst>
          <pc:docMk/>
          <pc:sldMk cId="3879889702" sldId="2076138056"/>
        </pc:sldMkLst>
      </pc:sldChg>
      <pc:sldChg chg="add">
        <pc:chgData name="Julia PONT" userId="6ea7fb32-49be-46d9-9d69-f51ddf012212" providerId="ADAL" clId="{8B10246B-69A5-4D17-936B-D61369DE417E}" dt="2024-01-23T13:50:26.713" v="1"/>
        <pc:sldMkLst>
          <pc:docMk/>
          <pc:sldMk cId="3866936782" sldId="2076138104"/>
        </pc:sldMkLst>
      </pc:sldChg>
      <pc:sldChg chg="addSp modSp">
        <pc:chgData name="Julia PONT" userId="6ea7fb32-49be-46d9-9d69-f51ddf012212" providerId="ADAL" clId="{8B10246B-69A5-4D17-936B-D61369DE417E}" dt="2024-01-25T09:02:25.472" v="656"/>
        <pc:sldMkLst>
          <pc:docMk/>
          <pc:sldMk cId="142014039" sldId="2142533080"/>
        </pc:sldMkLst>
        <pc:spChg chg="add mod">
          <ac:chgData name="Julia PONT" userId="6ea7fb32-49be-46d9-9d69-f51ddf012212" providerId="ADAL" clId="{8B10246B-69A5-4D17-936B-D61369DE417E}" dt="2024-01-25T09:02:25.472" v="656"/>
          <ac:spMkLst>
            <pc:docMk/>
            <pc:sldMk cId="142014039" sldId="2142533080"/>
            <ac:spMk id="4" creationId="{6DD904B7-D025-8616-376D-25EDC4A9BD9A}"/>
          </ac:spMkLst>
        </pc:spChg>
      </pc:sldChg>
      <pc:sldChg chg="addSp modSp mod">
        <pc:chgData name="Julia PONT" userId="6ea7fb32-49be-46d9-9d69-f51ddf012212" providerId="ADAL" clId="{8B10246B-69A5-4D17-936B-D61369DE417E}" dt="2024-01-25T09:00:02.875" v="653" actId="1076"/>
        <pc:sldMkLst>
          <pc:docMk/>
          <pc:sldMk cId="1498202446" sldId="2142533081"/>
        </pc:sldMkLst>
        <pc:spChg chg="add mod">
          <ac:chgData name="Julia PONT" userId="6ea7fb32-49be-46d9-9d69-f51ddf012212" providerId="ADAL" clId="{8B10246B-69A5-4D17-936B-D61369DE417E}" dt="2024-01-25T09:00:02.875" v="653" actId="1076"/>
          <ac:spMkLst>
            <pc:docMk/>
            <pc:sldMk cId="1498202446" sldId="2142533081"/>
            <ac:spMk id="3" creationId="{174974DA-7B77-73E5-DA31-788C8601FB82}"/>
          </ac:spMkLst>
        </pc:spChg>
      </pc:sldChg>
      <pc:sldChg chg="addSp modSp">
        <pc:chgData name="Julia PONT" userId="6ea7fb32-49be-46d9-9d69-f51ddf012212" providerId="ADAL" clId="{8B10246B-69A5-4D17-936B-D61369DE417E}" dt="2024-01-25T09:02:19.153" v="655"/>
        <pc:sldMkLst>
          <pc:docMk/>
          <pc:sldMk cId="2190822735" sldId="2142533082"/>
        </pc:sldMkLst>
        <pc:spChg chg="add mod">
          <ac:chgData name="Julia PONT" userId="6ea7fb32-49be-46d9-9d69-f51ddf012212" providerId="ADAL" clId="{8B10246B-69A5-4D17-936B-D61369DE417E}" dt="2024-01-25T09:02:19.153" v="655"/>
          <ac:spMkLst>
            <pc:docMk/>
            <pc:sldMk cId="2190822735" sldId="2142533082"/>
            <ac:spMk id="3" creationId="{AEFFB29D-E07D-3AB4-A4BC-A836309527B9}"/>
          </ac:spMkLst>
        </pc:spChg>
      </pc:sldChg>
      <pc:sldChg chg="delSp add mod">
        <pc:chgData name="Julia PONT" userId="6ea7fb32-49be-46d9-9d69-f51ddf012212" providerId="ADAL" clId="{8B10246B-69A5-4D17-936B-D61369DE417E}" dt="2024-01-23T14:05:30.842" v="3" actId="478"/>
        <pc:sldMkLst>
          <pc:docMk/>
          <pc:sldMk cId="1139860624" sldId="2147470883"/>
        </pc:sldMkLst>
        <pc:spChg chg="del">
          <ac:chgData name="Julia PONT" userId="6ea7fb32-49be-46d9-9d69-f51ddf012212" providerId="ADAL" clId="{8B10246B-69A5-4D17-936B-D61369DE417E}" dt="2024-01-23T14:05:30.842" v="3" actId="478"/>
          <ac:spMkLst>
            <pc:docMk/>
            <pc:sldMk cId="1139860624" sldId="2147470883"/>
            <ac:spMk id="3" creationId="{4D5A9410-EF81-69FC-BCCF-E472BD0DBCDB}"/>
          </ac:spMkLst>
        </pc:spChg>
      </pc:sldChg>
      <pc:sldChg chg="addSp modSp mod">
        <pc:chgData name="Julia PONT" userId="6ea7fb32-49be-46d9-9d69-f51ddf012212" providerId="ADAL" clId="{8B10246B-69A5-4D17-936B-D61369DE417E}" dt="2024-01-25T09:02:48.393" v="658" actId="1036"/>
        <pc:sldMkLst>
          <pc:docMk/>
          <pc:sldMk cId="2163271625" sldId="2147480287"/>
        </pc:sldMkLst>
        <pc:spChg chg="add mod">
          <ac:chgData name="Julia PONT" userId="6ea7fb32-49be-46d9-9d69-f51ddf012212" providerId="ADAL" clId="{8B10246B-69A5-4D17-936B-D61369DE417E}" dt="2024-01-25T09:02:48.393" v="658" actId="1036"/>
          <ac:spMkLst>
            <pc:docMk/>
            <pc:sldMk cId="2163271625" sldId="2147480287"/>
            <ac:spMk id="6" creationId="{C2AAE23C-5F9F-7991-50E3-6ED2C26155FE}"/>
          </ac:spMkLst>
        </pc:spChg>
      </pc:sldChg>
      <pc:sldChg chg="modSp mod">
        <pc:chgData name="Julia PONT" userId="6ea7fb32-49be-46d9-9d69-f51ddf012212" providerId="ADAL" clId="{8B10246B-69A5-4D17-936B-D61369DE417E}" dt="2024-01-25T08:57:24.448" v="640" actId="313"/>
        <pc:sldMkLst>
          <pc:docMk/>
          <pc:sldMk cId="936296583" sldId="2147480294"/>
        </pc:sldMkLst>
        <pc:spChg chg="mod">
          <ac:chgData name="Julia PONT" userId="6ea7fb32-49be-46d9-9d69-f51ddf012212" providerId="ADAL" clId="{8B10246B-69A5-4D17-936B-D61369DE417E}" dt="2024-01-25T08:57:24.448" v="640" actId="313"/>
          <ac:spMkLst>
            <pc:docMk/>
            <pc:sldMk cId="936296583" sldId="2147480294"/>
            <ac:spMk id="5" creationId="{55617DAA-EC35-FEFB-5EFD-29E815E418A5}"/>
          </ac:spMkLst>
        </pc:spChg>
      </pc:sldChg>
      <pc:sldChg chg="addSp modSp mod">
        <pc:chgData name="Julia PONT" userId="6ea7fb32-49be-46d9-9d69-f51ddf012212" providerId="ADAL" clId="{8B10246B-69A5-4D17-936B-D61369DE417E}" dt="2024-01-24T14:06:27.964" v="638" actId="14100"/>
        <pc:sldMkLst>
          <pc:docMk/>
          <pc:sldMk cId="2389986792" sldId="2147480295"/>
        </pc:sldMkLst>
        <pc:spChg chg="add mod">
          <ac:chgData name="Julia PONT" userId="6ea7fb32-49be-46d9-9d69-f51ddf012212" providerId="ADAL" clId="{8B10246B-69A5-4D17-936B-D61369DE417E}" dt="2024-01-24T14:06:27.964" v="638" actId="14100"/>
          <ac:spMkLst>
            <pc:docMk/>
            <pc:sldMk cId="2389986792" sldId="2147480295"/>
            <ac:spMk id="3" creationId="{0F5FE605-BCD3-489C-88B3-61CB80F6C249}"/>
          </ac:spMkLst>
        </pc:spChg>
        <pc:spChg chg="mod">
          <ac:chgData name="Julia PONT" userId="6ea7fb32-49be-46d9-9d69-f51ddf012212" providerId="ADAL" clId="{8B10246B-69A5-4D17-936B-D61369DE417E}" dt="2024-01-24T14:00:46.317" v="504" actId="1076"/>
          <ac:spMkLst>
            <pc:docMk/>
            <pc:sldMk cId="2389986792" sldId="2147480295"/>
            <ac:spMk id="6" creationId="{1BFF0450-A5DD-066F-50D7-173531D24D58}"/>
          </ac:spMkLst>
        </pc:spChg>
        <pc:spChg chg="mod">
          <ac:chgData name="Julia PONT" userId="6ea7fb32-49be-46d9-9d69-f51ddf012212" providerId="ADAL" clId="{8B10246B-69A5-4D17-936B-D61369DE417E}" dt="2024-01-24T14:00:45.005" v="503" actId="1076"/>
          <ac:spMkLst>
            <pc:docMk/>
            <pc:sldMk cId="2389986792" sldId="2147480295"/>
            <ac:spMk id="10" creationId="{5BD3E751-2CBC-AA86-1E01-8D8895938B2D}"/>
          </ac:spMkLst>
        </pc:spChg>
      </pc:sldChg>
      <pc:sldChg chg="addSp delSp modSp add mod">
        <pc:chgData name="Julia PONT" userId="6ea7fb32-49be-46d9-9d69-f51ddf012212" providerId="ADAL" clId="{8B10246B-69A5-4D17-936B-D61369DE417E}" dt="2024-01-25T16:47:04.776" v="668" actId="165"/>
        <pc:sldMkLst>
          <pc:docMk/>
          <pc:sldMk cId="3314057026" sldId="2147480296"/>
        </pc:sldMkLst>
        <pc:spChg chg="add mod">
          <ac:chgData name="Julia PONT" userId="6ea7fb32-49be-46d9-9d69-f51ddf012212" providerId="ADAL" clId="{8B10246B-69A5-4D17-936B-D61369DE417E}" dt="2024-01-23T15:51:58.224" v="140" actId="14100"/>
          <ac:spMkLst>
            <pc:docMk/>
            <pc:sldMk cId="3314057026" sldId="2147480296"/>
            <ac:spMk id="4" creationId="{C4446E1D-6C43-7B9F-65B2-E9F1CA6CEF52}"/>
          </ac:spMkLst>
        </pc:spChg>
        <pc:spChg chg="mod">
          <ac:chgData name="Julia PONT" userId="6ea7fb32-49be-46d9-9d69-f51ddf012212" providerId="ADAL" clId="{8B10246B-69A5-4D17-936B-D61369DE417E}" dt="2024-01-25T16:47:04.776" v="668" actId="165"/>
          <ac:spMkLst>
            <pc:docMk/>
            <pc:sldMk cId="3314057026" sldId="2147480296"/>
            <ac:spMk id="6" creationId="{A32D0F37-A3AD-2C7F-E570-2E6048E3E4EB}"/>
          </ac:spMkLst>
        </pc:spChg>
        <pc:spChg chg="mod">
          <ac:chgData name="Julia PONT" userId="6ea7fb32-49be-46d9-9d69-f51ddf012212" providerId="ADAL" clId="{8B10246B-69A5-4D17-936B-D61369DE417E}" dt="2024-01-25T16:47:04.776" v="668" actId="165"/>
          <ac:spMkLst>
            <pc:docMk/>
            <pc:sldMk cId="3314057026" sldId="2147480296"/>
            <ac:spMk id="7" creationId="{74F87C48-D266-6043-E31B-100FF3F62ABE}"/>
          </ac:spMkLst>
        </pc:spChg>
        <pc:spChg chg="mod">
          <ac:chgData name="Julia PONT" userId="6ea7fb32-49be-46d9-9d69-f51ddf012212" providerId="ADAL" clId="{8B10246B-69A5-4D17-936B-D61369DE417E}" dt="2024-01-25T16:47:04.776" v="668" actId="165"/>
          <ac:spMkLst>
            <pc:docMk/>
            <pc:sldMk cId="3314057026" sldId="2147480296"/>
            <ac:spMk id="8" creationId="{44995453-7CA4-5FD7-A694-7ECE6837B044}"/>
          </ac:spMkLst>
        </pc:spChg>
        <pc:spChg chg="mod">
          <ac:chgData name="Julia PONT" userId="6ea7fb32-49be-46d9-9d69-f51ddf012212" providerId="ADAL" clId="{8B10246B-69A5-4D17-936B-D61369DE417E}" dt="2024-01-25T16:47:04.776" v="668" actId="165"/>
          <ac:spMkLst>
            <pc:docMk/>
            <pc:sldMk cId="3314057026" sldId="2147480296"/>
            <ac:spMk id="9" creationId="{7F787423-7D2B-204E-A49B-D281DD619C17}"/>
          </ac:spMkLst>
        </pc:spChg>
        <pc:spChg chg="mod">
          <ac:chgData name="Julia PONT" userId="6ea7fb32-49be-46d9-9d69-f51ddf012212" providerId="ADAL" clId="{8B10246B-69A5-4D17-936B-D61369DE417E}" dt="2024-01-25T16:47:04.776" v="668" actId="165"/>
          <ac:spMkLst>
            <pc:docMk/>
            <pc:sldMk cId="3314057026" sldId="2147480296"/>
            <ac:spMk id="10" creationId="{02649914-85AB-C146-B0F5-37C56BD50405}"/>
          </ac:spMkLst>
        </pc:spChg>
        <pc:spChg chg="mod">
          <ac:chgData name="Julia PONT" userId="6ea7fb32-49be-46d9-9d69-f51ddf012212" providerId="ADAL" clId="{8B10246B-69A5-4D17-936B-D61369DE417E}" dt="2024-01-25T16:47:04.776" v="668" actId="165"/>
          <ac:spMkLst>
            <pc:docMk/>
            <pc:sldMk cId="3314057026" sldId="2147480296"/>
            <ac:spMk id="11" creationId="{FD047458-2A6A-CE49-740A-7B8CAF904DC1}"/>
          </ac:spMkLst>
        </pc:spChg>
        <pc:spChg chg="mod">
          <ac:chgData name="Julia PONT" userId="6ea7fb32-49be-46d9-9d69-f51ddf012212" providerId="ADAL" clId="{8B10246B-69A5-4D17-936B-D61369DE417E}" dt="2024-01-25T16:47:04.776" v="668" actId="165"/>
          <ac:spMkLst>
            <pc:docMk/>
            <pc:sldMk cId="3314057026" sldId="2147480296"/>
            <ac:spMk id="12" creationId="{64DCBDAE-32DF-62D8-2821-50722AE3D997}"/>
          </ac:spMkLst>
        </pc:spChg>
        <pc:spChg chg="mod">
          <ac:chgData name="Julia PONT" userId="6ea7fb32-49be-46d9-9d69-f51ddf012212" providerId="ADAL" clId="{8B10246B-69A5-4D17-936B-D61369DE417E}" dt="2024-01-25T16:47:04.776" v="668" actId="165"/>
          <ac:spMkLst>
            <pc:docMk/>
            <pc:sldMk cId="3314057026" sldId="2147480296"/>
            <ac:spMk id="13" creationId="{62FB5BA2-A9E4-A21D-1C9D-84CF7EA24A24}"/>
          </ac:spMkLst>
        </pc:spChg>
        <pc:spChg chg="mod">
          <ac:chgData name="Julia PONT" userId="6ea7fb32-49be-46d9-9d69-f51ddf012212" providerId="ADAL" clId="{8B10246B-69A5-4D17-936B-D61369DE417E}" dt="2024-01-25T16:47:04.776" v="668" actId="165"/>
          <ac:spMkLst>
            <pc:docMk/>
            <pc:sldMk cId="3314057026" sldId="2147480296"/>
            <ac:spMk id="14" creationId="{0E4345F6-CF81-5055-E171-ADF7E32B9C81}"/>
          </ac:spMkLst>
        </pc:spChg>
        <pc:spChg chg="mod">
          <ac:chgData name="Julia PONT" userId="6ea7fb32-49be-46d9-9d69-f51ddf012212" providerId="ADAL" clId="{8B10246B-69A5-4D17-936B-D61369DE417E}" dt="2024-01-25T16:47:04.776" v="668" actId="165"/>
          <ac:spMkLst>
            <pc:docMk/>
            <pc:sldMk cId="3314057026" sldId="2147480296"/>
            <ac:spMk id="15" creationId="{C526BDC1-5685-CA15-0A35-DF57CC3AF05B}"/>
          </ac:spMkLst>
        </pc:spChg>
        <pc:spChg chg="mod">
          <ac:chgData name="Julia PONT" userId="6ea7fb32-49be-46d9-9d69-f51ddf012212" providerId="ADAL" clId="{8B10246B-69A5-4D17-936B-D61369DE417E}" dt="2024-01-25T16:47:04.776" v="668" actId="165"/>
          <ac:spMkLst>
            <pc:docMk/>
            <pc:sldMk cId="3314057026" sldId="2147480296"/>
            <ac:spMk id="17" creationId="{CD99508C-4ACB-AD58-3F0F-DE59CAEAA516}"/>
          </ac:spMkLst>
        </pc:spChg>
        <pc:spChg chg="mod">
          <ac:chgData name="Julia PONT" userId="6ea7fb32-49be-46d9-9d69-f51ddf012212" providerId="ADAL" clId="{8B10246B-69A5-4D17-936B-D61369DE417E}" dt="2024-01-25T16:47:04.776" v="668" actId="165"/>
          <ac:spMkLst>
            <pc:docMk/>
            <pc:sldMk cId="3314057026" sldId="2147480296"/>
            <ac:spMk id="21" creationId="{3F9E009D-15F2-706C-7AB9-FC8BF8B18B09}"/>
          </ac:spMkLst>
        </pc:spChg>
        <pc:spChg chg="mod">
          <ac:chgData name="Julia PONT" userId="6ea7fb32-49be-46d9-9d69-f51ddf012212" providerId="ADAL" clId="{8B10246B-69A5-4D17-936B-D61369DE417E}" dt="2024-01-25T16:47:04.776" v="668" actId="165"/>
          <ac:spMkLst>
            <pc:docMk/>
            <pc:sldMk cId="3314057026" sldId="2147480296"/>
            <ac:spMk id="22" creationId="{7E7AEE14-ACBB-9768-9589-7E7BF562DFD2}"/>
          </ac:spMkLst>
        </pc:spChg>
        <pc:spChg chg="mod">
          <ac:chgData name="Julia PONT" userId="6ea7fb32-49be-46d9-9d69-f51ddf012212" providerId="ADAL" clId="{8B10246B-69A5-4D17-936B-D61369DE417E}" dt="2024-01-25T16:47:04.776" v="668" actId="165"/>
          <ac:spMkLst>
            <pc:docMk/>
            <pc:sldMk cId="3314057026" sldId="2147480296"/>
            <ac:spMk id="23" creationId="{EE214312-A57E-C4F9-6131-E4709BF3B76B}"/>
          </ac:spMkLst>
        </pc:spChg>
        <pc:spChg chg="mod">
          <ac:chgData name="Julia PONT" userId="6ea7fb32-49be-46d9-9d69-f51ddf012212" providerId="ADAL" clId="{8B10246B-69A5-4D17-936B-D61369DE417E}" dt="2024-01-25T16:47:04.776" v="668" actId="165"/>
          <ac:spMkLst>
            <pc:docMk/>
            <pc:sldMk cId="3314057026" sldId="2147480296"/>
            <ac:spMk id="24" creationId="{FE6AF44A-1C0B-1239-0CFB-81E7EF3A338D}"/>
          </ac:spMkLst>
        </pc:spChg>
        <pc:spChg chg="mod">
          <ac:chgData name="Julia PONT" userId="6ea7fb32-49be-46d9-9d69-f51ddf012212" providerId="ADAL" clId="{8B10246B-69A5-4D17-936B-D61369DE417E}" dt="2024-01-25T16:47:04.776" v="668" actId="165"/>
          <ac:spMkLst>
            <pc:docMk/>
            <pc:sldMk cId="3314057026" sldId="2147480296"/>
            <ac:spMk id="25" creationId="{5790F105-B128-ADD3-62CB-493CF3DFAA3E}"/>
          </ac:spMkLst>
        </pc:spChg>
        <pc:spChg chg="mod">
          <ac:chgData name="Julia PONT" userId="6ea7fb32-49be-46d9-9d69-f51ddf012212" providerId="ADAL" clId="{8B10246B-69A5-4D17-936B-D61369DE417E}" dt="2024-01-25T16:47:04.776" v="668" actId="165"/>
          <ac:spMkLst>
            <pc:docMk/>
            <pc:sldMk cId="3314057026" sldId="2147480296"/>
            <ac:spMk id="26" creationId="{2B010547-6D99-8232-F312-824EA7D23120}"/>
          </ac:spMkLst>
        </pc:spChg>
        <pc:spChg chg="mod">
          <ac:chgData name="Julia PONT" userId="6ea7fb32-49be-46d9-9d69-f51ddf012212" providerId="ADAL" clId="{8B10246B-69A5-4D17-936B-D61369DE417E}" dt="2024-01-25T16:47:04.776" v="668" actId="165"/>
          <ac:spMkLst>
            <pc:docMk/>
            <pc:sldMk cId="3314057026" sldId="2147480296"/>
            <ac:spMk id="27" creationId="{D9A50FBA-92F8-0914-4C62-033F2FDDC34C}"/>
          </ac:spMkLst>
        </pc:spChg>
        <pc:spChg chg="mod">
          <ac:chgData name="Julia PONT" userId="6ea7fb32-49be-46d9-9d69-f51ddf012212" providerId="ADAL" clId="{8B10246B-69A5-4D17-936B-D61369DE417E}" dt="2024-01-25T16:47:04.776" v="668" actId="165"/>
          <ac:spMkLst>
            <pc:docMk/>
            <pc:sldMk cId="3314057026" sldId="2147480296"/>
            <ac:spMk id="28" creationId="{60788D83-5A9D-E48E-EC31-9824A5B460FE}"/>
          </ac:spMkLst>
        </pc:spChg>
        <pc:spChg chg="mod">
          <ac:chgData name="Julia PONT" userId="6ea7fb32-49be-46d9-9d69-f51ddf012212" providerId="ADAL" clId="{8B10246B-69A5-4D17-936B-D61369DE417E}" dt="2024-01-25T16:47:04.776" v="668" actId="165"/>
          <ac:spMkLst>
            <pc:docMk/>
            <pc:sldMk cId="3314057026" sldId="2147480296"/>
            <ac:spMk id="29" creationId="{BBBF51A1-426E-847D-8D01-5DEC802204B7}"/>
          </ac:spMkLst>
        </pc:spChg>
        <pc:spChg chg="mod">
          <ac:chgData name="Julia PONT" userId="6ea7fb32-49be-46d9-9d69-f51ddf012212" providerId="ADAL" clId="{8B10246B-69A5-4D17-936B-D61369DE417E}" dt="2024-01-25T16:47:04.776" v="668" actId="165"/>
          <ac:spMkLst>
            <pc:docMk/>
            <pc:sldMk cId="3314057026" sldId="2147480296"/>
            <ac:spMk id="30" creationId="{BEB1DB73-41F5-00FA-B0DD-EA2124AB6046}"/>
          </ac:spMkLst>
        </pc:spChg>
        <pc:spChg chg="mod">
          <ac:chgData name="Julia PONT" userId="6ea7fb32-49be-46d9-9d69-f51ddf012212" providerId="ADAL" clId="{8B10246B-69A5-4D17-936B-D61369DE417E}" dt="2024-01-25T16:47:04.776" v="668" actId="165"/>
          <ac:spMkLst>
            <pc:docMk/>
            <pc:sldMk cId="3314057026" sldId="2147480296"/>
            <ac:spMk id="31" creationId="{2AFC2109-8112-C1CE-E711-740D888ABDEB}"/>
          </ac:spMkLst>
        </pc:spChg>
        <pc:spChg chg="mod">
          <ac:chgData name="Julia PONT" userId="6ea7fb32-49be-46d9-9d69-f51ddf012212" providerId="ADAL" clId="{8B10246B-69A5-4D17-936B-D61369DE417E}" dt="2024-01-25T16:47:04.776" v="668" actId="165"/>
          <ac:spMkLst>
            <pc:docMk/>
            <pc:sldMk cId="3314057026" sldId="2147480296"/>
            <ac:spMk id="32" creationId="{E1AD6E3F-F5AE-B6AC-7CAA-D44FB0E23F21}"/>
          </ac:spMkLst>
        </pc:spChg>
        <pc:spChg chg="mod">
          <ac:chgData name="Julia PONT" userId="6ea7fb32-49be-46d9-9d69-f51ddf012212" providerId="ADAL" clId="{8B10246B-69A5-4D17-936B-D61369DE417E}" dt="2024-01-25T16:47:04.776" v="668" actId="165"/>
          <ac:spMkLst>
            <pc:docMk/>
            <pc:sldMk cId="3314057026" sldId="2147480296"/>
            <ac:spMk id="33" creationId="{0D9DA8E4-5FE5-0BDB-6407-1FF8BD27FE2C}"/>
          </ac:spMkLst>
        </pc:spChg>
        <pc:spChg chg="mod">
          <ac:chgData name="Julia PONT" userId="6ea7fb32-49be-46d9-9d69-f51ddf012212" providerId="ADAL" clId="{8B10246B-69A5-4D17-936B-D61369DE417E}" dt="2024-01-25T16:47:04.776" v="668" actId="165"/>
          <ac:spMkLst>
            <pc:docMk/>
            <pc:sldMk cId="3314057026" sldId="2147480296"/>
            <ac:spMk id="34" creationId="{1E30C6CF-5B06-15F9-1327-7218795FFB3B}"/>
          </ac:spMkLst>
        </pc:spChg>
        <pc:spChg chg="mod">
          <ac:chgData name="Julia PONT" userId="6ea7fb32-49be-46d9-9d69-f51ddf012212" providerId="ADAL" clId="{8B10246B-69A5-4D17-936B-D61369DE417E}" dt="2024-01-25T16:47:04.776" v="668" actId="165"/>
          <ac:spMkLst>
            <pc:docMk/>
            <pc:sldMk cId="3314057026" sldId="2147480296"/>
            <ac:spMk id="35" creationId="{A064C553-8CE0-D80F-CC4E-DD0F3011AD7D}"/>
          </ac:spMkLst>
        </pc:spChg>
        <pc:spChg chg="mod">
          <ac:chgData name="Julia PONT" userId="6ea7fb32-49be-46d9-9d69-f51ddf012212" providerId="ADAL" clId="{8B10246B-69A5-4D17-936B-D61369DE417E}" dt="2024-01-25T16:47:04.776" v="668" actId="165"/>
          <ac:spMkLst>
            <pc:docMk/>
            <pc:sldMk cId="3314057026" sldId="2147480296"/>
            <ac:spMk id="36" creationId="{5D47A22E-F201-0D9E-12F7-FA2B510BE8B4}"/>
          </ac:spMkLst>
        </pc:spChg>
        <pc:spChg chg="mod">
          <ac:chgData name="Julia PONT" userId="6ea7fb32-49be-46d9-9d69-f51ddf012212" providerId="ADAL" clId="{8B10246B-69A5-4D17-936B-D61369DE417E}" dt="2024-01-25T16:47:04.776" v="668" actId="165"/>
          <ac:spMkLst>
            <pc:docMk/>
            <pc:sldMk cId="3314057026" sldId="2147480296"/>
            <ac:spMk id="37" creationId="{2B70E864-D4FF-577D-E54D-A7EA56914637}"/>
          </ac:spMkLst>
        </pc:spChg>
        <pc:spChg chg="mod">
          <ac:chgData name="Julia PONT" userId="6ea7fb32-49be-46d9-9d69-f51ddf012212" providerId="ADAL" clId="{8B10246B-69A5-4D17-936B-D61369DE417E}" dt="2024-01-25T16:47:04.776" v="668" actId="165"/>
          <ac:spMkLst>
            <pc:docMk/>
            <pc:sldMk cId="3314057026" sldId="2147480296"/>
            <ac:spMk id="38" creationId="{4AB1C870-5DAF-E849-1F81-75BBC3D282DE}"/>
          </ac:spMkLst>
        </pc:spChg>
        <pc:spChg chg="mod">
          <ac:chgData name="Julia PONT" userId="6ea7fb32-49be-46d9-9d69-f51ddf012212" providerId="ADAL" clId="{8B10246B-69A5-4D17-936B-D61369DE417E}" dt="2024-01-25T16:47:04.776" v="668" actId="165"/>
          <ac:spMkLst>
            <pc:docMk/>
            <pc:sldMk cId="3314057026" sldId="2147480296"/>
            <ac:spMk id="39" creationId="{AF5096D7-CC36-9609-5FEA-3A0BAD784A4F}"/>
          </ac:spMkLst>
        </pc:spChg>
        <pc:spChg chg="mod">
          <ac:chgData name="Julia PONT" userId="6ea7fb32-49be-46d9-9d69-f51ddf012212" providerId="ADAL" clId="{8B10246B-69A5-4D17-936B-D61369DE417E}" dt="2024-01-25T16:47:04.776" v="668" actId="165"/>
          <ac:spMkLst>
            <pc:docMk/>
            <pc:sldMk cId="3314057026" sldId="2147480296"/>
            <ac:spMk id="40" creationId="{6F859A2E-4959-08E6-ABDE-CF1483514354}"/>
          </ac:spMkLst>
        </pc:spChg>
        <pc:spChg chg="mod">
          <ac:chgData name="Julia PONT" userId="6ea7fb32-49be-46d9-9d69-f51ddf012212" providerId="ADAL" clId="{8B10246B-69A5-4D17-936B-D61369DE417E}" dt="2024-01-23T15:54:28.089" v="359" actId="20577"/>
          <ac:spMkLst>
            <pc:docMk/>
            <pc:sldMk cId="3314057026" sldId="2147480296"/>
            <ac:spMk id="53" creationId="{240EDF58-4B5C-2799-E006-87A7239B3135}"/>
          </ac:spMkLst>
        </pc:spChg>
        <pc:spChg chg="mod">
          <ac:chgData name="Julia PONT" userId="6ea7fb32-49be-46d9-9d69-f51ddf012212" providerId="ADAL" clId="{8B10246B-69A5-4D17-936B-D61369DE417E}" dt="2024-01-23T15:51:41.056" v="91" actId="403"/>
          <ac:spMkLst>
            <pc:docMk/>
            <pc:sldMk cId="3314057026" sldId="2147480296"/>
            <ac:spMk id="54" creationId="{D0252311-069A-463A-F15C-070B711EFFDF}"/>
          </ac:spMkLst>
        </pc:spChg>
        <pc:grpChg chg="mod topLvl">
          <ac:chgData name="Julia PONT" userId="6ea7fb32-49be-46d9-9d69-f51ddf012212" providerId="ADAL" clId="{8B10246B-69A5-4D17-936B-D61369DE417E}" dt="2024-01-25T16:47:04.776" v="668" actId="165"/>
          <ac:grpSpMkLst>
            <pc:docMk/>
            <pc:sldMk cId="3314057026" sldId="2147480296"/>
            <ac:grpSpMk id="5" creationId="{333AA33B-1C6F-98AE-88A1-E502D84B40A1}"/>
          </ac:grpSpMkLst>
        </pc:grpChg>
        <pc:grpChg chg="mod">
          <ac:chgData name="Julia PONT" userId="6ea7fb32-49be-46d9-9d69-f51ddf012212" providerId="ADAL" clId="{8B10246B-69A5-4D17-936B-D61369DE417E}" dt="2024-01-25T16:47:04.776" v="668" actId="165"/>
          <ac:grpSpMkLst>
            <pc:docMk/>
            <pc:sldMk cId="3314057026" sldId="2147480296"/>
            <ac:grpSpMk id="16" creationId="{A4627FC7-9872-8189-76EC-9D2019EF8560}"/>
          </ac:grpSpMkLst>
        </pc:grpChg>
        <pc:grpChg chg="mod">
          <ac:chgData name="Julia PONT" userId="6ea7fb32-49be-46d9-9d69-f51ddf012212" providerId="ADAL" clId="{8B10246B-69A5-4D17-936B-D61369DE417E}" dt="2024-01-25T16:47:04.776" v="668" actId="165"/>
          <ac:grpSpMkLst>
            <pc:docMk/>
            <pc:sldMk cId="3314057026" sldId="2147480296"/>
            <ac:grpSpMk id="18" creationId="{226E256D-D72F-FCC9-B1DF-AE7100C07328}"/>
          </ac:grpSpMkLst>
        </pc:grpChg>
        <pc:grpChg chg="mod">
          <ac:chgData name="Julia PONT" userId="6ea7fb32-49be-46d9-9d69-f51ddf012212" providerId="ADAL" clId="{8B10246B-69A5-4D17-936B-D61369DE417E}" dt="2024-01-25T16:47:04.776" v="668" actId="165"/>
          <ac:grpSpMkLst>
            <pc:docMk/>
            <pc:sldMk cId="3314057026" sldId="2147480296"/>
            <ac:grpSpMk id="19" creationId="{F8D8FEAF-30F5-EA95-1AD2-4899881FF22D}"/>
          </ac:grpSpMkLst>
        </pc:grpChg>
        <pc:grpChg chg="mod">
          <ac:chgData name="Julia PONT" userId="6ea7fb32-49be-46d9-9d69-f51ddf012212" providerId="ADAL" clId="{8B10246B-69A5-4D17-936B-D61369DE417E}" dt="2024-01-25T16:47:04.776" v="668" actId="165"/>
          <ac:grpSpMkLst>
            <pc:docMk/>
            <pc:sldMk cId="3314057026" sldId="2147480296"/>
            <ac:grpSpMk id="20" creationId="{1B25B5D4-E633-7A0D-F630-A593D4647165}"/>
          </ac:grpSpMkLst>
        </pc:grpChg>
        <pc:grpChg chg="mod topLvl">
          <ac:chgData name="Julia PONT" userId="6ea7fb32-49be-46d9-9d69-f51ddf012212" providerId="ADAL" clId="{8B10246B-69A5-4D17-936B-D61369DE417E}" dt="2024-01-25T16:47:04.776" v="668" actId="165"/>
          <ac:grpSpMkLst>
            <pc:docMk/>
            <pc:sldMk cId="3314057026" sldId="2147480296"/>
            <ac:grpSpMk id="41" creationId="{296E6180-2B26-5C06-4A82-534BF1D12657}"/>
          </ac:grpSpMkLst>
        </pc:grpChg>
        <pc:grpChg chg="del">
          <ac:chgData name="Julia PONT" userId="6ea7fb32-49be-46d9-9d69-f51ddf012212" providerId="ADAL" clId="{8B10246B-69A5-4D17-936B-D61369DE417E}" dt="2024-01-25T16:47:04.776" v="668" actId="165"/>
          <ac:grpSpMkLst>
            <pc:docMk/>
            <pc:sldMk cId="3314057026" sldId="2147480296"/>
            <ac:grpSpMk id="42" creationId="{620C202F-C60E-754B-E9DC-316AB02F6CC5}"/>
          </ac:grpSpMkLst>
        </pc:grpChg>
        <pc:graphicFrameChg chg="mod modGraphic">
          <ac:chgData name="Julia PONT" userId="6ea7fb32-49be-46d9-9d69-f51ddf012212" providerId="ADAL" clId="{8B10246B-69A5-4D17-936B-D61369DE417E}" dt="2024-01-23T17:11:49.324" v="501" actId="20577"/>
          <ac:graphicFrameMkLst>
            <pc:docMk/>
            <pc:sldMk cId="3314057026" sldId="2147480296"/>
            <ac:graphicFrameMk id="52" creationId="{7F86C2B7-5FAB-0233-E01B-D6D2A7C40DAC}"/>
          </ac:graphicFrameMkLst>
        </pc:graphicFrameChg>
      </pc:sldChg>
      <pc:sldChg chg="addSp delSp modSp add mod">
        <pc:chgData name="Julia PONT" userId="6ea7fb32-49be-46d9-9d69-f51ddf012212" providerId="ADAL" clId="{8B10246B-69A5-4D17-936B-D61369DE417E}" dt="2024-01-25T17:11:41.234" v="1563" actId="20577"/>
        <pc:sldMkLst>
          <pc:docMk/>
          <pc:sldMk cId="1871989762" sldId="2147480297"/>
        </pc:sldMkLst>
        <pc:spChg chg="mod ord">
          <ac:chgData name="Julia PONT" userId="6ea7fb32-49be-46d9-9d69-f51ddf012212" providerId="ADAL" clId="{8B10246B-69A5-4D17-936B-D61369DE417E}" dt="2024-01-25T17:11:41.234" v="1563" actId="20577"/>
          <ac:spMkLst>
            <pc:docMk/>
            <pc:sldMk cId="1871989762" sldId="2147480297"/>
            <ac:spMk id="3" creationId="{0F5FE605-BCD3-489C-88B3-61CB80F6C249}"/>
          </ac:spMkLst>
        </pc:spChg>
        <pc:spChg chg="mod">
          <ac:chgData name="Julia PONT" userId="6ea7fb32-49be-46d9-9d69-f51ddf012212" providerId="ADAL" clId="{8B10246B-69A5-4D17-936B-D61369DE417E}" dt="2024-01-25T17:06:24.693" v="1488" actId="11530"/>
          <ac:spMkLst>
            <pc:docMk/>
            <pc:sldMk cId="1871989762" sldId="2147480297"/>
            <ac:spMk id="4" creationId="{DDB605CA-7C8A-2FD6-3719-AB1EA4128D56}"/>
          </ac:spMkLst>
        </pc:spChg>
        <pc:spChg chg="mod">
          <ac:chgData name="Julia PONT" userId="6ea7fb32-49be-46d9-9d69-f51ddf012212" providerId="ADAL" clId="{8B10246B-69A5-4D17-936B-D61369DE417E}" dt="2024-01-25T17:06:24.693" v="1488" actId="11530"/>
          <ac:spMkLst>
            <pc:docMk/>
            <pc:sldMk cId="1871989762" sldId="2147480297"/>
            <ac:spMk id="5" creationId="{B3D218B5-57C0-9419-ACBF-3CB6EC07A033}"/>
          </ac:spMkLst>
        </pc:spChg>
        <pc:spChg chg="mod">
          <ac:chgData name="Julia PONT" userId="6ea7fb32-49be-46d9-9d69-f51ddf012212" providerId="ADAL" clId="{8B10246B-69A5-4D17-936B-D61369DE417E}" dt="2024-01-25T17:06:24.693" v="1488" actId="11530"/>
          <ac:spMkLst>
            <pc:docMk/>
            <pc:sldMk cId="1871989762" sldId="2147480297"/>
            <ac:spMk id="6" creationId="{1BFF0450-A5DD-066F-50D7-173531D24D58}"/>
          </ac:spMkLst>
        </pc:spChg>
        <pc:spChg chg="mod">
          <ac:chgData name="Julia PONT" userId="6ea7fb32-49be-46d9-9d69-f51ddf012212" providerId="ADAL" clId="{8B10246B-69A5-4D17-936B-D61369DE417E}" dt="2024-01-25T17:06:24.693" v="1488" actId="11530"/>
          <ac:spMkLst>
            <pc:docMk/>
            <pc:sldMk cId="1871989762" sldId="2147480297"/>
            <ac:spMk id="7" creationId="{A50AB6AA-EA56-87F2-364D-FBB6A1BA70E1}"/>
          </ac:spMkLst>
        </pc:spChg>
        <pc:spChg chg="mod">
          <ac:chgData name="Julia PONT" userId="6ea7fb32-49be-46d9-9d69-f51ddf012212" providerId="ADAL" clId="{8B10246B-69A5-4D17-936B-D61369DE417E}" dt="2024-01-25T17:07:09.142" v="1519" actId="12788"/>
          <ac:spMkLst>
            <pc:docMk/>
            <pc:sldMk cId="1871989762" sldId="2147480297"/>
            <ac:spMk id="8" creationId="{DFF23D7B-5BD1-7FF3-7139-8DBDDCAF39CF}"/>
          </ac:spMkLst>
        </pc:spChg>
        <pc:spChg chg="mod">
          <ac:chgData name="Julia PONT" userId="6ea7fb32-49be-46d9-9d69-f51ddf012212" providerId="ADAL" clId="{8B10246B-69A5-4D17-936B-D61369DE417E}" dt="2024-01-25T17:07:09.142" v="1519" actId="12788"/>
          <ac:spMkLst>
            <pc:docMk/>
            <pc:sldMk cId="1871989762" sldId="2147480297"/>
            <ac:spMk id="9" creationId="{9CC11519-A77C-AE5E-612C-52F61157B121}"/>
          </ac:spMkLst>
        </pc:spChg>
        <pc:spChg chg="mod">
          <ac:chgData name="Julia PONT" userId="6ea7fb32-49be-46d9-9d69-f51ddf012212" providerId="ADAL" clId="{8B10246B-69A5-4D17-936B-D61369DE417E}" dt="2024-01-25T17:06:24.693" v="1488" actId="11530"/>
          <ac:spMkLst>
            <pc:docMk/>
            <pc:sldMk cId="1871989762" sldId="2147480297"/>
            <ac:spMk id="10" creationId="{5BD3E751-2CBC-AA86-1E01-8D8895938B2D}"/>
          </ac:spMkLst>
        </pc:spChg>
        <pc:spChg chg="mod">
          <ac:chgData name="Julia PONT" userId="6ea7fb32-49be-46d9-9d69-f51ddf012212" providerId="ADAL" clId="{8B10246B-69A5-4D17-936B-D61369DE417E}" dt="2024-01-25T16:47:14.594" v="669"/>
          <ac:spMkLst>
            <pc:docMk/>
            <pc:sldMk cId="1871989762" sldId="2147480297"/>
            <ac:spMk id="12" creationId="{5256779A-C621-64BA-D89E-9B15561EEB36}"/>
          </ac:spMkLst>
        </pc:spChg>
        <pc:spChg chg="mod">
          <ac:chgData name="Julia PONT" userId="6ea7fb32-49be-46d9-9d69-f51ddf012212" providerId="ADAL" clId="{8B10246B-69A5-4D17-936B-D61369DE417E}" dt="2024-01-25T16:47:14.594" v="669"/>
          <ac:spMkLst>
            <pc:docMk/>
            <pc:sldMk cId="1871989762" sldId="2147480297"/>
            <ac:spMk id="13" creationId="{6427475E-ADCE-5800-5ADD-BB39460A6041}"/>
          </ac:spMkLst>
        </pc:spChg>
        <pc:spChg chg="mod">
          <ac:chgData name="Julia PONT" userId="6ea7fb32-49be-46d9-9d69-f51ddf012212" providerId="ADAL" clId="{8B10246B-69A5-4D17-936B-D61369DE417E}" dt="2024-01-25T16:47:14.594" v="669"/>
          <ac:spMkLst>
            <pc:docMk/>
            <pc:sldMk cId="1871989762" sldId="2147480297"/>
            <ac:spMk id="14" creationId="{464F4BBF-4490-96C8-2EB9-F1C85B02BBED}"/>
          </ac:spMkLst>
        </pc:spChg>
        <pc:spChg chg="mod">
          <ac:chgData name="Julia PONT" userId="6ea7fb32-49be-46d9-9d69-f51ddf012212" providerId="ADAL" clId="{8B10246B-69A5-4D17-936B-D61369DE417E}" dt="2024-01-25T16:47:14.594" v="669"/>
          <ac:spMkLst>
            <pc:docMk/>
            <pc:sldMk cId="1871989762" sldId="2147480297"/>
            <ac:spMk id="15" creationId="{8E736CE3-F41F-DFFE-31A5-9345C0CCF69B}"/>
          </ac:spMkLst>
        </pc:spChg>
        <pc:spChg chg="mod">
          <ac:chgData name="Julia PONT" userId="6ea7fb32-49be-46d9-9d69-f51ddf012212" providerId="ADAL" clId="{8B10246B-69A5-4D17-936B-D61369DE417E}" dt="2024-01-25T16:47:14.594" v="669"/>
          <ac:spMkLst>
            <pc:docMk/>
            <pc:sldMk cId="1871989762" sldId="2147480297"/>
            <ac:spMk id="16" creationId="{AABAFEBD-0B9D-75AA-4B7C-DFCCD6BC57F6}"/>
          </ac:spMkLst>
        </pc:spChg>
        <pc:spChg chg="mod">
          <ac:chgData name="Julia PONT" userId="6ea7fb32-49be-46d9-9d69-f51ddf012212" providerId="ADAL" clId="{8B10246B-69A5-4D17-936B-D61369DE417E}" dt="2024-01-25T16:47:14.594" v="669"/>
          <ac:spMkLst>
            <pc:docMk/>
            <pc:sldMk cId="1871989762" sldId="2147480297"/>
            <ac:spMk id="17" creationId="{DBE4522F-088D-EFC3-E69F-ADF9DEA6F255}"/>
          </ac:spMkLst>
        </pc:spChg>
        <pc:spChg chg="mod">
          <ac:chgData name="Julia PONT" userId="6ea7fb32-49be-46d9-9d69-f51ddf012212" providerId="ADAL" clId="{8B10246B-69A5-4D17-936B-D61369DE417E}" dt="2024-01-25T16:47:14.594" v="669"/>
          <ac:spMkLst>
            <pc:docMk/>
            <pc:sldMk cId="1871989762" sldId="2147480297"/>
            <ac:spMk id="18" creationId="{42D3F54D-8799-F17C-A352-70753D76D64B}"/>
          </ac:spMkLst>
        </pc:spChg>
        <pc:spChg chg="mod">
          <ac:chgData name="Julia PONT" userId="6ea7fb32-49be-46d9-9d69-f51ddf012212" providerId="ADAL" clId="{8B10246B-69A5-4D17-936B-D61369DE417E}" dt="2024-01-25T16:47:14.594" v="669"/>
          <ac:spMkLst>
            <pc:docMk/>
            <pc:sldMk cId="1871989762" sldId="2147480297"/>
            <ac:spMk id="19" creationId="{0056C348-1A05-0A95-BCF6-7DDFBBBED6C6}"/>
          </ac:spMkLst>
        </pc:spChg>
        <pc:spChg chg="mod">
          <ac:chgData name="Julia PONT" userId="6ea7fb32-49be-46d9-9d69-f51ddf012212" providerId="ADAL" clId="{8B10246B-69A5-4D17-936B-D61369DE417E}" dt="2024-01-25T16:47:14.594" v="669"/>
          <ac:spMkLst>
            <pc:docMk/>
            <pc:sldMk cId="1871989762" sldId="2147480297"/>
            <ac:spMk id="20" creationId="{899BE789-74F5-E911-BD39-09205C8444C4}"/>
          </ac:spMkLst>
        </pc:spChg>
        <pc:spChg chg="mod">
          <ac:chgData name="Julia PONT" userId="6ea7fb32-49be-46d9-9d69-f51ddf012212" providerId="ADAL" clId="{8B10246B-69A5-4D17-936B-D61369DE417E}" dt="2024-01-25T16:47:14.594" v="669"/>
          <ac:spMkLst>
            <pc:docMk/>
            <pc:sldMk cId="1871989762" sldId="2147480297"/>
            <ac:spMk id="21" creationId="{F0A5D49B-2511-5DFE-0C13-EBFE65B9A2D6}"/>
          </ac:spMkLst>
        </pc:spChg>
        <pc:spChg chg="mod">
          <ac:chgData name="Julia PONT" userId="6ea7fb32-49be-46d9-9d69-f51ddf012212" providerId="ADAL" clId="{8B10246B-69A5-4D17-936B-D61369DE417E}" dt="2024-01-25T16:47:14.594" v="669"/>
          <ac:spMkLst>
            <pc:docMk/>
            <pc:sldMk cId="1871989762" sldId="2147480297"/>
            <ac:spMk id="23" creationId="{1089A6D6-8599-9BBB-421A-D1C868C37BB3}"/>
          </ac:spMkLst>
        </pc:spChg>
        <pc:spChg chg="mod">
          <ac:chgData name="Julia PONT" userId="6ea7fb32-49be-46d9-9d69-f51ddf012212" providerId="ADAL" clId="{8B10246B-69A5-4D17-936B-D61369DE417E}" dt="2024-01-25T16:47:14.594" v="669"/>
          <ac:spMkLst>
            <pc:docMk/>
            <pc:sldMk cId="1871989762" sldId="2147480297"/>
            <ac:spMk id="27" creationId="{F0D01E88-FD22-C6D9-A078-8F316CC5BC8C}"/>
          </ac:spMkLst>
        </pc:spChg>
        <pc:spChg chg="mod">
          <ac:chgData name="Julia PONT" userId="6ea7fb32-49be-46d9-9d69-f51ddf012212" providerId="ADAL" clId="{8B10246B-69A5-4D17-936B-D61369DE417E}" dt="2024-01-25T16:47:14.594" v="669"/>
          <ac:spMkLst>
            <pc:docMk/>
            <pc:sldMk cId="1871989762" sldId="2147480297"/>
            <ac:spMk id="28" creationId="{9352AA01-7385-D8EF-B3D9-378B4F1FA75C}"/>
          </ac:spMkLst>
        </pc:spChg>
        <pc:spChg chg="mod">
          <ac:chgData name="Julia PONT" userId="6ea7fb32-49be-46d9-9d69-f51ddf012212" providerId="ADAL" clId="{8B10246B-69A5-4D17-936B-D61369DE417E}" dt="2024-01-25T16:47:14.594" v="669"/>
          <ac:spMkLst>
            <pc:docMk/>
            <pc:sldMk cId="1871989762" sldId="2147480297"/>
            <ac:spMk id="29" creationId="{C4873714-8535-5D15-AFE2-00DAC3C7CAD2}"/>
          </ac:spMkLst>
        </pc:spChg>
        <pc:spChg chg="mod">
          <ac:chgData name="Julia PONT" userId="6ea7fb32-49be-46d9-9d69-f51ddf012212" providerId="ADAL" clId="{8B10246B-69A5-4D17-936B-D61369DE417E}" dt="2024-01-25T16:47:14.594" v="669"/>
          <ac:spMkLst>
            <pc:docMk/>
            <pc:sldMk cId="1871989762" sldId="2147480297"/>
            <ac:spMk id="30" creationId="{C46B3358-3E9D-FC58-7763-5D0B47847ECF}"/>
          </ac:spMkLst>
        </pc:spChg>
        <pc:spChg chg="mod">
          <ac:chgData name="Julia PONT" userId="6ea7fb32-49be-46d9-9d69-f51ddf012212" providerId="ADAL" clId="{8B10246B-69A5-4D17-936B-D61369DE417E}" dt="2024-01-25T16:47:14.594" v="669"/>
          <ac:spMkLst>
            <pc:docMk/>
            <pc:sldMk cId="1871989762" sldId="2147480297"/>
            <ac:spMk id="31" creationId="{A49DB958-3FF7-5E7E-B8B6-74A6DFACB631}"/>
          </ac:spMkLst>
        </pc:spChg>
        <pc:spChg chg="mod">
          <ac:chgData name="Julia PONT" userId="6ea7fb32-49be-46d9-9d69-f51ddf012212" providerId="ADAL" clId="{8B10246B-69A5-4D17-936B-D61369DE417E}" dt="2024-01-25T16:47:14.594" v="669"/>
          <ac:spMkLst>
            <pc:docMk/>
            <pc:sldMk cId="1871989762" sldId="2147480297"/>
            <ac:spMk id="32" creationId="{6CEF19A3-FD4C-696B-A542-1CB59AF3CD90}"/>
          </ac:spMkLst>
        </pc:spChg>
        <pc:spChg chg="mod">
          <ac:chgData name="Julia PONT" userId="6ea7fb32-49be-46d9-9d69-f51ddf012212" providerId="ADAL" clId="{8B10246B-69A5-4D17-936B-D61369DE417E}" dt="2024-01-25T16:47:14.594" v="669"/>
          <ac:spMkLst>
            <pc:docMk/>
            <pc:sldMk cId="1871989762" sldId="2147480297"/>
            <ac:spMk id="33" creationId="{982D0B81-0BB8-FFC8-9798-03B891613D4C}"/>
          </ac:spMkLst>
        </pc:spChg>
        <pc:spChg chg="mod">
          <ac:chgData name="Julia PONT" userId="6ea7fb32-49be-46d9-9d69-f51ddf012212" providerId="ADAL" clId="{8B10246B-69A5-4D17-936B-D61369DE417E}" dt="2024-01-25T16:47:14.594" v="669"/>
          <ac:spMkLst>
            <pc:docMk/>
            <pc:sldMk cId="1871989762" sldId="2147480297"/>
            <ac:spMk id="34" creationId="{9A909C67-8816-05AB-27E7-CBDD215F6CFF}"/>
          </ac:spMkLst>
        </pc:spChg>
        <pc:spChg chg="mod">
          <ac:chgData name="Julia PONT" userId="6ea7fb32-49be-46d9-9d69-f51ddf012212" providerId="ADAL" clId="{8B10246B-69A5-4D17-936B-D61369DE417E}" dt="2024-01-25T16:47:14.594" v="669"/>
          <ac:spMkLst>
            <pc:docMk/>
            <pc:sldMk cId="1871989762" sldId="2147480297"/>
            <ac:spMk id="35" creationId="{73E336DE-3AF7-D503-DBC7-6AF36143E8E0}"/>
          </ac:spMkLst>
        </pc:spChg>
        <pc:spChg chg="mod">
          <ac:chgData name="Julia PONT" userId="6ea7fb32-49be-46d9-9d69-f51ddf012212" providerId="ADAL" clId="{8B10246B-69A5-4D17-936B-D61369DE417E}" dt="2024-01-25T16:47:14.594" v="669"/>
          <ac:spMkLst>
            <pc:docMk/>
            <pc:sldMk cId="1871989762" sldId="2147480297"/>
            <ac:spMk id="36" creationId="{8AF4E039-B1B1-57D5-5487-0FD18F79437F}"/>
          </ac:spMkLst>
        </pc:spChg>
        <pc:spChg chg="mod">
          <ac:chgData name="Julia PONT" userId="6ea7fb32-49be-46d9-9d69-f51ddf012212" providerId="ADAL" clId="{8B10246B-69A5-4D17-936B-D61369DE417E}" dt="2024-01-25T16:47:14.594" v="669"/>
          <ac:spMkLst>
            <pc:docMk/>
            <pc:sldMk cId="1871989762" sldId="2147480297"/>
            <ac:spMk id="37" creationId="{D53C8F67-5456-1366-36AD-EECA913A3003}"/>
          </ac:spMkLst>
        </pc:spChg>
        <pc:spChg chg="mod">
          <ac:chgData name="Julia PONT" userId="6ea7fb32-49be-46d9-9d69-f51ddf012212" providerId="ADAL" clId="{8B10246B-69A5-4D17-936B-D61369DE417E}" dt="2024-01-25T16:47:14.594" v="669"/>
          <ac:spMkLst>
            <pc:docMk/>
            <pc:sldMk cId="1871989762" sldId="2147480297"/>
            <ac:spMk id="38" creationId="{1063BD0C-85C9-8B18-4F1B-44C05890EBA9}"/>
          </ac:spMkLst>
        </pc:spChg>
        <pc:spChg chg="mod">
          <ac:chgData name="Julia PONT" userId="6ea7fb32-49be-46d9-9d69-f51ddf012212" providerId="ADAL" clId="{8B10246B-69A5-4D17-936B-D61369DE417E}" dt="2024-01-25T16:47:14.594" v="669"/>
          <ac:spMkLst>
            <pc:docMk/>
            <pc:sldMk cId="1871989762" sldId="2147480297"/>
            <ac:spMk id="39" creationId="{929B7C85-77E1-57F2-9D10-C0AAEB046BEE}"/>
          </ac:spMkLst>
        </pc:spChg>
        <pc:spChg chg="mod">
          <ac:chgData name="Julia PONT" userId="6ea7fb32-49be-46d9-9d69-f51ddf012212" providerId="ADAL" clId="{8B10246B-69A5-4D17-936B-D61369DE417E}" dt="2024-01-25T16:47:14.594" v="669"/>
          <ac:spMkLst>
            <pc:docMk/>
            <pc:sldMk cId="1871989762" sldId="2147480297"/>
            <ac:spMk id="40" creationId="{48F3BBD1-971D-E7B9-0BE6-DF26B269B427}"/>
          </ac:spMkLst>
        </pc:spChg>
        <pc:spChg chg="mod">
          <ac:chgData name="Julia PONT" userId="6ea7fb32-49be-46d9-9d69-f51ddf012212" providerId="ADAL" clId="{8B10246B-69A5-4D17-936B-D61369DE417E}" dt="2024-01-25T16:47:14.594" v="669"/>
          <ac:spMkLst>
            <pc:docMk/>
            <pc:sldMk cId="1871989762" sldId="2147480297"/>
            <ac:spMk id="41" creationId="{94F223A9-29B4-AA57-08FA-DE937252F383}"/>
          </ac:spMkLst>
        </pc:spChg>
        <pc:spChg chg="mod">
          <ac:chgData name="Julia PONT" userId="6ea7fb32-49be-46d9-9d69-f51ddf012212" providerId="ADAL" clId="{8B10246B-69A5-4D17-936B-D61369DE417E}" dt="2024-01-25T16:47:14.594" v="669"/>
          <ac:spMkLst>
            <pc:docMk/>
            <pc:sldMk cId="1871989762" sldId="2147480297"/>
            <ac:spMk id="42" creationId="{2F0637EA-BA53-8A4D-95B2-FA794E5BF402}"/>
          </ac:spMkLst>
        </pc:spChg>
        <pc:spChg chg="mod">
          <ac:chgData name="Julia PONT" userId="6ea7fb32-49be-46d9-9d69-f51ddf012212" providerId="ADAL" clId="{8B10246B-69A5-4D17-936B-D61369DE417E}" dt="2024-01-25T16:47:14.594" v="669"/>
          <ac:spMkLst>
            <pc:docMk/>
            <pc:sldMk cId="1871989762" sldId="2147480297"/>
            <ac:spMk id="43" creationId="{292063A9-C05D-7EFE-0DE1-2BE76BD4FFE2}"/>
          </ac:spMkLst>
        </pc:spChg>
        <pc:spChg chg="mod">
          <ac:chgData name="Julia PONT" userId="6ea7fb32-49be-46d9-9d69-f51ddf012212" providerId="ADAL" clId="{8B10246B-69A5-4D17-936B-D61369DE417E}" dt="2024-01-25T16:47:14.594" v="669"/>
          <ac:spMkLst>
            <pc:docMk/>
            <pc:sldMk cId="1871989762" sldId="2147480297"/>
            <ac:spMk id="44" creationId="{19BF060E-9C68-AF11-F5BB-C0C5D1999F62}"/>
          </ac:spMkLst>
        </pc:spChg>
        <pc:spChg chg="mod topLvl">
          <ac:chgData name="Julia PONT" userId="6ea7fb32-49be-46d9-9d69-f51ddf012212" providerId="ADAL" clId="{8B10246B-69A5-4D17-936B-D61369DE417E}" dt="2024-01-25T16:54:34.982" v="814" actId="165"/>
          <ac:spMkLst>
            <pc:docMk/>
            <pc:sldMk cId="1871989762" sldId="2147480297"/>
            <ac:spMk id="47" creationId="{F7EFE765-D3E2-D83D-15BD-60893A012875}"/>
          </ac:spMkLst>
        </pc:spChg>
        <pc:spChg chg="del mod topLvl">
          <ac:chgData name="Julia PONT" userId="6ea7fb32-49be-46d9-9d69-f51ddf012212" providerId="ADAL" clId="{8B10246B-69A5-4D17-936B-D61369DE417E}" dt="2024-01-25T16:49:19.777" v="704" actId="478"/>
          <ac:spMkLst>
            <pc:docMk/>
            <pc:sldMk cId="1871989762" sldId="2147480297"/>
            <ac:spMk id="48" creationId="{5B8F781A-2211-9EF0-1F31-C7D6DC19CAEE}"/>
          </ac:spMkLst>
        </pc:spChg>
        <pc:spChg chg="mod topLvl">
          <ac:chgData name="Julia PONT" userId="6ea7fb32-49be-46d9-9d69-f51ddf012212" providerId="ADAL" clId="{8B10246B-69A5-4D17-936B-D61369DE417E}" dt="2024-01-25T16:54:34.982" v="814" actId="165"/>
          <ac:spMkLst>
            <pc:docMk/>
            <pc:sldMk cId="1871989762" sldId="2147480297"/>
            <ac:spMk id="49" creationId="{4FDF85B2-296E-DA12-F9F6-963F88CBDCDC}"/>
          </ac:spMkLst>
        </pc:spChg>
        <pc:spChg chg="del mod topLvl">
          <ac:chgData name="Julia PONT" userId="6ea7fb32-49be-46d9-9d69-f51ddf012212" providerId="ADAL" clId="{8B10246B-69A5-4D17-936B-D61369DE417E}" dt="2024-01-25T16:49:27.027" v="708" actId="478"/>
          <ac:spMkLst>
            <pc:docMk/>
            <pc:sldMk cId="1871989762" sldId="2147480297"/>
            <ac:spMk id="50" creationId="{C49EC27F-17FF-3FE7-20B7-8A879DE3F804}"/>
          </ac:spMkLst>
        </pc:spChg>
        <pc:spChg chg="mod topLvl">
          <ac:chgData name="Julia PONT" userId="6ea7fb32-49be-46d9-9d69-f51ddf012212" providerId="ADAL" clId="{8B10246B-69A5-4D17-936B-D61369DE417E}" dt="2024-01-25T16:54:34.982" v="814" actId="165"/>
          <ac:spMkLst>
            <pc:docMk/>
            <pc:sldMk cId="1871989762" sldId="2147480297"/>
            <ac:spMk id="51" creationId="{26A5CF66-D414-E1C6-F7CC-129DB43DDB8D}"/>
          </ac:spMkLst>
        </pc:spChg>
        <pc:spChg chg="del mod topLvl">
          <ac:chgData name="Julia PONT" userId="6ea7fb32-49be-46d9-9d69-f51ddf012212" providerId="ADAL" clId="{8B10246B-69A5-4D17-936B-D61369DE417E}" dt="2024-01-25T16:49:32.839" v="712" actId="478"/>
          <ac:spMkLst>
            <pc:docMk/>
            <pc:sldMk cId="1871989762" sldId="2147480297"/>
            <ac:spMk id="52" creationId="{09C8BF71-5F75-7859-7159-E2C728B8D841}"/>
          </ac:spMkLst>
        </pc:spChg>
        <pc:spChg chg="mod topLvl">
          <ac:chgData name="Julia PONT" userId="6ea7fb32-49be-46d9-9d69-f51ddf012212" providerId="ADAL" clId="{8B10246B-69A5-4D17-936B-D61369DE417E}" dt="2024-01-25T16:54:34.982" v="814" actId="165"/>
          <ac:spMkLst>
            <pc:docMk/>
            <pc:sldMk cId="1871989762" sldId="2147480297"/>
            <ac:spMk id="53" creationId="{8EA43EA8-A7DB-F2E7-88BE-6547A70036D8}"/>
          </ac:spMkLst>
        </pc:spChg>
        <pc:spChg chg="del mod topLvl">
          <ac:chgData name="Julia PONT" userId="6ea7fb32-49be-46d9-9d69-f51ddf012212" providerId="ADAL" clId="{8B10246B-69A5-4D17-936B-D61369DE417E}" dt="2024-01-25T16:49:40.273" v="716" actId="478"/>
          <ac:spMkLst>
            <pc:docMk/>
            <pc:sldMk cId="1871989762" sldId="2147480297"/>
            <ac:spMk id="54" creationId="{AE62218E-1F15-D206-B955-B480E9912B3A}"/>
          </ac:spMkLst>
        </pc:spChg>
        <pc:spChg chg="mod topLvl">
          <ac:chgData name="Julia PONT" userId="6ea7fb32-49be-46d9-9d69-f51ddf012212" providerId="ADAL" clId="{8B10246B-69A5-4D17-936B-D61369DE417E}" dt="2024-01-25T16:54:34.982" v="814" actId="165"/>
          <ac:spMkLst>
            <pc:docMk/>
            <pc:sldMk cId="1871989762" sldId="2147480297"/>
            <ac:spMk id="55" creationId="{189BDCCA-24B3-20EF-D802-8E9EB0AF9878}"/>
          </ac:spMkLst>
        </pc:spChg>
        <pc:spChg chg="del mod topLvl">
          <ac:chgData name="Julia PONT" userId="6ea7fb32-49be-46d9-9d69-f51ddf012212" providerId="ADAL" clId="{8B10246B-69A5-4D17-936B-D61369DE417E}" dt="2024-01-25T16:49:46.911" v="720" actId="478"/>
          <ac:spMkLst>
            <pc:docMk/>
            <pc:sldMk cId="1871989762" sldId="2147480297"/>
            <ac:spMk id="56" creationId="{06142348-579A-FB5F-671A-670820DBB5D3}"/>
          </ac:spMkLst>
        </pc:spChg>
        <pc:spChg chg="mod topLvl">
          <ac:chgData name="Julia PONT" userId="6ea7fb32-49be-46d9-9d69-f51ddf012212" providerId="ADAL" clId="{8B10246B-69A5-4D17-936B-D61369DE417E}" dt="2024-01-25T16:54:34.982" v="814" actId="165"/>
          <ac:spMkLst>
            <pc:docMk/>
            <pc:sldMk cId="1871989762" sldId="2147480297"/>
            <ac:spMk id="58" creationId="{20930015-73E2-48FC-2F01-3298F0E8F43D}"/>
          </ac:spMkLst>
        </pc:spChg>
        <pc:spChg chg="mod">
          <ac:chgData name="Julia PONT" userId="6ea7fb32-49be-46d9-9d69-f51ddf012212" providerId="ADAL" clId="{8B10246B-69A5-4D17-936B-D61369DE417E}" dt="2024-01-25T16:54:34.982" v="814" actId="165"/>
          <ac:spMkLst>
            <pc:docMk/>
            <pc:sldMk cId="1871989762" sldId="2147480297"/>
            <ac:spMk id="62" creationId="{CAC25D54-113B-DA78-C807-C131DD417D62}"/>
          </ac:spMkLst>
        </pc:spChg>
        <pc:spChg chg="mod">
          <ac:chgData name="Julia PONT" userId="6ea7fb32-49be-46d9-9d69-f51ddf012212" providerId="ADAL" clId="{8B10246B-69A5-4D17-936B-D61369DE417E}" dt="2024-01-25T16:54:34.982" v="814" actId="165"/>
          <ac:spMkLst>
            <pc:docMk/>
            <pc:sldMk cId="1871989762" sldId="2147480297"/>
            <ac:spMk id="63" creationId="{A6ABCBD5-39DE-8B0A-FAC2-AB6B5AD6C1EC}"/>
          </ac:spMkLst>
        </pc:spChg>
        <pc:spChg chg="mod">
          <ac:chgData name="Julia PONT" userId="6ea7fb32-49be-46d9-9d69-f51ddf012212" providerId="ADAL" clId="{8B10246B-69A5-4D17-936B-D61369DE417E}" dt="2024-01-25T16:54:34.982" v="814" actId="165"/>
          <ac:spMkLst>
            <pc:docMk/>
            <pc:sldMk cId="1871989762" sldId="2147480297"/>
            <ac:spMk id="64" creationId="{7044D695-3A82-D80F-D64A-4B3CB043A76F}"/>
          </ac:spMkLst>
        </pc:spChg>
        <pc:spChg chg="mod">
          <ac:chgData name="Julia PONT" userId="6ea7fb32-49be-46d9-9d69-f51ddf012212" providerId="ADAL" clId="{8B10246B-69A5-4D17-936B-D61369DE417E}" dt="2024-01-25T16:54:34.982" v="814" actId="165"/>
          <ac:spMkLst>
            <pc:docMk/>
            <pc:sldMk cId="1871989762" sldId="2147480297"/>
            <ac:spMk id="65" creationId="{E6CD615D-28A6-F4B6-4BAB-61307BD0A4BD}"/>
          </ac:spMkLst>
        </pc:spChg>
        <pc:spChg chg="mod">
          <ac:chgData name="Julia PONT" userId="6ea7fb32-49be-46d9-9d69-f51ddf012212" providerId="ADAL" clId="{8B10246B-69A5-4D17-936B-D61369DE417E}" dt="2024-01-25T16:54:34.982" v="814" actId="165"/>
          <ac:spMkLst>
            <pc:docMk/>
            <pc:sldMk cId="1871989762" sldId="2147480297"/>
            <ac:spMk id="66" creationId="{F09DE6B9-D432-C491-F461-33C73A51EDAB}"/>
          </ac:spMkLst>
        </pc:spChg>
        <pc:spChg chg="mod">
          <ac:chgData name="Julia PONT" userId="6ea7fb32-49be-46d9-9d69-f51ddf012212" providerId="ADAL" clId="{8B10246B-69A5-4D17-936B-D61369DE417E}" dt="2024-01-25T16:54:34.982" v="814" actId="165"/>
          <ac:spMkLst>
            <pc:docMk/>
            <pc:sldMk cId="1871989762" sldId="2147480297"/>
            <ac:spMk id="67" creationId="{0A855619-72C3-FE06-CCA5-8E4D8F874598}"/>
          </ac:spMkLst>
        </pc:spChg>
        <pc:spChg chg="mod">
          <ac:chgData name="Julia PONT" userId="6ea7fb32-49be-46d9-9d69-f51ddf012212" providerId="ADAL" clId="{8B10246B-69A5-4D17-936B-D61369DE417E}" dt="2024-01-25T16:54:34.982" v="814" actId="165"/>
          <ac:spMkLst>
            <pc:docMk/>
            <pc:sldMk cId="1871989762" sldId="2147480297"/>
            <ac:spMk id="68" creationId="{FCE48449-69D2-62FD-7A5A-060D0D40F9FA}"/>
          </ac:spMkLst>
        </pc:spChg>
        <pc:spChg chg="mod">
          <ac:chgData name="Julia PONT" userId="6ea7fb32-49be-46d9-9d69-f51ddf012212" providerId="ADAL" clId="{8B10246B-69A5-4D17-936B-D61369DE417E}" dt="2024-01-25T16:54:34.982" v="814" actId="165"/>
          <ac:spMkLst>
            <pc:docMk/>
            <pc:sldMk cId="1871989762" sldId="2147480297"/>
            <ac:spMk id="69" creationId="{E1E00330-B7A7-6B43-BD36-E5486DAF5746}"/>
          </ac:spMkLst>
        </pc:spChg>
        <pc:spChg chg="mod">
          <ac:chgData name="Julia PONT" userId="6ea7fb32-49be-46d9-9d69-f51ddf012212" providerId="ADAL" clId="{8B10246B-69A5-4D17-936B-D61369DE417E}" dt="2024-01-25T16:54:34.982" v="814" actId="165"/>
          <ac:spMkLst>
            <pc:docMk/>
            <pc:sldMk cId="1871989762" sldId="2147480297"/>
            <ac:spMk id="70" creationId="{790BFA82-A489-BF8D-1EEE-76823A4F8CB4}"/>
          </ac:spMkLst>
        </pc:spChg>
        <pc:spChg chg="mod">
          <ac:chgData name="Julia PONT" userId="6ea7fb32-49be-46d9-9d69-f51ddf012212" providerId="ADAL" clId="{8B10246B-69A5-4D17-936B-D61369DE417E}" dt="2024-01-25T16:54:34.982" v="814" actId="165"/>
          <ac:spMkLst>
            <pc:docMk/>
            <pc:sldMk cId="1871989762" sldId="2147480297"/>
            <ac:spMk id="71" creationId="{A44420BB-43C2-61BF-5D05-C3386F5F0AB5}"/>
          </ac:spMkLst>
        </pc:spChg>
        <pc:spChg chg="mod">
          <ac:chgData name="Julia PONT" userId="6ea7fb32-49be-46d9-9d69-f51ddf012212" providerId="ADAL" clId="{8B10246B-69A5-4D17-936B-D61369DE417E}" dt="2024-01-25T16:54:34.982" v="814" actId="165"/>
          <ac:spMkLst>
            <pc:docMk/>
            <pc:sldMk cId="1871989762" sldId="2147480297"/>
            <ac:spMk id="72" creationId="{2DB4852E-75DB-494B-4E51-10962A98A883}"/>
          </ac:spMkLst>
        </pc:spChg>
        <pc:spChg chg="mod">
          <ac:chgData name="Julia PONT" userId="6ea7fb32-49be-46d9-9d69-f51ddf012212" providerId="ADAL" clId="{8B10246B-69A5-4D17-936B-D61369DE417E}" dt="2024-01-25T16:54:34.982" v="814" actId="165"/>
          <ac:spMkLst>
            <pc:docMk/>
            <pc:sldMk cId="1871989762" sldId="2147480297"/>
            <ac:spMk id="73" creationId="{AA28535E-0353-E0CF-AAE1-8AC4AB802CD8}"/>
          </ac:spMkLst>
        </pc:spChg>
        <pc:spChg chg="mod">
          <ac:chgData name="Julia PONT" userId="6ea7fb32-49be-46d9-9d69-f51ddf012212" providerId="ADAL" clId="{8B10246B-69A5-4D17-936B-D61369DE417E}" dt="2024-01-25T16:54:34.982" v="814" actId="165"/>
          <ac:spMkLst>
            <pc:docMk/>
            <pc:sldMk cId="1871989762" sldId="2147480297"/>
            <ac:spMk id="74" creationId="{45308101-7539-22EE-B64F-2FD13681751C}"/>
          </ac:spMkLst>
        </pc:spChg>
        <pc:spChg chg="mod">
          <ac:chgData name="Julia PONT" userId="6ea7fb32-49be-46d9-9d69-f51ddf012212" providerId="ADAL" clId="{8B10246B-69A5-4D17-936B-D61369DE417E}" dt="2024-01-25T16:54:34.982" v="814" actId="165"/>
          <ac:spMkLst>
            <pc:docMk/>
            <pc:sldMk cId="1871989762" sldId="2147480297"/>
            <ac:spMk id="75" creationId="{D90BFFC5-35DF-DFB8-B3EF-2B18D0065CE1}"/>
          </ac:spMkLst>
        </pc:spChg>
        <pc:spChg chg="mod">
          <ac:chgData name="Julia PONT" userId="6ea7fb32-49be-46d9-9d69-f51ddf012212" providerId="ADAL" clId="{8B10246B-69A5-4D17-936B-D61369DE417E}" dt="2024-01-25T16:54:34.982" v="814" actId="165"/>
          <ac:spMkLst>
            <pc:docMk/>
            <pc:sldMk cId="1871989762" sldId="2147480297"/>
            <ac:spMk id="76" creationId="{D59D1D10-04D9-82B2-F862-5168EE443A55}"/>
          </ac:spMkLst>
        </pc:spChg>
        <pc:spChg chg="mod">
          <ac:chgData name="Julia PONT" userId="6ea7fb32-49be-46d9-9d69-f51ddf012212" providerId="ADAL" clId="{8B10246B-69A5-4D17-936B-D61369DE417E}" dt="2024-01-25T16:54:34.982" v="814" actId="165"/>
          <ac:spMkLst>
            <pc:docMk/>
            <pc:sldMk cId="1871989762" sldId="2147480297"/>
            <ac:spMk id="77" creationId="{C1F23CA1-ADB5-2A65-A790-2F2B13D5C757}"/>
          </ac:spMkLst>
        </pc:spChg>
        <pc:spChg chg="mod">
          <ac:chgData name="Julia PONT" userId="6ea7fb32-49be-46d9-9d69-f51ddf012212" providerId="ADAL" clId="{8B10246B-69A5-4D17-936B-D61369DE417E}" dt="2024-01-25T16:54:34.982" v="814" actId="165"/>
          <ac:spMkLst>
            <pc:docMk/>
            <pc:sldMk cId="1871989762" sldId="2147480297"/>
            <ac:spMk id="78" creationId="{682FC99D-D2AF-0165-D94B-048AA87380A6}"/>
          </ac:spMkLst>
        </pc:spChg>
        <pc:spChg chg="mod">
          <ac:chgData name="Julia PONT" userId="6ea7fb32-49be-46d9-9d69-f51ddf012212" providerId="ADAL" clId="{8B10246B-69A5-4D17-936B-D61369DE417E}" dt="2024-01-25T16:54:34.982" v="814" actId="165"/>
          <ac:spMkLst>
            <pc:docMk/>
            <pc:sldMk cId="1871989762" sldId="2147480297"/>
            <ac:spMk id="79" creationId="{63132CCE-7FD3-AEF8-F7E1-8A68C35C5211}"/>
          </ac:spMkLst>
        </pc:spChg>
        <pc:spChg chg="add mod">
          <ac:chgData name="Julia PONT" userId="6ea7fb32-49be-46d9-9d69-f51ddf012212" providerId="ADAL" clId="{8B10246B-69A5-4D17-936B-D61369DE417E}" dt="2024-01-25T17:06:24.693" v="1488" actId="11530"/>
          <ac:spMkLst>
            <pc:docMk/>
            <pc:sldMk cId="1871989762" sldId="2147480297"/>
            <ac:spMk id="87" creationId="{17F2A924-26EE-FC5F-B54D-76E5FA58A853}"/>
          </ac:spMkLst>
        </pc:spChg>
        <pc:spChg chg="add mod">
          <ac:chgData name="Julia PONT" userId="6ea7fb32-49be-46d9-9d69-f51ddf012212" providerId="ADAL" clId="{8B10246B-69A5-4D17-936B-D61369DE417E}" dt="2024-01-25T17:07:12.780" v="1520" actId="1076"/>
          <ac:spMkLst>
            <pc:docMk/>
            <pc:sldMk cId="1871989762" sldId="2147480297"/>
            <ac:spMk id="88" creationId="{657D61AA-1DC9-2F14-6814-46DDDB86B6AD}"/>
          </ac:spMkLst>
        </pc:spChg>
        <pc:spChg chg="add mod">
          <ac:chgData name="Julia PONT" userId="6ea7fb32-49be-46d9-9d69-f51ddf012212" providerId="ADAL" clId="{8B10246B-69A5-4D17-936B-D61369DE417E}" dt="2024-01-25T17:07:09.142" v="1519" actId="12788"/>
          <ac:spMkLst>
            <pc:docMk/>
            <pc:sldMk cId="1871989762" sldId="2147480297"/>
            <ac:spMk id="89" creationId="{E2AE0162-C27B-3F39-1ABB-51E67EF598AD}"/>
          </ac:spMkLst>
        </pc:spChg>
        <pc:spChg chg="add mod">
          <ac:chgData name="Julia PONT" userId="6ea7fb32-49be-46d9-9d69-f51ddf012212" providerId="ADAL" clId="{8B10246B-69A5-4D17-936B-D61369DE417E}" dt="2024-01-25T17:08:18.627" v="1547" actId="20577"/>
          <ac:spMkLst>
            <pc:docMk/>
            <pc:sldMk cId="1871989762" sldId="2147480297"/>
            <ac:spMk id="90" creationId="{57627848-41DE-E72B-5D05-B2426B087524}"/>
          </ac:spMkLst>
        </pc:spChg>
        <pc:grpChg chg="add mod">
          <ac:chgData name="Julia PONT" userId="6ea7fb32-49be-46d9-9d69-f51ddf012212" providerId="ADAL" clId="{8B10246B-69A5-4D17-936B-D61369DE417E}" dt="2024-01-25T16:47:25.778" v="673" actId="1076"/>
          <ac:grpSpMkLst>
            <pc:docMk/>
            <pc:sldMk cId="1871989762" sldId="2147480297"/>
            <ac:grpSpMk id="11" creationId="{3EAA29C6-9FD8-44A5-AB4A-C78E4811466B}"/>
          </ac:grpSpMkLst>
        </pc:grpChg>
        <pc:grpChg chg="mod">
          <ac:chgData name="Julia PONT" userId="6ea7fb32-49be-46d9-9d69-f51ddf012212" providerId="ADAL" clId="{8B10246B-69A5-4D17-936B-D61369DE417E}" dt="2024-01-25T16:47:14.594" v="669"/>
          <ac:grpSpMkLst>
            <pc:docMk/>
            <pc:sldMk cId="1871989762" sldId="2147480297"/>
            <ac:grpSpMk id="22" creationId="{D0E88A75-9F20-9A80-2C29-7786E7E01D97}"/>
          </ac:grpSpMkLst>
        </pc:grpChg>
        <pc:grpChg chg="mod">
          <ac:chgData name="Julia PONT" userId="6ea7fb32-49be-46d9-9d69-f51ddf012212" providerId="ADAL" clId="{8B10246B-69A5-4D17-936B-D61369DE417E}" dt="2024-01-25T16:47:14.594" v="669"/>
          <ac:grpSpMkLst>
            <pc:docMk/>
            <pc:sldMk cId="1871989762" sldId="2147480297"/>
            <ac:grpSpMk id="24" creationId="{7D300DBE-D1B0-7C42-042D-3C6C2F707B50}"/>
          </ac:grpSpMkLst>
        </pc:grpChg>
        <pc:grpChg chg="mod">
          <ac:chgData name="Julia PONT" userId="6ea7fb32-49be-46d9-9d69-f51ddf012212" providerId="ADAL" clId="{8B10246B-69A5-4D17-936B-D61369DE417E}" dt="2024-01-25T16:47:14.594" v="669"/>
          <ac:grpSpMkLst>
            <pc:docMk/>
            <pc:sldMk cId="1871989762" sldId="2147480297"/>
            <ac:grpSpMk id="25" creationId="{1956EE84-9EE2-A21D-AC4A-48DAC44C3E2B}"/>
          </ac:grpSpMkLst>
        </pc:grpChg>
        <pc:grpChg chg="mod">
          <ac:chgData name="Julia PONT" userId="6ea7fb32-49be-46d9-9d69-f51ddf012212" providerId="ADAL" clId="{8B10246B-69A5-4D17-936B-D61369DE417E}" dt="2024-01-25T16:47:14.594" v="669"/>
          <ac:grpSpMkLst>
            <pc:docMk/>
            <pc:sldMk cId="1871989762" sldId="2147480297"/>
            <ac:grpSpMk id="26" creationId="{9BE34369-8BA1-2DCF-5F19-45221FF83B86}"/>
          </ac:grpSpMkLst>
        </pc:grpChg>
        <pc:grpChg chg="add del mod">
          <ac:chgData name="Julia PONT" userId="6ea7fb32-49be-46d9-9d69-f51ddf012212" providerId="ADAL" clId="{8B10246B-69A5-4D17-936B-D61369DE417E}" dt="2024-01-25T16:48:55.782" v="702" actId="165"/>
          <ac:grpSpMkLst>
            <pc:docMk/>
            <pc:sldMk cId="1871989762" sldId="2147480297"/>
            <ac:grpSpMk id="46" creationId="{F52FF05C-97E3-DED0-ADEF-3BBF1B0D07F8}"/>
          </ac:grpSpMkLst>
        </pc:grpChg>
        <pc:grpChg chg="mod topLvl">
          <ac:chgData name="Julia PONT" userId="6ea7fb32-49be-46d9-9d69-f51ddf012212" providerId="ADAL" clId="{8B10246B-69A5-4D17-936B-D61369DE417E}" dt="2024-01-25T16:54:34.982" v="814" actId="165"/>
          <ac:grpSpMkLst>
            <pc:docMk/>
            <pc:sldMk cId="1871989762" sldId="2147480297"/>
            <ac:grpSpMk id="57" creationId="{EED24476-2751-5D40-F1A2-DC5E57BC2BF8}"/>
          </ac:grpSpMkLst>
        </pc:grpChg>
        <pc:grpChg chg="mod topLvl">
          <ac:chgData name="Julia PONT" userId="6ea7fb32-49be-46d9-9d69-f51ddf012212" providerId="ADAL" clId="{8B10246B-69A5-4D17-936B-D61369DE417E}" dt="2024-01-25T16:54:34.982" v="814" actId="165"/>
          <ac:grpSpMkLst>
            <pc:docMk/>
            <pc:sldMk cId="1871989762" sldId="2147480297"/>
            <ac:grpSpMk id="59" creationId="{1187F6A3-28E1-8BF8-8219-645CC7584DF3}"/>
          </ac:grpSpMkLst>
        </pc:grpChg>
        <pc:grpChg chg="mod topLvl">
          <ac:chgData name="Julia PONT" userId="6ea7fb32-49be-46d9-9d69-f51ddf012212" providerId="ADAL" clId="{8B10246B-69A5-4D17-936B-D61369DE417E}" dt="2024-01-25T16:54:34.982" v="814" actId="165"/>
          <ac:grpSpMkLst>
            <pc:docMk/>
            <pc:sldMk cId="1871989762" sldId="2147480297"/>
            <ac:grpSpMk id="60" creationId="{F7157E1E-6744-B0FE-415C-2AAB342FCB94}"/>
          </ac:grpSpMkLst>
        </pc:grpChg>
        <pc:grpChg chg="mod topLvl">
          <ac:chgData name="Julia PONT" userId="6ea7fb32-49be-46d9-9d69-f51ddf012212" providerId="ADAL" clId="{8B10246B-69A5-4D17-936B-D61369DE417E}" dt="2024-01-25T16:54:34.982" v="814" actId="165"/>
          <ac:grpSpMkLst>
            <pc:docMk/>
            <pc:sldMk cId="1871989762" sldId="2147480297"/>
            <ac:grpSpMk id="61" creationId="{1B394518-BBC7-8F39-B78C-83199E8AAC35}"/>
          </ac:grpSpMkLst>
        </pc:grpChg>
        <pc:grpChg chg="add mod topLvl">
          <ac:chgData name="Julia PONT" userId="6ea7fb32-49be-46d9-9d69-f51ddf012212" providerId="ADAL" clId="{8B10246B-69A5-4D17-936B-D61369DE417E}" dt="2024-01-25T16:54:34.982" v="814" actId="165"/>
          <ac:grpSpMkLst>
            <pc:docMk/>
            <pc:sldMk cId="1871989762" sldId="2147480297"/>
            <ac:grpSpMk id="80" creationId="{EAF6303C-396E-4741-51A2-0C103F4D7C00}"/>
          </ac:grpSpMkLst>
        </pc:grpChg>
        <pc:grpChg chg="add mod topLvl">
          <ac:chgData name="Julia PONT" userId="6ea7fb32-49be-46d9-9d69-f51ddf012212" providerId="ADAL" clId="{8B10246B-69A5-4D17-936B-D61369DE417E}" dt="2024-01-25T16:54:34.982" v="814" actId="165"/>
          <ac:grpSpMkLst>
            <pc:docMk/>
            <pc:sldMk cId="1871989762" sldId="2147480297"/>
            <ac:grpSpMk id="81" creationId="{77D321D5-2BCF-8AB9-9289-59A1368C79DE}"/>
          </ac:grpSpMkLst>
        </pc:grpChg>
        <pc:grpChg chg="add mod topLvl">
          <ac:chgData name="Julia PONT" userId="6ea7fb32-49be-46d9-9d69-f51ddf012212" providerId="ADAL" clId="{8B10246B-69A5-4D17-936B-D61369DE417E}" dt="2024-01-25T16:54:34.982" v="814" actId="165"/>
          <ac:grpSpMkLst>
            <pc:docMk/>
            <pc:sldMk cId="1871989762" sldId="2147480297"/>
            <ac:grpSpMk id="82" creationId="{7E26E359-6EEB-7DF2-A5A6-071C82EAF553}"/>
          </ac:grpSpMkLst>
        </pc:grpChg>
        <pc:grpChg chg="add mod topLvl">
          <ac:chgData name="Julia PONT" userId="6ea7fb32-49be-46d9-9d69-f51ddf012212" providerId="ADAL" clId="{8B10246B-69A5-4D17-936B-D61369DE417E}" dt="2024-01-25T16:54:34.982" v="814" actId="165"/>
          <ac:grpSpMkLst>
            <pc:docMk/>
            <pc:sldMk cId="1871989762" sldId="2147480297"/>
            <ac:grpSpMk id="83" creationId="{C55E83A3-F9E8-0C74-0E90-E2492A6B119F}"/>
          </ac:grpSpMkLst>
        </pc:grpChg>
        <pc:grpChg chg="add mod topLvl">
          <ac:chgData name="Julia PONT" userId="6ea7fb32-49be-46d9-9d69-f51ddf012212" providerId="ADAL" clId="{8B10246B-69A5-4D17-936B-D61369DE417E}" dt="2024-01-25T16:54:34.982" v="814" actId="165"/>
          <ac:grpSpMkLst>
            <pc:docMk/>
            <pc:sldMk cId="1871989762" sldId="2147480297"/>
            <ac:grpSpMk id="84" creationId="{079E93EB-3F81-7419-4D00-7A0C5235941C}"/>
          </ac:grpSpMkLst>
        </pc:grpChg>
        <pc:grpChg chg="add del mod">
          <ac:chgData name="Julia PONT" userId="6ea7fb32-49be-46d9-9d69-f51ddf012212" providerId="ADAL" clId="{8B10246B-69A5-4D17-936B-D61369DE417E}" dt="2024-01-25T16:52:52.547" v="789" actId="165"/>
          <ac:grpSpMkLst>
            <pc:docMk/>
            <pc:sldMk cId="1871989762" sldId="2147480297"/>
            <ac:grpSpMk id="85" creationId="{8D154C78-2D7F-3DD8-3556-B2DF332A74DC}"/>
          </ac:grpSpMkLst>
        </pc:grpChg>
        <pc:grpChg chg="add del mod">
          <ac:chgData name="Julia PONT" userId="6ea7fb32-49be-46d9-9d69-f51ddf012212" providerId="ADAL" clId="{8B10246B-69A5-4D17-936B-D61369DE417E}" dt="2024-01-25T16:54:34.982" v="814" actId="165"/>
          <ac:grpSpMkLst>
            <pc:docMk/>
            <pc:sldMk cId="1871989762" sldId="2147480297"/>
            <ac:grpSpMk id="86" creationId="{DC2CC806-65F8-B1E2-BA9E-BBFC800108D2}"/>
          </ac:grpSpMkLst>
        </pc:grpChg>
        <pc:picChg chg="add mod">
          <ac:chgData name="Julia PONT" userId="6ea7fb32-49be-46d9-9d69-f51ddf012212" providerId="ADAL" clId="{8B10246B-69A5-4D17-936B-D61369DE417E}" dt="2024-01-25T16:47:41.233" v="680" actId="1076"/>
          <ac:picMkLst>
            <pc:docMk/>
            <pc:sldMk cId="1871989762" sldId="2147480297"/>
            <ac:picMk id="45" creationId="{96D13F47-5684-2688-E730-D9B59B099639}"/>
          </ac:picMkLst>
        </pc:picChg>
      </pc:sldChg>
    </pc:docChg>
  </pc:docChgLst>
  <pc:docChgLst>
    <pc:chgData name="Jean-Jacques SCEMAMA" userId="S::jean-jacques.scemama@talan.com::64aa6dc7-44f3-4aeb-9629-39d94f9b55cd" providerId="AD" clId="Web-{E6A6D0C4-4F2A-B7F6-0269-3C0DF7B9B1D9}"/>
    <pc:docChg chg="addSld delSld">
      <pc:chgData name="Jean-Jacques SCEMAMA" userId="S::jean-jacques.scemama@talan.com::64aa6dc7-44f3-4aeb-9629-39d94f9b55cd" providerId="AD" clId="Web-{E6A6D0C4-4F2A-B7F6-0269-3C0DF7B9B1D9}" dt="2024-02-01T08:10:03.470" v="1"/>
      <pc:docMkLst>
        <pc:docMk/>
      </pc:docMkLst>
      <pc:sldChg chg="new del">
        <pc:chgData name="Jean-Jacques SCEMAMA" userId="S::jean-jacques.scemama@talan.com::64aa6dc7-44f3-4aeb-9629-39d94f9b55cd" providerId="AD" clId="Web-{E6A6D0C4-4F2A-B7F6-0269-3C0DF7B9B1D9}" dt="2024-02-01T08:10:03.470" v="1"/>
        <pc:sldMkLst>
          <pc:docMk/>
          <pc:sldMk cId="2159639429" sldId="2147482348"/>
        </pc:sldMkLst>
      </pc:sldChg>
    </pc:docChg>
  </pc:docChgLst>
  <pc:docChgLst>
    <pc:chgData name="Simone NERI" userId="2a00f2ad-68d9-45e6-b604-268bfad9cc5e" providerId="ADAL" clId="{4D2EE563-A228-4C92-B2E5-80E086EF8638}"/>
    <pc:docChg chg="sldOrd">
      <pc:chgData name="Simone NERI" userId="2a00f2ad-68d9-45e6-b604-268bfad9cc5e" providerId="ADAL" clId="{4D2EE563-A228-4C92-B2E5-80E086EF8638}" dt="2024-02-14T10:14:45.595" v="0" actId="20578"/>
      <pc:docMkLst>
        <pc:docMk/>
      </pc:docMkLst>
      <pc:sldChg chg="ord">
        <pc:chgData name="Simone NERI" userId="2a00f2ad-68d9-45e6-b604-268bfad9cc5e" providerId="ADAL" clId="{4D2EE563-A228-4C92-B2E5-80E086EF8638}" dt="2024-02-14T10:14:45.595" v="0" actId="20578"/>
        <pc:sldMkLst>
          <pc:docMk/>
          <pc:sldMk cId="3662488934" sldId="9006"/>
        </pc:sldMkLst>
      </pc:sldChg>
    </pc:docChg>
  </pc:docChgLst>
  <pc:docChgLst>
    <pc:chgData name="Marine GILANTON" userId="c14cc0d5-86c5-4407-b095-31316caebfee" providerId="ADAL" clId="{03BBDCA6-91F8-4C47-8716-603946308880}"/>
    <pc:docChg chg="modSld">
      <pc:chgData name="Marine GILANTON" userId="c14cc0d5-86c5-4407-b095-31316caebfee" providerId="ADAL" clId="{03BBDCA6-91F8-4C47-8716-603946308880}" dt="2024-02-01T12:57:23.216" v="1"/>
      <pc:docMkLst>
        <pc:docMk/>
      </pc:docMkLst>
      <pc:sldChg chg="modSp">
        <pc:chgData name="Marine GILANTON" userId="c14cc0d5-86c5-4407-b095-31316caebfee" providerId="ADAL" clId="{03BBDCA6-91F8-4C47-8716-603946308880}" dt="2024-02-01T12:57:23.216" v="1"/>
        <pc:sldMkLst>
          <pc:docMk/>
          <pc:sldMk cId="2459109621" sldId="2147480303"/>
        </pc:sldMkLst>
        <pc:graphicFrameChg chg="mod">
          <ac:chgData name="Marine GILANTON" userId="c14cc0d5-86c5-4407-b095-31316caebfee" providerId="ADAL" clId="{03BBDCA6-91F8-4C47-8716-603946308880}" dt="2024-02-01T12:57:23.216" v="1"/>
          <ac:graphicFrameMkLst>
            <pc:docMk/>
            <pc:sldMk cId="2459109621" sldId="2147480303"/>
            <ac:graphicFrameMk id="2" creationId="{AFB21283-7D42-88A8-23DE-3E8A40456328}"/>
          </ac:graphicFrameMkLst>
        </pc:graphicFrameChg>
      </pc:sldChg>
    </pc:docChg>
  </pc:docChgLst>
  <pc:docChgLst>
    <pc:chgData name="David CASTELNAU" userId="66a58927-c847-4858-a348-a4848e30932f" providerId="ADAL" clId="{F44B76A6-A5C0-4B08-8BCC-E178E64C4338}"/>
    <pc:docChg chg="undo custSel addSld delSld modSld sldOrd">
      <pc:chgData name="David CASTELNAU" userId="66a58927-c847-4858-a348-a4848e30932f" providerId="ADAL" clId="{F44B76A6-A5C0-4B08-8BCC-E178E64C4338}" dt="2024-02-02T18:28:51.255" v="20418" actId="20577"/>
      <pc:docMkLst>
        <pc:docMk/>
      </pc:docMkLst>
      <pc:sldChg chg="modSp mod">
        <pc:chgData name="David CASTELNAU" userId="66a58927-c847-4858-a348-a4848e30932f" providerId="ADAL" clId="{F44B76A6-A5C0-4B08-8BCC-E178E64C4338}" dt="2024-01-23T09:31:58.803" v="568" actId="20577"/>
        <pc:sldMkLst>
          <pc:docMk/>
          <pc:sldMk cId="0" sldId="257"/>
        </pc:sldMkLst>
        <pc:spChg chg="mod">
          <ac:chgData name="David CASTELNAU" userId="66a58927-c847-4858-a348-a4848e30932f" providerId="ADAL" clId="{F44B76A6-A5C0-4B08-8BCC-E178E64C4338}" dt="2024-01-23T09:31:58.803" v="568" actId="20577"/>
          <ac:spMkLst>
            <pc:docMk/>
            <pc:sldMk cId="0" sldId="257"/>
            <ac:spMk id="2" creationId="{90633EB4-5B7F-471E-9E01-2A30008FFA87}"/>
          </ac:spMkLst>
        </pc:spChg>
        <pc:spChg chg="mod">
          <ac:chgData name="David CASTELNAU" userId="66a58927-c847-4858-a348-a4848e30932f" providerId="ADAL" clId="{F44B76A6-A5C0-4B08-8BCC-E178E64C4338}" dt="2024-01-23T05:50:55.156" v="442" actId="404"/>
          <ac:spMkLst>
            <pc:docMk/>
            <pc:sldMk cId="0" sldId="257"/>
            <ac:spMk id="4" creationId="{8CE7BE52-3F52-4BBA-9510-A74BF5FE88E0}"/>
          </ac:spMkLst>
        </pc:spChg>
      </pc:sldChg>
      <pc:sldChg chg="addSp delSp mod">
        <pc:chgData name="David CASTELNAU" userId="66a58927-c847-4858-a348-a4848e30932f" providerId="ADAL" clId="{F44B76A6-A5C0-4B08-8BCC-E178E64C4338}" dt="2024-02-02T18:25:57.314" v="20344" actId="21"/>
        <pc:sldMkLst>
          <pc:docMk/>
          <pc:sldMk cId="4028295010" sldId="8008"/>
        </pc:sldMkLst>
        <pc:spChg chg="add del">
          <ac:chgData name="David CASTELNAU" userId="66a58927-c847-4858-a348-a4848e30932f" providerId="ADAL" clId="{F44B76A6-A5C0-4B08-8BCC-E178E64C4338}" dt="2024-02-02T18:25:57.314" v="20344" actId="21"/>
          <ac:spMkLst>
            <pc:docMk/>
            <pc:sldMk cId="4028295010" sldId="8008"/>
            <ac:spMk id="3" creationId="{F4147975-D2F0-6566-CE38-95E6DAFE204E}"/>
          </ac:spMkLst>
        </pc:spChg>
      </pc:sldChg>
      <pc:sldChg chg="modSp mod">
        <pc:chgData name="David CASTELNAU" userId="66a58927-c847-4858-a348-a4848e30932f" providerId="ADAL" clId="{F44B76A6-A5C0-4B08-8BCC-E178E64C4338}" dt="2024-01-23T05:51:10.555" v="443" actId="20577"/>
        <pc:sldMkLst>
          <pc:docMk/>
          <pc:sldMk cId="3662488934" sldId="9006"/>
        </pc:sldMkLst>
        <pc:spChg chg="mod">
          <ac:chgData name="David CASTELNAU" userId="66a58927-c847-4858-a348-a4848e30932f" providerId="ADAL" clId="{F44B76A6-A5C0-4B08-8BCC-E178E64C4338}" dt="2024-01-23T05:51:10.555" v="443" actId="20577"/>
          <ac:spMkLst>
            <pc:docMk/>
            <pc:sldMk cId="3662488934" sldId="9006"/>
            <ac:spMk id="52" creationId="{BB71371E-4B29-2877-68D4-7D0ECE8E1FD8}"/>
          </ac:spMkLst>
        </pc:spChg>
      </pc:sldChg>
      <pc:sldChg chg="modSp mod">
        <pc:chgData name="David CASTELNAU" userId="66a58927-c847-4858-a348-a4848e30932f" providerId="ADAL" clId="{F44B76A6-A5C0-4B08-8BCC-E178E64C4338}" dt="2024-02-02T17:59:40.927" v="20331" actId="20577"/>
        <pc:sldMkLst>
          <pc:docMk/>
          <pc:sldMk cId="549485756" sldId="2142532689"/>
        </pc:sldMkLst>
        <pc:spChg chg="mod">
          <ac:chgData name="David CASTELNAU" userId="66a58927-c847-4858-a348-a4848e30932f" providerId="ADAL" clId="{F44B76A6-A5C0-4B08-8BCC-E178E64C4338}" dt="2024-02-02T15:55:29.160" v="19866" actId="20577"/>
          <ac:spMkLst>
            <pc:docMk/>
            <pc:sldMk cId="549485756" sldId="2142532689"/>
            <ac:spMk id="18" creationId="{C8231268-C2B2-BE48-01AF-35E343770CEF}"/>
          </ac:spMkLst>
        </pc:spChg>
        <pc:spChg chg="mod">
          <ac:chgData name="David CASTELNAU" userId="66a58927-c847-4858-a348-a4848e30932f" providerId="ADAL" clId="{F44B76A6-A5C0-4B08-8BCC-E178E64C4338}" dt="2024-02-02T15:54:32.198" v="19831" actId="20577"/>
          <ac:spMkLst>
            <pc:docMk/>
            <pc:sldMk cId="549485756" sldId="2142532689"/>
            <ac:spMk id="25" creationId="{1515E993-6069-6C0D-1BB2-F62EC1A5417F}"/>
          </ac:spMkLst>
        </pc:spChg>
        <pc:spChg chg="mod">
          <ac:chgData name="David CASTELNAU" userId="66a58927-c847-4858-a348-a4848e30932f" providerId="ADAL" clId="{F44B76A6-A5C0-4B08-8BCC-E178E64C4338}" dt="2024-02-02T15:50:01.238" v="19547" actId="20577"/>
          <ac:spMkLst>
            <pc:docMk/>
            <pc:sldMk cId="549485756" sldId="2142532689"/>
            <ac:spMk id="32" creationId="{B3495833-9CC2-ED21-6E68-56E657DD98F8}"/>
          </ac:spMkLst>
        </pc:spChg>
        <pc:spChg chg="mod">
          <ac:chgData name="David CASTELNAU" userId="66a58927-c847-4858-a348-a4848e30932f" providerId="ADAL" clId="{F44B76A6-A5C0-4B08-8BCC-E178E64C4338}" dt="2024-02-02T17:59:40.927" v="20331" actId="20577"/>
          <ac:spMkLst>
            <pc:docMk/>
            <pc:sldMk cId="549485756" sldId="2142532689"/>
            <ac:spMk id="49" creationId="{C478A384-D368-7A42-ADF4-429356523FC5}"/>
          </ac:spMkLst>
        </pc:spChg>
      </pc:sldChg>
      <pc:sldChg chg="addSp delSp modSp del mod">
        <pc:chgData name="David CASTELNAU" userId="66a58927-c847-4858-a348-a4848e30932f" providerId="ADAL" clId="{F44B76A6-A5C0-4B08-8BCC-E178E64C4338}" dt="2024-01-31T22:26:36.272" v="9630" actId="47"/>
        <pc:sldMkLst>
          <pc:docMk/>
          <pc:sldMk cId="1427097841" sldId="2147376857"/>
        </pc:sldMkLst>
        <pc:spChg chg="mod">
          <ac:chgData name="David CASTELNAU" userId="66a58927-c847-4858-a348-a4848e30932f" providerId="ADAL" clId="{F44B76A6-A5C0-4B08-8BCC-E178E64C4338}" dt="2024-01-31T21:52:38.179" v="8612" actId="20577"/>
          <ac:spMkLst>
            <pc:docMk/>
            <pc:sldMk cId="1427097841" sldId="2147376857"/>
            <ac:spMk id="3" creationId="{7F5389EA-2512-4FDD-8211-44C49B89C7EF}"/>
          </ac:spMkLst>
        </pc:spChg>
        <pc:spChg chg="mod">
          <ac:chgData name="David CASTELNAU" userId="66a58927-c847-4858-a348-a4848e30932f" providerId="ADAL" clId="{F44B76A6-A5C0-4B08-8BCC-E178E64C4338}" dt="2024-01-31T21:52:32.126" v="8611" actId="1076"/>
          <ac:spMkLst>
            <pc:docMk/>
            <pc:sldMk cId="1427097841" sldId="2147376857"/>
            <ac:spMk id="15" creationId="{5328F2E9-EC99-DB47-2F8C-D53A3E5402E1}"/>
          </ac:spMkLst>
        </pc:spChg>
        <pc:picChg chg="add del">
          <ac:chgData name="David CASTELNAU" userId="66a58927-c847-4858-a348-a4848e30932f" providerId="ADAL" clId="{F44B76A6-A5C0-4B08-8BCC-E178E64C4338}" dt="2024-01-31T21:52:45.319" v="8614" actId="478"/>
          <ac:picMkLst>
            <pc:docMk/>
            <pc:sldMk cId="1427097841" sldId="2147376857"/>
            <ac:picMk id="4" creationId="{CC5FCEB2-576D-42D3-AE1D-BE40A3575B0D}"/>
          </ac:picMkLst>
        </pc:picChg>
      </pc:sldChg>
      <pc:sldChg chg="addSp delSp modSp add mod ord">
        <pc:chgData name="David CASTELNAU" userId="66a58927-c847-4858-a348-a4848e30932f" providerId="ADAL" clId="{F44B76A6-A5C0-4B08-8BCC-E178E64C4338}" dt="2024-02-02T17:54:36.150" v="20323"/>
        <pc:sldMkLst>
          <pc:docMk/>
          <pc:sldMk cId="1887839909" sldId="2147376928"/>
        </pc:sldMkLst>
        <pc:spChg chg="mod">
          <ac:chgData name="David CASTELNAU" userId="66a58927-c847-4858-a348-a4848e30932f" providerId="ADAL" clId="{F44B76A6-A5C0-4B08-8BCC-E178E64C4338}" dt="2024-02-02T10:36:24.346" v="17367" actId="20577"/>
          <ac:spMkLst>
            <pc:docMk/>
            <pc:sldMk cId="1887839909" sldId="2147376928"/>
            <ac:spMk id="44" creationId="{A701F5D0-898E-4B8E-96FA-99DF84B7AC97}"/>
          </ac:spMkLst>
        </pc:spChg>
        <pc:spChg chg="mod">
          <ac:chgData name="David CASTELNAU" userId="66a58927-c847-4858-a348-a4848e30932f" providerId="ADAL" clId="{F44B76A6-A5C0-4B08-8BCC-E178E64C4338}" dt="2024-02-02T10:34:30.232" v="17332" actId="179"/>
          <ac:spMkLst>
            <pc:docMk/>
            <pc:sldMk cId="1887839909" sldId="2147376928"/>
            <ac:spMk id="48" creationId="{4AAE7969-E7A0-428E-AE4D-0164B5285F9F}"/>
          </ac:spMkLst>
        </pc:spChg>
        <pc:spChg chg="mod">
          <ac:chgData name="David CASTELNAU" userId="66a58927-c847-4858-a348-a4848e30932f" providerId="ADAL" clId="{F44B76A6-A5C0-4B08-8BCC-E178E64C4338}" dt="2024-02-02T10:34:49.325" v="17356" actId="20577"/>
          <ac:spMkLst>
            <pc:docMk/>
            <pc:sldMk cId="1887839909" sldId="2147376928"/>
            <ac:spMk id="58" creationId="{CC294F77-EF3E-483C-97AC-D28A28714E57}"/>
          </ac:spMkLst>
        </pc:spChg>
        <pc:spChg chg="mod">
          <ac:chgData name="David CASTELNAU" userId="66a58927-c847-4858-a348-a4848e30932f" providerId="ADAL" clId="{F44B76A6-A5C0-4B08-8BCC-E178E64C4338}" dt="2024-02-02T09:52:14.982" v="15368" actId="20577"/>
          <ac:spMkLst>
            <pc:docMk/>
            <pc:sldMk cId="1887839909" sldId="2147376928"/>
            <ac:spMk id="60" creationId="{9A2A11B9-781B-4EC2-A55C-5F1502E8DDDE}"/>
          </ac:spMkLst>
        </pc:spChg>
        <pc:spChg chg="mod">
          <ac:chgData name="David CASTELNAU" userId="66a58927-c847-4858-a348-a4848e30932f" providerId="ADAL" clId="{F44B76A6-A5C0-4B08-8BCC-E178E64C4338}" dt="2024-02-02T09:57:27.534" v="15782" actId="20577"/>
          <ac:spMkLst>
            <pc:docMk/>
            <pc:sldMk cId="1887839909" sldId="2147376928"/>
            <ac:spMk id="65" creationId="{2B91D39A-3E18-4164-B79E-1ECE1E6510B2}"/>
          </ac:spMkLst>
        </pc:spChg>
        <pc:graphicFrameChg chg="modGraphic">
          <ac:chgData name="David CASTELNAU" userId="66a58927-c847-4858-a348-a4848e30932f" providerId="ADAL" clId="{F44B76A6-A5C0-4B08-8BCC-E178E64C4338}" dt="2024-02-02T10:37:04.005" v="17384" actId="20577"/>
          <ac:graphicFrameMkLst>
            <pc:docMk/>
            <pc:sldMk cId="1887839909" sldId="2147376928"/>
            <ac:graphicFrameMk id="46" creationId="{9B88C77B-3F72-44A5-BB1B-C0FB3C980FF5}"/>
          </ac:graphicFrameMkLst>
        </pc:graphicFrameChg>
        <pc:graphicFrameChg chg="mod modGraphic">
          <ac:chgData name="David CASTELNAU" userId="66a58927-c847-4858-a348-a4848e30932f" providerId="ADAL" clId="{F44B76A6-A5C0-4B08-8BCC-E178E64C4338}" dt="2024-02-02T10:34:03.075" v="17331" actId="6549"/>
          <ac:graphicFrameMkLst>
            <pc:docMk/>
            <pc:sldMk cId="1887839909" sldId="2147376928"/>
            <ac:graphicFrameMk id="50" creationId="{91EF391E-FD98-4C57-B3FC-704AE319DA44}"/>
          </ac:graphicFrameMkLst>
        </pc:graphicFrameChg>
        <pc:picChg chg="del">
          <ac:chgData name="David CASTELNAU" userId="66a58927-c847-4858-a348-a4848e30932f" providerId="ADAL" clId="{F44B76A6-A5C0-4B08-8BCC-E178E64C4338}" dt="2024-02-02T09:58:56.438" v="15796" actId="21"/>
          <ac:picMkLst>
            <pc:docMk/>
            <pc:sldMk cId="1887839909" sldId="2147376928"/>
            <ac:picMk id="2" creationId="{B8E73212-49A5-F32D-6F6C-A921BAAD7F56}"/>
          </ac:picMkLst>
        </pc:picChg>
        <pc:picChg chg="add mod">
          <ac:chgData name="David CASTELNAU" userId="66a58927-c847-4858-a348-a4848e30932f" providerId="ADAL" clId="{F44B76A6-A5C0-4B08-8BCC-E178E64C4338}" dt="2024-02-02T10:05:23.830" v="16031" actId="1035"/>
          <ac:picMkLst>
            <pc:docMk/>
            <pc:sldMk cId="1887839909" sldId="2147376928"/>
            <ac:picMk id="3" creationId="{71322547-EA8C-1BC2-1736-6889A250E7C4}"/>
          </ac:picMkLst>
        </pc:picChg>
        <pc:picChg chg="mod">
          <ac:chgData name="David CASTELNAU" userId="66a58927-c847-4858-a348-a4848e30932f" providerId="ADAL" clId="{F44B76A6-A5C0-4B08-8BCC-E178E64C4338}" dt="2024-02-02T10:23:40.048" v="16479" actId="1035"/>
          <ac:picMkLst>
            <pc:docMk/>
            <pc:sldMk cId="1887839909" sldId="2147376928"/>
            <ac:picMk id="5" creationId="{824F8E82-2ABB-57C6-7BFF-4E85BE8CDAC0}"/>
          </ac:picMkLst>
        </pc:picChg>
        <pc:picChg chg="del mod">
          <ac:chgData name="David CASTELNAU" userId="66a58927-c847-4858-a348-a4848e30932f" providerId="ADAL" clId="{F44B76A6-A5C0-4B08-8BCC-E178E64C4338}" dt="2024-02-02T10:12:55.834" v="16243" actId="478"/>
          <ac:picMkLst>
            <pc:docMk/>
            <pc:sldMk cId="1887839909" sldId="2147376928"/>
            <ac:picMk id="6" creationId="{F76A855B-A26A-C019-80AA-399DE2BA4F33}"/>
          </ac:picMkLst>
        </pc:picChg>
        <pc:picChg chg="mod">
          <ac:chgData name="David CASTELNAU" userId="66a58927-c847-4858-a348-a4848e30932f" providerId="ADAL" clId="{F44B76A6-A5C0-4B08-8BCC-E178E64C4338}" dt="2024-02-02T10:23:53.792" v="16484" actId="1037"/>
          <ac:picMkLst>
            <pc:docMk/>
            <pc:sldMk cId="1887839909" sldId="2147376928"/>
            <ac:picMk id="7" creationId="{BEAAF1E0-9847-119D-D43A-5770E30B0E24}"/>
          </ac:picMkLst>
        </pc:picChg>
        <pc:picChg chg="mod">
          <ac:chgData name="David CASTELNAU" userId="66a58927-c847-4858-a348-a4848e30932f" providerId="ADAL" clId="{F44B76A6-A5C0-4B08-8BCC-E178E64C4338}" dt="2024-02-02T10:02:50.941" v="15932" actId="1036"/>
          <ac:picMkLst>
            <pc:docMk/>
            <pc:sldMk cId="1887839909" sldId="2147376928"/>
            <ac:picMk id="8" creationId="{50153171-743B-56FE-10B2-0143CA41A8F4}"/>
          </ac:picMkLst>
        </pc:picChg>
        <pc:picChg chg="add mod">
          <ac:chgData name="David CASTELNAU" userId="66a58927-c847-4858-a348-a4848e30932f" providerId="ADAL" clId="{F44B76A6-A5C0-4B08-8BCC-E178E64C4338}" dt="2024-02-02T10:32:21.537" v="17231" actId="1076"/>
          <ac:picMkLst>
            <pc:docMk/>
            <pc:sldMk cId="1887839909" sldId="2147376928"/>
            <ac:picMk id="11" creationId="{5C520D6E-F721-388F-6045-F468042BACDC}"/>
          </ac:picMkLst>
        </pc:picChg>
        <pc:picChg chg="mod">
          <ac:chgData name="David CASTELNAU" userId="66a58927-c847-4858-a348-a4848e30932f" providerId="ADAL" clId="{F44B76A6-A5C0-4B08-8BCC-E178E64C4338}" dt="2024-02-02T10:23:53.792" v="16484" actId="1037"/>
          <ac:picMkLst>
            <pc:docMk/>
            <pc:sldMk cId="1887839909" sldId="2147376928"/>
            <ac:picMk id="28" creationId="{ED7251EB-C0BD-47D9-AD05-811864C3E02B}"/>
          </ac:picMkLst>
        </pc:picChg>
        <pc:picChg chg="mod">
          <ac:chgData name="David CASTELNAU" userId="66a58927-c847-4858-a348-a4848e30932f" providerId="ADAL" clId="{F44B76A6-A5C0-4B08-8BCC-E178E64C4338}" dt="2024-02-02T10:23:53.792" v="16484" actId="1037"/>
          <ac:picMkLst>
            <pc:docMk/>
            <pc:sldMk cId="1887839909" sldId="2147376928"/>
            <ac:picMk id="52" creationId="{3B2E1E39-0BEB-4F4B-B158-696404842B3B}"/>
          </ac:picMkLst>
        </pc:picChg>
      </pc:sldChg>
      <pc:sldChg chg="addSp delSp modSp add mod">
        <pc:chgData name="David CASTELNAU" userId="66a58927-c847-4858-a348-a4848e30932f" providerId="ADAL" clId="{F44B76A6-A5C0-4B08-8BCC-E178E64C4338}" dt="2024-02-02T10:36:35.467" v="17372" actId="20577"/>
        <pc:sldMkLst>
          <pc:docMk/>
          <pc:sldMk cId="1636239246" sldId="2147376929"/>
        </pc:sldMkLst>
        <pc:spChg chg="mod">
          <ac:chgData name="David CASTELNAU" userId="66a58927-c847-4858-a348-a4848e30932f" providerId="ADAL" clId="{F44B76A6-A5C0-4B08-8BCC-E178E64C4338}" dt="2024-02-02T10:36:35.467" v="17372" actId="20577"/>
          <ac:spMkLst>
            <pc:docMk/>
            <pc:sldMk cId="1636239246" sldId="2147376929"/>
            <ac:spMk id="44" creationId="{A701F5D0-898E-4B8E-96FA-99DF84B7AC97}"/>
          </ac:spMkLst>
        </pc:spChg>
        <pc:graphicFrameChg chg="mod modGraphic">
          <ac:chgData name="David CASTELNAU" userId="66a58927-c847-4858-a348-a4848e30932f" providerId="ADAL" clId="{F44B76A6-A5C0-4B08-8BCC-E178E64C4338}" dt="2024-02-02T10:12:43.327" v="16242" actId="120"/>
          <ac:graphicFrameMkLst>
            <pc:docMk/>
            <pc:sldMk cId="1636239246" sldId="2147376929"/>
            <ac:graphicFrameMk id="50" creationId="{91EF391E-FD98-4C57-B3FC-704AE319DA44}"/>
          </ac:graphicFrameMkLst>
        </pc:graphicFrameChg>
        <pc:picChg chg="add mod">
          <ac:chgData name="David CASTELNAU" userId="66a58927-c847-4858-a348-a4848e30932f" providerId="ADAL" clId="{F44B76A6-A5C0-4B08-8BCC-E178E64C4338}" dt="2024-02-02T10:08:40.952" v="16131" actId="1035"/>
          <ac:picMkLst>
            <pc:docMk/>
            <pc:sldMk cId="1636239246" sldId="2147376929"/>
            <ac:picMk id="2" creationId="{B8E73212-49A5-F32D-6F6C-A921BAAD7F56}"/>
          </ac:picMkLst>
        </pc:picChg>
        <pc:picChg chg="mod">
          <ac:chgData name="David CASTELNAU" userId="66a58927-c847-4858-a348-a4848e30932f" providerId="ADAL" clId="{F44B76A6-A5C0-4B08-8BCC-E178E64C4338}" dt="2024-02-02T10:12:30.318" v="16219" actId="1035"/>
          <ac:picMkLst>
            <pc:docMk/>
            <pc:sldMk cId="1636239246" sldId="2147376929"/>
            <ac:picMk id="4" creationId="{5C9124B5-CAE6-B3B5-EE3F-8166AEC1D03C}"/>
          </ac:picMkLst>
        </pc:picChg>
        <pc:picChg chg="mod">
          <ac:chgData name="David CASTELNAU" userId="66a58927-c847-4858-a348-a4848e30932f" providerId="ADAL" clId="{F44B76A6-A5C0-4B08-8BCC-E178E64C4338}" dt="2024-02-02T10:08:46.050" v="16149" actId="1035"/>
          <ac:picMkLst>
            <pc:docMk/>
            <pc:sldMk cId="1636239246" sldId="2147376929"/>
            <ac:picMk id="5" creationId="{D416AB16-5F59-0314-691C-4D361CCA8EC0}"/>
          </ac:picMkLst>
        </pc:picChg>
        <pc:picChg chg="mod">
          <ac:chgData name="David CASTELNAU" userId="66a58927-c847-4858-a348-a4848e30932f" providerId="ADAL" clId="{F44B76A6-A5C0-4B08-8BCC-E178E64C4338}" dt="2024-02-02T10:08:40.952" v="16131" actId="1035"/>
          <ac:picMkLst>
            <pc:docMk/>
            <pc:sldMk cId="1636239246" sldId="2147376929"/>
            <ac:picMk id="6" creationId="{7850B839-DE89-70CA-4BF4-FB3B2C5FE39A}"/>
          </ac:picMkLst>
        </pc:picChg>
        <pc:picChg chg="mod">
          <ac:chgData name="David CASTELNAU" userId="66a58927-c847-4858-a348-a4848e30932f" providerId="ADAL" clId="{F44B76A6-A5C0-4B08-8BCC-E178E64C4338}" dt="2024-02-02T10:12:30.318" v="16219" actId="1035"/>
          <ac:picMkLst>
            <pc:docMk/>
            <pc:sldMk cId="1636239246" sldId="2147376929"/>
            <ac:picMk id="7" creationId="{3EC1CDEB-37E3-EAF0-E7B0-EABC2BD99E06}"/>
          </ac:picMkLst>
        </pc:picChg>
        <pc:picChg chg="del">
          <ac:chgData name="David CASTELNAU" userId="66a58927-c847-4858-a348-a4848e30932f" providerId="ADAL" clId="{F44B76A6-A5C0-4B08-8BCC-E178E64C4338}" dt="2024-02-02T09:57:54.483" v="15787" actId="478"/>
          <ac:picMkLst>
            <pc:docMk/>
            <pc:sldMk cId="1636239246" sldId="2147376929"/>
            <ac:picMk id="8" creationId="{3A9443F3-C993-FCCF-EC80-3D988B19999C}"/>
          </ac:picMkLst>
        </pc:picChg>
        <pc:picChg chg="mod">
          <ac:chgData name="David CASTELNAU" userId="66a58927-c847-4858-a348-a4848e30932f" providerId="ADAL" clId="{F44B76A6-A5C0-4B08-8BCC-E178E64C4338}" dt="2024-02-02T10:08:40.952" v="16131" actId="1035"/>
          <ac:picMkLst>
            <pc:docMk/>
            <pc:sldMk cId="1636239246" sldId="2147376929"/>
            <ac:picMk id="10" creationId="{9E091571-4716-C349-797E-AC285B66B36E}"/>
          </ac:picMkLst>
        </pc:picChg>
        <pc:picChg chg="mod">
          <ac:chgData name="David CASTELNAU" userId="66a58927-c847-4858-a348-a4848e30932f" providerId="ADAL" clId="{F44B76A6-A5C0-4B08-8BCC-E178E64C4338}" dt="2024-02-02T10:08:40.952" v="16131" actId="1035"/>
          <ac:picMkLst>
            <pc:docMk/>
            <pc:sldMk cId="1636239246" sldId="2147376929"/>
            <ac:picMk id="18" creationId="{5B0B32E6-68E7-7EE7-D6E9-84806E92AE9C}"/>
          </ac:picMkLst>
        </pc:picChg>
        <pc:picChg chg="mod">
          <ac:chgData name="David CASTELNAU" userId="66a58927-c847-4858-a348-a4848e30932f" providerId="ADAL" clId="{F44B76A6-A5C0-4B08-8BCC-E178E64C4338}" dt="2024-02-02T10:12:36.201" v="16237" actId="1035"/>
          <ac:picMkLst>
            <pc:docMk/>
            <pc:sldMk cId="1636239246" sldId="2147376929"/>
            <ac:picMk id="27" creationId="{DC447A9A-C36A-4569-9147-989E205C34FD}"/>
          </ac:picMkLst>
        </pc:picChg>
        <pc:picChg chg="mod">
          <ac:chgData name="David CASTELNAU" userId="66a58927-c847-4858-a348-a4848e30932f" providerId="ADAL" clId="{F44B76A6-A5C0-4B08-8BCC-E178E64C4338}" dt="2024-02-02T10:12:33.595" v="16228" actId="1035"/>
          <ac:picMkLst>
            <pc:docMk/>
            <pc:sldMk cId="1636239246" sldId="2147376929"/>
            <ac:picMk id="28" creationId="{ED7251EB-C0BD-47D9-AD05-811864C3E02B}"/>
          </ac:picMkLst>
        </pc:picChg>
        <pc:picChg chg="mod">
          <ac:chgData name="David CASTELNAU" userId="66a58927-c847-4858-a348-a4848e30932f" providerId="ADAL" clId="{F44B76A6-A5C0-4B08-8BCC-E178E64C4338}" dt="2024-02-02T10:12:33.595" v="16228" actId="1035"/>
          <ac:picMkLst>
            <pc:docMk/>
            <pc:sldMk cId="1636239246" sldId="2147376929"/>
            <ac:picMk id="29" creationId="{0154B94E-4C4D-466D-9E78-AAE1FA91E9C0}"/>
          </ac:picMkLst>
        </pc:picChg>
        <pc:picChg chg="mod">
          <ac:chgData name="David CASTELNAU" userId="66a58927-c847-4858-a348-a4848e30932f" providerId="ADAL" clId="{F44B76A6-A5C0-4B08-8BCC-E178E64C4338}" dt="2024-02-02T10:12:36.201" v="16237" actId="1035"/>
          <ac:picMkLst>
            <pc:docMk/>
            <pc:sldMk cId="1636239246" sldId="2147376929"/>
            <ac:picMk id="30" creationId="{C780B4F2-8A37-402F-9B0E-FCFA556E0A03}"/>
          </ac:picMkLst>
        </pc:picChg>
        <pc:picChg chg="mod">
          <ac:chgData name="David CASTELNAU" userId="66a58927-c847-4858-a348-a4848e30932f" providerId="ADAL" clId="{F44B76A6-A5C0-4B08-8BCC-E178E64C4338}" dt="2024-02-02T10:12:39.736" v="16241" actId="1036"/>
          <ac:picMkLst>
            <pc:docMk/>
            <pc:sldMk cId="1636239246" sldId="2147376929"/>
            <ac:picMk id="51" creationId="{732C610B-9A79-424F-849A-1CAE10C0D73F}"/>
          </ac:picMkLst>
        </pc:picChg>
        <pc:picChg chg="mod">
          <ac:chgData name="David CASTELNAU" userId="66a58927-c847-4858-a348-a4848e30932f" providerId="ADAL" clId="{F44B76A6-A5C0-4B08-8BCC-E178E64C4338}" dt="2024-02-02T10:12:39.736" v="16241" actId="1036"/>
          <ac:picMkLst>
            <pc:docMk/>
            <pc:sldMk cId="1636239246" sldId="2147376929"/>
            <ac:picMk id="52" creationId="{3B2E1E39-0BEB-4F4B-B158-696404842B3B}"/>
          </ac:picMkLst>
        </pc:picChg>
      </pc:sldChg>
      <pc:sldChg chg="addSp delSp modSp add mod">
        <pc:chgData name="David CASTELNAU" userId="66a58927-c847-4858-a348-a4848e30932f" providerId="ADAL" clId="{F44B76A6-A5C0-4B08-8BCC-E178E64C4338}" dt="2024-01-31T14:42:49.195" v="7865" actId="164"/>
        <pc:sldMkLst>
          <pc:docMk/>
          <pc:sldMk cId="212100458" sldId="2147376937"/>
        </pc:sldMkLst>
        <pc:spChg chg="mod">
          <ac:chgData name="David CASTELNAU" userId="66a58927-c847-4858-a348-a4848e30932f" providerId="ADAL" clId="{F44B76A6-A5C0-4B08-8BCC-E178E64C4338}" dt="2024-01-31T11:13:57.592" v="6702" actId="20577"/>
          <ac:spMkLst>
            <pc:docMk/>
            <pc:sldMk cId="212100458" sldId="2147376937"/>
            <ac:spMk id="3" creationId="{42DA54D8-BD8E-C42B-629D-8F6685218EA8}"/>
          </ac:spMkLst>
        </pc:spChg>
        <pc:spChg chg="del">
          <ac:chgData name="David CASTELNAU" userId="66a58927-c847-4858-a348-a4848e30932f" providerId="ADAL" clId="{F44B76A6-A5C0-4B08-8BCC-E178E64C4338}" dt="2024-01-31T14:30:57.920" v="7697" actId="478"/>
          <ac:spMkLst>
            <pc:docMk/>
            <pc:sldMk cId="212100458" sldId="2147376937"/>
            <ac:spMk id="4" creationId="{89032E68-CC78-9D7D-69C4-0456D272FEF2}"/>
          </ac:spMkLst>
        </pc:spChg>
        <pc:spChg chg="add mod">
          <ac:chgData name="David CASTELNAU" userId="66a58927-c847-4858-a348-a4848e30932f" providerId="ADAL" clId="{F44B76A6-A5C0-4B08-8BCC-E178E64C4338}" dt="2024-01-31T14:33:58.331" v="7726" actId="1035"/>
          <ac:spMkLst>
            <pc:docMk/>
            <pc:sldMk cId="212100458" sldId="2147376937"/>
            <ac:spMk id="11" creationId="{3A34B5B6-79AD-B6E0-8FA7-0C20F47D79D3}"/>
          </ac:spMkLst>
        </pc:spChg>
        <pc:spChg chg="add mod">
          <ac:chgData name="David CASTELNAU" userId="66a58927-c847-4858-a348-a4848e30932f" providerId="ADAL" clId="{F44B76A6-A5C0-4B08-8BCC-E178E64C4338}" dt="2024-01-31T14:34:03.680" v="7735" actId="1035"/>
          <ac:spMkLst>
            <pc:docMk/>
            <pc:sldMk cId="212100458" sldId="2147376937"/>
            <ac:spMk id="12" creationId="{A83C8ABF-DDD7-697A-2199-AFA13CEA9AE8}"/>
          </ac:spMkLst>
        </pc:spChg>
        <pc:spChg chg="mod">
          <ac:chgData name="David CASTELNAU" userId="66a58927-c847-4858-a348-a4848e30932f" providerId="ADAL" clId="{F44B76A6-A5C0-4B08-8BCC-E178E64C4338}" dt="2024-01-31T09:29:37.868" v="6255" actId="20577"/>
          <ac:spMkLst>
            <pc:docMk/>
            <pc:sldMk cId="212100458" sldId="2147376937"/>
            <ac:spMk id="61" creationId="{BAFE1263-F1D6-235F-5041-3D98880E1116}"/>
          </ac:spMkLst>
        </pc:spChg>
        <pc:spChg chg="mod">
          <ac:chgData name="David CASTELNAU" userId="66a58927-c847-4858-a348-a4848e30932f" providerId="ADAL" clId="{F44B76A6-A5C0-4B08-8BCC-E178E64C4338}" dt="2024-01-31T09:14:12.720" v="5318" actId="1036"/>
          <ac:spMkLst>
            <pc:docMk/>
            <pc:sldMk cId="212100458" sldId="2147376937"/>
            <ac:spMk id="147459" creationId="{30626864-3501-6CF6-A8F4-E2F1014AD7B4}"/>
          </ac:spMkLst>
        </pc:spChg>
        <pc:spChg chg="mod">
          <ac:chgData name="David CASTELNAU" userId="66a58927-c847-4858-a348-a4848e30932f" providerId="ADAL" clId="{F44B76A6-A5C0-4B08-8BCC-E178E64C4338}" dt="2024-01-31T14:35:51.340" v="7814" actId="164"/>
          <ac:spMkLst>
            <pc:docMk/>
            <pc:sldMk cId="212100458" sldId="2147376937"/>
            <ac:spMk id="147540" creationId="{E58E55E3-C1A7-FD26-FE0C-A8EEFD9C14BE}"/>
          </ac:spMkLst>
        </pc:spChg>
        <pc:spChg chg="mod">
          <ac:chgData name="David CASTELNAU" userId="66a58927-c847-4858-a348-a4848e30932f" providerId="ADAL" clId="{F44B76A6-A5C0-4B08-8BCC-E178E64C4338}" dt="2024-01-31T14:36:06.905" v="7815" actId="164"/>
          <ac:spMkLst>
            <pc:docMk/>
            <pc:sldMk cId="212100458" sldId="2147376937"/>
            <ac:spMk id="147541" creationId="{592BA6DC-F9F0-7386-A755-2A44C0355710}"/>
          </ac:spMkLst>
        </pc:spChg>
        <pc:spChg chg="mod">
          <ac:chgData name="David CASTELNAU" userId="66a58927-c847-4858-a348-a4848e30932f" providerId="ADAL" clId="{F44B76A6-A5C0-4B08-8BCC-E178E64C4338}" dt="2024-01-31T14:36:16.606" v="7818" actId="164"/>
          <ac:spMkLst>
            <pc:docMk/>
            <pc:sldMk cId="212100458" sldId="2147376937"/>
            <ac:spMk id="147547" creationId="{A3200E5C-81B7-3077-DB01-17C86535DC19}"/>
          </ac:spMkLst>
        </pc:spChg>
        <pc:spChg chg="mod">
          <ac:chgData name="David CASTELNAU" userId="66a58927-c847-4858-a348-a4848e30932f" providerId="ADAL" clId="{F44B76A6-A5C0-4B08-8BCC-E178E64C4338}" dt="2024-01-31T14:36:16.606" v="7818" actId="164"/>
          <ac:spMkLst>
            <pc:docMk/>
            <pc:sldMk cId="212100458" sldId="2147376937"/>
            <ac:spMk id="147548" creationId="{3F1F1B5D-3DFF-482D-A234-DA98BC7273C5}"/>
          </ac:spMkLst>
        </pc:spChg>
        <pc:spChg chg="mod ord">
          <ac:chgData name="David CASTELNAU" userId="66a58927-c847-4858-a348-a4848e30932f" providerId="ADAL" clId="{F44B76A6-A5C0-4B08-8BCC-E178E64C4338}" dt="2024-01-31T14:42:49.195" v="7865" actId="164"/>
          <ac:spMkLst>
            <pc:docMk/>
            <pc:sldMk cId="212100458" sldId="2147376937"/>
            <ac:spMk id="147553" creationId="{B3E39BD3-E7B9-17B6-E759-01503F024DB5}"/>
          </ac:spMkLst>
        </pc:spChg>
        <pc:spChg chg="mod ord">
          <ac:chgData name="David CASTELNAU" userId="66a58927-c847-4858-a348-a4848e30932f" providerId="ADAL" clId="{F44B76A6-A5C0-4B08-8BCC-E178E64C4338}" dt="2024-01-31T14:42:49.195" v="7865" actId="164"/>
          <ac:spMkLst>
            <pc:docMk/>
            <pc:sldMk cId="212100458" sldId="2147376937"/>
            <ac:spMk id="147554" creationId="{D602B80C-43F6-BD1B-BD22-34578939365B}"/>
          </ac:spMkLst>
        </pc:spChg>
        <pc:spChg chg="mod">
          <ac:chgData name="David CASTELNAU" userId="66a58927-c847-4858-a348-a4848e30932f" providerId="ADAL" clId="{F44B76A6-A5C0-4B08-8BCC-E178E64C4338}" dt="2024-01-31T09:30:03.552" v="6269" actId="20577"/>
          <ac:spMkLst>
            <pc:docMk/>
            <pc:sldMk cId="212100458" sldId="2147376937"/>
            <ac:spMk id="147562" creationId="{C82C3D6D-A135-A75D-8FFC-B52764058278}"/>
          </ac:spMkLst>
        </pc:spChg>
        <pc:spChg chg="mod">
          <ac:chgData name="David CASTELNAU" userId="66a58927-c847-4858-a348-a4848e30932f" providerId="ADAL" clId="{F44B76A6-A5C0-4B08-8BCC-E178E64C4338}" dt="2024-01-31T09:14:12.720" v="5318" actId="1036"/>
          <ac:spMkLst>
            <pc:docMk/>
            <pc:sldMk cId="212100458" sldId="2147376937"/>
            <ac:spMk id="147563" creationId="{1F3FAAD1-DCA4-243A-1A1F-D29060B909C5}"/>
          </ac:spMkLst>
        </pc:spChg>
        <pc:spChg chg="mod">
          <ac:chgData name="David CASTELNAU" userId="66a58927-c847-4858-a348-a4848e30932f" providerId="ADAL" clId="{F44B76A6-A5C0-4B08-8BCC-E178E64C4338}" dt="2024-01-31T14:35:51.340" v="7814" actId="164"/>
          <ac:spMkLst>
            <pc:docMk/>
            <pc:sldMk cId="212100458" sldId="2147376937"/>
            <ac:spMk id="147564" creationId="{F71C50DF-0079-5E2C-DD1C-BC888E76587E}"/>
          </ac:spMkLst>
        </pc:spChg>
        <pc:spChg chg="mod">
          <ac:chgData name="David CASTELNAU" userId="66a58927-c847-4858-a348-a4848e30932f" providerId="ADAL" clId="{F44B76A6-A5C0-4B08-8BCC-E178E64C4338}" dt="2024-01-31T14:36:16.606" v="7818" actId="164"/>
          <ac:spMkLst>
            <pc:docMk/>
            <pc:sldMk cId="212100458" sldId="2147376937"/>
            <ac:spMk id="147565" creationId="{21D43843-204F-6568-0C84-B7A61A840B5F}"/>
          </ac:spMkLst>
        </pc:spChg>
        <pc:spChg chg="mod">
          <ac:chgData name="David CASTELNAU" userId="66a58927-c847-4858-a348-a4848e30932f" providerId="ADAL" clId="{F44B76A6-A5C0-4B08-8BCC-E178E64C4338}" dt="2024-01-31T14:42:49.195" v="7865" actId="164"/>
          <ac:spMkLst>
            <pc:docMk/>
            <pc:sldMk cId="212100458" sldId="2147376937"/>
            <ac:spMk id="147566" creationId="{3F90F432-3BF0-77BE-2F7A-8484744BD460}"/>
          </ac:spMkLst>
        </pc:spChg>
        <pc:spChg chg="mod">
          <ac:chgData name="David CASTELNAU" userId="66a58927-c847-4858-a348-a4848e30932f" providerId="ADAL" clId="{F44B76A6-A5C0-4B08-8BCC-E178E64C4338}" dt="2024-01-31T09:15:09.104" v="5382" actId="20577"/>
          <ac:spMkLst>
            <pc:docMk/>
            <pc:sldMk cId="212100458" sldId="2147376937"/>
            <ac:spMk id="147567" creationId="{71F8496D-D229-AAC9-A3F1-14A064A8D8F4}"/>
          </ac:spMkLst>
        </pc:spChg>
        <pc:spChg chg="mod">
          <ac:chgData name="David CASTELNAU" userId="66a58927-c847-4858-a348-a4848e30932f" providerId="ADAL" clId="{F44B76A6-A5C0-4B08-8BCC-E178E64C4338}" dt="2024-01-31T09:15:12.600" v="5394" actId="1036"/>
          <ac:spMkLst>
            <pc:docMk/>
            <pc:sldMk cId="212100458" sldId="2147376937"/>
            <ac:spMk id="147568" creationId="{661FE3E9-347E-6FB0-5339-E457C54BB9B7}"/>
          </ac:spMkLst>
        </pc:spChg>
        <pc:spChg chg="mod">
          <ac:chgData name="David CASTELNAU" userId="66a58927-c847-4858-a348-a4848e30932f" providerId="ADAL" clId="{F44B76A6-A5C0-4B08-8BCC-E178E64C4338}" dt="2024-01-31T14:36:25.607" v="7819" actId="164"/>
          <ac:spMkLst>
            <pc:docMk/>
            <pc:sldMk cId="212100458" sldId="2147376937"/>
            <ac:spMk id="147574" creationId="{43103BF9-E177-F0FD-5794-834D72762F3A}"/>
          </ac:spMkLst>
        </pc:spChg>
        <pc:grpChg chg="add mod">
          <ac:chgData name="David CASTELNAU" userId="66a58927-c847-4858-a348-a4848e30932f" providerId="ADAL" clId="{F44B76A6-A5C0-4B08-8BCC-E178E64C4338}" dt="2024-01-31T14:36:06.905" v="7815" actId="164"/>
          <ac:grpSpMkLst>
            <pc:docMk/>
            <pc:sldMk cId="212100458" sldId="2147376937"/>
            <ac:grpSpMk id="4" creationId="{19B36A26-2206-0EC1-9726-07A22EA559A0}"/>
          </ac:grpSpMkLst>
        </pc:grpChg>
        <pc:grpChg chg="add mod">
          <ac:chgData name="David CASTELNAU" userId="66a58927-c847-4858-a348-a4848e30932f" providerId="ADAL" clId="{F44B76A6-A5C0-4B08-8BCC-E178E64C4338}" dt="2024-01-31T14:36:08.088" v="7817" actId="1037"/>
          <ac:grpSpMkLst>
            <pc:docMk/>
            <pc:sldMk cId="212100458" sldId="2147376937"/>
            <ac:grpSpMk id="9" creationId="{2EA4C5E7-D1CB-38D3-B312-D865137B3C83}"/>
          </ac:grpSpMkLst>
        </pc:grpChg>
        <pc:grpChg chg="add mod">
          <ac:chgData name="David CASTELNAU" userId="66a58927-c847-4858-a348-a4848e30932f" providerId="ADAL" clId="{F44B76A6-A5C0-4B08-8BCC-E178E64C4338}" dt="2024-01-31T14:36:16.606" v="7818" actId="164"/>
          <ac:grpSpMkLst>
            <pc:docMk/>
            <pc:sldMk cId="212100458" sldId="2147376937"/>
            <ac:grpSpMk id="13" creationId="{991AC134-9E24-D9EE-9E41-B8B28296CAAD}"/>
          </ac:grpSpMkLst>
        </pc:grpChg>
        <pc:grpChg chg="add mod">
          <ac:chgData name="David CASTELNAU" userId="66a58927-c847-4858-a348-a4848e30932f" providerId="ADAL" clId="{F44B76A6-A5C0-4B08-8BCC-E178E64C4338}" dt="2024-01-31T14:36:25.607" v="7819" actId="164"/>
          <ac:grpSpMkLst>
            <pc:docMk/>
            <pc:sldMk cId="212100458" sldId="2147376937"/>
            <ac:grpSpMk id="15" creationId="{B1DAFB44-1507-EB2F-368B-6EB754736692}"/>
          </ac:grpSpMkLst>
        </pc:grpChg>
        <pc:grpChg chg="add mod">
          <ac:chgData name="David CASTELNAU" userId="66a58927-c847-4858-a348-a4848e30932f" providerId="ADAL" clId="{F44B76A6-A5C0-4B08-8BCC-E178E64C4338}" dt="2024-01-31T14:42:49.195" v="7865" actId="164"/>
          <ac:grpSpMkLst>
            <pc:docMk/>
            <pc:sldMk cId="212100458" sldId="2147376937"/>
            <ac:grpSpMk id="16" creationId="{F4447484-E2A0-ACEE-28C7-614EB73EDC5D}"/>
          </ac:grpSpMkLst>
        </pc:grpChg>
        <pc:picChg chg="add mod">
          <ac:chgData name="David CASTELNAU" userId="66a58927-c847-4858-a348-a4848e30932f" providerId="ADAL" clId="{F44B76A6-A5C0-4B08-8BCC-E178E64C4338}" dt="2024-01-31T14:36:25.607" v="7819" actId="164"/>
          <ac:picMkLst>
            <pc:docMk/>
            <pc:sldMk cId="212100458" sldId="2147376937"/>
            <ac:picMk id="5" creationId="{BF2C2483-0F64-8D54-3096-C0202507FE4E}"/>
          </ac:picMkLst>
        </pc:picChg>
        <pc:picChg chg="add mod">
          <ac:chgData name="David CASTELNAU" userId="66a58927-c847-4858-a348-a4848e30932f" providerId="ADAL" clId="{F44B76A6-A5C0-4B08-8BCC-E178E64C4338}" dt="2024-01-31T14:36:16.606" v="7818" actId="164"/>
          <ac:picMkLst>
            <pc:docMk/>
            <pc:sldMk cId="212100458" sldId="2147376937"/>
            <ac:picMk id="6" creationId="{90F4EE91-EB82-2E1F-A7F0-64A01724D1B8}"/>
          </ac:picMkLst>
        </pc:picChg>
        <pc:picChg chg="add mod">
          <ac:chgData name="David CASTELNAU" userId="66a58927-c847-4858-a348-a4848e30932f" providerId="ADAL" clId="{F44B76A6-A5C0-4B08-8BCC-E178E64C4338}" dt="2024-01-31T14:42:49.195" v="7865" actId="164"/>
          <ac:picMkLst>
            <pc:docMk/>
            <pc:sldMk cId="212100458" sldId="2147376937"/>
            <ac:picMk id="8" creationId="{3747CEAF-1D5E-3435-542F-5067DFDC08DD}"/>
          </ac:picMkLst>
        </pc:picChg>
        <pc:picChg chg="add mod">
          <ac:chgData name="David CASTELNAU" userId="66a58927-c847-4858-a348-a4848e30932f" providerId="ADAL" clId="{F44B76A6-A5C0-4B08-8BCC-E178E64C4338}" dt="2024-01-31T14:35:51.340" v="7814" actId="164"/>
          <ac:picMkLst>
            <pc:docMk/>
            <pc:sldMk cId="212100458" sldId="2147376937"/>
            <ac:picMk id="10" creationId="{AA5C4BAA-DF0D-6B30-60A9-1F711F36D081}"/>
          </ac:picMkLst>
        </pc:picChg>
        <pc:picChg chg="add mod">
          <ac:chgData name="David CASTELNAU" userId="66a58927-c847-4858-a348-a4848e30932f" providerId="ADAL" clId="{F44B76A6-A5C0-4B08-8BCC-E178E64C4338}" dt="2024-01-31T14:31:27.822" v="7716" actId="1076"/>
          <ac:picMkLst>
            <pc:docMk/>
            <pc:sldMk cId="212100458" sldId="2147376937"/>
            <ac:picMk id="14" creationId="{FDB594E9-6AE5-99B7-5F9D-97DD99766828}"/>
          </ac:picMkLst>
        </pc:picChg>
        <pc:picChg chg="del mod">
          <ac:chgData name="David CASTELNAU" userId="66a58927-c847-4858-a348-a4848e30932f" providerId="ADAL" clId="{F44B76A6-A5C0-4B08-8BCC-E178E64C4338}" dt="2024-01-31T08:47:28.988" v="4021" actId="478"/>
          <ac:picMkLst>
            <pc:docMk/>
            <pc:sldMk cId="212100458" sldId="2147376937"/>
            <ac:picMk id="147576" creationId="{29162255-54B8-80B2-C57E-F684F7B94D95}"/>
          </ac:picMkLst>
        </pc:picChg>
        <pc:picChg chg="del">
          <ac:chgData name="David CASTELNAU" userId="66a58927-c847-4858-a348-a4848e30932f" providerId="ADAL" clId="{F44B76A6-A5C0-4B08-8BCC-E178E64C4338}" dt="2024-01-31T08:46:15.143" v="3962" actId="478"/>
          <ac:picMkLst>
            <pc:docMk/>
            <pc:sldMk cId="212100458" sldId="2147376937"/>
            <ac:picMk id="147578" creationId="{FCB73DF3-3835-EC0A-80C2-376A30E99700}"/>
          </ac:picMkLst>
        </pc:picChg>
        <pc:picChg chg="del">
          <ac:chgData name="David CASTELNAU" userId="66a58927-c847-4858-a348-a4848e30932f" providerId="ADAL" clId="{F44B76A6-A5C0-4B08-8BCC-E178E64C4338}" dt="2024-01-31T08:47:47.695" v="4073" actId="478"/>
          <ac:picMkLst>
            <pc:docMk/>
            <pc:sldMk cId="212100458" sldId="2147376937"/>
            <ac:picMk id="147580" creationId="{714F1FBC-6743-F431-81F5-60C3991F1353}"/>
          </ac:picMkLst>
        </pc:picChg>
        <pc:picChg chg="del">
          <ac:chgData name="David CASTELNAU" userId="66a58927-c847-4858-a348-a4848e30932f" providerId="ADAL" clId="{F44B76A6-A5C0-4B08-8BCC-E178E64C4338}" dt="2024-01-31T08:45:03.314" v="3892" actId="478"/>
          <ac:picMkLst>
            <pc:docMk/>
            <pc:sldMk cId="212100458" sldId="2147376937"/>
            <ac:picMk id="147586" creationId="{981197F6-18C1-69A5-739B-77274A832C2F}"/>
          </ac:picMkLst>
        </pc:picChg>
      </pc:sldChg>
      <pc:sldChg chg="addSp delSp modSp mod">
        <pc:chgData name="David CASTELNAU" userId="66a58927-c847-4858-a348-a4848e30932f" providerId="ADAL" clId="{F44B76A6-A5C0-4B08-8BCC-E178E64C4338}" dt="2024-02-01T16:35:16.584" v="14105" actId="478"/>
        <pc:sldMkLst>
          <pc:docMk/>
          <pc:sldMk cId="4212703342" sldId="2147470798"/>
        </pc:sldMkLst>
        <pc:spChg chg="del">
          <ac:chgData name="David CASTELNAU" userId="66a58927-c847-4858-a348-a4848e30932f" providerId="ADAL" clId="{F44B76A6-A5C0-4B08-8BCC-E178E64C4338}" dt="2024-02-01T16:35:16.584" v="14105" actId="478"/>
          <ac:spMkLst>
            <pc:docMk/>
            <pc:sldMk cId="4212703342" sldId="2147470798"/>
            <ac:spMk id="2" creationId="{8063F442-F7C0-EE54-6993-3DE537BEFC4A}"/>
          </ac:spMkLst>
        </pc:spChg>
        <pc:spChg chg="mod">
          <ac:chgData name="David CASTELNAU" userId="66a58927-c847-4858-a348-a4848e30932f" providerId="ADAL" clId="{F44B76A6-A5C0-4B08-8BCC-E178E64C4338}" dt="2024-01-31T13:57:41.259" v="7628" actId="1035"/>
          <ac:spMkLst>
            <pc:docMk/>
            <pc:sldMk cId="4212703342" sldId="2147470798"/>
            <ac:spMk id="29" creationId="{18CB3812-FD95-4F66-9858-A878242AF8F9}"/>
          </ac:spMkLst>
        </pc:spChg>
        <pc:spChg chg="mod">
          <ac:chgData name="David CASTELNAU" userId="66a58927-c847-4858-a348-a4848e30932f" providerId="ADAL" clId="{F44B76A6-A5C0-4B08-8BCC-E178E64C4338}" dt="2024-02-01T16:28:38.912" v="13456" actId="1076"/>
          <ac:spMkLst>
            <pc:docMk/>
            <pc:sldMk cId="4212703342" sldId="2147470798"/>
            <ac:spMk id="30" creationId="{F86FF486-2CDB-D2FB-944A-0A9424CA9EA7}"/>
          </ac:spMkLst>
        </pc:spChg>
        <pc:spChg chg="mod">
          <ac:chgData name="David CASTELNAU" userId="66a58927-c847-4858-a348-a4848e30932f" providerId="ADAL" clId="{F44B76A6-A5C0-4B08-8BCC-E178E64C4338}" dt="2024-02-01T16:28:38.912" v="13456" actId="1076"/>
          <ac:spMkLst>
            <pc:docMk/>
            <pc:sldMk cId="4212703342" sldId="2147470798"/>
            <ac:spMk id="31" creationId="{987C15D3-BB11-1BEA-F655-23301D462541}"/>
          </ac:spMkLst>
        </pc:spChg>
        <pc:spChg chg="mod">
          <ac:chgData name="David CASTELNAU" userId="66a58927-c847-4858-a348-a4848e30932f" providerId="ADAL" clId="{F44B76A6-A5C0-4B08-8BCC-E178E64C4338}" dt="2024-02-01T16:28:48.458" v="13458" actId="1076"/>
          <ac:spMkLst>
            <pc:docMk/>
            <pc:sldMk cId="4212703342" sldId="2147470798"/>
            <ac:spMk id="33" creationId="{AEBAC970-7995-3DE0-8E1F-BF85891B057F}"/>
          </ac:spMkLst>
        </pc:spChg>
        <pc:spChg chg="mod">
          <ac:chgData name="David CASTELNAU" userId="66a58927-c847-4858-a348-a4848e30932f" providerId="ADAL" clId="{F44B76A6-A5C0-4B08-8BCC-E178E64C4338}" dt="2024-02-01T16:28:48.458" v="13458" actId="1076"/>
          <ac:spMkLst>
            <pc:docMk/>
            <pc:sldMk cId="4212703342" sldId="2147470798"/>
            <ac:spMk id="34" creationId="{9CBB6656-1768-B22E-0824-4D3D7ED882C8}"/>
          </ac:spMkLst>
        </pc:spChg>
        <pc:spChg chg="add mod">
          <ac:chgData name="David CASTELNAU" userId="66a58927-c847-4858-a348-a4848e30932f" providerId="ADAL" clId="{F44B76A6-A5C0-4B08-8BCC-E178E64C4338}" dt="2024-02-01T16:29:11.788" v="13477" actId="20577"/>
          <ac:spMkLst>
            <pc:docMk/>
            <pc:sldMk cId="4212703342" sldId="2147470798"/>
            <ac:spMk id="35" creationId="{7977B2A6-01AC-06B4-61D1-84ACE6B1F1A7}"/>
          </ac:spMkLst>
        </pc:spChg>
        <pc:spChg chg="add mod">
          <ac:chgData name="David CASTELNAU" userId="66a58927-c847-4858-a348-a4848e30932f" providerId="ADAL" clId="{F44B76A6-A5C0-4B08-8BCC-E178E64C4338}" dt="2024-02-01T16:28:55.183" v="13469" actId="1035"/>
          <ac:spMkLst>
            <pc:docMk/>
            <pc:sldMk cId="4212703342" sldId="2147470798"/>
            <ac:spMk id="36" creationId="{33AD694E-5A99-1CE7-9B6E-918F4CF4E568}"/>
          </ac:spMkLst>
        </pc:spChg>
        <pc:spChg chg="mod">
          <ac:chgData name="David CASTELNAU" userId="66a58927-c847-4858-a348-a4848e30932f" providerId="ADAL" clId="{F44B76A6-A5C0-4B08-8BCC-E178E64C4338}" dt="2024-01-31T13:57:27.193" v="7608" actId="1036"/>
          <ac:spMkLst>
            <pc:docMk/>
            <pc:sldMk cId="4212703342" sldId="2147470798"/>
            <ac:spMk id="45" creationId="{A93F5781-8FE6-4D64-9B71-5AA483F8D0DF}"/>
          </ac:spMkLst>
        </pc:spChg>
        <pc:spChg chg="mod">
          <ac:chgData name="David CASTELNAU" userId="66a58927-c847-4858-a348-a4848e30932f" providerId="ADAL" clId="{F44B76A6-A5C0-4B08-8BCC-E178E64C4338}" dt="2024-01-31T14:07:07.112" v="7661" actId="1036"/>
          <ac:spMkLst>
            <pc:docMk/>
            <pc:sldMk cId="4212703342" sldId="2147470798"/>
            <ac:spMk id="46" creationId="{01EE19DC-96DE-42EA-8334-7CED2C560D6A}"/>
          </ac:spMkLst>
        </pc:spChg>
        <pc:spChg chg="mod">
          <ac:chgData name="David CASTELNAU" userId="66a58927-c847-4858-a348-a4848e30932f" providerId="ADAL" clId="{F44B76A6-A5C0-4B08-8BCC-E178E64C4338}" dt="2024-01-31T13:57:35.272" v="7617" actId="1036"/>
          <ac:spMkLst>
            <pc:docMk/>
            <pc:sldMk cId="4212703342" sldId="2147470798"/>
            <ac:spMk id="53" creationId="{87C35C41-FAC6-40A9-B3E0-3E6B5A97528D}"/>
          </ac:spMkLst>
        </pc:spChg>
        <pc:spChg chg="mod">
          <ac:chgData name="David CASTELNAU" userId="66a58927-c847-4858-a348-a4848e30932f" providerId="ADAL" clId="{F44B76A6-A5C0-4B08-8BCC-E178E64C4338}" dt="2024-01-31T14:06:58.688" v="7656" actId="1036"/>
          <ac:spMkLst>
            <pc:docMk/>
            <pc:sldMk cId="4212703342" sldId="2147470798"/>
            <ac:spMk id="54" creationId="{4E3F8DDF-254A-4F72-A8E4-4E94087EAFAF}"/>
          </ac:spMkLst>
        </pc:spChg>
        <pc:grpChg chg="add mod">
          <ac:chgData name="David CASTELNAU" userId="66a58927-c847-4858-a348-a4848e30932f" providerId="ADAL" clId="{F44B76A6-A5C0-4B08-8BCC-E178E64C4338}" dt="2024-02-01T16:28:38.912" v="13456" actId="1076"/>
          <ac:grpSpMkLst>
            <pc:docMk/>
            <pc:sldMk cId="4212703342" sldId="2147470798"/>
            <ac:grpSpMk id="5" creationId="{0A9E08F4-24FB-5D2D-AB6C-F2C28DB5B889}"/>
          </ac:grpSpMkLst>
        </pc:grpChg>
        <pc:grpChg chg="add mod">
          <ac:chgData name="David CASTELNAU" userId="66a58927-c847-4858-a348-a4848e30932f" providerId="ADAL" clId="{F44B76A6-A5C0-4B08-8BCC-E178E64C4338}" dt="2024-02-01T16:28:48.458" v="13458" actId="1076"/>
          <ac:grpSpMkLst>
            <pc:docMk/>
            <pc:sldMk cId="4212703342" sldId="2147470798"/>
            <ac:grpSpMk id="32" creationId="{159CA356-D6F3-6652-2CD1-BAC4D078E996}"/>
          </ac:grpSpMkLst>
        </pc:grpChg>
        <pc:graphicFrameChg chg="mod modGraphic">
          <ac:chgData name="David CASTELNAU" userId="66a58927-c847-4858-a348-a4848e30932f" providerId="ADAL" clId="{F44B76A6-A5C0-4B08-8BCC-E178E64C4338}" dt="2024-02-01T16:35:12.380" v="14104" actId="20577"/>
          <ac:graphicFrameMkLst>
            <pc:docMk/>
            <pc:sldMk cId="4212703342" sldId="2147470798"/>
            <ac:graphicFrameMk id="66" creationId="{8B4DDF8D-5451-4B9A-BCF8-057011D0841C}"/>
          </ac:graphicFrameMkLst>
        </pc:graphicFrameChg>
        <pc:picChg chg="mod">
          <ac:chgData name="David CASTELNAU" userId="66a58927-c847-4858-a348-a4848e30932f" providerId="ADAL" clId="{F44B76A6-A5C0-4B08-8BCC-E178E64C4338}" dt="2024-01-31T14:05:27.329" v="7639" actId="1035"/>
          <ac:picMkLst>
            <pc:docMk/>
            <pc:sldMk cId="4212703342" sldId="2147470798"/>
            <ac:picMk id="7" creationId="{800F937A-4E99-8EFD-1DEE-DFB2F048E9E9}"/>
          </ac:picMkLst>
        </pc:picChg>
      </pc:sldChg>
      <pc:sldChg chg="del">
        <pc:chgData name="David CASTELNAU" userId="66a58927-c847-4858-a348-a4848e30932f" providerId="ADAL" clId="{F44B76A6-A5C0-4B08-8BCC-E178E64C4338}" dt="2024-01-23T10:00:16.003" v="1090" actId="47"/>
        <pc:sldMkLst>
          <pc:docMk/>
          <pc:sldMk cId="4202481837" sldId="2147470892"/>
        </pc:sldMkLst>
      </pc:sldChg>
      <pc:sldChg chg="delSp modSp mod">
        <pc:chgData name="David CASTELNAU" userId="66a58927-c847-4858-a348-a4848e30932f" providerId="ADAL" clId="{F44B76A6-A5C0-4B08-8BCC-E178E64C4338}" dt="2024-02-01T11:27:50.183" v="12210" actId="13926"/>
        <pc:sldMkLst>
          <pc:docMk/>
          <pc:sldMk cId="2137399364" sldId="2147470896"/>
        </pc:sldMkLst>
        <pc:spChg chg="del">
          <ac:chgData name="David CASTELNAU" userId="66a58927-c847-4858-a348-a4848e30932f" providerId="ADAL" clId="{F44B76A6-A5C0-4B08-8BCC-E178E64C4338}" dt="2024-02-01T11:23:54.813" v="12174" actId="478"/>
          <ac:spMkLst>
            <pc:docMk/>
            <pc:sldMk cId="2137399364" sldId="2147470896"/>
            <ac:spMk id="9" creationId="{C888D0CC-C728-F6E0-CC99-0C2C15BA478E}"/>
          </ac:spMkLst>
        </pc:spChg>
        <pc:spChg chg="mod">
          <ac:chgData name="David CASTELNAU" userId="66a58927-c847-4858-a348-a4848e30932f" providerId="ADAL" clId="{F44B76A6-A5C0-4B08-8BCC-E178E64C4338}" dt="2024-02-01T11:27:50.183" v="12210" actId="13926"/>
          <ac:spMkLst>
            <pc:docMk/>
            <pc:sldMk cId="2137399364" sldId="2147470896"/>
            <ac:spMk id="35" creationId="{6C2F0D4C-EB50-A7AC-DE5F-A2564E1FC3EA}"/>
          </ac:spMkLst>
        </pc:spChg>
        <pc:spChg chg="mod">
          <ac:chgData name="David CASTELNAU" userId="66a58927-c847-4858-a348-a4848e30932f" providerId="ADAL" clId="{F44B76A6-A5C0-4B08-8BCC-E178E64C4338}" dt="2024-02-01T11:27:50.183" v="12210" actId="13926"/>
          <ac:spMkLst>
            <pc:docMk/>
            <pc:sldMk cId="2137399364" sldId="2147470896"/>
            <ac:spMk id="38" creationId="{03BC92C9-8904-71BC-377D-D5D242BE88C9}"/>
          </ac:spMkLst>
        </pc:spChg>
        <pc:spChg chg="mod">
          <ac:chgData name="David CASTELNAU" userId="66a58927-c847-4858-a348-a4848e30932f" providerId="ADAL" clId="{F44B76A6-A5C0-4B08-8BCC-E178E64C4338}" dt="2024-02-01T11:27:50.183" v="12210" actId="13926"/>
          <ac:spMkLst>
            <pc:docMk/>
            <pc:sldMk cId="2137399364" sldId="2147470896"/>
            <ac:spMk id="39" creationId="{03FE1E16-D62B-422F-E590-61004572A4A7}"/>
          </ac:spMkLst>
        </pc:spChg>
        <pc:picChg chg="del">
          <ac:chgData name="David CASTELNAU" userId="66a58927-c847-4858-a348-a4848e30932f" providerId="ADAL" clId="{F44B76A6-A5C0-4B08-8BCC-E178E64C4338}" dt="2024-01-31T21:32:18.035" v="8062" actId="478"/>
          <ac:picMkLst>
            <pc:docMk/>
            <pc:sldMk cId="2137399364" sldId="2147470896"/>
            <ac:picMk id="4" creationId="{97AB1039-A2D2-FD6B-111F-9B06B6E132B1}"/>
          </ac:picMkLst>
        </pc:picChg>
        <pc:picChg chg="del">
          <ac:chgData name="David CASTELNAU" userId="66a58927-c847-4858-a348-a4848e30932f" providerId="ADAL" clId="{F44B76A6-A5C0-4B08-8BCC-E178E64C4338}" dt="2024-01-31T21:31:25.423" v="7997" actId="478"/>
          <ac:picMkLst>
            <pc:docMk/>
            <pc:sldMk cId="2137399364" sldId="2147470896"/>
            <ac:picMk id="7" creationId="{6DE46B0E-6379-1B36-04F4-318783965374}"/>
          </ac:picMkLst>
        </pc:picChg>
        <pc:picChg chg="del">
          <ac:chgData name="David CASTELNAU" userId="66a58927-c847-4858-a348-a4848e30932f" providerId="ADAL" clId="{F44B76A6-A5C0-4B08-8BCC-E178E64C4338}" dt="2024-01-31T21:32:18.035" v="8062" actId="478"/>
          <ac:picMkLst>
            <pc:docMk/>
            <pc:sldMk cId="2137399364" sldId="2147470896"/>
            <ac:picMk id="11" creationId="{B57E4134-6CF8-B3D1-4C94-60A1BD687978}"/>
          </ac:picMkLst>
        </pc:picChg>
        <pc:picChg chg="del">
          <ac:chgData name="David CASTELNAU" userId="66a58927-c847-4858-a348-a4848e30932f" providerId="ADAL" clId="{F44B76A6-A5C0-4B08-8BCC-E178E64C4338}" dt="2024-01-31T21:32:18.035" v="8062" actId="478"/>
          <ac:picMkLst>
            <pc:docMk/>
            <pc:sldMk cId="2137399364" sldId="2147470896"/>
            <ac:picMk id="13" creationId="{A24B1A1F-1A61-37E9-FF14-24FA30CADDD7}"/>
          </ac:picMkLst>
        </pc:picChg>
        <pc:picChg chg="del">
          <ac:chgData name="David CASTELNAU" userId="66a58927-c847-4858-a348-a4848e30932f" providerId="ADAL" clId="{F44B76A6-A5C0-4B08-8BCC-E178E64C4338}" dt="2024-01-31T21:32:18.035" v="8062" actId="478"/>
          <ac:picMkLst>
            <pc:docMk/>
            <pc:sldMk cId="2137399364" sldId="2147470896"/>
            <ac:picMk id="17" creationId="{701A77AF-0149-E35B-D639-7959059C2B15}"/>
          </ac:picMkLst>
        </pc:picChg>
        <pc:picChg chg="del">
          <ac:chgData name="David CASTELNAU" userId="66a58927-c847-4858-a348-a4848e30932f" providerId="ADAL" clId="{F44B76A6-A5C0-4B08-8BCC-E178E64C4338}" dt="2024-01-31T21:31:23.387" v="7996" actId="478"/>
          <ac:picMkLst>
            <pc:docMk/>
            <pc:sldMk cId="2137399364" sldId="2147470896"/>
            <ac:picMk id="1026" creationId="{6F839310-6CEC-C6C9-4CFD-170B9A34E78E}"/>
          </ac:picMkLst>
        </pc:picChg>
      </pc:sldChg>
      <pc:sldChg chg="addSp delSp modSp mod">
        <pc:chgData name="David CASTELNAU" userId="66a58927-c847-4858-a348-a4848e30932f" providerId="ADAL" clId="{F44B76A6-A5C0-4B08-8BCC-E178E64C4338}" dt="2024-01-18T15:41:20.015" v="431" actId="14100"/>
        <pc:sldMkLst>
          <pc:docMk/>
          <pc:sldMk cId="2163271625" sldId="2147480287"/>
        </pc:sldMkLst>
        <pc:spChg chg="add mod">
          <ac:chgData name="David CASTELNAU" userId="66a58927-c847-4858-a348-a4848e30932f" providerId="ADAL" clId="{F44B76A6-A5C0-4B08-8BCC-E178E64C4338}" dt="2024-01-18T15:41:20.015" v="431" actId="14100"/>
          <ac:spMkLst>
            <pc:docMk/>
            <pc:sldMk cId="2163271625" sldId="2147480287"/>
            <ac:spMk id="3" creationId="{A1F640A5-A34D-1558-7EA4-8C07178926C3}"/>
          </ac:spMkLst>
        </pc:spChg>
        <pc:spChg chg="mod">
          <ac:chgData name="David CASTELNAU" userId="66a58927-c847-4858-a348-a4848e30932f" providerId="ADAL" clId="{F44B76A6-A5C0-4B08-8BCC-E178E64C4338}" dt="2024-01-18T15:41:09.652" v="430" actId="1076"/>
          <ac:spMkLst>
            <pc:docMk/>
            <pc:sldMk cId="2163271625" sldId="2147480287"/>
            <ac:spMk id="9" creationId="{460B5401-3D89-A33C-68AE-6A93B1ACCCD3}"/>
          </ac:spMkLst>
        </pc:spChg>
        <pc:spChg chg="mod">
          <ac:chgData name="David CASTELNAU" userId="66a58927-c847-4858-a348-a4848e30932f" providerId="ADAL" clId="{F44B76A6-A5C0-4B08-8BCC-E178E64C4338}" dt="2024-01-18T15:41:20.015" v="431" actId="14100"/>
          <ac:spMkLst>
            <pc:docMk/>
            <pc:sldMk cId="2163271625" sldId="2147480287"/>
            <ac:spMk id="10" creationId="{4DEAEFA3-B2AC-3B06-7C53-E1B5A33F3F8E}"/>
          </ac:spMkLst>
        </pc:spChg>
        <pc:spChg chg="del">
          <ac:chgData name="David CASTELNAU" userId="66a58927-c847-4858-a348-a4848e30932f" providerId="ADAL" clId="{F44B76A6-A5C0-4B08-8BCC-E178E64C4338}" dt="2024-01-18T15:40:54.437" v="422" actId="478"/>
          <ac:spMkLst>
            <pc:docMk/>
            <pc:sldMk cId="2163271625" sldId="2147480287"/>
            <ac:spMk id="11" creationId="{358950F6-9D01-2B09-4174-BCA60D5FEC94}"/>
          </ac:spMkLst>
        </pc:spChg>
      </pc:sldChg>
      <pc:sldChg chg="addSp delSp modSp mod ord">
        <pc:chgData name="David CASTELNAU" userId="66a58927-c847-4858-a348-a4848e30932f" providerId="ADAL" clId="{F44B76A6-A5C0-4B08-8BCC-E178E64C4338}" dt="2024-01-24T13:00:11.436" v="1519" actId="478"/>
        <pc:sldMkLst>
          <pc:docMk/>
          <pc:sldMk cId="1501828369" sldId="2147480290"/>
        </pc:sldMkLst>
        <pc:spChg chg="mod">
          <ac:chgData name="David CASTELNAU" userId="66a58927-c847-4858-a348-a4848e30932f" providerId="ADAL" clId="{F44B76A6-A5C0-4B08-8BCC-E178E64C4338}" dt="2024-01-18T15:14:40.201" v="0" actId="20577"/>
          <ac:spMkLst>
            <pc:docMk/>
            <pc:sldMk cId="1501828369" sldId="2147480290"/>
            <ac:spMk id="2" creationId="{5C91E337-74B9-4A35-882F-27BDB4F76934}"/>
          </ac:spMkLst>
        </pc:spChg>
        <pc:spChg chg="del mod">
          <ac:chgData name="David CASTELNAU" userId="66a58927-c847-4858-a348-a4848e30932f" providerId="ADAL" clId="{F44B76A6-A5C0-4B08-8BCC-E178E64C4338}" dt="2024-01-24T13:00:11.436" v="1519" actId="478"/>
          <ac:spMkLst>
            <pc:docMk/>
            <pc:sldMk cId="1501828369" sldId="2147480290"/>
            <ac:spMk id="3" creationId="{AD070416-6F0C-3F5C-1861-6004EBD4D695}"/>
          </ac:spMkLst>
        </pc:spChg>
        <pc:spChg chg="add del mod">
          <ac:chgData name="David CASTELNAU" userId="66a58927-c847-4858-a348-a4848e30932f" providerId="ADAL" clId="{F44B76A6-A5C0-4B08-8BCC-E178E64C4338}" dt="2024-01-23T06:10:03.032" v="467" actId="478"/>
          <ac:spMkLst>
            <pc:docMk/>
            <pc:sldMk cId="1501828369" sldId="2147480290"/>
            <ac:spMk id="4" creationId="{4626DD18-D395-1856-FFDB-75086DAB9F33}"/>
          </ac:spMkLst>
        </pc:spChg>
        <pc:spChg chg="add mod">
          <ac:chgData name="David CASTELNAU" userId="66a58927-c847-4858-a348-a4848e30932f" providerId="ADAL" clId="{F44B76A6-A5C0-4B08-8BCC-E178E64C4338}" dt="2024-01-24T13:00:08.676" v="1518" actId="20577"/>
          <ac:spMkLst>
            <pc:docMk/>
            <pc:sldMk cId="1501828369" sldId="2147480290"/>
            <ac:spMk id="4" creationId="{E641CD1F-FC7E-6BBE-5948-37C517461613}"/>
          </ac:spMkLst>
        </pc:spChg>
        <pc:spChg chg="add del mod">
          <ac:chgData name="David CASTELNAU" userId="66a58927-c847-4858-a348-a4848e30932f" providerId="ADAL" clId="{F44B76A6-A5C0-4B08-8BCC-E178E64C4338}" dt="2024-01-23T09:35:33.226" v="595" actId="478"/>
          <ac:spMkLst>
            <pc:docMk/>
            <pc:sldMk cId="1501828369" sldId="2147480290"/>
            <ac:spMk id="5" creationId="{B6816B93-3B32-F572-CAB0-4117E4D96A31}"/>
          </ac:spMkLst>
        </pc:spChg>
        <pc:spChg chg="add del mod">
          <ac:chgData name="David CASTELNAU" userId="66a58927-c847-4858-a348-a4848e30932f" providerId="ADAL" clId="{F44B76A6-A5C0-4B08-8BCC-E178E64C4338}" dt="2024-01-18T15:18:15.652" v="265" actId="478"/>
          <ac:spMkLst>
            <pc:docMk/>
            <pc:sldMk cId="1501828369" sldId="2147480290"/>
            <ac:spMk id="6" creationId="{A1D3DEFB-5E14-1B1A-14C2-223B5A8AF8EA}"/>
          </ac:spMkLst>
        </pc:spChg>
        <pc:spChg chg="add del mod">
          <ac:chgData name="David CASTELNAU" userId="66a58927-c847-4858-a348-a4848e30932f" providerId="ADAL" clId="{F44B76A6-A5C0-4B08-8BCC-E178E64C4338}" dt="2024-01-23T09:35:02.309" v="571" actId="478"/>
          <ac:spMkLst>
            <pc:docMk/>
            <pc:sldMk cId="1501828369" sldId="2147480290"/>
            <ac:spMk id="7" creationId="{44671D7E-AF3E-2D0B-D6A7-350CCDBE14D1}"/>
          </ac:spMkLst>
        </pc:spChg>
        <pc:spChg chg="mod">
          <ac:chgData name="David CASTELNAU" userId="66a58927-c847-4858-a348-a4848e30932f" providerId="ADAL" clId="{F44B76A6-A5C0-4B08-8BCC-E178E64C4338}" dt="2024-01-23T09:35:45.573" v="608" actId="20577"/>
          <ac:spMkLst>
            <pc:docMk/>
            <pc:sldMk cId="1501828369" sldId="2147480290"/>
            <ac:spMk id="29" creationId="{1B44C68F-A00D-CB48-FB70-D9A5913B9958}"/>
          </ac:spMkLst>
        </pc:spChg>
        <pc:spChg chg="mod">
          <ac:chgData name="David CASTELNAU" userId="66a58927-c847-4858-a348-a4848e30932f" providerId="ADAL" clId="{F44B76A6-A5C0-4B08-8BCC-E178E64C4338}" dt="2024-01-23T09:35:54.478" v="617" actId="20577"/>
          <ac:spMkLst>
            <pc:docMk/>
            <pc:sldMk cId="1501828369" sldId="2147480290"/>
            <ac:spMk id="31" creationId="{060BD229-24C8-8401-F3E3-DF588067CAAC}"/>
          </ac:spMkLst>
        </pc:spChg>
        <pc:spChg chg="mod">
          <ac:chgData name="David CASTELNAU" userId="66a58927-c847-4858-a348-a4848e30932f" providerId="ADAL" clId="{F44B76A6-A5C0-4B08-8BCC-E178E64C4338}" dt="2024-01-23T10:32:18.207" v="1450" actId="20577"/>
          <ac:spMkLst>
            <pc:docMk/>
            <pc:sldMk cId="1501828369" sldId="2147480290"/>
            <ac:spMk id="56" creationId="{C2F4E1BA-F137-D5BB-7BA0-EC95BD5C6E05}"/>
          </ac:spMkLst>
        </pc:spChg>
        <pc:spChg chg="mod">
          <ac:chgData name="David CASTELNAU" userId="66a58927-c847-4858-a348-a4848e30932f" providerId="ADAL" clId="{F44B76A6-A5C0-4B08-8BCC-E178E64C4338}" dt="2024-01-18T15:18:07.463" v="263" actId="5793"/>
          <ac:spMkLst>
            <pc:docMk/>
            <pc:sldMk cId="1501828369" sldId="2147480290"/>
            <ac:spMk id="62" creationId="{FD861059-ED2E-6DA3-8655-29A3DC3162CE}"/>
          </ac:spMkLst>
        </pc:spChg>
        <pc:spChg chg="mod">
          <ac:chgData name="David CASTELNAU" userId="66a58927-c847-4858-a348-a4848e30932f" providerId="ADAL" clId="{F44B76A6-A5C0-4B08-8BCC-E178E64C4338}" dt="2024-01-23T09:35:40.240" v="599" actId="1038"/>
          <ac:spMkLst>
            <pc:docMk/>
            <pc:sldMk cId="1501828369" sldId="2147480290"/>
            <ac:spMk id="71" creationId="{F43B1B3F-C72A-E054-4FA0-440E95810489}"/>
          </ac:spMkLst>
        </pc:spChg>
      </pc:sldChg>
      <pc:sldChg chg="addSp delSp modSp mod">
        <pc:chgData name="David CASTELNAU" userId="66a58927-c847-4858-a348-a4848e30932f" providerId="ADAL" clId="{F44B76A6-A5C0-4B08-8BCC-E178E64C4338}" dt="2024-02-02T13:26:09.037" v="17996" actId="20577"/>
        <pc:sldMkLst>
          <pc:docMk/>
          <pc:sldMk cId="3389911945" sldId="2147480290"/>
        </pc:sldMkLst>
        <pc:spChg chg="add mod">
          <ac:chgData name="David CASTELNAU" userId="66a58927-c847-4858-a348-a4848e30932f" providerId="ADAL" clId="{F44B76A6-A5C0-4B08-8BCC-E178E64C4338}" dt="2024-02-01T09:52:42.508" v="11884" actId="14100"/>
          <ac:spMkLst>
            <pc:docMk/>
            <pc:sldMk cId="3389911945" sldId="2147480290"/>
            <ac:spMk id="3" creationId="{47B465FB-301B-E616-F217-55DFB61789BD}"/>
          </ac:spMkLst>
        </pc:spChg>
        <pc:spChg chg="del">
          <ac:chgData name="David CASTELNAU" userId="66a58927-c847-4858-a348-a4848e30932f" providerId="ADAL" clId="{F44B76A6-A5C0-4B08-8BCC-E178E64C4338}" dt="2024-02-01T09:54:36.691" v="12075" actId="478"/>
          <ac:spMkLst>
            <pc:docMk/>
            <pc:sldMk cId="3389911945" sldId="2147480290"/>
            <ac:spMk id="4" creationId="{E641CD1F-FC7E-6BBE-5948-37C517461613}"/>
          </ac:spMkLst>
        </pc:spChg>
        <pc:spChg chg="del">
          <ac:chgData name="David CASTELNAU" userId="66a58927-c847-4858-a348-a4848e30932f" providerId="ADAL" clId="{F44B76A6-A5C0-4B08-8BCC-E178E64C4338}" dt="2024-02-01T09:54:34.531" v="12074" actId="478"/>
          <ac:spMkLst>
            <pc:docMk/>
            <pc:sldMk cId="3389911945" sldId="2147480290"/>
            <ac:spMk id="5" creationId="{647D3E13-034D-C623-6748-1C1AA36C519B}"/>
          </ac:spMkLst>
        </pc:spChg>
        <pc:spChg chg="add del mod">
          <ac:chgData name="David CASTELNAU" userId="66a58927-c847-4858-a348-a4848e30932f" providerId="ADAL" clId="{F44B76A6-A5C0-4B08-8BCC-E178E64C4338}" dt="2024-01-31T06:27:53.644" v="2309" actId="478"/>
          <ac:spMkLst>
            <pc:docMk/>
            <pc:sldMk cId="3389911945" sldId="2147480290"/>
            <ac:spMk id="5" creationId="{C9711CB7-1865-DC33-13E6-403D46D81BFF}"/>
          </ac:spMkLst>
        </pc:spChg>
        <pc:spChg chg="add mod">
          <ac:chgData name="David CASTELNAU" userId="66a58927-c847-4858-a348-a4848e30932f" providerId="ADAL" clId="{F44B76A6-A5C0-4B08-8BCC-E178E64C4338}" dt="2024-01-31T06:31:53.740" v="2484" actId="207"/>
          <ac:spMkLst>
            <pc:docMk/>
            <pc:sldMk cId="3389911945" sldId="2147480290"/>
            <ac:spMk id="6" creationId="{E25C4568-CBD6-8A3F-6075-46A4887C05FC}"/>
          </ac:spMkLst>
        </pc:spChg>
        <pc:spChg chg="mod">
          <ac:chgData name="David CASTELNAU" userId="66a58927-c847-4858-a348-a4848e30932f" providerId="ADAL" clId="{F44B76A6-A5C0-4B08-8BCC-E178E64C4338}" dt="2024-02-02T13:26:09.037" v="17996" actId="20577"/>
          <ac:spMkLst>
            <pc:docMk/>
            <pc:sldMk cId="3389911945" sldId="2147480290"/>
            <ac:spMk id="29" creationId="{1B44C68F-A00D-CB48-FB70-D9A5913B9958}"/>
          </ac:spMkLst>
        </pc:spChg>
        <pc:spChg chg="mod">
          <ac:chgData name="David CASTELNAU" userId="66a58927-c847-4858-a348-a4848e30932f" providerId="ADAL" clId="{F44B76A6-A5C0-4B08-8BCC-E178E64C4338}" dt="2024-02-01T09:52:51.129" v="11930" actId="1035"/>
          <ac:spMkLst>
            <pc:docMk/>
            <pc:sldMk cId="3389911945" sldId="2147480290"/>
            <ac:spMk id="31" creationId="{060BD229-24C8-8401-F3E3-DF588067CAAC}"/>
          </ac:spMkLst>
        </pc:spChg>
        <pc:spChg chg="mod">
          <ac:chgData name="David CASTELNAU" userId="66a58927-c847-4858-a348-a4848e30932f" providerId="ADAL" clId="{F44B76A6-A5C0-4B08-8BCC-E178E64C4338}" dt="2024-02-01T09:52:59.568" v="11970" actId="1036"/>
          <ac:spMkLst>
            <pc:docMk/>
            <pc:sldMk cId="3389911945" sldId="2147480290"/>
            <ac:spMk id="32" creationId="{63094160-8112-776C-F4C7-95CFD41F0EBB}"/>
          </ac:spMkLst>
        </pc:spChg>
        <pc:spChg chg="mod">
          <ac:chgData name="David CASTELNAU" userId="66a58927-c847-4858-a348-a4848e30932f" providerId="ADAL" clId="{F44B76A6-A5C0-4B08-8BCC-E178E64C4338}" dt="2024-01-31T21:44:13.612" v="8414" actId="20577"/>
          <ac:spMkLst>
            <pc:docMk/>
            <pc:sldMk cId="3389911945" sldId="2147480290"/>
            <ac:spMk id="45" creationId="{342146C9-3AE2-24E5-54BA-901F52F86A95}"/>
          </ac:spMkLst>
        </pc:spChg>
        <pc:spChg chg="mod">
          <ac:chgData name="David CASTELNAU" userId="66a58927-c847-4858-a348-a4848e30932f" providerId="ADAL" clId="{F44B76A6-A5C0-4B08-8BCC-E178E64C4338}" dt="2024-01-31T21:43:56.545" v="8391" actId="1036"/>
          <ac:spMkLst>
            <pc:docMk/>
            <pc:sldMk cId="3389911945" sldId="2147480290"/>
            <ac:spMk id="49" creationId="{C0380816-51B3-EEE3-8F57-A5C74F58BBC2}"/>
          </ac:spMkLst>
        </pc:spChg>
        <pc:spChg chg="mod">
          <ac:chgData name="David CASTELNAU" userId="66a58927-c847-4858-a348-a4848e30932f" providerId="ADAL" clId="{F44B76A6-A5C0-4B08-8BCC-E178E64C4338}" dt="2024-01-31T21:35:25.909" v="8282" actId="14100"/>
          <ac:spMkLst>
            <pc:docMk/>
            <pc:sldMk cId="3389911945" sldId="2147480290"/>
            <ac:spMk id="54" creationId="{FA1B747B-1A36-F63B-5058-228BAE2CC832}"/>
          </ac:spMkLst>
        </pc:spChg>
        <pc:spChg chg="mod">
          <ac:chgData name="David CASTELNAU" userId="66a58927-c847-4858-a348-a4848e30932f" providerId="ADAL" clId="{F44B76A6-A5C0-4B08-8BCC-E178E64C4338}" dt="2024-02-01T09:54:58.690" v="12105" actId="20577"/>
          <ac:spMkLst>
            <pc:docMk/>
            <pc:sldMk cId="3389911945" sldId="2147480290"/>
            <ac:spMk id="55" creationId="{89781E96-E0DF-1F0A-2100-D52587006FE0}"/>
          </ac:spMkLst>
        </pc:spChg>
        <pc:spChg chg="del mod">
          <ac:chgData name="David CASTELNAU" userId="66a58927-c847-4858-a348-a4848e30932f" providerId="ADAL" clId="{F44B76A6-A5C0-4B08-8BCC-E178E64C4338}" dt="2024-01-31T06:29:57.021" v="2389" actId="478"/>
          <ac:spMkLst>
            <pc:docMk/>
            <pc:sldMk cId="3389911945" sldId="2147480290"/>
            <ac:spMk id="56" creationId="{C2F4E1BA-F137-D5BB-7BA0-EC95BD5C6E05}"/>
          </ac:spMkLst>
        </pc:spChg>
        <pc:spChg chg="del">
          <ac:chgData name="David CASTELNAU" userId="66a58927-c847-4858-a348-a4848e30932f" providerId="ADAL" clId="{F44B76A6-A5C0-4B08-8BCC-E178E64C4338}" dt="2024-01-31T06:32:28.004" v="2485" actId="478"/>
          <ac:spMkLst>
            <pc:docMk/>
            <pc:sldMk cId="3389911945" sldId="2147480290"/>
            <ac:spMk id="58" creationId="{C8E6C7F3-8386-E393-80C1-46BE824022F2}"/>
          </ac:spMkLst>
        </pc:spChg>
        <pc:spChg chg="del">
          <ac:chgData name="David CASTELNAU" userId="66a58927-c847-4858-a348-a4848e30932f" providerId="ADAL" clId="{F44B76A6-A5C0-4B08-8BCC-E178E64C4338}" dt="2024-01-31T06:29:32.664" v="2383" actId="478"/>
          <ac:spMkLst>
            <pc:docMk/>
            <pc:sldMk cId="3389911945" sldId="2147480290"/>
            <ac:spMk id="59" creationId="{9ADEB93B-92F1-B934-5EE0-F824F01CB4AE}"/>
          </ac:spMkLst>
        </pc:spChg>
        <pc:spChg chg="mod">
          <ac:chgData name="David CASTELNAU" userId="66a58927-c847-4858-a348-a4848e30932f" providerId="ADAL" clId="{F44B76A6-A5C0-4B08-8BCC-E178E64C4338}" dt="2024-02-01T09:56:18.327" v="12173" actId="552"/>
          <ac:spMkLst>
            <pc:docMk/>
            <pc:sldMk cId="3389911945" sldId="2147480290"/>
            <ac:spMk id="61" creationId="{90908950-2625-6C0E-AED2-6370D2BB44F0}"/>
          </ac:spMkLst>
        </pc:spChg>
        <pc:spChg chg="del mod">
          <ac:chgData name="David CASTELNAU" userId="66a58927-c847-4858-a348-a4848e30932f" providerId="ADAL" clId="{F44B76A6-A5C0-4B08-8BCC-E178E64C4338}" dt="2024-01-31T06:28:13.411" v="2312" actId="478"/>
          <ac:spMkLst>
            <pc:docMk/>
            <pc:sldMk cId="3389911945" sldId="2147480290"/>
            <ac:spMk id="62" creationId="{FD861059-ED2E-6DA3-8655-29A3DC3162CE}"/>
          </ac:spMkLst>
        </pc:spChg>
        <pc:spChg chg="mod">
          <ac:chgData name="David CASTELNAU" userId="66a58927-c847-4858-a348-a4848e30932f" providerId="ADAL" clId="{F44B76A6-A5C0-4B08-8BCC-E178E64C4338}" dt="2024-02-01T09:56:18.327" v="12173" actId="552"/>
          <ac:spMkLst>
            <pc:docMk/>
            <pc:sldMk cId="3389911945" sldId="2147480290"/>
            <ac:spMk id="64" creationId="{B727713A-EBF8-01A7-BB9A-1E585F7FB3BB}"/>
          </ac:spMkLst>
        </pc:spChg>
        <pc:spChg chg="mod">
          <ac:chgData name="David CASTELNAU" userId="66a58927-c847-4858-a348-a4848e30932f" providerId="ADAL" clId="{F44B76A6-A5C0-4B08-8BCC-E178E64C4338}" dt="2024-02-01T09:56:18.327" v="12173" actId="552"/>
          <ac:spMkLst>
            <pc:docMk/>
            <pc:sldMk cId="3389911945" sldId="2147480290"/>
            <ac:spMk id="65" creationId="{7C1DBA7E-AF5C-D860-DA8F-27382A93C6E9}"/>
          </ac:spMkLst>
        </pc:spChg>
        <pc:spChg chg="del mod">
          <ac:chgData name="David CASTELNAU" userId="66a58927-c847-4858-a348-a4848e30932f" providerId="ADAL" clId="{F44B76A6-A5C0-4B08-8BCC-E178E64C4338}" dt="2024-01-31T06:32:34.676" v="2487" actId="478"/>
          <ac:spMkLst>
            <pc:docMk/>
            <pc:sldMk cId="3389911945" sldId="2147480290"/>
            <ac:spMk id="67" creationId="{1F3201B3-4DD1-9B98-AAC1-E24B0DADC45E}"/>
          </ac:spMkLst>
        </pc:spChg>
        <pc:spChg chg="mod">
          <ac:chgData name="David CASTELNAU" userId="66a58927-c847-4858-a348-a4848e30932f" providerId="ADAL" clId="{F44B76A6-A5C0-4B08-8BCC-E178E64C4338}" dt="2024-02-01T09:56:18.327" v="12173" actId="552"/>
          <ac:spMkLst>
            <pc:docMk/>
            <pc:sldMk cId="3389911945" sldId="2147480290"/>
            <ac:spMk id="68" creationId="{DFBCA435-7E04-4C47-68F0-168E577F7C06}"/>
          </ac:spMkLst>
        </pc:spChg>
        <pc:spChg chg="del mod">
          <ac:chgData name="David CASTELNAU" userId="66a58927-c847-4858-a348-a4848e30932f" providerId="ADAL" clId="{F44B76A6-A5C0-4B08-8BCC-E178E64C4338}" dt="2024-01-31T06:34:07.255" v="2568" actId="478"/>
          <ac:spMkLst>
            <pc:docMk/>
            <pc:sldMk cId="3389911945" sldId="2147480290"/>
            <ac:spMk id="70" creationId="{E957D463-F61E-965F-2AA3-2D3FA3AD6B7F}"/>
          </ac:spMkLst>
        </pc:spChg>
        <pc:spChg chg="del mod">
          <ac:chgData name="David CASTELNAU" userId="66a58927-c847-4858-a348-a4848e30932f" providerId="ADAL" clId="{F44B76A6-A5C0-4B08-8BCC-E178E64C4338}" dt="2024-02-01T09:52:44.812" v="11885" actId="478"/>
          <ac:spMkLst>
            <pc:docMk/>
            <pc:sldMk cId="3389911945" sldId="2147480290"/>
            <ac:spMk id="71" creationId="{F43B1B3F-C72A-E054-4FA0-440E95810489}"/>
          </ac:spMkLst>
        </pc:spChg>
        <pc:spChg chg="del">
          <ac:chgData name="David CASTELNAU" userId="66a58927-c847-4858-a348-a4848e30932f" providerId="ADAL" clId="{F44B76A6-A5C0-4B08-8BCC-E178E64C4338}" dt="2024-01-31T06:34:08.960" v="2569" actId="478"/>
          <ac:spMkLst>
            <pc:docMk/>
            <pc:sldMk cId="3389911945" sldId="2147480290"/>
            <ac:spMk id="76" creationId="{681E225F-CEF4-3B8B-6657-1BA8DEF7F470}"/>
          </ac:spMkLst>
        </pc:spChg>
        <pc:cxnChg chg="del">
          <ac:chgData name="David CASTELNAU" userId="66a58927-c847-4858-a348-a4848e30932f" providerId="ADAL" clId="{F44B76A6-A5C0-4B08-8BCC-E178E64C4338}" dt="2024-01-31T06:28:03.384" v="2310" actId="478"/>
          <ac:cxnSpMkLst>
            <pc:docMk/>
            <pc:sldMk cId="3389911945" sldId="2147480290"/>
            <ac:cxnSpMk id="57" creationId="{C27D6171-3691-ABBD-E7E5-A3D58EB8771B}"/>
          </ac:cxnSpMkLst>
        </pc:cxnChg>
        <pc:cxnChg chg="mod">
          <ac:chgData name="David CASTELNAU" userId="66a58927-c847-4858-a348-a4848e30932f" providerId="ADAL" clId="{F44B76A6-A5C0-4B08-8BCC-E178E64C4338}" dt="2024-02-01T09:54:28.074" v="12073" actId="14100"/>
          <ac:cxnSpMkLst>
            <pc:docMk/>
            <pc:sldMk cId="3389911945" sldId="2147480290"/>
            <ac:cxnSpMk id="60" creationId="{AA1A8815-2B5E-B3AB-B69F-F1B5C6B92FDF}"/>
          </ac:cxnSpMkLst>
        </pc:cxnChg>
        <pc:cxnChg chg="mod">
          <ac:chgData name="David CASTELNAU" userId="66a58927-c847-4858-a348-a4848e30932f" providerId="ADAL" clId="{F44B76A6-A5C0-4B08-8BCC-E178E64C4338}" dt="2024-02-01T09:54:23.019" v="12072" actId="14100"/>
          <ac:cxnSpMkLst>
            <pc:docMk/>
            <pc:sldMk cId="3389911945" sldId="2147480290"/>
            <ac:cxnSpMk id="63" creationId="{89ECDFF0-B1A9-D3A2-8360-8D265B657254}"/>
          </ac:cxnSpMkLst>
        </pc:cxnChg>
        <pc:cxnChg chg="mod">
          <ac:chgData name="David CASTELNAU" userId="66a58927-c847-4858-a348-a4848e30932f" providerId="ADAL" clId="{F44B76A6-A5C0-4B08-8BCC-E178E64C4338}" dt="2024-02-01T09:54:03.779" v="12053" actId="14100"/>
          <ac:cxnSpMkLst>
            <pc:docMk/>
            <pc:sldMk cId="3389911945" sldId="2147480290"/>
            <ac:cxnSpMk id="66" creationId="{7F1C1366-89F1-158E-CF4D-26C88B86EBEF}"/>
          </ac:cxnSpMkLst>
        </pc:cxnChg>
      </pc:sldChg>
      <pc:sldChg chg="modSp mod">
        <pc:chgData name="David CASTELNAU" userId="66a58927-c847-4858-a348-a4848e30932f" providerId="ADAL" clId="{F44B76A6-A5C0-4B08-8BCC-E178E64C4338}" dt="2024-01-18T15:20:11.461" v="370" actId="20577"/>
        <pc:sldMkLst>
          <pc:docMk/>
          <pc:sldMk cId="1166187458" sldId="2147480291"/>
        </pc:sldMkLst>
        <pc:spChg chg="mod">
          <ac:chgData name="David CASTELNAU" userId="66a58927-c847-4858-a348-a4848e30932f" providerId="ADAL" clId="{F44B76A6-A5C0-4B08-8BCC-E178E64C4338}" dt="2024-01-18T15:19:39.359" v="337" actId="20577"/>
          <ac:spMkLst>
            <pc:docMk/>
            <pc:sldMk cId="1166187458" sldId="2147480291"/>
            <ac:spMk id="56" creationId="{0E5CC194-AF09-A46A-398D-C593B46D1A6E}"/>
          </ac:spMkLst>
        </pc:spChg>
        <pc:spChg chg="mod">
          <ac:chgData name="David CASTELNAU" userId="66a58927-c847-4858-a348-a4848e30932f" providerId="ADAL" clId="{F44B76A6-A5C0-4B08-8BCC-E178E64C4338}" dt="2024-01-18T15:20:02.689" v="362" actId="6549"/>
          <ac:spMkLst>
            <pc:docMk/>
            <pc:sldMk cId="1166187458" sldId="2147480291"/>
            <ac:spMk id="57" creationId="{99C92116-6F6D-72E1-1593-415BDFA3142A}"/>
          </ac:spMkLst>
        </pc:spChg>
        <pc:spChg chg="mod">
          <ac:chgData name="David CASTELNAU" userId="66a58927-c847-4858-a348-a4848e30932f" providerId="ADAL" clId="{F44B76A6-A5C0-4B08-8BCC-E178E64C4338}" dt="2024-01-18T15:19:06.486" v="320" actId="20577"/>
          <ac:spMkLst>
            <pc:docMk/>
            <pc:sldMk cId="1166187458" sldId="2147480291"/>
            <ac:spMk id="58" creationId="{A3A7320F-E106-BA70-7867-22AF9738BF62}"/>
          </ac:spMkLst>
        </pc:spChg>
        <pc:spChg chg="mod">
          <ac:chgData name="David CASTELNAU" userId="66a58927-c847-4858-a348-a4848e30932f" providerId="ADAL" clId="{F44B76A6-A5C0-4B08-8BCC-E178E64C4338}" dt="2024-01-18T15:20:11.461" v="370" actId="20577"/>
          <ac:spMkLst>
            <pc:docMk/>
            <pc:sldMk cId="1166187458" sldId="2147480291"/>
            <ac:spMk id="61" creationId="{A67EB9B9-DE11-722D-CA4F-B35C1B24FF6B}"/>
          </ac:spMkLst>
        </pc:spChg>
      </pc:sldChg>
      <pc:sldChg chg="addSp modSp mod">
        <pc:chgData name="David CASTELNAU" userId="66a58927-c847-4858-a348-a4848e30932f" providerId="ADAL" clId="{F44B76A6-A5C0-4B08-8BCC-E178E64C4338}" dt="2024-01-31T07:25:48.499" v="3286" actId="20577"/>
        <pc:sldMkLst>
          <pc:docMk/>
          <pc:sldMk cId="596601236" sldId="2147480292"/>
        </pc:sldMkLst>
        <pc:spChg chg="mod">
          <ac:chgData name="David CASTELNAU" userId="66a58927-c847-4858-a348-a4848e30932f" providerId="ADAL" clId="{F44B76A6-A5C0-4B08-8BCC-E178E64C4338}" dt="2024-01-31T07:25:48.499" v="3286" actId="20577"/>
          <ac:spMkLst>
            <pc:docMk/>
            <pc:sldMk cId="596601236" sldId="2147480292"/>
            <ac:spMk id="2" creationId="{5C91E337-74B9-4A35-882F-27BDB4F76934}"/>
          </ac:spMkLst>
        </pc:spChg>
        <pc:spChg chg="add mod">
          <ac:chgData name="David CASTELNAU" userId="66a58927-c847-4858-a348-a4848e30932f" providerId="ADAL" clId="{F44B76A6-A5C0-4B08-8BCC-E178E64C4338}" dt="2024-01-24T12:59:46.096" v="1511" actId="20577"/>
          <ac:spMkLst>
            <pc:docMk/>
            <pc:sldMk cId="596601236" sldId="2147480292"/>
            <ac:spMk id="3" creationId="{D12F086C-D57A-E5E1-D6B9-243FC6CF3E4A}"/>
          </ac:spMkLst>
        </pc:spChg>
        <pc:spChg chg="mod">
          <ac:chgData name="David CASTELNAU" userId="66a58927-c847-4858-a348-a4848e30932f" providerId="ADAL" clId="{F44B76A6-A5C0-4B08-8BCC-E178E64C4338}" dt="2024-01-31T07:25:24.221" v="3283" actId="20577"/>
          <ac:spMkLst>
            <pc:docMk/>
            <pc:sldMk cId="596601236" sldId="2147480292"/>
            <ac:spMk id="4" creationId="{57894F96-70C8-2EF7-4474-546B825A05B8}"/>
          </ac:spMkLst>
        </pc:spChg>
        <pc:picChg chg="mod">
          <ac:chgData name="David CASTELNAU" userId="66a58927-c847-4858-a348-a4848e30932f" providerId="ADAL" clId="{F44B76A6-A5C0-4B08-8BCC-E178E64C4338}" dt="2024-01-23T06:08:31.510" v="456" actId="14100"/>
          <ac:picMkLst>
            <pc:docMk/>
            <pc:sldMk cId="596601236" sldId="2147480292"/>
            <ac:picMk id="8" creationId="{327A1E60-4FEA-E2EB-90CD-5D9C5F8E12C1}"/>
          </ac:picMkLst>
        </pc:picChg>
        <pc:picChg chg="mod">
          <ac:chgData name="David CASTELNAU" userId="66a58927-c847-4858-a348-a4848e30932f" providerId="ADAL" clId="{F44B76A6-A5C0-4B08-8BCC-E178E64C4338}" dt="2024-01-23T06:08:48.225" v="464" actId="1037"/>
          <ac:picMkLst>
            <pc:docMk/>
            <pc:sldMk cId="596601236" sldId="2147480292"/>
            <ac:picMk id="9" creationId="{F3FF6A12-3C94-5D56-5289-92D0AF6FA303}"/>
          </ac:picMkLst>
        </pc:picChg>
        <pc:picChg chg="mod">
          <ac:chgData name="David CASTELNAU" userId="66a58927-c847-4858-a348-a4848e30932f" providerId="ADAL" clId="{F44B76A6-A5C0-4B08-8BCC-E178E64C4338}" dt="2024-01-23T06:08:36.780" v="457" actId="1076"/>
          <ac:picMkLst>
            <pc:docMk/>
            <pc:sldMk cId="596601236" sldId="2147480292"/>
            <ac:picMk id="11" creationId="{CC62A1A3-A1A0-C606-F971-84217571F07F}"/>
          </ac:picMkLst>
        </pc:picChg>
        <pc:picChg chg="add mod">
          <ac:chgData name="David CASTELNAU" userId="66a58927-c847-4858-a348-a4848e30932f" providerId="ADAL" clId="{F44B76A6-A5C0-4B08-8BCC-E178E64C4338}" dt="2024-01-23T06:08:48.225" v="464" actId="1037"/>
          <ac:picMkLst>
            <pc:docMk/>
            <pc:sldMk cId="596601236" sldId="2147480292"/>
            <ac:picMk id="35" creationId="{1CFEC578-5C84-F6E9-CA6C-9DA81390A27F}"/>
          </ac:picMkLst>
        </pc:picChg>
      </pc:sldChg>
      <pc:sldChg chg="modSp mod ord">
        <pc:chgData name="David CASTELNAU" userId="66a58927-c847-4858-a348-a4848e30932f" providerId="ADAL" clId="{F44B76A6-A5C0-4B08-8BCC-E178E64C4338}" dt="2024-01-24T13:01:12.049" v="1531" actId="2716"/>
        <pc:sldMkLst>
          <pc:docMk/>
          <pc:sldMk cId="4251555247" sldId="2147480293"/>
        </pc:sldMkLst>
        <pc:spChg chg="mod">
          <ac:chgData name="David CASTELNAU" userId="66a58927-c847-4858-a348-a4848e30932f" providerId="ADAL" clId="{F44B76A6-A5C0-4B08-8BCC-E178E64C4338}" dt="2024-01-24T13:01:12.049" v="1531" actId="2716"/>
          <ac:spMkLst>
            <pc:docMk/>
            <pc:sldMk cId="4251555247" sldId="2147480293"/>
            <ac:spMk id="2" creationId="{7E57833B-F9F8-3CAB-30A5-335812052FC8}"/>
          </ac:spMkLst>
        </pc:spChg>
        <pc:spChg chg="mod ord">
          <ac:chgData name="David CASTELNAU" userId="66a58927-c847-4858-a348-a4848e30932f" providerId="ADAL" clId="{F44B76A6-A5C0-4B08-8BCC-E178E64C4338}" dt="2024-01-23T09:52:48.851" v="951" actId="20577"/>
          <ac:spMkLst>
            <pc:docMk/>
            <pc:sldMk cId="4251555247" sldId="2147480293"/>
            <ac:spMk id="5" creationId="{02A81392-860F-FA2E-1A23-F5B48A76F7F1}"/>
          </ac:spMkLst>
        </pc:spChg>
        <pc:spChg chg="mod ord">
          <ac:chgData name="David CASTELNAU" userId="66a58927-c847-4858-a348-a4848e30932f" providerId="ADAL" clId="{F44B76A6-A5C0-4B08-8BCC-E178E64C4338}" dt="2024-01-23T09:52:25.118" v="926" actId="20577"/>
          <ac:spMkLst>
            <pc:docMk/>
            <pc:sldMk cId="4251555247" sldId="2147480293"/>
            <ac:spMk id="6" creationId="{A1E41D64-FD95-50CC-8966-70D3F683CECA}"/>
          </ac:spMkLst>
        </pc:spChg>
        <pc:spChg chg="mod">
          <ac:chgData name="David CASTELNAU" userId="66a58927-c847-4858-a348-a4848e30932f" providerId="ADAL" clId="{F44B76A6-A5C0-4B08-8BCC-E178E64C4338}" dt="2024-01-23T09:53:18.843" v="977" actId="20577"/>
          <ac:spMkLst>
            <pc:docMk/>
            <pc:sldMk cId="4251555247" sldId="2147480293"/>
            <ac:spMk id="8" creationId="{2ACD1FCA-7E7D-E323-E3E9-B5E5B7FEC84F}"/>
          </ac:spMkLst>
        </pc:spChg>
        <pc:spChg chg="mod ord">
          <ac:chgData name="David CASTELNAU" userId="66a58927-c847-4858-a348-a4848e30932f" providerId="ADAL" clId="{F44B76A6-A5C0-4B08-8BCC-E178E64C4338}" dt="2024-01-23T09:49:55.489" v="850"/>
          <ac:spMkLst>
            <pc:docMk/>
            <pc:sldMk cId="4251555247" sldId="2147480293"/>
            <ac:spMk id="9" creationId="{4EB9FAC3-686A-ADD1-E07E-DC7EC11628DB}"/>
          </ac:spMkLst>
        </pc:spChg>
        <pc:spChg chg="mod ord">
          <ac:chgData name="David CASTELNAU" userId="66a58927-c847-4858-a348-a4848e30932f" providerId="ADAL" clId="{F44B76A6-A5C0-4B08-8BCC-E178E64C4338}" dt="2024-01-23T09:49:51.859" v="848"/>
          <ac:spMkLst>
            <pc:docMk/>
            <pc:sldMk cId="4251555247" sldId="2147480293"/>
            <ac:spMk id="10" creationId="{F37F75AE-F663-658A-F793-F61B72503092}"/>
          </ac:spMkLst>
        </pc:spChg>
        <pc:spChg chg="mod ord">
          <ac:chgData name="David CASTELNAU" userId="66a58927-c847-4858-a348-a4848e30932f" providerId="ADAL" clId="{F44B76A6-A5C0-4B08-8BCC-E178E64C4338}" dt="2024-01-23T09:49:45.381" v="846"/>
          <ac:spMkLst>
            <pc:docMk/>
            <pc:sldMk cId="4251555247" sldId="2147480293"/>
            <ac:spMk id="11" creationId="{98D3BB83-F691-BA68-D86E-137FDA08C607}"/>
          </ac:spMkLst>
        </pc:spChg>
        <pc:spChg chg="mod">
          <ac:chgData name="David CASTELNAU" userId="66a58927-c847-4858-a348-a4848e30932f" providerId="ADAL" clId="{F44B76A6-A5C0-4B08-8BCC-E178E64C4338}" dt="2024-01-23T09:49:15.308" v="806" actId="20577"/>
          <ac:spMkLst>
            <pc:docMk/>
            <pc:sldMk cId="4251555247" sldId="2147480293"/>
            <ac:spMk id="12" creationId="{FC4AF209-C34C-5D0E-34CC-812F896D6519}"/>
          </ac:spMkLst>
        </pc:spChg>
      </pc:sldChg>
      <pc:sldChg chg="addSp modSp mod">
        <pc:chgData name="David CASTELNAU" userId="66a58927-c847-4858-a348-a4848e30932f" providerId="ADAL" clId="{F44B76A6-A5C0-4B08-8BCC-E178E64C4338}" dt="2024-01-31T07:19:51.636" v="2935" actId="20577"/>
        <pc:sldMkLst>
          <pc:docMk/>
          <pc:sldMk cId="936296583" sldId="2147480294"/>
        </pc:sldMkLst>
        <pc:spChg chg="mod">
          <ac:chgData name="David CASTELNAU" userId="66a58927-c847-4858-a348-a4848e30932f" providerId="ADAL" clId="{F44B76A6-A5C0-4B08-8BCC-E178E64C4338}" dt="2024-01-31T07:19:51.636" v="2935" actId="20577"/>
          <ac:spMkLst>
            <pc:docMk/>
            <pc:sldMk cId="936296583" sldId="2147480294"/>
            <ac:spMk id="2" creationId="{9A749007-8D5F-CB95-FD64-648D2F144C95}"/>
          </ac:spMkLst>
        </pc:spChg>
        <pc:spChg chg="add mod">
          <ac:chgData name="David CASTELNAU" userId="66a58927-c847-4858-a348-a4848e30932f" providerId="ADAL" clId="{F44B76A6-A5C0-4B08-8BCC-E178E64C4338}" dt="2024-01-23T09:47:20.826" v="754" actId="5793"/>
          <ac:spMkLst>
            <pc:docMk/>
            <pc:sldMk cId="936296583" sldId="2147480294"/>
            <ac:spMk id="3" creationId="{62210386-2B08-4902-B97E-84F4849BCD88}"/>
          </ac:spMkLst>
        </pc:spChg>
        <pc:spChg chg="mod">
          <ac:chgData name="David CASTELNAU" userId="66a58927-c847-4858-a348-a4848e30932f" providerId="ADAL" clId="{F44B76A6-A5C0-4B08-8BCC-E178E64C4338}" dt="2024-01-23T10:25:49.141" v="1373" actId="20577"/>
          <ac:spMkLst>
            <pc:docMk/>
            <pc:sldMk cId="936296583" sldId="2147480294"/>
            <ac:spMk id="5" creationId="{55617DAA-EC35-FEFB-5EFD-29E815E418A5}"/>
          </ac:spMkLst>
        </pc:spChg>
      </pc:sldChg>
      <pc:sldChg chg="addSp delSp modSp new mod">
        <pc:chgData name="David CASTELNAU" userId="66a58927-c847-4858-a348-a4848e30932f" providerId="ADAL" clId="{F44B76A6-A5C0-4B08-8BCC-E178E64C4338}" dt="2024-01-23T10:36:06.940" v="1491" actId="408"/>
        <pc:sldMkLst>
          <pc:docMk/>
          <pc:sldMk cId="2389986792" sldId="2147480295"/>
        </pc:sldMkLst>
        <pc:spChg chg="mod">
          <ac:chgData name="David CASTELNAU" userId="66a58927-c847-4858-a348-a4848e30932f" providerId="ADAL" clId="{F44B76A6-A5C0-4B08-8BCC-E178E64C4338}" dt="2024-01-23T10:00:35.825" v="1135" actId="5793"/>
          <ac:spMkLst>
            <pc:docMk/>
            <pc:sldMk cId="2389986792" sldId="2147480295"/>
            <ac:spMk id="2" creationId="{8841BFD6-808B-A31A-3219-984E547A519C}"/>
          </ac:spMkLst>
        </pc:spChg>
        <pc:spChg chg="del">
          <ac:chgData name="David CASTELNAU" userId="66a58927-c847-4858-a348-a4848e30932f" providerId="ADAL" clId="{F44B76A6-A5C0-4B08-8BCC-E178E64C4338}" dt="2024-01-23T10:34:39.698" v="1488" actId="478"/>
          <ac:spMkLst>
            <pc:docMk/>
            <pc:sldMk cId="2389986792" sldId="2147480295"/>
            <ac:spMk id="3" creationId="{E8D80111-CF52-1C02-3C88-68A32E482293}"/>
          </ac:spMkLst>
        </pc:spChg>
        <pc:spChg chg="add mod">
          <ac:chgData name="David CASTELNAU" userId="66a58927-c847-4858-a348-a4848e30932f" providerId="ADAL" clId="{F44B76A6-A5C0-4B08-8BCC-E178E64C4338}" dt="2024-01-23T10:35:59.690" v="1489" actId="1076"/>
          <ac:spMkLst>
            <pc:docMk/>
            <pc:sldMk cId="2389986792" sldId="2147480295"/>
            <ac:spMk id="4" creationId="{DDB605CA-7C8A-2FD6-3719-AB1EA4128D56}"/>
          </ac:spMkLst>
        </pc:spChg>
        <pc:spChg chg="add mod">
          <ac:chgData name="David CASTELNAU" userId="66a58927-c847-4858-a348-a4848e30932f" providerId="ADAL" clId="{F44B76A6-A5C0-4B08-8BCC-E178E64C4338}" dt="2024-01-23T10:36:06.940" v="1491" actId="408"/>
          <ac:spMkLst>
            <pc:docMk/>
            <pc:sldMk cId="2389986792" sldId="2147480295"/>
            <ac:spMk id="5" creationId="{B3D218B5-57C0-9419-ACBF-3CB6EC07A033}"/>
          </ac:spMkLst>
        </pc:spChg>
        <pc:spChg chg="add mod">
          <ac:chgData name="David CASTELNAU" userId="66a58927-c847-4858-a348-a4848e30932f" providerId="ADAL" clId="{F44B76A6-A5C0-4B08-8BCC-E178E64C4338}" dt="2024-01-23T10:36:06.940" v="1491" actId="408"/>
          <ac:spMkLst>
            <pc:docMk/>
            <pc:sldMk cId="2389986792" sldId="2147480295"/>
            <ac:spMk id="6" creationId="{1BFF0450-A5DD-066F-50D7-173531D24D58}"/>
          </ac:spMkLst>
        </pc:spChg>
        <pc:spChg chg="add mod">
          <ac:chgData name="David CASTELNAU" userId="66a58927-c847-4858-a348-a4848e30932f" providerId="ADAL" clId="{F44B76A6-A5C0-4B08-8BCC-E178E64C4338}" dt="2024-01-23T10:36:06.940" v="1491" actId="408"/>
          <ac:spMkLst>
            <pc:docMk/>
            <pc:sldMk cId="2389986792" sldId="2147480295"/>
            <ac:spMk id="7" creationId="{A50AB6AA-EA56-87F2-364D-FBB6A1BA70E1}"/>
          </ac:spMkLst>
        </pc:spChg>
        <pc:spChg chg="add mod">
          <ac:chgData name="David CASTELNAU" userId="66a58927-c847-4858-a348-a4848e30932f" providerId="ADAL" clId="{F44B76A6-A5C0-4B08-8BCC-E178E64C4338}" dt="2024-01-23T10:36:06.940" v="1491" actId="408"/>
          <ac:spMkLst>
            <pc:docMk/>
            <pc:sldMk cId="2389986792" sldId="2147480295"/>
            <ac:spMk id="8" creationId="{DFF23D7B-5BD1-7FF3-7139-8DBDDCAF39CF}"/>
          </ac:spMkLst>
        </pc:spChg>
        <pc:spChg chg="add mod">
          <ac:chgData name="David CASTELNAU" userId="66a58927-c847-4858-a348-a4848e30932f" providerId="ADAL" clId="{F44B76A6-A5C0-4B08-8BCC-E178E64C4338}" dt="2024-01-23T10:34:27.949" v="1485" actId="1076"/>
          <ac:spMkLst>
            <pc:docMk/>
            <pc:sldMk cId="2389986792" sldId="2147480295"/>
            <ac:spMk id="9" creationId="{9CC11519-A77C-AE5E-612C-52F61157B121}"/>
          </ac:spMkLst>
        </pc:spChg>
        <pc:spChg chg="add mod">
          <ac:chgData name="David CASTELNAU" userId="66a58927-c847-4858-a348-a4848e30932f" providerId="ADAL" clId="{F44B76A6-A5C0-4B08-8BCC-E178E64C4338}" dt="2024-01-23T10:36:06.940" v="1491" actId="408"/>
          <ac:spMkLst>
            <pc:docMk/>
            <pc:sldMk cId="2389986792" sldId="2147480295"/>
            <ac:spMk id="10" creationId="{5BD3E751-2CBC-AA86-1E01-8D8895938B2D}"/>
          </ac:spMkLst>
        </pc:spChg>
      </pc:sldChg>
      <pc:sldChg chg="addSp delSp modSp mod">
        <pc:chgData name="David CASTELNAU" userId="66a58927-c847-4858-a348-a4848e30932f" providerId="ADAL" clId="{F44B76A6-A5C0-4B08-8BCC-E178E64C4338}" dt="2024-02-01T13:35:19.995" v="13161" actId="20577"/>
        <pc:sldMkLst>
          <pc:docMk/>
          <pc:sldMk cId="1871989762" sldId="2147480297"/>
        </pc:sldMkLst>
        <pc:spChg chg="mod">
          <ac:chgData name="David CASTELNAU" userId="66a58927-c847-4858-a348-a4848e30932f" providerId="ADAL" clId="{F44B76A6-A5C0-4B08-8BCC-E178E64C4338}" dt="2024-01-31T22:17:10.562" v="9268" actId="404"/>
          <ac:spMkLst>
            <pc:docMk/>
            <pc:sldMk cId="1871989762" sldId="2147480297"/>
            <ac:spMk id="2" creationId="{8841BFD6-808B-A31A-3219-984E547A519C}"/>
          </ac:spMkLst>
        </pc:spChg>
        <pc:spChg chg="mod">
          <ac:chgData name="David CASTELNAU" userId="66a58927-c847-4858-a348-a4848e30932f" providerId="ADAL" clId="{F44B76A6-A5C0-4B08-8BCC-E178E64C4338}" dt="2024-01-31T21:58:33.325" v="8750" actId="1038"/>
          <ac:spMkLst>
            <pc:docMk/>
            <pc:sldMk cId="1871989762" sldId="2147480297"/>
            <ac:spMk id="4" creationId="{DDB605CA-7C8A-2FD6-3719-AB1EA4128D56}"/>
          </ac:spMkLst>
        </pc:spChg>
        <pc:spChg chg="mod topLvl">
          <ac:chgData name="David CASTELNAU" userId="66a58927-c847-4858-a348-a4848e30932f" providerId="ADAL" clId="{F44B76A6-A5C0-4B08-8BCC-E178E64C4338}" dt="2024-01-31T21:58:33.325" v="8750" actId="1038"/>
          <ac:spMkLst>
            <pc:docMk/>
            <pc:sldMk cId="1871989762" sldId="2147480297"/>
            <ac:spMk id="5" creationId="{B3D218B5-57C0-9419-ACBF-3CB6EC07A033}"/>
          </ac:spMkLst>
        </pc:spChg>
        <pc:spChg chg="mod topLvl">
          <ac:chgData name="David CASTELNAU" userId="66a58927-c847-4858-a348-a4848e30932f" providerId="ADAL" clId="{F44B76A6-A5C0-4B08-8BCC-E178E64C4338}" dt="2024-01-31T21:58:33.325" v="8750" actId="1038"/>
          <ac:spMkLst>
            <pc:docMk/>
            <pc:sldMk cId="1871989762" sldId="2147480297"/>
            <ac:spMk id="6" creationId="{1BFF0450-A5DD-066F-50D7-173531D24D58}"/>
          </ac:spMkLst>
        </pc:spChg>
        <pc:spChg chg="mod topLvl">
          <ac:chgData name="David CASTELNAU" userId="66a58927-c847-4858-a348-a4848e30932f" providerId="ADAL" clId="{F44B76A6-A5C0-4B08-8BCC-E178E64C4338}" dt="2024-01-31T21:58:33.325" v="8750" actId="1038"/>
          <ac:spMkLst>
            <pc:docMk/>
            <pc:sldMk cId="1871989762" sldId="2147480297"/>
            <ac:spMk id="7" creationId="{A50AB6AA-EA56-87F2-364D-FBB6A1BA70E1}"/>
          </ac:spMkLst>
        </pc:spChg>
        <pc:spChg chg="mod topLvl">
          <ac:chgData name="David CASTELNAU" userId="66a58927-c847-4858-a348-a4848e30932f" providerId="ADAL" clId="{F44B76A6-A5C0-4B08-8BCC-E178E64C4338}" dt="2024-01-31T21:58:40.267" v="8757" actId="1037"/>
          <ac:spMkLst>
            <pc:docMk/>
            <pc:sldMk cId="1871989762" sldId="2147480297"/>
            <ac:spMk id="8" creationId="{DFF23D7B-5BD1-7FF3-7139-8DBDDCAF39CF}"/>
          </ac:spMkLst>
        </pc:spChg>
        <pc:spChg chg="mod topLvl">
          <ac:chgData name="David CASTELNAU" userId="66a58927-c847-4858-a348-a4848e30932f" providerId="ADAL" clId="{F44B76A6-A5C0-4B08-8BCC-E178E64C4338}" dt="2024-01-31T21:58:40.267" v="8757" actId="1037"/>
          <ac:spMkLst>
            <pc:docMk/>
            <pc:sldMk cId="1871989762" sldId="2147480297"/>
            <ac:spMk id="9" creationId="{9CC11519-A77C-AE5E-612C-52F61157B121}"/>
          </ac:spMkLst>
        </pc:spChg>
        <pc:spChg chg="mod topLvl">
          <ac:chgData name="David CASTELNAU" userId="66a58927-c847-4858-a348-a4848e30932f" providerId="ADAL" clId="{F44B76A6-A5C0-4B08-8BCC-E178E64C4338}" dt="2024-01-31T21:58:33.325" v="8750" actId="1038"/>
          <ac:spMkLst>
            <pc:docMk/>
            <pc:sldMk cId="1871989762" sldId="2147480297"/>
            <ac:spMk id="10" creationId="{5BD3E751-2CBC-AA86-1E01-8D8895938B2D}"/>
          </ac:spMkLst>
        </pc:spChg>
        <pc:spChg chg="del">
          <ac:chgData name="David CASTELNAU" userId="66a58927-c847-4858-a348-a4848e30932f" providerId="ADAL" clId="{F44B76A6-A5C0-4B08-8BCC-E178E64C4338}" dt="2024-01-31T21:46:03.069" v="8417" actId="478"/>
          <ac:spMkLst>
            <pc:docMk/>
            <pc:sldMk cId="1871989762" sldId="2147480297"/>
            <ac:spMk id="11" creationId="{9FCE7BA3-05AB-738E-09E3-6810F0A07D1D}"/>
          </ac:spMkLst>
        </pc:spChg>
        <pc:spChg chg="del">
          <ac:chgData name="David CASTELNAU" userId="66a58927-c847-4858-a348-a4848e30932f" providerId="ADAL" clId="{F44B76A6-A5C0-4B08-8BCC-E178E64C4338}" dt="2024-01-31T21:46:00.200" v="8416" actId="478"/>
          <ac:spMkLst>
            <pc:docMk/>
            <pc:sldMk cId="1871989762" sldId="2147480297"/>
            <ac:spMk id="12" creationId="{19705654-CA39-F9D6-997C-3E5D4871001B}"/>
          </ac:spMkLst>
        </pc:spChg>
        <pc:spChg chg="mod">
          <ac:chgData name="David CASTELNAU" userId="66a58927-c847-4858-a348-a4848e30932f" providerId="ADAL" clId="{F44B76A6-A5C0-4B08-8BCC-E178E64C4338}" dt="2024-01-31T21:58:40.267" v="8757" actId="1037"/>
          <ac:spMkLst>
            <pc:docMk/>
            <pc:sldMk cId="1871989762" sldId="2147480297"/>
            <ac:spMk id="19" creationId="{B4E8EBD2-6E3E-AB00-98A9-EE2E5A2B164D}"/>
          </ac:spMkLst>
        </pc:spChg>
        <pc:spChg chg="mod topLvl">
          <ac:chgData name="David CASTELNAU" userId="66a58927-c847-4858-a348-a4848e30932f" providerId="ADAL" clId="{F44B76A6-A5C0-4B08-8BCC-E178E64C4338}" dt="2024-01-31T21:55:08.570" v="8683" actId="113"/>
          <ac:spMkLst>
            <pc:docMk/>
            <pc:sldMk cId="1871989762" sldId="2147480297"/>
            <ac:spMk id="22" creationId="{1718CD15-4AD2-D150-E63A-FBAE7C3534F6}"/>
          </ac:spMkLst>
        </pc:spChg>
        <pc:spChg chg="mod topLvl">
          <ac:chgData name="David CASTELNAU" userId="66a58927-c847-4858-a348-a4848e30932f" providerId="ADAL" clId="{F44B76A6-A5C0-4B08-8BCC-E178E64C4338}" dt="2024-01-31T21:55:12.126" v="8684" actId="113"/>
          <ac:spMkLst>
            <pc:docMk/>
            <pc:sldMk cId="1871989762" sldId="2147480297"/>
            <ac:spMk id="23" creationId="{A3962392-6742-FA3F-BA10-5080A824DACF}"/>
          </ac:spMkLst>
        </pc:spChg>
        <pc:spChg chg="mod">
          <ac:chgData name="David CASTELNAU" userId="66a58927-c847-4858-a348-a4848e30932f" providerId="ADAL" clId="{F44B76A6-A5C0-4B08-8BCC-E178E64C4338}" dt="2024-01-31T21:53:29.622" v="8617" actId="20577"/>
          <ac:spMkLst>
            <pc:docMk/>
            <pc:sldMk cId="1871989762" sldId="2147480297"/>
            <ac:spMk id="28" creationId="{4BCD0E86-81E4-0309-481D-E123442B4E28}"/>
          </ac:spMkLst>
        </pc:spChg>
        <pc:spChg chg="mod">
          <ac:chgData name="David CASTELNAU" userId="66a58927-c847-4858-a348-a4848e30932f" providerId="ADAL" clId="{F44B76A6-A5C0-4B08-8BCC-E178E64C4338}" dt="2024-01-31T21:58:40.267" v="8757" actId="1037"/>
          <ac:spMkLst>
            <pc:docMk/>
            <pc:sldMk cId="1871989762" sldId="2147480297"/>
            <ac:spMk id="34" creationId="{BCCF8B0A-7B31-919F-FD0C-3BDE2CDCEB95}"/>
          </ac:spMkLst>
        </pc:spChg>
        <pc:spChg chg="mod ord">
          <ac:chgData name="David CASTELNAU" userId="66a58927-c847-4858-a348-a4848e30932f" providerId="ADAL" clId="{F44B76A6-A5C0-4B08-8BCC-E178E64C4338}" dt="2024-01-31T22:14:42.831" v="9217" actId="1035"/>
          <ac:spMkLst>
            <pc:docMk/>
            <pc:sldMk cId="1871989762" sldId="2147480297"/>
            <ac:spMk id="41" creationId="{8569D39C-1E7E-AA57-6417-F5B137715A95}"/>
          </ac:spMkLst>
        </pc:spChg>
        <pc:spChg chg="mod ord">
          <ac:chgData name="David CASTELNAU" userId="66a58927-c847-4858-a348-a4848e30932f" providerId="ADAL" clId="{F44B76A6-A5C0-4B08-8BCC-E178E64C4338}" dt="2024-01-31T22:14:42.831" v="9217" actId="1035"/>
          <ac:spMkLst>
            <pc:docMk/>
            <pc:sldMk cId="1871989762" sldId="2147480297"/>
            <ac:spMk id="42" creationId="{BB63BE6B-4684-6B89-BE45-7525A2FAC41C}"/>
          </ac:spMkLst>
        </pc:spChg>
        <pc:spChg chg="mod ord">
          <ac:chgData name="David CASTELNAU" userId="66a58927-c847-4858-a348-a4848e30932f" providerId="ADAL" clId="{F44B76A6-A5C0-4B08-8BCC-E178E64C4338}" dt="2024-01-31T22:17:30.091" v="9270" actId="1037"/>
          <ac:spMkLst>
            <pc:docMk/>
            <pc:sldMk cId="1871989762" sldId="2147480297"/>
            <ac:spMk id="43" creationId="{FFAD3599-18CF-009C-32CA-15E6FF2D0D39}"/>
          </ac:spMkLst>
        </pc:spChg>
        <pc:spChg chg="add mod">
          <ac:chgData name="David CASTELNAU" userId="66a58927-c847-4858-a348-a4848e30932f" providerId="ADAL" clId="{F44B76A6-A5C0-4B08-8BCC-E178E64C4338}" dt="2024-01-31T22:00:33.852" v="8830" actId="1037"/>
          <ac:spMkLst>
            <pc:docMk/>
            <pc:sldMk cId="1871989762" sldId="2147480297"/>
            <ac:spMk id="52" creationId="{96C2F222-5210-454C-0369-AC7173474366}"/>
          </ac:spMkLst>
        </pc:spChg>
        <pc:spChg chg="add mod">
          <ac:chgData name="David CASTELNAU" userId="66a58927-c847-4858-a348-a4848e30932f" providerId="ADAL" clId="{F44B76A6-A5C0-4B08-8BCC-E178E64C4338}" dt="2024-01-31T22:14:42.831" v="9217" actId="1035"/>
          <ac:spMkLst>
            <pc:docMk/>
            <pc:sldMk cId="1871989762" sldId="2147480297"/>
            <ac:spMk id="85" creationId="{18C5BBF3-CDA9-78E2-AC13-98A57F0FD375}"/>
          </ac:spMkLst>
        </pc:spChg>
        <pc:spChg chg="mod topLvl">
          <ac:chgData name="David CASTELNAU" userId="66a58927-c847-4858-a348-a4848e30932f" providerId="ADAL" clId="{F44B76A6-A5C0-4B08-8BCC-E178E64C4338}" dt="2024-01-31T21:55:03.176" v="8682" actId="113"/>
          <ac:spMkLst>
            <pc:docMk/>
            <pc:sldMk cId="1871989762" sldId="2147480297"/>
            <ac:spMk id="87" creationId="{17F2A924-26EE-FC5F-B54D-76E5FA58A853}"/>
          </ac:spMkLst>
        </pc:spChg>
        <pc:spChg chg="mod topLvl">
          <ac:chgData name="David CASTELNAU" userId="66a58927-c847-4858-a348-a4848e30932f" providerId="ADAL" clId="{F44B76A6-A5C0-4B08-8BCC-E178E64C4338}" dt="2024-01-31T21:58:40.267" v="8757" actId="1037"/>
          <ac:spMkLst>
            <pc:docMk/>
            <pc:sldMk cId="1871989762" sldId="2147480297"/>
            <ac:spMk id="89" creationId="{E2AE0162-C27B-3F39-1ABB-51E67EF598AD}"/>
          </ac:spMkLst>
        </pc:spChg>
        <pc:spChg chg="mod">
          <ac:chgData name="David CASTELNAU" userId="66a58927-c847-4858-a348-a4848e30932f" providerId="ADAL" clId="{F44B76A6-A5C0-4B08-8BCC-E178E64C4338}" dt="2024-01-31T21:58:33.325" v="8750" actId="1038"/>
          <ac:spMkLst>
            <pc:docMk/>
            <pc:sldMk cId="1871989762" sldId="2147480297"/>
            <ac:spMk id="90" creationId="{57627848-41DE-E72B-5D05-B2426B087524}"/>
          </ac:spMkLst>
        </pc:spChg>
        <pc:spChg chg="add mod">
          <ac:chgData name="David CASTELNAU" userId="66a58927-c847-4858-a348-a4848e30932f" providerId="ADAL" clId="{F44B76A6-A5C0-4B08-8BCC-E178E64C4338}" dt="2024-01-31T22:14:42.831" v="9217" actId="1035"/>
          <ac:spMkLst>
            <pc:docMk/>
            <pc:sldMk cId="1871989762" sldId="2147480297"/>
            <ac:spMk id="93" creationId="{D49F8581-24F7-4FE6-2E91-FBEC4A2BF244}"/>
          </ac:spMkLst>
        </pc:spChg>
        <pc:spChg chg="add mod">
          <ac:chgData name="David CASTELNAU" userId="66a58927-c847-4858-a348-a4848e30932f" providerId="ADAL" clId="{F44B76A6-A5C0-4B08-8BCC-E178E64C4338}" dt="2024-01-31T22:14:42.831" v="9217" actId="1035"/>
          <ac:spMkLst>
            <pc:docMk/>
            <pc:sldMk cId="1871989762" sldId="2147480297"/>
            <ac:spMk id="94" creationId="{6ACAE8BD-D8B2-64EE-6C60-CFBCB1A583A6}"/>
          </ac:spMkLst>
        </pc:spChg>
        <pc:spChg chg="add mod">
          <ac:chgData name="David CASTELNAU" userId="66a58927-c847-4858-a348-a4848e30932f" providerId="ADAL" clId="{F44B76A6-A5C0-4B08-8BCC-E178E64C4338}" dt="2024-01-31T22:14:42.831" v="9217" actId="1035"/>
          <ac:spMkLst>
            <pc:docMk/>
            <pc:sldMk cId="1871989762" sldId="2147480297"/>
            <ac:spMk id="95" creationId="{63F00F85-3F9F-7EA5-5C7B-EAE5D1367FD9}"/>
          </ac:spMkLst>
        </pc:spChg>
        <pc:spChg chg="add mod">
          <ac:chgData name="David CASTELNAU" userId="66a58927-c847-4858-a348-a4848e30932f" providerId="ADAL" clId="{F44B76A6-A5C0-4B08-8BCC-E178E64C4338}" dt="2024-01-31T22:14:42.831" v="9217" actId="1035"/>
          <ac:spMkLst>
            <pc:docMk/>
            <pc:sldMk cId="1871989762" sldId="2147480297"/>
            <ac:spMk id="100" creationId="{60158FD1-804A-7933-D66B-968108959EED}"/>
          </ac:spMkLst>
        </pc:spChg>
        <pc:spChg chg="add mod">
          <ac:chgData name="David CASTELNAU" userId="66a58927-c847-4858-a348-a4848e30932f" providerId="ADAL" clId="{F44B76A6-A5C0-4B08-8BCC-E178E64C4338}" dt="2024-01-31T22:14:42.831" v="9217" actId="1035"/>
          <ac:spMkLst>
            <pc:docMk/>
            <pc:sldMk cId="1871989762" sldId="2147480297"/>
            <ac:spMk id="101" creationId="{522BA3A8-D9A9-23F3-9E91-28F2938738DA}"/>
          </ac:spMkLst>
        </pc:spChg>
        <pc:spChg chg="add mod ord">
          <ac:chgData name="David CASTELNAU" userId="66a58927-c847-4858-a348-a4848e30932f" providerId="ADAL" clId="{F44B76A6-A5C0-4B08-8BCC-E178E64C4338}" dt="2024-01-31T22:14:37.395" v="9205" actId="1035"/>
          <ac:spMkLst>
            <pc:docMk/>
            <pc:sldMk cId="1871989762" sldId="2147480297"/>
            <ac:spMk id="102" creationId="{CE4AD5E9-B820-972E-80F7-D6ADF1DF6E9B}"/>
          </ac:spMkLst>
        </pc:spChg>
        <pc:spChg chg="add mod">
          <ac:chgData name="David CASTELNAU" userId="66a58927-c847-4858-a348-a4848e30932f" providerId="ADAL" clId="{F44B76A6-A5C0-4B08-8BCC-E178E64C4338}" dt="2024-01-31T22:18:47.356" v="9343" actId="1038"/>
          <ac:spMkLst>
            <pc:docMk/>
            <pc:sldMk cId="1871989762" sldId="2147480297"/>
            <ac:spMk id="103" creationId="{ACF4B985-DCC9-5C7F-129E-AABD9417914F}"/>
          </ac:spMkLst>
        </pc:spChg>
        <pc:spChg chg="add mod">
          <ac:chgData name="David CASTELNAU" userId="66a58927-c847-4858-a348-a4848e30932f" providerId="ADAL" clId="{F44B76A6-A5C0-4B08-8BCC-E178E64C4338}" dt="2024-01-31T22:18:01.746" v="9276" actId="20577"/>
          <ac:spMkLst>
            <pc:docMk/>
            <pc:sldMk cId="1871989762" sldId="2147480297"/>
            <ac:spMk id="104" creationId="{01B4456A-F7A7-22B4-A36A-90FC30C9EA8B}"/>
          </ac:spMkLst>
        </pc:spChg>
        <pc:spChg chg="add mod">
          <ac:chgData name="David CASTELNAU" userId="66a58927-c847-4858-a348-a4848e30932f" providerId="ADAL" clId="{F44B76A6-A5C0-4B08-8BCC-E178E64C4338}" dt="2024-01-31T22:19:32.888" v="9346" actId="14100"/>
          <ac:spMkLst>
            <pc:docMk/>
            <pc:sldMk cId="1871989762" sldId="2147480297"/>
            <ac:spMk id="105" creationId="{41FFC02A-6F0C-602F-1E0D-3D7C1E99DAF3}"/>
          </ac:spMkLst>
        </pc:spChg>
        <pc:spChg chg="add del mod">
          <ac:chgData name="David CASTELNAU" userId="66a58927-c847-4858-a348-a4848e30932f" providerId="ADAL" clId="{F44B76A6-A5C0-4B08-8BCC-E178E64C4338}" dt="2024-01-31T22:20:43.534" v="9355" actId="478"/>
          <ac:spMkLst>
            <pc:docMk/>
            <pc:sldMk cId="1871989762" sldId="2147480297"/>
            <ac:spMk id="106" creationId="{C9840744-63BF-6569-4155-F24A182BE23D}"/>
          </ac:spMkLst>
        </pc:spChg>
        <pc:spChg chg="add mod">
          <ac:chgData name="David CASTELNAU" userId="66a58927-c847-4858-a348-a4848e30932f" providerId="ADAL" clId="{F44B76A6-A5C0-4B08-8BCC-E178E64C4338}" dt="2024-02-01T13:35:19.995" v="13161" actId="20577"/>
          <ac:spMkLst>
            <pc:docMk/>
            <pc:sldMk cId="1871989762" sldId="2147480297"/>
            <ac:spMk id="133" creationId="{71468F40-1EB8-02C5-258E-4BF591EEB338}"/>
          </ac:spMkLst>
        </pc:spChg>
        <pc:spChg chg="add mod">
          <ac:chgData name="David CASTELNAU" userId="66a58927-c847-4858-a348-a4848e30932f" providerId="ADAL" clId="{F44B76A6-A5C0-4B08-8BCC-E178E64C4338}" dt="2024-01-31T22:25:39.808" v="9622" actId="208"/>
          <ac:spMkLst>
            <pc:docMk/>
            <pc:sldMk cId="1871989762" sldId="2147480297"/>
            <ac:spMk id="134" creationId="{BB4BE686-C980-B9C7-CF57-15A43B216C87}"/>
          </ac:spMkLst>
        </pc:spChg>
        <pc:spChg chg="add mod">
          <ac:chgData name="David CASTELNAU" userId="66a58927-c847-4858-a348-a4848e30932f" providerId="ADAL" clId="{F44B76A6-A5C0-4B08-8BCC-E178E64C4338}" dt="2024-01-31T22:25:58.839" v="9626" actId="20577"/>
          <ac:spMkLst>
            <pc:docMk/>
            <pc:sldMk cId="1871989762" sldId="2147480297"/>
            <ac:spMk id="135" creationId="{E331A3C7-95DB-4B6D-13F0-6FF4A239148D}"/>
          </ac:spMkLst>
        </pc:spChg>
        <pc:spChg chg="add mod">
          <ac:chgData name="David CASTELNAU" userId="66a58927-c847-4858-a348-a4848e30932f" providerId="ADAL" clId="{F44B76A6-A5C0-4B08-8BCC-E178E64C4338}" dt="2024-01-31T22:26:12.324" v="9629" actId="14100"/>
          <ac:spMkLst>
            <pc:docMk/>
            <pc:sldMk cId="1871989762" sldId="2147480297"/>
            <ac:spMk id="136" creationId="{4DDDC2E6-50F5-B254-8A94-7865E9976844}"/>
          </ac:spMkLst>
        </pc:spChg>
        <pc:spChg chg="add del mod">
          <ac:chgData name="David CASTELNAU" userId="66a58927-c847-4858-a348-a4848e30932f" providerId="ADAL" clId="{F44B76A6-A5C0-4B08-8BCC-E178E64C4338}" dt="2024-01-31T22:39:03.456" v="9791" actId="114"/>
          <ac:spMkLst>
            <pc:docMk/>
            <pc:sldMk cId="1871989762" sldId="2147480297"/>
            <ac:spMk id="137" creationId="{C48B18D2-119A-BF36-B929-75688FBB74F7}"/>
          </ac:spMkLst>
        </pc:spChg>
        <pc:spChg chg="add del mod">
          <ac:chgData name="David CASTELNAU" userId="66a58927-c847-4858-a348-a4848e30932f" providerId="ADAL" clId="{F44B76A6-A5C0-4B08-8BCC-E178E64C4338}" dt="2024-01-31T22:39:03.456" v="9791" actId="114"/>
          <ac:spMkLst>
            <pc:docMk/>
            <pc:sldMk cId="1871989762" sldId="2147480297"/>
            <ac:spMk id="141" creationId="{65BCF457-8EE8-82A3-34F8-7CBA9F3CC12E}"/>
          </ac:spMkLst>
        </pc:spChg>
        <pc:grpChg chg="mod">
          <ac:chgData name="David CASTELNAU" userId="66a58927-c847-4858-a348-a4848e30932f" providerId="ADAL" clId="{F44B76A6-A5C0-4B08-8BCC-E178E64C4338}" dt="2024-01-31T21:58:40.267" v="8757" actId="1037"/>
          <ac:grpSpMkLst>
            <pc:docMk/>
            <pc:sldMk cId="1871989762" sldId="2147480297"/>
            <ac:grpSpMk id="3" creationId="{1255C4E5-FB73-35A3-ADDD-84CDCBECCF62}"/>
          </ac:grpSpMkLst>
        </pc:grpChg>
        <pc:grpChg chg="mod">
          <ac:chgData name="David CASTELNAU" userId="66a58927-c847-4858-a348-a4848e30932f" providerId="ADAL" clId="{F44B76A6-A5C0-4B08-8BCC-E178E64C4338}" dt="2024-01-31T21:58:33.325" v="8750" actId="1038"/>
          <ac:grpSpMkLst>
            <pc:docMk/>
            <pc:sldMk cId="1871989762" sldId="2147480297"/>
            <ac:grpSpMk id="20" creationId="{E2DC3E27-ED9F-ED5D-E3A8-3CEFCF14DE61}"/>
          </ac:grpSpMkLst>
        </pc:grpChg>
        <pc:grpChg chg="mod">
          <ac:chgData name="David CASTELNAU" userId="66a58927-c847-4858-a348-a4848e30932f" providerId="ADAL" clId="{F44B76A6-A5C0-4B08-8BCC-E178E64C4338}" dt="2024-01-31T21:58:33.325" v="8750" actId="1038"/>
          <ac:grpSpMkLst>
            <pc:docMk/>
            <pc:sldMk cId="1871989762" sldId="2147480297"/>
            <ac:grpSpMk id="21" creationId="{5E4AACA4-F6AF-7F18-BCE2-9DE68FD9975B}"/>
          </ac:grpSpMkLst>
        </pc:grpChg>
        <pc:grpChg chg="mod">
          <ac:chgData name="David CASTELNAU" userId="66a58927-c847-4858-a348-a4848e30932f" providerId="ADAL" clId="{F44B76A6-A5C0-4B08-8BCC-E178E64C4338}" dt="2024-01-31T21:58:40.267" v="8757" actId="1037"/>
          <ac:grpSpMkLst>
            <pc:docMk/>
            <pc:sldMk cId="1871989762" sldId="2147480297"/>
            <ac:grpSpMk id="27" creationId="{CB58F41A-B39C-B8EC-772A-28A968C044B0}"/>
          </ac:grpSpMkLst>
        </pc:grpChg>
        <pc:grpChg chg="add del mod">
          <ac:chgData name="David CASTELNAU" userId="66a58927-c847-4858-a348-a4848e30932f" providerId="ADAL" clId="{F44B76A6-A5C0-4B08-8BCC-E178E64C4338}" dt="2024-01-31T21:49:48.261" v="8567" actId="165"/>
          <ac:grpSpMkLst>
            <pc:docMk/>
            <pc:sldMk cId="1871989762" sldId="2147480297"/>
            <ac:grpSpMk id="50" creationId="{0546A3BF-F834-D95E-32EC-94C78E7D05C0}"/>
          </ac:grpSpMkLst>
        </pc:grpChg>
        <pc:grpChg chg="add mod">
          <ac:chgData name="David CASTELNAU" userId="66a58927-c847-4858-a348-a4848e30932f" providerId="ADAL" clId="{F44B76A6-A5C0-4B08-8BCC-E178E64C4338}" dt="2024-01-31T22:23:54.962" v="9393" actId="164"/>
          <ac:grpSpMkLst>
            <pc:docMk/>
            <pc:sldMk cId="1871989762" sldId="2147480297"/>
            <ac:grpSpMk id="132" creationId="{9C4DBCEB-03B2-DE4F-3B60-4D49D8846EE5}"/>
          </ac:grpSpMkLst>
        </pc:grpChg>
        <pc:picChg chg="mod topLvl">
          <ac:chgData name="David CASTELNAU" userId="66a58927-c847-4858-a348-a4848e30932f" providerId="ADAL" clId="{F44B76A6-A5C0-4B08-8BCC-E178E64C4338}" dt="2024-01-31T21:58:33.325" v="8750" actId="1038"/>
          <ac:picMkLst>
            <pc:docMk/>
            <pc:sldMk cId="1871989762" sldId="2147480297"/>
            <ac:picMk id="17" creationId="{251AB920-98C0-424C-B3ED-5FCE2DF5F9BB}"/>
          </ac:picMkLst>
        </pc:picChg>
        <pc:picChg chg="mod topLvl">
          <ac:chgData name="David CASTELNAU" userId="66a58927-c847-4858-a348-a4848e30932f" providerId="ADAL" clId="{F44B76A6-A5C0-4B08-8BCC-E178E64C4338}" dt="2024-01-31T21:58:33.325" v="8750" actId="1038"/>
          <ac:picMkLst>
            <pc:docMk/>
            <pc:sldMk cId="1871989762" sldId="2147480297"/>
            <ac:picMk id="24" creationId="{D5AF7C78-7B2E-45DF-850B-F5E2F6E0C797}"/>
          </ac:picMkLst>
        </pc:picChg>
        <pc:picChg chg="mod topLvl">
          <ac:chgData name="David CASTELNAU" userId="66a58927-c847-4858-a348-a4848e30932f" providerId="ADAL" clId="{F44B76A6-A5C0-4B08-8BCC-E178E64C4338}" dt="2024-01-31T21:50:42.447" v="8608" actId="12788"/>
          <ac:picMkLst>
            <pc:docMk/>
            <pc:sldMk cId="1871989762" sldId="2147480297"/>
            <ac:picMk id="25" creationId="{0E65DC76-16C3-6077-3CDE-BAFC29533E37}"/>
          </ac:picMkLst>
        </pc:picChg>
        <pc:picChg chg="mod topLvl">
          <ac:chgData name="David CASTELNAU" userId="66a58927-c847-4858-a348-a4848e30932f" providerId="ADAL" clId="{F44B76A6-A5C0-4B08-8BCC-E178E64C4338}" dt="2024-01-31T21:54:38.806" v="8664" actId="14100"/>
          <ac:picMkLst>
            <pc:docMk/>
            <pc:sldMk cId="1871989762" sldId="2147480297"/>
            <ac:picMk id="38" creationId="{0A6F251B-4048-3A5E-CC40-FD7128AADD10}"/>
          </ac:picMkLst>
        </pc:picChg>
        <pc:picChg chg="mod topLvl">
          <ac:chgData name="David CASTELNAU" userId="66a58927-c847-4858-a348-a4848e30932f" providerId="ADAL" clId="{F44B76A6-A5C0-4B08-8BCC-E178E64C4338}" dt="2024-01-31T21:58:40.267" v="8757" actId="1037"/>
          <ac:picMkLst>
            <pc:docMk/>
            <pc:sldMk cId="1871989762" sldId="2147480297"/>
            <ac:picMk id="39" creationId="{93B31935-171B-C190-01DF-23283D8B729C}"/>
          </ac:picMkLst>
        </pc:picChg>
        <pc:picChg chg="mod topLvl">
          <ac:chgData name="David CASTELNAU" userId="66a58927-c847-4858-a348-a4848e30932f" providerId="ADAL" clId="{F44B76A6-A5C0-4B08-8BCC-E178E64C4338}" dt="2024-01-31T21:58:40.267" v="8757" actId="1037"/>
          <ac:picMkLst>
            <pc:docMk/>
            <pc:sldMk cId="1871989762" sldId="2147480297"/>
            <ac:picMk id="40" creationId="{139A1737-534D-1CDC-B1D9-2C234A2E0E1A}"/>
          </ac:picMkLst>
        </pc:picChg>
        <pc:picChg chg="add mod">
          <ac:chgData name="David CASTELNAU" userId="66a58927-c847-4858-a348-a4848e30932f" providerId="ADAL" clId="{F44B76A6-A5C0-4B08-8BCC-E178E64C4338}" dt="2024-01-31T22:14:42.831" v="9217" actId="1035"/>
          <ac:picMkLst>
            <pc:docMk/>
            <pc:sldMk cId="1871989762" sldId="2147480297"/>
            <ac:picMk id="96" creationId="{F5A29C31-B52D-DB5A-84F4-6C3ECE8D9D85}"/>
          </ac:picMkLst>
        </pc:picChg>
        <pc:picChg chg="add mod">
          <ac:chgData name="David CASTELNAU" userId="66a58927-c847-4858-a348-a4848e30932f" providerId="ADAL" clId="{F44B76A6-A5C0-4B08-8BCC-E178E64C4338}" dt="2024-01-31T22:14:42.831" v="9217" actId="1035"/>
          <ac:picMkLst>
            <pc:docMk/>
            <pc:sldMk cId="1871989762" sldId="2147480297"/>
            <ac:picMk id="97" creationId="{6E58CB66-60D0-4C60-2FF1-8DF2DF7A15CD}"/>
          </ac:picMkLst>
        </pc:picChg>
        <pc:picChg chg="add mod">
          <ac:chgData name="David CASTELNAU" userId="66a58927-c847-4858-a348-a4848e30932f" providerId="ADAL" clId="{F44B76A6-A5C0-4B08-8BCC-E178E64C4338}" dt="2024-01-31T22:14:42.831" v="9217" actId="1035"/>
          <ac:picMkLst>
            <pc:docMk/>
            <pc:sldMk cId="1871989762" sldId="2147480297"/>
            <ac:picMk id="98" creationId="{8B6DA843-987F-1A22-5001-120CCC62D410}"/>
          </ac:picMkLst>
        </pc:picChg>
        <pc:picChg chg="add mod">
          <ac:chgData name="David CASTELNAU" userId="66a58927-c847-4858-a348-a4848e30932f" providerId="ADAL" clId="{F44B76A6-A5C0-4B08-8BCC-E178E64C4338}" dt="2024-01-31T22:14:42.831" v="9217" actId="1035"/>
          <ac:picMkLst>
            <pc:docMk/>
            <pc:sldMk cId="1871989762" sldId="2147480297"/>
            <ac:picMk id="99" creationId="{1EDE330A-F327-D4EA-D2D8-E009AA605608}"/>
          </ac:picMkLst>
        </pc:picChg>
        <pc:cxnChg chg="add mod">
          <ac:chgData name="David CASTELNAU" userId="66a58927-c847-4858-a348-a4848e30932f" providerId="ADAL" clId="{F44B76A6-A5C0-4B08-8BCC-E178E64C4338}" dt="2024-01-31T22:00:33.852" v="8830" actId="1037"/>
          <ac:cxnSpMkLst>
            <pc:docMk/>
            <pc:sldMk cId="1871989762" sldId="2147480297"/>
            <ac:cxnSpMk id="56" creationId="{3BC797E1-9BB4-0AB4-7D65-5E2CB5258637}"/>
          </ac:cxnSpMkLst>
        </pc:cxnChg>
        <pc:cxnChg chg="add mod">
          <ac:chgData name="David CASTELNAU" userId="66a58927-c847-4858-a348-a4848e30932f" providerId="ADAL" clId="{F44B76A6-A5C0-4B08-8BCC-E178E64C4338}" dt="2024-01-31T22:14:42.831" v="9217" actId="1035"/>
          <ac:cxnSpMkLst>
            <pc:docMk/>
            <pc:sldMk cId="1871989762" sldId="2147480297"/>
            <ac:cxnSpMk id="86" creationId="{3D35A673-F9F6-9921-457B-0991A6AEE92A}"/>
          </ac:cxnSpMkLst>
        </pc:cxnChg>
        <pc:cxnChg chg="add mod">
          <ac:chgData name="David CASTELNAU" userId="66a58927-c847-4858-a348-a4848e30932f" providerId="ADAL" clId="{F44B76A6-A5C0-4B08-8BCC-E178E64C4338}" dt="2024-01-31T22:23:54.962" v="9393" actId="164"/>
          <ac:cxnSpMkLst>
            <pc:docMk/>
            <pc:sldMk cId="1871989762" sldId="2147480297"/>
            <ac:cxnSpMk id="108" creationId="{B5536295-878C-8E63-78DC-2BBE939044F9}"/>
          </ac:cxnSpMkLst>
        </pc:cxnChg>
        <pc:cxnChg chg="add mod">
          <ac:chgData name="David CASTELNAU" userId="66a58927-c847-4858-a348-a4848e30932f" providerId="ADAL" clId="{F44B76A6-A5C0-4B08-8BCC-E178E64C4338}" dt="2024-01-31T22:23:54.962" v="9393" actId="164"/>
          <ac:cxnSpMkLst>
            <pc:docMk/>
            <pc:sldMk cId="1871989762" sldId="2147480297"/>
            <ac:cxnSpMk id="109" creationId="{C6A0BFD9-5173-A0A3-A58C-6AFE7C197CEE}"/>
          </ac:cxnSpMkLst>
        </pc:cxnChg>
        <pc:cxnChg chg="add mod">
          <ac:chgData name="David CASTELNAU" userId="66a58927-c847-4858-a348-a4848e30932f" providerId="ADAL" clId="{F44B76A6-A5C0-4B08-8BCC-E178E64C4338}" dt="2024-01-31T22:23:54.962" v="9393" actId="164"/>
          <ac:cxnSpMkLst>
            <pc:docMk/>
            <pc:sldMk cId="1871989762" sldId="2147480297"/>
            <ac:cxnSpMk id="112" creationId="{81DEEB67-9C88-9E9E-4762-FF40A8993C73}"/>
          </ac:cxnSpMkLst>
        </pc:cxnChg>
        <pc:cxnChg chg="add mod">
          <ac:chgData name="David CASTELNAU" userId="66a58927-c847-4858-a348-a4848e30932f" providerId="ADAL" clId="{F44B76A6-A5C0-4B08-8BCC-E178E64C4338}" dt="2024-01-31T22:23:54.962" v="9393" actId="164"/>
          <ac:cxnSpMkLst>
            <pc:docMk/>
            <pc:sldMk cId="1871989762" sldId="2147480297"/>
            <ac:cxnSpMk id="115" creationId="{5C05F06C-F4FB-192F-604B-C35157E35236}"/>
          </ac:cxnSpMkLst>
        </pc:cxnChg>
        <pc:cxnChg chg="add mod">
          <ac:chgData name="David CASTELNAU" userId="66a58927-c847-4858-a348-a4848e30932f" providerId="ADAL" clId="{F44B76A6-A5C0-4B08-8BCC-E178E64C4338}" dt="2024-01-31T22:23:54.962" v="9393" actId="164"/>
          <ac:cxnSpMkLst>
            <pc:docMk/>
            <pc:sldMk cId="1871989762" sldId="2147480297"/>
            <ac:cxnSpMk id="118" creationId="{E97D7E6B-42FB-2568-B391-4B8DE759DA2F}"/>
          </ac:cxnSpMkLst>
        </pc:cxnChg>
        <pc:cxnChg chg="add mod">
          <ac:chgData name="David CASTELNAU" userId="66a58927-c847-4858-a348-a4848e30932f" providerId="ADAL" clId="{F44B76A6-A5C0-4B08-8BCC-E178E64C4338}" dt="2024-01-31T22:23:54.962" v="9393" actId="164"/>
          <ac:cxnSpMkLst>
            <pc:docMk/>
            <pc:sldMk cId="1871989762" sldId="2147480297"/>
            <ac:cxnSpMk id="121" creationId="{D0AE9AFA-D66E-4A49-AAF2-879AA46A6D9B}"/>
          </ac:cxnSpMkLst>
        </pc:cxnChg>
        <pc:cxnChg chg="add mod">
          <ac:chgData name="David CASTELNAU" userId="66a58927-c847-4858-a348-a4848e30932f" providerId="ADAL" clId="{F44B76A6-A5C0-4B08-8BCC-E178E64C4338}" dt="2024-01-31T22:23:54.962" v="9393" actId="164"/>
          <ac:cxnSpMkLst>
            <pc:docMk/>
            <pc:sldMk cId="1871989762" sldId="2147480297"/>
            <ac:cxnSpMk id="124" creationId="{7F6519E6-842A-42B4-B626-05CE11DA8263}"/>
          </ac:cxnSpMkLst>
        </pc:cxnChg>
        <pc:cxnChg chg="add mod">
          <ac:chgData name="David CASTELNAU" userId="66a58927-c847-4858-a348-a4848e30932f" providerId="ADAL" clId="{F44B76A6-A5C0-4B08-8BCC-E178E64C4338}" dt="2024-01-31T22:23:54.962" v="9393" actId="164"/>
          <ac:cxnSpMkLst>
            <pc:docMk/>
            <pc:sldMk cId="1871989762" sldId="2147480297"/>
            <ac:cxnSpMk id="130" creationId="{42B0D60E-E9BC-FB6D-1850-CB9C6677F331}"/>
          </ac:cxnSpMkLst>
        </pc:cxnChg>
        <pc:cxnChg chg="add del mod">
          <ac:chgData name="David CASTELNAU" userId="66a58927-c847-4858-a348-a4848e30932f" providerId="ADAL" clId="{F44B76A6-A5C0-4B08-8BCC-E178E64C4338}" dt="2024-01-31T22:39:00.763" v="9789" actId="1035"/>
          <ac:cxnSpMkLst>
            <pc:docMk/>
            <pc:sldMk cId="1871989762" sldId="2147480297"/>
            <ac:cxnSpMk id="138" creationId="{DA13CDD7-EE37-499E-792F-868889C8AC01}"/>
          </ac:cxnSpMkLst>
        </pc:cxnChg>
        <pc:cxnChg chg="add del mod">
          <ac:chgData name="David CASTELNAU" userId="66a58927-c847-4858-a348-a4848e30932f" providerId="ADAL" clId="{F44B76A6-A5C0-4B08-8BCC-E178E64C4338}" dt="2024-01-31T22:39:00.763" v="9789" actId="1035"/>
          <ac:cxnSpMkLst>
            <pc:docMk/>
            <pc:sldMk cId="1871989762" sldId="2147480297"/>
            <ac:cxnSpMk id="142" creationId="{D41E6882-E7C1-DA4C-7051-2A170CECA2DE}"/>
          </ac:cxnSpMkLst>
        </pc:cxnChg>
      </pc:sldChg>
      <pc:sldChg chg="addSp delSp modSp del mod">
        <pc:chgData name="David CASTELNAU" userId="66a58927-c847-4858-a348-a4848e30932f" providerId="ADAL" clId="{F44B76A6-A5C0-4B08-8BCC-E178E64C4338}" dt="2024-02-02T14:52:49.924" v="19458" actId="47"/>
        <pc:sldMkLst>
          <pc:docMk/>
          <pc:sldMk cId="2459109621" sldId="2147480303"/>
        </pc:sldMkLst>
        <pc:spChg chg="add mod">
          <ac:chgData name="David CASTELNAU" userId="66a58927-c847-4858-a348-a4848e30932f" providerId="ADAL" clId="{F44B76A6-A5C0-4B08-8BCC-E178E64C4338}" dt="2024-01-31T23:19:28.908" v="10679" actId="404"/>
          <ac:spMkLst>
            <pc:docMk/>
            <pc:sldMk cId="2459109621" sldId="2147480303"/>
            <ac:spMk id="3" creationId="{149EED16-0243-89F7-708B-505A1F7B4A75}"/>
          </ac:spMkLst>
        </pc:spChg>
        <pc:spChg chg="del">
          <ac:chgData name="David CASTELNAU" userId="66a58927-c847-4858-a348-a4848e30932f" providerId="ADAL" clId="{F44B76A6-A5C0-4B08-8BCC-E178E64C4338}" dt="2024-02-01T16:39:46.539" v="14106" actId="478"/>
          <ac:spMkLst>
            <pc:docMk/>
            <pc:sldMk cId="2459109621" sldId="2147480303"/>
            <ac:spMk id="4" creationId="{24507632-32C2-F669-EE29-340927A024AC}"/>
          </ac:spMkLst>
        </pc:spChg>
        <pc:spChg chg="add del mod">
          <ac:chgData name="David CASTELNAU" userId="66a58927-c847-4858-a348-a4848e30932f" providerId="ADAL" clId="{F44B76A6-A5C0-4B08-8BCC-E178E64C4338}" dt="2024-02-01T16:40:36.168" v="14120" actId="478"/>
          <ac:spMkLst>
            <pc:docMk/>
            <pc:sldMk cId="2459109621" sldId="2147480303"/>
            <ac:spMk id="5" creationId="{805742CF-7A01-1869-5BDE-E287567448A8}"/>
          </ac:spMkLst>
        </pc:spChg>
        <pc:spChg chg="del">
          <ac:chgData name="David CASTELNAU" userId="66a58927-c847-4858-a348-a4848e30932f" providerId="ADAL" clId="{F44B76A6-A5C0-4B08-8BCC-E178E64C4338}" dt="2024-02-01T17:01:59.813" v="14404" actId="478"/>
          <ac:spMkLst>
            <pc:docMk/>
            <pc:sldMk cId="2459109621" sldId="2147480303"/>
            <ac:spMk id="6" creationId="{20E57D82-F953-A9CF-842C-01CC7439B287}"/>
          </ac:spMkLst>
        </pc:spChg>
        <pc:spChg chg="del">
          <ac:chgData name="David CASTELNAU" userId="66a58927-c847-4858-a348-a4848e30932f" providerId="ADAL" clId="{F44B76A6-A5C0-4B08-8BCC-E178E64C4338}" dt="2024-02-01T16:39:46.539" v="14106" actId="478"/>
          <ac:spMkLst>
            <pc:docMk/>
            <pc:sldMk cId="2459109621" sldId="2147480303"/>
            <ac:spMk id="7" creationId="{3CD9D581-C0E7-7963-AE8B-7185D2347A50}"/>
          </ac:spMkLst>
        </pc:spChg>
        <pc:spChg chg="add del mod">
          <ac:chgData name="David CASTELNAU" userId="66a58927-c847-4858-a348-a4848e30932f" providerId="ADAL" clId="{F44B76A6-A5C0-4B08-8BCC-E178E64C4338}" dt="2024-02-01T16:40:41.089" v="14121" actId="478"/>
          <ac:spMkLst>
            <pc:docMk/>
            <pc:sldMk cId="2459109621" sldId="2147480303"/>
            <ac:spMk id="8" creationId="{6F1C5D89-C0C3-3429-84AB-FEF19B7D7073}"/>
          </ac:spMkLst>
        </pc:spChg>
        <pc:spChg chg="add mod">
          <ac:chgData name="David CASTELNAU" userId="66a58927-c847-4858-a348-a4848e30932f" providerId="ADAL" clId="{F44B76A6-A5C0-4B08-8BCC-E178E64C4338}" dt="2024-02-01T18:05:16.259" v="15203" actId="554"/>
          <ac:spMkLst>
            <pc:docMk/>
            <pc:sldMk cId="2459109621" sldId="2147480303"/>
            <ac:spMk id="9" creationId="{5CB07BA8-6303-5430-EF72-D91D46530171}"/>
          </ac:spMkLst>
        </pc:spChg>
        <pc:spChg chg="add mod">
          <ac:chgData name="David CASTELNAU" userId="66a58927-c847-4858-a348-a4848e30932f" providerId="ADAL" clId="{F44B76A6-A5C0-4B08-8BCC-E178E64C4338}" dt="2024-02-01T18:05:34.487" v="15205" actId="14100"/>
          <ac:spMkLst>
            <pc:docMk/>
            <pc:sldMk cId="2459109621" sldId="2147480303"/>
            <ac:spMk id="10" creationId="{5DEABB8A-1642-2588-AF97-C637C033DC87}"/>
          </ac:spMkLst>
        </pc:spChg>
        <pc:spChg chg="mod">
          <ac:chgData name="David CASTELNAU" userId="66a58927-c847-4858-a348-a4848e30932f" providerId="ADAL" clId="{F44B76A6-A5C0-4B08-8BCC-E178E64C4338}" dt="2024-02-01T16:39:58.015" v="14107" actId="1076"/>
          <ac:spMkLst>
            <pc:docMk/>
            <pc:sldMk cId="2459109621" sldId="2147480303"/>
            <ac:spMk id="13" creationId="{BC7423FC-1AD2-65AD-7EF9-E7417B55902E}"/>
          </ac:spMkLst>
        </pc:spChg>
        <pc:spChg chg="add mod">
          <ac:chgData name="David CASTELNAU" userId="66a58927-c847-4858-a348-a4848e30932f" providerId="ADAL" clId="{F44B76A6-A5C0-4B08-8BCC-E178E64C4338}" dt="2024-02-01T17:05:24.137" v="14539" actId="1037"/>
          <ac:spMkLst>
            <pc:docMk/>
            <pc:sldMk cId="2459109621" sldId="2147480303"/>
            <ac:spMk id="14" creationId="{6DF0827B-B467-4D9F-C4A1-6E4085BA5F8C}"/>
          </ac:spMkLst>
        </pc:spChg>
        <pc:spChg chg="mod">
          <ac:chgData name="David CASTELNAU" userId="66a58927-c847-4858-a348-a4848e30932f" providerId="ADAL" clId="{F44B76A6-A5C0-4B08-8BCC-E178E64C4338}" dt="2024-02-02T13:56:41.505" v="18545" actId="14100"/>
          <ac:spMkLst>
            <pc:docMk/>
            <pc:sldMk cId="2459109621" sldId="2147480303"/>
            <ac:spMk id="19" creationId="{7E15F808-6529-4F31-E135-73ED1499BD30}"/>
          </ac:spMkLst>
        </pc:spChg>
        <pc:spChg chg="mod">
          <ac:chgData name="David CASTELNAU" userId="66a58927-c847-4858-a348-a4848e30932f" providerId="ADAL" clId="{F44B76A6-A5C0-4B08-8BCC-E178E64C4338}" dt="2024-02-02T13:56:41.505" v="18545" actId="14100"/>
          <ac:spMkLst>
            <pc:docMk/>
            <pc:sldMk cId="2459109621" sldId="2147480303"/>
            <ac:spMk id="20" creationId="{BE3FA3AA-B7AE-FFF5-4A62-B0C527944FBB}"/>
          </ac:spMkLst>
        </pc:spChg>
        <pc:spChg chg="mod">
          <ac:chgData name="David CASTELNAU" userId="66a58927-c847-4858-a348-a4848e30932f" providerId="ADAL" clId="{F44B76A6-A5C0-4B08-8BCC-E178E64C4338}" dt="2024-02-01T17:04:54.772" v="14530" actId="552"/>
          <ac:spMkLst>
            <pc:docMk/>
            <pc:sldMk cId="2459109621" sldId="2147480303"/>
            <ac:spMk id="22" creationId="{0F5CC068-BEB6-75F0-2653-BF4C75B26F43}"/>
          </ac:spMkLst>
        </pc:spChg>
        <pc:spChg chg="mod">
          <ac:chgData name="David CASTELNAU" userId="66a58927-c847-4858-a348-a4848e30932f" providerId="ADAL" clId="{F44B76A6-A5C0-4B08-8BCC-E178E64C4338}" dt="2024-02-02T13:56:41.505" v="18545" actId="14100"/>
          <ac:spMkLst>
            <pc:docMk/>
            <pc:sldMk cId="2459109621" sldId="2147480303"/>
            <ac:spMk id="23" creationId="{3E67951F-645C-75D5-4C00-0501D91507E4}"/>
          </ac:spMkLst>
        </pc:spChg>
        <pc:spChg chg="mod ord">
          <ac:chgData name="David CASTELNAU" userId="66a58927-c847-4858-a348-a4848e30932f" providerId="ADAL" clId="{F44B76A6-A5C0-4B08-8BCC-E178E64C4338}" dt="2024-02-02T14:29:38.917" v="19364" actId="1076"/>
          <ac:spMkLst>
            <pc:docMk/>
            <pc:sldMk cId="2459109621" sldId="2147480303"/>
            <ac:spMk id="24" creationId="{9D04B3E2-268E-5092-9AEC-F0AA3211E088}"/>
          </ac:spMkLst>
        </pc:spChg>
        <pc:spChg chg="del">
          <ac:chgData name="David CASTELNAU" userId="66a58927-c847-4858-a348-a4848e30932f" providerId="ADAL" clId="{F44B76A6-A5C0-4B08-8BCC-E178E64C4338}" dt="2024-02-02T13:55:00.318" v="18461" actId="478"/>
          <ac:spMkLst>
            <pc:docMk/>
            <pc:sldMk cId="2459109621" sldId="2147480303"/>
            <ac:spMk id="27" creationId="{5A5D8045-CE1F-51C0-C6BF-6696033DBF8B}"/>
          </ac:spMkLst>
        </pc:spChg>
        <pc:spChg chg="mod">
          <ac:chgData name="David CASTELNAU" userId="66a58927-c847-4858-a348-a4848e30932f" providerId="ADAL" clId="{F44B76A6-A5C0-4B08-8BCC-E178E64C4338}" dt="2024-02-02T13:57:37.524" v="18551" actId="14100"/>
          <ac:spMkLst>
            <pc:docMk/>
            <pc:sldMk cId="2459109621" sldId="2147480303"/>
            <ac:spMk id="28" creationId="{5223089B-F7C4-1DFD-01E9-F99B6115C18C}"/>
          </ac:spMkLst>
        </pc:spChg>
        <pc:spChg chg="mod">
          <ac:chgData name="David CASTELNAU" userId="66a58927-c847-4858-a348-a4848e30932f" providerId="ADAL" clId="{F44B76A6-A5C0-4B08-8BCC-E178E64C4338}" dt="2024-02-02T13:55:54.016" v="18525" actId="20577"/>
          <ac:spMkLst>
            <pc:docMk/>
            <pc:sldMk cId="2459109621" sldId="2147480303"/>
            <ac:spMk id="30" creationId="{0E880AF1-20A2-6A42-D025-78354F94021D}"/>
          </ac:spMkLst>
        </pc:spChg>
        <pc:spChg chg="del">
          <ac:chgData name="David CASTELNAU" userId="66a58927-c847-4858-a348-a4848e30932f" providerId="ADAL" clId="{F44B76A6-A5C0-4B08-8BCC-E178E64C4338}" dt="2024-01-31T23:17:32.408" v="10636" actId="478"/>
          <ac:spMkLst>
            <pc:docMk/>
            <pc:sldMk cId="2459109621" sldId="2147480303"/>
            <ac:spMk id="31" creationId="{C525BBE0-9CFA-6ADC-0EDD-0D9341105740}"/>
          </ac:spMkLst>
        </pc:spChg>
        <pc:spChg chg="mod">
          <ac:chgData name="David CASTELNAU" userId="66a58927-c847-4858-a348-a4848e30932f" providerId="ADAL" clId="{F44B76A6-A5C0-4B08-8BCC-E178E64C4338}" dt="2024-02-02T13:58:06.950" v="18559" actId="20577"/>
          <ac:spMkLst>
            <pc:docMk/>
            <pc:sldMk cId="2459109621" sldId="2147480303"/>
            <ac:spMk id="31" creationId="{E133B8CB-A607-3763-834C-6264786D75F0}"/>
          </ac:spMkLst>
        </pc:spChg>
        <pc:spChg chg="mod">
          <ac:chgData name="David CASTELNAU" userId="66a58927-c847-4858-a348-a4848e30932f" providerId="ADAL" clId="{F44B76A6-A5C0-4B08-8BCC-E178E64C4338}" dt="2024-02-02T13:58:17.651" v="18567" actId="20577"/>
          <ac:spMkLst>
            <pc:docMk/>
            <pc:sldMk cId="2459109621" sldId="2147480303"/>
            <ac:spMk id="32" creationId="{32E8FA62-1181-B645-3B13-BA0E061ECCE4}"/>
          </ac:spMkLst>
        </pc:spChg>
        <pc:grpChg chg="del mod">
          <ac:chgData name="David CASTELNAU" userId="66a58927-c847-4858-a348-a4848e30932f" providerId="ADAL" clId="{F44B76A6-A5C0-4B08-8BCC-E178E64C4338}" dt="2024-02-02T14:00:31.753" v="18569" actId="21"/>
          <ac:grpSpMkLst>
            <pc:docMk/>
            <pc:sldMk cId="2459109621" sldId="2147480303"/>
            <ac:grpSpMk id="5" creationId="{0009CCB3-6C6D-ED3B-1866-AEA85971E56F}"/>
          </ac:grpSpMkLst>
        </pc:grpChg>
        <pc:grpChg chg="add del mod">
          <ac:chgData name="David CASTELNAU" userId="66a58927-c847-4858-a348-a4848e30932f" providerId="ADAL" clId="{F44B76A6-A5C0-4B08-8BCC-E178E64C4338}" dt="2024-01-31T23:16:42.009" v="10619" actId="478"/>
          <ac:grpSpMkLst>
            <pc:docMk/>
            <pc:sldMk cId="2459109621" sldId="2147480303"/>
            <ac:grpSpMk id="30" creationId="{A84FE664-BC8F-287F-A3FC-F1D8DE491D20}"/>
          </ac:grpSpMkLst>
        </pc:grpChg>
        <pc:graphicFrameChg chg="del mod replST">
          <ac:chgData name="David CASTELNAU" userId="66a58927-c847-4858-a348-a4848e30932f" providerId="ADAL" clId="{F44B76A6-A5C0-4B08-8BCC-E178E64C4338}" dt="2024-02-01T09:32:01.754" v="11854" actId="478"/>
          <ac:graphicFrameMkLst>
            <pc:docMk/>
            <pc:sldMk cId="2459109621" sldId="2147480303"/>
            <ac:graphicFrameMk id="2" creationId="{AFB21283-7D42-88A8-23DE-3E8A40456328}"/>
          </ac:graphicFrameMkLst>
        </pc:graphicFrameChg>
        <pc:graphicFrameChg chg="del mod replST">
          <ac:chgData name="David CASTELNAU" userId="66a58927-c847-4858-a348-a4848e30932f" providerId="ADAL" clId="{F44B76A6-A5C0-4B08-8BCC-E178E64C4338}" dt="2024-02-01T17:00:02.361" v="14361" actId="478"/>
          <ac:graphicFrameMkLst>
            <pc:docMk/>
            <pc:sldMk cId="2459109621" sldId="2147480303"/>
            <ac:graphicFrameMk id="11" creationId="{B0457BBD-761A-A72B-DB19-08AC92359D19}"/>
          </ac:graphicFrameMkLst>
        </pc:graphicFrameChg>
        <pc:graphicFrameChg chg="del mod replST">
          <ac:chgData name="David CASTELNAU" userId="66a58927-c847-4858-a348-a4848e30932f" providerId="ADAL" clId="{F44B76A6-A5C0-4B08-8BCC-E178E64C4338}" dt="2024-02-01T17:09:17.675" v="14575" actId="478"/>
          <ac:graphicFrameMkLst>
            <pc:docMk/>
            <pc:sldMk cId="2459109621" sldId="2147480303"/>
            <ac:graphicFrameMk id="12" creationId="{4E161A14-D788-20A3-A913-1480992278BD}"/>
          </ac:graphicFrameMkLst>
        </pc:graphicFrameChg>
        <pc:graphicFrameChg chg="del mod replST">
          <ac:chgData name="David CASTELNAU" userId="66a58927-c847-4858-a348-a4848e30932f" providerId="ADAL" clId="{F44B76A6-A5C0-4B08-8BCC-E178E64C4338}" dt="2024-02-01T18:03:34.374" v="15146" actId="478"/>
          <ac:graphicFrameMkLst>
            <pc:docMk/>
            <pc:sldMk cId="2459109621" sldId="2147480303"/>
            <ac:graphicFrameMk id="15" creationId="{868A8C2F-B25C-605C-2783-71A65B0F5FA4}"/>
          </ac:graphicFrameMkLst>
        </pc:graphicFrameChg>
        <pc:graphicFrameChg chg="del mod replST">
          <ac:chgData name="David CASTELNAU" userId="66a58927-c847-4858-a348-a4848e30932f" providerId="ADAL" clId="{F44B76A6-A5C0-4B08-8BCC-E178E64C4338}" dt="2024-02-01T18:03:33.033" v="15145" actId="478"/>
          <ac:graphicFrameMkLst>
            <pc:docMk/>
            <pc:sldMk cId="2459109621" sldId="2147480303"/>
            <ac:graphicFrameMk id="16" creationId="{A9370543-16C4-1D1E-AE6D-60224E589558}"/>
          </ac:graphicFrameMkLst>
        </pc:graphicFrameChg>
        <pc:graphicFrameChg chg="mod replST">
          <ac:chgData name="David CASTELNAU" userId="66a58927-c847-4858-a348-a4848e30932f" providerId="ADAL" clId="{F44B76A6-A5C0-4B08-8BCC-E178E64C4338}" dt="2024-02-02T13:53:38.038" v="18397"/>
          <ac:graphicFrameMkLst>
            <pc:docMk/>
            <pc:sldMk cId="2459109621" sldId="2147480303"/>
            <ac:graphicFrameMk id="17" creationId="{F113C102-2EFA-4F68-746B-11ADE0AE26C3}"/>
          </ac:graphicFrameMkLst>
        </pc:graphicFrameChg>
        <pc:graphicFrameChg chg="mod replST">
          <ac:chgData name="David CASTELNAU" userId="66a58927-c847-4858-a348-a4848e30932f" providerId="ADAL" clId="{F44B76A6-A5C0-4B08-8BCC-E178E64C4338}" dt="2024-02-02T13:53:38.039" v="18398"/>
          <ac:graphicFrameMkLst>
            <pc:docMk/>
            <pc:sldMk cId="2459109621" sldId="2147480303"/>
            <ac:graphicFrameMk id="18" creationId="{9BFD99DB-2AE4-1429-2A33-8D4960E71F2A}"/>
          </ac:graphicFrameMkLst>
        </pc:graphicFrameChg>
      </pc:sldChg>
      <pc:sldChg chg="addSp modSp mod">
        <pc:chgData name="David CASTELNAU" userId="66a58927-c847-4858-a348-a4848e30932f" providerId="ADAL" clId="{F44B76A6-A5C0-4B08-8BCC-E178E64C4338}" dt="2024-02-01T08:24:28.200" v="11815" actId="20577"/>
        <pc:sldMkLst>
          <pc:docMk/>
          <pc:sldMk cId="1464809953" sldId="2147480304"/>
        </pc:sldMkLst>
        <pc:spChg chg="mod">
          <ac:chgData name="David CASTELNAU" userId="66a58927-c847-4858-a348-a4848e30932f" providerId="ADAL" clId="{F44B76A6-A5C0-4B08-8BCC-E178E64C4338}" dt="2024-02-01T08:24:28.200" v="11815" actId="20577"/>
          <ac:spMkLst>
            <pc:docMk/>
            <pc:sldMk cId="1464809953" sldId="2147480304"/>
            <ac:spMk id="6" creationId="{B8A03E6E-7BA2-5A8D-4EBF-FD8016477BB8}"/>
          </ac:spMkLst>
        </pc:spChg>
        <pc:spChg chg="mod">
          <ac:chgData name="David CASTELNAU" userId="66a58927-c847-4858-a348-a4848e30932f" providerId="ADAL" clId="{F44B76A6-A5C0-4B08-8BCC-E178E64C4338}" dt="2024-02-01T08:24:02.787" v="11782"/>
          <ac:spMkLst>
            <pc:docMk/>
            <pc:sldMk cId="1464809953" sldId="2147480304"/>
            <ac:spMk id="7" creationId="{27322F39-0F0C-A904-CF26-D0B8E51B3C37}"/>
          </ac:spMkLst>
        </pc:spChg>
        <pc:spChg chg="mod">
          <ac:chgData name="David CASTELNAU" userId="66a58927-c847-4858-a348-a4848e30932f" providerId="ADAL" clId="{F44B76A6-A5C0-4B08-8BCC-E178E64C4338}" dt="2024-01-31T09:32:56.315" v="6534" actId="20577"/>
          <ac:spMkLst>
            <pc:docMk/>
            <pc:sldMk cId="1464809953" sldId="2147480304"/>
            <ac:spMk id="13" creationId="{625BAB93-C0A5-CA04-C4E0-009F6402AE8E}"/>
          </ac:spMkLst>
        </pc:spChg>
        <pc:spChg chg="mod">
          <ac:chgData name="David CASTELNAU" userId="66a58927-c847-4858-a348-a4848e30932f" providerId="ADAL" clId="{F44B76A6-A5C0-4B08-8BCC-E178E64C4338}" dt="2024-01-31T08:36:17.380" v="3287"/>
          <ac:spMkLst>
            <pc:docMk/>
            <pc:sldMk cId="1464809953" sldId="2147480304"/>
            <ac:spMk id="14" creationId="{1D8CCB36-C415-019F-6169-AF384BD47DEE}"/>
          </ac:spMkLst>
        </pc:spChg>
        <pc:spChg chg="add mod">
          <ac:chgData name="David CASTELNAU" userId="66a58927-c847-4858-a348-a4848e30932f" providerId="ADAL" clId="{F44B76A6-A5C0-4B08-8BCC-E178E64C4338}" dt="2024-01-31T09:20:56.928" v="5728" actId="1037"/>
          <ac:spMkLst>
            <pc:docMk/>
            <pc:sldMk cId="1464809953" sldId="2147480304"/>
            <ac:spMk id="15" creationId="{A8663677-EF84-4DF9-A490-C13CBC282EB7}"/>
          </ac:spMkLst>
        </pc:spChg>
        <pc:spChg chg="mod">
          <ac:chgData name="David CASTELNAU" userId="66a58927-c847-4858-a348-a4848e30932f" providerId="ADAL" clId="{F44B76A6-A5C0-4B08-8BCC-E178E64C4338}" dt="2024-01-31T09:32:04.655" v="6427" actId="20577"/>
          <ac:spMkLst>
            <pc:docMk/>
            <pc:sldMk cId="1464809953" sldId="2147480304"/>
            <ac:spMk id="17" creationId="{E9798A72-0C33-3BAB-C37B-AF768154ED18}"/>
          </ac:spMkLst>
        </pc:spChg>
        <pc:spChg chg="mod">
          <ac:chgData name="David CASTELNAU" userId="66a58927-c847-4858-a348-a4848e30932f" providerId="ADAL" clId="{F44B76A6-A5C0-4B08-8BCC-E178E64C4338}" dt="2024-01-31T09:21:19.913" v="5729"/>
          <ac:spMkLst>
            <pc:docMk/>
            <pc:sldMk cId="1464809953" sldId="2147480304"/>
            <ac:spMk id="19" creationId="{7F03EAE1-A3B5-A966-832B-E3DF270AE991}"/>
          </ac:spMkLst>
        </pc:spChg>
        <pc:grpChg chg="add mod">
          <ac:chgData name="David CASTELNAU" userId="66a58927-c847-4858-a348-a4848e30932f" providerId="ADAL" clId="{F44B76A6-A5C0-4B08-8BCC-E178E64C4338}" dt="2024-02-01T08:24:13.201" v="11784" actId="1076"/>
          <ac:grpSpMkLst>
            <pc:docMk/>
            <pc:sldMk cId="1464809953" sldId="2147480304"/>
            <ac:grpSpMk id="5" creationId="{379F06EA-E4EB-CC97-0791-76F113BCBD0D}"/>
          </ac:grpSpMkLst>
        </pc:grpChg>
        <pc:grpChg chg="add mod">
          <ac:chgData name="David CASTELNAU" userId="66a58927-c847-4858-a348-a4848e30932f" providerId="ADAL" clId="{F44B76A6-A5C0-4B08-8BCC-E178E64C4338}" dt="2024-01-31T08:36:28.061" v="3288" actId="1076"/>
          <ac:grpSpMkLst>
            <pc:docMk/>
            <pc:sldMk cId="1464809953" sldId="2147480304"/>
            <ac:grpSpMk id="11" creationId="{BCC0FAC9-BBAB-FAE2-2F2C-23ECDD2F2430}"/>
          </ac:grpSpMkLst>
        </pc:grpChg>
        <pc:grpChg chg="add mod">
          <ac:chgData name="David CASTELNAU" userId="66a58927-c847-4858-a348-a4848e30932f" providerId="ADAL" clId="{F44B76A6-A5C0-4B08-8BCC-E178E64C4338}" dt="2024-01-31T09:33:51.580" v="6561" actId="1076"/>
          <ac:grpSpMkLst>
            <pc:docMk/>
            <pc:sldMk cId="1464809953" sldId="2147480304"/>
            <ac:grpSpMk id="16" creationId="{37F04A7D-9DE1-FF1D-BF85-7BFEC27FB3EE}"/>
          </ac:grpSpMkLst>
        </pc:grpChg>
        <pc:picChg chg="mod">
          <ac:chgData name="David CASTELNAU" userId="66a58927-c847-4858-a348-a4848e30932f" providerId="ADAL" clId="{F44B76A6-A5C0-4B08-8BCC-E178E64C4338}" dt="2024-02-01T08:24:02.787" v="11782"/>
          <ac:picMkLst>
            <pc:docMk/>
            <pc:sldMk cId="1464809953" sldId="2147480304"/>
            <ac:picMk id="9" creationId="{17427F53-5279-E15A-4FC6-F79657DA78B5}"/>
          </ac:picMkLst>
        </pc:picChg>
        <pc:picChg chg="add mod">
          <ac:chgData name="David CASTELNAU" userId="66a58927-c847-4858-a348-a4848e30932f" providerId="ADAL" clId="{F44B76A6-A5C0-4B08-8BCC-E178E64C4338}" dt="2024-01-31T09:33:40.808" v="6560" actId="1036"/>
          <ac:picMkLst>
            <pc:docMk/>
            <pc:sldMk cId="1464809953" sldId="2147480304"/>
            <ac:picMk id="22" creationId="{38B001F8-9C93-3EB0-F22A-08FB20E853E5}"/>
          </ac:picMkLst>
        </pc:picChg>
      </pc:sldChg>
      <pc:sldChg chg="addSp delSp modSp mod">
        <pc:chgData name="David CASTELNAU" userId="66a58927-c847-4858-a348-a4848e30932f" providerId="ADAL" clId="{F44B76A6-A5C0-4B08-8BCC-E178E64C4338}" dt="2024-02-02T17:59:34.484" v="20329" actId="20577"/>
        <pc:sldMkLst>
          <pc:docMk/>
          <pc:sldMk cId="1097620525" sldId="2147480307"/>
        </pc:sldMkLst>
        <pc:spChg chg="mod">
          <ac:chgData name="David CASTELNAU" userId="66a58927-c847-4858-a348-a4848e30932f" providerId="ADAL" clId="{F44B76A6-A5C0-4B08-8BCC-E178E64C4338}" dt="2024-02-02T16:02:15.871" v="20102"/>
          <ac:spMkLst>
            <pc:docMk/>
            <pc:sldMk cId="1097620525" sldId="2147480307"/>
            <ac:spMk id="7" creationId="{8079125D-CFC6-49E2-531A-B3BCD8992476}"/>
          </ac:spMkLst>
        </pc:spChg>
        <pc:spChg chg="add del">
          <ac:chgData name="David CASTELNAU" userId="66a58927-c847-4858-a348-a4848e30932f" providerId="ADAL" clId="{F44B76A6-A5C0-4B08-8BCC-E178E64C4338}" dt="2024-02-02T16:00:43.039" v="20055" actId="478"/>
          <ac:spMkLst>
            <pc:docMk/>
            <pc:sldMk cId="1097620525" sldId="2147480307"/>
            <ac:spMk id="13" creationId="{7F408A1A-4FC2-B985-9FE5-C7766DD5F078}"/>
          </ac:spMkLst>
        </pc:spChg>
        <pc:spChg chg="mod">
          <ac:chgData name="David CASTELNAU" userId="66a58927-c847-4858-a348-a4848e30932f" providerId="ADAL" clId="{F44B76A6-A5C0-4B08-8BCC-E178E64C4338}" dt="2024-02-02T17:59:34.484" v="20329" actId="20577"/>
          <ac:spMkLst>
            <pc:docMk/>
            <pc:sldMk cId="1097620525" sldId="2147480307"/>
            <ac:spMk id="17" creationId="{6233450F-6346-D4B1-9985-9A4B50FE151E}"/>
          </ac:spMkLst>
        </pc:spChg>
        <pc:spChg chg="mod">
          <ac:chgData name="David CASTELNAU" userId="66a58927-c847-4858-a348-a4848e30932f" providerId="ADAL" clId="{F44B76A6-A5C0-4B08-8BCC-E178E64C4338}" dt="2024-01-31T22:44:44.274" v="9942" actId="20577"/>
          <ac:spMkLst>
            <pc:docMk/>
            <pc:sldMk cId="1097620525" sldId="2147480307"/>
            <ac:spMk id="18" creationId="{C8231268-C2B2-BE48-01AF-35E343770CEF}"/>
          </ac:spMkLst>
        </pc:spChg>
        <pc:spChg chg="mod">
          <ac:chgData name="David CASTELNAU" userId="66a58927-c847-4858-a348-a4848e30932f" providerId="ADAL" clId="{F44B76A6-A5C0-4B08-8BCC-E178E64C4338}" dt="2024-02-02T16:10:16.023" v="20292" actId="20577"/>
          <ac:spMkLst>
            <pc:docMk/>
            <pc:sldMk cId="1097620525" sldId="2147480307"/>
            <ac:spMk id="25" creationId="{1515E993-6069-6C0D-1BB2-F62EC1A5417F}"/>
          </ac:spMkLst>
        </pc:spChg>
        <pc:spChg chg="mod">
          <ac:chgData name="David CASTELNAU" userId="66a58927-c847-4858-a348-a4848e30932f" providerId="ADAL" clId="{F44B76A6-A5C0-4B08-8BCC-E178E64C4338}" dt="2024-01-31T22:47:35.038" v="10016" actId="20577"/>
          <ac:spMkLst>
            <pc:docMk/>
            <pc:sldMk cId="1097620525" sldId="2147480307"/>
            <ac:spMk id="32" creationId="{B3495833-9CC2-ED21-6E68-56E657DD98F8}"/>
          </ac:spMkLst>
        </pc:spChg>
        <pc:spChg chg="mod">
          <ac:chgData name="David CASTELNAU" userId="66a58927-c847-4858-a348-a4848e30932f" providerId="ADAL" clId="{F44B76A6-A5C0-4B08-8BCC-E178E64C4338}" dt="2024-01-31T22:45:57.160" v="9970" actId="13926"/>
          <ac:spMkLst>
            <pc:docMk/>
            <pc:sldMk cId="1097620525" sldId="2147480307"/>
            <ac:spMk id="33" creationId="{7A064286-2ACC-8408-C2B8-83BB75643094}"/>
          </ac:spMkLst>
        </pc:spChg>
        <pc:grpChg chg="mod">
          <ac:chgData name="David CASTELNAU" userId="66a58927-c847-4858-a348-a4848e30932f" providerId="ADAL" clId="{F44B76A6-A5C0-4B08-8BCC-E178E64C4338}" dt="2024-02-02T16:02:15.871" v="20102"/>
          <ac:grpSpMkLst>
            <pc:docMk/>
            <pc:sldMk cId="1097620525" sldId="2147480307"/>
            <ac:grpSpMk id="4" creationId="{824A06BA-A461-44F3-8AA9-4CAAA46DE75A}"/>
          </ac:grpSpMkLst>
        </pc:grpChg>
        <pc:picChg chg="mod">
          <ac:chgData name="David CASTELNAU" userId="66a58927-c847-4858-a348-a4848e30932f" providerId="ADAL" clId="{F44B76A6-A5C0-4B08-8BCC-E178E64C4338}" dt="2024-02-02T16:02:15.871" v="20102"/>
          <ac:picMkLst>
            <pc:docMk/>
            <pc:sldMk cId="1097620525" sldId="2147480307"/>
            <ac:picMk id="9" creationId="{5904BD4C-6B18-D95B-413D-D7C652B5B9EE}"/>
          </ac:picMkLst>
        </pc:picChg>
      </pc:sldChg>
      <pc:sldChg chg="modSp mod">
        <pc:chgData name="David CASTELNAU" userId="66a58927-c847-4858-a348-a4848e30932f" providerId="ADAL" clId="{F44B76A6-A5C0-4B08-8BCC-E178E64C4338}" dt="2024-02-02T17:59:37.883" v="20330" actId="20577"/>
        <pc:sldMkLst>
          <pc:docMk/>
          <pc:sldMk cId="4075207573" sldId="2147480309"/>
        </pc:sldMkLst>
        <pc:spChg chg="mod">
          <ac:chgData name="David CASTELNAU" userId="66a58927-c847-4858-a348-a4848e30932f" providerId="ADAL" clId="{F44B76A6-A5C0-4B08-8BCC-E178E64C4338}" dt="2024-02-02T17:59:37.883" v="20330" actId="20577"/>
          <ac:spMkLst>
            <pc:docMk/>
            <pc:sldMk cId="4075207573" sldId="2147480309"/>
            <ac:spMk id="8" creationId="{F0C139CC-75B5-A59D-DD29-DE2412CA804E}"/>
          </ac:spMkLst>
        </pc:spChg>
      </pc:sldChg>
      <pc:sldChg chg="addSp modSp mod">
        <pc:chgData name="David CASTELNAU" userId="66a58927-c847-4858-a348-a4848e30932f" providerId="ADAL" clId="{F44B76A6-A5C0-4B08-8BCC-E178E64C4338}" dt="2024-02-02T17:59:28.511" v="20328" actId="20577"/>
        <pc:sldMkLst>
          <pc:docMk/>
          <pc:sldMk cId="2065068344" sldId="2147480310"/>
        </pc:sldMkLst>
        <pc:spChg chg="mod">
          <ac:chgData name="David CASTELNAU" userId="66a58927-c847-4858-a348-a4848e30932f" providerId="ADAL" clId="{F44B76A6-A5C0-4B08-8BCC-E178E64C4338}" dt="2024-02-02T13:45:59.402" v="18223" actId="20577"/>
          <ac:spMkLst>
            <pc:docMk/>
            <pc:sldMk cId="2065068344" sldId="2147480310"/>
            <ac:spMk id="12" creationId="{A69472D7-2493-2CA6-688C-D454739D34D4}"/>
          </ac:spMkLst>
        </pc:spChg>
        <pc:spChg chg="add mod">
          <ac:chgData name="David CASTELNAU" userId="66a58927-c847-4858-a348-a4848e30932f" providerId="ADAL" clId="{F44B76A6-A5C0-4B08-8BCC-E178E64C4338}" dt="2024-01-31T22:32:55.324" v="9677" actId="404"/>
          <ac:spMkLst>
            <pc:docMk/>
            <pc:sldMk cId="2065068344" sldId="2147480310"/>
            <ac:spMk id="39" creationId="{D9DE7A75-20EC-4FAC-8EB5-97A55E3BCACF}"/>
          </ac:spMkLst>
        </pc:spChg>
        <pc:spChg chg="mod">
          <ac:chgData name="David CASTELNAU" userId="66a58927-c847-4858-a348-a4848e30932f" providerId="ADAL" clId="{F44B76A6-A5C0-4B08-8BCC-E178E64C4338}" dt="2024-02-02T17:59:28.511" v="20328" actId="20577"/>
          <ac:spMkLst>
            <pc:docMk/>
            <pc:sldMk cId="2065068344" sldId="2147480310"/>
            <ac:spMk id="50" creationId="{DBD249CB-1B79-62D3-6E21-2EBC4695B0F7}"/>
          </ac:spMkLst>
        </pc:spChg>
      </pc:sldChg>
      <pc:sldChg chg="delSp modSp mod">
        <pc:chgData name="David CASTELNAU" userId="66a58927-c847-4858-a348-a4848e30932f" providerId="ADAL" clId="{F44B76A6-A5C0-4B08-8BCC-E178E64C4338}" dt="2024-02-02T12:55:37.730" v="17912" actId="113"/>
        <pc:sldMkLst>
          <pc:docMk/>
          <pc:sldMk cId="2099106951" sldId="2147480317"/>
        </pc:sldMkLst>
        <pc:spChg chg="del mod">
          <ac:chgData name="David CASTELNAU" userId="66a58927-c847-4858-a348-a4848e30932f" providerId="ADAL" clId="{F44B76A6-A5C0-4B08-8BCC-E178E64C4338}" dt="2024-02-02T12:41:05.965" v="17412" actId="478"/>
          <ac:spMkLst>
            <pc:docMk/>
            <pc:sldMk cId="2099106951" sldId="2147480317"/>
            <ac:spMk id="5" creationId="{31F9FB02-B873-80BB-986F-4363391C0DFD}"/>
          </ac:spMkLst>
        </pc:spChg>
        <pc:spChg chg="mod">
          <ac:chgData name="David CASTELNAU" userId="66a58927-c847-4858-a348-a4848e30932f" providerId="ADAL" clId="{F44B76A6-A5C0-4B08-8BCC-E178E64C4338}" dt="2024-02-02T12:45:10.923" v="17525" actId="20577"/>
          <ac:spMkLst>
            <pc:docMk/>
            <pc:sldMk cId="2099106951" sldId="2147480317"/>
            <ac:spMk id="41" creationId="{7CAAACC4-3B3D-9B2F-87DF-8B270EB1CA14}"/>
          </ac:spMkLst>
        </pc:spChg>
        <pc:spChg chg="mod">
          <ac:chgData name="David CASTELNAU" userId="66a58927-c847-4858-a348-a4848e30932f" providerId="ADAL" clId="{F44B76A6-A5C0-4B08-8BCC-E178E64C4338}" dt="2024-02-01T16:16:30.408" v="13451" actId="20577"/>
          <ac:spMkLst>
            <pc:docMk/>
            <pc:sldMk cId="2099106951" sldId="2147480317"/>
            <ac:spMk id="42" creationId="{F2EA099A-43EF-C3CA-1F70-C35EA14758FC}"/>
          </ac:spMkLst>
        </pc:spChg>
        <pc:spChg chg="mod">
          <ac:chgData name="David CASTELNAU" userId="66a58927-c847-4858-a348-a4848e30932f" providerId="ADAL" clId="{F44B76A6-A5C0-4B08-8BCC-E178E64C4338}" dt="2024-02-01T16:16:36.690" v="13454" actId="20577"/>
          <ac:spMkLst>
            <pc:docMk/>
            <pc:sldMk cId="2099106951" sldId="2147480317"/>
            <ac:spMk id="201" creationId="{2C4ABB04-EA42-6EC1-0989-4DD327CA2799}"/>
          </ac:spMkLst>
        </pc:spChg>
        <pc:spChg chg="mod">
          <ac:chgData name="David CASTELNAU" userId="66a58927-c847-4858-a348-a4848e30932f" providerId="ADAL" clId="{F44B76A6-A5C0-4B08-8BCC-E178E64C4338}" dt="2024-02-02T12:55:37.730" v="17912" actId="113"/>
          <ac:spMkLst>
            <pc:docMk/>
            <pc:sldMk cId="2099106951" sldId="2147480317"/>
            <ac:spMk id="203" creationId="{D113490F-A536-D20A-DBAC-FEFF8816594C}"/>
          </ac:spMkLst>
        </pc:spChg>
      </pc:sldChg>
      <pc:sldChg chg="modSp mod">
        <pc:chgData name="David CASTELNAU" userId="66a58927-c847-4858-a348-a4848e30932f" providerId="ADAL" clId="{F44B76A6-A5C0-4B08-8BCC-E178E64C4338}" dt="2024-02-02T17:59:18.623" v="20326" actId="6549"/>
        <pc:sldMkLst>
          <pc:docMk/>
          <pc:sldMk cId="4077997474" sldId="2147480324"/>
        </pc:sldMkLst>
        <pc:spChg chg="mod">
          <ac:chgData name="David CASTELNAU" userId="66a58927-c847-4858-a348-a4848e30932f" providerId="ADAL" clId="{F44B76A6-A5C0-4B08-8BCC-E178E64C4338}" dt="2024-02-02T17:59:18.623" v="20326" actId="6549"/>
          <ac:spMkLst>
            <pc:docMk/>
            <pc:sldMk cId="4077997474" sldId="2147480324"/>
            <ac:spMk id="6" creationId="{D440BF25-5FD2-2B30-374D-10F8B85EC323}"/>
          </ac:spMkLst>
        </pc:spChg>
        <pc:spChg chg="mod">
          <ac:chgData name="David CASTELNAU" userId="66a58927-c847-4858-a348-a4848e30932f" providerId="ADAL" clId="{F44B76A6-A5C0-4B08-8BCC-E178E64C4338}" dt="2024-01-31T22:48:24.460" v="10048" actId="20577"/>
          <ac:spMkLst>
            <pc:docMk/>
            <pc:sldMk cId="4077997474" sldId="2147480324"/>
            <ac:spMk id="12" creationId="{A69472D7-2493-2CA6-688C-D454739D34D4}"/>
          </ac:spMkLst>
        </pc:spChg>
        <pc:graphicFrameChg chg="mod modGraphic">
          <ac:chgData name="David CASTELNAU" userId="66a58927-c847-4858-a348-a4848e30932f" providerId="ADAL" clId="{F44B76A6-A5C0-4B08-8BCC-E178E64C4338}" dt="2024-01-31T22:53:11.609" v="10164" actId="20577"/>
          <ac:graphicFrameMkLst>
            <pc:docMk/>
            <pc:sldMk cId="4077997474" sldId="2147480324"/>
            <ac:graphicFrameMk id="39" creationId="{7E822EDC-4BD1-514B-2869-A9AE2BC16F64}"/>
          </ac:graphicFrameMkLst>
        </pc:graphicFrameChg>
      </pc:sldChg>
      <pc:sldChg chg="addSp delSp modSp mod">
        <pc:chgData name="David CASTELNAU" userId="66a58927-c847-4858-a348-a4848e30932f" providerId="ADAL" clId="{F44B76A6-A5C0-4B08-8BCC-E178E64C4338}" dt="2024-02-01T13:33:19.889" v="13159" actId="1035"/>
        <pc:sldMkLst>
          <pc:docMk/>
          <pc:sldMk cId="3058333471" sldId="2147480328"/>
        </pc:sldMkLst>
        <pc:spChg chg="mod">
          <ac:chgData name="David CASTELNAU" userId="66a58927-c847-4858-a348-a4848e30932f" providerId="ADAL" clId="{F44B76A6-A5C0-4B08-8BCC-E178E64C4338}" dt="2024-01-31T06:18:11.752" v="1853" actId="20577"/>
          <ac:spMkLst>
            <pc:docMk/>
            <pc:sldMk cId="3058333471" sldId="2147480328"/>
            <ac:spMk id="3" creationId="{41FDDD5F-CFE8-1ABC-5B78-1040239B27A6}"/>
          </ac:spMkLst>
        </pc:spChg>
        <pc:spChg chg="mod">
          <ac:chgData name="David CASTELNAU" userId="66a58927-c847-4858-a348-a4848e30932f" providerId="ADAL" clId="{F44B76A6-A5C0-4B08-8BCC-E178E64C4338}" dt="2024-01-31T21:45:04.124" v="8415" actId="1076"/>
          <ac:spMkLst>
            <pc:docMk/>
            <pc:sldMk cId="3058333471" sldId="2147480328"/>
            <ac:spMk id="4" creationId="{EAF9AB6C-200A-7C13-6B57-2F846D17F25B}"/>
          </ac:spMkLst>
        </pc:spChg>
        <pc:spChg chg="mod">
          <ac:chgData name="David CASTELNAU" userId="66a58927-c847-4858-a348-a4848e30932f" providerId="ADAL" clId="{F44B76A6-A5C0-4B08-8BCC-E178E64C4338}" dt="2024-01-31T06:21:39.142" v="2083" actId="20577"/>
          <ac:spMkLst>
            <pc:docMk/>
            <pc:sldMk cId="3058333471" sldId="2147480328"/>
            <ac:spMk id="5" creationId="{02A81392-860F-FA2E-1A23-F5B48A76F7F1}"/>
          </ac:spMkLst>
        </pc:spChg>
        <pc:spChg chg="mod">
          <ac:chgData name="David CASTELNAU" userId="66a58927-c847-4858-a348-a4848e30932f" providerId="ADAL" clId="{F44B76A6-A5C0-4B08-8BCC-E178E64C4338}" dt="2024-02-01T12:57:40.378" v="12316"/>
          <ac:spMkLst>
            <pc:docMk/>
            <pc:sldMk cId="3058333471" sldId="2147480328"/>
            <ac:spMk id="7" creationId="{213E6CC4-AD4D-F30E-91AB-24842EE07D5F}"/>
          </ac:spMkLst>
        </pc:spChg>
        <pc:spChg chg="add mod">
          <ac:chgData name="David CASTELNAU" userId="66a58927-c847-4858-a348-a4848e30932f" providerId="ADAL" clId="{F44B76A6-A5C0-4B08-8BCC-E178E64C4338}" dt="2024-02-01T07:29:08.911" v="11658" actId="1076"/>
          <ac:spMkLst>
            <pc:docMk/>
            <pc:sldMk cId="3058333471" sldId="2147480328"/>
            <ac:spMk id="13" creationId="{D544691B-D2F7-96E4-8B99-579CC3929926}"/>
          </ac:spMkLst>
        </pc:spChg>
        <pc:spChg chg="del">
          <ac:chgData name="David CASTELNAU" userId="66a58927-c847-4858-a348-a4848e30932f" providerId="ADAL" clId="{F44B76A6-A5C0-4B08-8BCC-E178E64C4338}" dt="2024-01-31T05:59:49.139" v="1532" actId="478"/>
          <ac:spMkLst>
            <pc:docMk/>
            <pc:sldMk cId="3058333471" sldId="2147480328"/>
            <ac:spMk id="13" creationId="{E19A8905-A87F-7E93-2086-8B51ACBE82C0}"/>
          </ac:spMkLst>
        </pc:spChg>
        <pc:spChg chg="mod">
          <ac:chgData name="David CASTELNAU" userId="66a58927-c847-4858-a348-a4848e30932f" providerId="ADAL" clId="{F44B76A6-A5C0-4B08-8BCC-E178E64C4338}" dt="2024-01-31T06:17:49.968" v="1822" actId="20577"/>
          <ac:spMkLst>
            <pc:docMk/>
            <pc:sldMk cId="3058333471" sldId="2147480328"/>
            <ac:spMk id="15" creationId="{41B964A5-8B0F-46CC-5BBD-EB66B77C7AE0}"/>
          </ac:spMkLst>
        </pc:spChg>
        <pc:spChg chg="mod">
          <ac:chgData name="David CASTELNAU" userId="66a58927-c847-4858-a348-a4848e30932f" providerId="ADAL" clId="{F44B76A6-A5C0-4B08-8BCC-E178E64C4338}" dt="2024-02-01T12:18:10.373" v="12309"/>
          <ac:spMkLst>
            <pc:docMk/>
            <pc:sldMk cId="3058333471" sldId="2147480328"/>
            <ac:spMk id="18" creationId="{7F7B1867-AC2B-5A41-29FB-3BE812CC8B3C}"/>
          </ac:spMkLst>
        </pc:spChg>
        <pc:spChg chg="mod">
          <ac:chgData name="David CASTELNAU" userId="66a58927-c847-4858-a348-a4848e30932f" providerId="ADAL" clId="{F44B76A6-A5C0-4B08-8BCC-E178E64C4338}" dt="2024-02-01T13:06:01.590" v="12536"/>
          <ac:spMkLst>
            <pc:docMk/>
            <pc:sldMk cId="3058333471" sldId="2147480328"/>
            <ac:spMk id="20" creationId="{53FFC4C0-4D44-3556-E52F-2239CFD5DF1C}"/>
          </ac:spMkLst>
        </pc:spChg>
        <pc:spChg chg="mod">
          <ac:chgData name="David CASTELNAU" userId="66a58927-c847-4858-a348-a4848e30932f" providerId="ADAL" clId="{F44B76A6-A5C0-4B08-8BCC-E178E64C4338}" dt="2024-02-01T13:22:25.764" v="12776" actId="20577"/>
          <ac:spMkLst>
            <pc:docMk/>
            <pc:sldMk cId="3058333471" sldId="2147480328"/>
            <ac:spMk id="21" creationId="{37FBD1D1-2F94-3931-D590-88A8D4DF8381}"/>
          </ac:spMkLst>
        </pc:spChg>
        <pc:spChg chg="mod">
          <ac:chgData name="David CASTELNAU" userId="66a58927-c847-4858-a348-a4848e30932f" providerId="ADAL" clId="{F44B76A6-A5C0-4B08-8BCC-E178E64C4338}" dt="2024-02-01T13:25:43.436" v="12934" actId="20577"/>
          <ac:spMkLst>
            <pc:docMk/>
            <pc:sldMk cId="3058333471" sldId="2147480328"/>
            <ac:spMk id="23" creationId="{BC813C75-2773-035F-B17A-6E444E9022DD}"/>
          </ac:spMkLst>
        </pc:spChg>
        <pc:spChg chg="mod">
          <ac:chgData name="David CASTELNAU" userId="66a58927-c847-4858-a348-a4848e30932f" providerId="ADAL" clId="{F44B76A6-A5C0-4B08-8BCC-E178E64C4338}" dt="2024-01-31T06:19:52.817" v="2024" actId="20577"/>
          <ac:spMkLst>
            <pc:docMk/>
            <pc:sldMk cId="3058333471" sldId="2147480328"/>
            <ac:spMk id="25" creationId="{26B70A9A-BDE8-6600-C247-D12A6C02E8DF}"/>
          </ac:spMkLst>
        </pc:spChg>
        <pc:spChg chg="mod">
          <ac:chgData name="David CASTELNAU" userId="66a58927-c847-4858-a348-a4848e30932f" providerId="ADAL" clId="{F44B76A6-A5C0-4B08-8BCC-E178E64C4338}" dt="2024-02-01T13:09:12.283" v="12617" actId="20577"/>
          <ac:spMkLst>
            <pc:docMk/>
            <pc:sldMk cId="3058333471" sldId="2147480328"/>
            <ac:spMk id="26" creationId="{72BC13EE-27CD-924A-A420-6838537AD80A}"/>
          </ac:spMkLst>
        </pc:spChg>
        <pc:spChg chg="mod">
          <ac:chgData name="David CASTELNAU" userId="66a58927-c847-4858-a348-a4848e30932f" providerId="ADAL" clId="{F44B76A6-A5C0-4B08-8BCC-E178E64C4338}" dt="2024-01-31T06:22:18.070" v="2155" actId="20577"/>
          <ac:spMkLst>
            <pc:docMk/>
            <pc:sldMk cId="3058333471" sldId="2147480328"/>
            <ac:spMk id="27" creationId="{0937D6AD-2F75-61A5-7FA8-09075436B4B3}"/>
          </ac:spMkLst>
        </pc:spChg>
        <pc:spChg chg="mod">
          <ac:chgData name="David CASTELNAU" userId="66a58927-c847-4858-a348-a4848e30932f" providerId="ADAL" clId="{F44B76A6-A5C0-4B08-8BCC-E178E64C4338}" dt="2024-01-31T06:20:46.230" v="2080" actId="20577"/>
          <ac:spMkLst>
            <pc:docMk/>
            <pc:sldMk cId="3058333471" sldId="2147480328"/>
            <ac:spMk id="28" creationId="{214159E9-73C8-F734-A2BD-65D5BA6E0994}"/>
          </ac:spMkLst>
        </pc:spChg>
        <pc:spChg chg="add mod">
          <ac:chgData name="David CASTELNAU" userId="66a58927-c847-4858-a348-a4848e30932f" providerId="ADAL" clId="{F44B76A6-A5C0-4B08-8BCC-E178E64C4338}" dt="2024-02-01T07:29:08.911" v="11658" actId="1076"/>
          <ac:spMkLst>
            <pc:docMk/>
            <pc:sldMk cId="3058333471" sldId="2147480328"/>
            <ac:spMk id="30" creationId="{0C37DDD6-5B2F-1D65-1DBB-B5A80101A592}"/>
          </ac:spMkLst>
        </pc:spChg>
        <pc:spChg chg="mod">
          <ac:chgData name="David CASTELNAU" userId="66a58927-c847-4858-a348-a4848e30932f" providerId="ADAL" clId="{F44B76A6-A5C0-4B08-8BCC-E178E64C4338}" dt="2024-02-01T13:33:19.889" v="13159" actId="1035"/>
          <ac:spMkLst>
            <pc:docMk/>
            <pc:sldMk cId="3058333471" sldId="2147480328"/>
            <ac:spMk id="33" creationId="{A47E0638-6B7F-0A48-C050-C75BC012AC18}"/>
          </ac:spMkLst>
        </pc:spChg>
        <pc:spChg chg="add mod">
          <ac:chgData name="David CASTELNAU" userId="66a58927-c847-4858-a348-a4848e30932f" providerId="ADAL" clId="{F44B76A6-A5C0-4B08-8BCC-E178E64C4338}" dt="2024-02-01T07:29:08.911" v="11658" actId="1076"/>
          <ac:spMkLst>
            <pc:docMk/>
            <pc:sldMk cId="3058333471" sldId="2147480328"/>
            <ac:spMk id="35" creationId="{B2A41731-C0D3-D60F-5801-7C5E7B42D3A0}"/>
          </ac:spMkLst>
        </pc:spChg>
        <pc:spChg chg="del mod">
          <ac:chgData name="David CASTELNAU" userId="66a58927-c847-4858-a348-a4848e30932f" providerId="ADAL" clId="{F44B76A6-A5C0-4B08-8BCC-E178E64C4338}" dt="2024-02-01T07:56:03.188" v="11707" actId="478"/>
          <ac:spMkLst>
            <pc:docMk/>
            <pc:sldMk cId="3058333471" sldId="2147480328"/>
            <ac:spMk id="37" creationId="{0F35733B-0E30-1949-2E60-9215EE846BE0}"/>
          </ac:spMkLst>
        </pc:spChg>
        <pc:spChg chg="mod">
          <ac:chgData name="David CASTELNAU" userId="66a58927-c847-4858-a348-a4848e30932f" providerId="ADAL" clId="{F44B76A6-A5C0-4B08-8BCC-E178E64C4338}" dt="2024-02-01T13:33:19.889" v="13159" actId="1035"/>
          <ac:spMkLst>
            <pc:docMk/>
            <pc:sldMk cId="3058333471" sldId="2147480328"/>
            <ac:spMk id="38" creationId="{2E7B09F9-362E-FF99-C138-6FBABF638C48}"/>
          </ac:spMkLst>
        </pc:spChg>
        <pc:spChg chg="mod">
          <ac:chgData name="David CASTELNAU" userId="66a58927-c847-4858-a348-a4848e30932f" providerId="ADAL" clId="{F44B76A6-A5C0-4B08-8BCC-E178E64C4338}" dt="2024-02-01T13:33:19.889" v="13159" actId="1035"/>
          <ac:spMkLst>
            <pc:docMk/>
            <pc:sldMk cId="3058333471" sldId="2147480328"/>
            <ac:spMk id="39" creationId="{F4D92648-4B6D-CFDE-A571-78F75181AA0E}"/>
          </ac:spMkLst>
        </pc:spChg>
        <pc:spChg chg="mod">
          <ac:chgData name="David CASTELNAU" userId="66a58927-c847-4858-a348-a4848e30932f" providerId="ADAL" clId="{F44B76A6-A5C0-4B08-8BCC-E178E64C4338}" dt="2024-02-01T13:33:19.889" v="13159" actId="1035"/>
          <ac:spMkLst>
            <pc:docMk/>
            <pc:sldMk cId="3058333471" sldId="2147480328"/>
            <ac:spMk id="40" creationId="{8D8FDBA6-764A-7E1D-9EAF-C15DCD24C0E3}"/>
          </ac:spMkLst>
        </pc:spChg>
        <pc:spChg chg="mod">
          <ac:chgData name="David CASTELNAU" userId="66a58927-c847-4858-a348-a4848e30932f" providerId="ADAL" clId="{F44B76A6-A5C0-4B08-8BCC-E178E64C4338}" dt="2024-02-01T13:33:19.889" v="13159" actId="1035"/>
          <ac:spMkLst>
            <pc:docMk/>
            <pc:sldMk cId="3058333471" sldId="2147480328"/>
            <ac:spMk id="41" creationId="{B6570B4B-4734-DA4B-BD03-FDE6102DCDE9}"/>
          </ac:spMkLst>
        </pc:spChg>
        <pc:spChg chg="mod">
          <ac:chgData name="David CASTELNAU" userId="66a58927-c847-4858-a348-a4848e30932f" providerId="ADAL" clId="{F44B76A6-A5C0-4B08-8BCC-E178E64C4338}" dt="2024-02-01T13:33:19.889" v="13159" actId="1035"/>
          <ac:spMkLst>
            <pc:docMk/>
            <pc:sldMk cId="3058333471" sldId="2147480328"/>
            <ac:spMk id="43" creationId="{7C3BC8C5-1429-AC35-A10F-0058EC414A31}"/>
          </ac:spMkLst>
        </pc:spChg>
        <pc:spChg chg="mod">
          <ac:chgData name="David CASTELNAU" userId="66a58927-c847-4858-a348-a4848e30932f" providerId="ADAL" clId="{F44B76A6-A5C0-4B08-8BCC-E178E64C4338}" dt="2024-02-01T13:33:19.889" v="13159" actId="1035"/>
          <ac:spMkLst>
            <pc:docMk/>
            <pc:sldMk cId="3058333471" sldId="2147480328"/>
            <ac:spMk id="44" creationId="{D933028A-84B9-4735-E4FC-8D2DD92880C3}"/>
          </ac:spMkLst>
        </pc:spChg>
        <pc:spChg chg="mod">
          <ac:chgData name="David CASTELNAU" userId="66a58927-c847-4858-a348-a4848e30932f" providerId="ADAL" clId="{F44B76A6-A5C0-4B08-8BCC-E178E64C4338}" dt="2024-02-01T13:33:19.889" v="13159" actId="1035"/>
          <ac:spMkLst>
            <pc:docMk/>
            <pc:sldMk cId="3058333471" sldId="2147480328"/>
            <ac:spMk id="45" creationId="{5B124099-8B11-41D5-CA6E-4C3F67BBA7B1}"/>
          </ac:spMkLst>
        </pc:spChg>
        <pc:spChg chg="mod">
          <ac:chgData name="David CASTELNAU" userId="66a58927-c847-4858-a348-a4848e30932f" providerId="ADAL" clId="{F44B76A6-A5C0-4B08-8BCC-E178E64C4338}" dt="2024-02-01T13:33:19.889" v="13159" actId="1035"/>
          <ac:spMkLst>
            <pc:docMk/>
            <pc:sldMk cId="3058333471" sldId="2147480328"/>
            <ac:spMk id="46" creationId="{474FD90B-BC23-4C8D-3C60-E168B1B76646}"/>
          </ac:spMkLst>
        </pc:spChg>
        <pc:spChg chg="mod">
          <ac:chgData name="David CASTELNAU" userId="66a58927-c847-4858-a348-a4848e30932f" providerId="ADAL" clId="{F44B76A6-A5C0-4B08-8BCC-E178E64C4338}" dt="2024-02-01T13:33:19.889" v="13159" actId="1035"/>
          <ac:spMkLst>
            <pc:docMk/>
            <pc:sldMk cId="3058333471" sldId="2147480328"/>
            <ac:spMk id="47" creationId="{24B1A331-951D-991A-86CA-85D94C819B4E}"/>
          </ac:spMkLst>
        </pc:spChg>
        <pc:spChg chg="mod">
          <ac:chgData name="David CASTELNAU" userId="66a58927-c847-4858-a348-a4848e30932f" providerId="ADAL" clId="{F44B76A6-A5C0-4B08-8BCC-E178E64C4338}" dt="2024-02-01T13:33:19.889" v="13159" actId="1035"/>
          <ac:spMkLst>
            <pc:docMk/>
            <pc:sldMk cId="3058333471" sldId="2147480328"/>
            <ac:spMk id="48" creationId="{94F236EF-E2AC-A4FC-BB75-701484547951}"/>
          </ac:spMkLst>
        </pc:spChg>
        <pc:spChg chg="mod">
          <ac:chgData name="David CASTELNAU" userId="66a58927-c847-4858-a348-a4848e30932f" providerId="ADAL" clId="{F44B76A6-A5C0-4B08-8BCC-E178E64C4338}" dt="2024-02-01T13:33:19.889" v="13159" actId="1035"/>
          <ac:spMkLst>
            <pc:docMk/>
            <pc:sldMk cId="3058333471" sldId="2147480328"/>
            <ac:spMk id="49" creationId="{B5E093BC-22A7-00EF-BAE1-F7DF213B285D}"/>
          </ac:spMkLst>
        </pc:spChg>
        <pc:spChg chg="mod">
          <ac:chgData name="David CASTELNAU" userId="66a58927-c847-4858-a348-a4848e30932f" providerId="ADAL" clId="{F44B76A6-A5C0-4B08-8BCC-E178E64C4338}" dt="2024-02-01T13:33:19.889" v="13159" actId="1035"/>
          <ac:spMkLst>
            <pc:docMk/>
            <pc:sldMk cId="3058333471" sldId="2147480328"/>
            <ac:spMk id="50" creationId="{6FE2FB38-F749-3C07-0B98-3CAC76B785A0}"/>
          </ac:spMkLst>
        </pc:spChg>
        <pc:spChg chg="mod">
          <ac:chgData name="David CASTELNAU" userId="66a58927-c847-4858-a348-a4848e30932f" providerId="ADAL" clId="{F44B76A6-A5C0-4B08-8BCC-E178E64C4338}" dt="2024-02-01T13:33:19.889" v="13159" actId="1035"/>
          <ac:spMkLst>
            <pc:docMk/>
            <pc:sldMk cId="3058333471" sldId="2147480328"/>
            <ac:spMk id="51" creationId="{0BD66E96-55FE-9231-DE4E-1BAAAC890437}"/>
          </ac:spMkLst>
        </pc:spChg>
        <pc:spChg chg="add mod">
          <ac:chgData name="David CASTELNAU" userId="66a58927-c847-4858-a348-a4848e30932f" providerId="ADAL" clId="{F44B76A6-A5C0-4B08-8BCC-E178E64C4338}" dt="2024-02-01T07:29:08.911" v="11658" actId="1076"/>
          <ac:spMkLst>
            <pc:docMk/>
            <pc:sldMk cId="3058333471" sldId="2147480328"/>
            <ac:spMk id="56" creationId="{1C6064CA-49A2-B129-D4B6-9CD2B4F81834}"/>
          </ac:spMkLst>
        </pc:spChg>
        <pc:spChg chg="mod">
          <ac:chgData name="David CASTELNAU" userId="66a58927-c847-4858-a348-a4848e30932f" providerId="ADAL" clId="{F44B76A6-A5C0-4B08-8BCC-E178E64C4338}" dt="2024-01-31T06:18:41.217" v="1890" actId="20577"/>
          <ac:spMkLst>
            <pc:docMk/>
            <pc:sldMk cId="3058333471" sldId="2147480328"/>
            <ac:spMk id="61" creationId="{037056BC-75AC-8F8B-C597-4E145F52DD04}"/>
          </ac:spMkLst>
        </pc:spChg>
        <pc:spChg chg="add mod">
          <ac:chgData name="David CASTELNAU" userId="66a58927-c847-4858-a348-a4848e30932f" providerId="ADAL" clId="{F44B76A6-A5C0-4B08-8BCC-E178E64C4338}" dt="2024-02-01T07:56:24.262" v="11720" actId="555"/>
          <ac:spMkLst>
            <pc:docMk/>
            <pc:sldMk cId="3058333471" sldId="2147480328"/>
            <ac:spMk id="62" creationId="{E5FBC0AB-932F-757F-C3C1-3106CC5D4AD2}"/>
          </ac:spMkLst>
        </pc:spChg>
        <pc:spChg chg="mod">
          <ac:chgData name="David CASTELNAU" userId="66a58927-c847-4858-a348-a4848e30932f" providerId="ADAL" clId="{F44B76A6-A5C0-4B08-8BCC-E178E64C4338}" dt="2024-02-01T13:23:22.254" v="12782"/>
          <ac:spMkLst>
            <pc:docMk/>
            <pc:sldMk cId="3058333471" sldId="2147480328"/>
            <ac:spMk id="63" creationId="{857EE9F1-6074-32ED-3290-BA546503475E}"/>
          </ac:spMkLst>
        </pc:spChg>
        <pc:spChg chg="add mod">
          <ac:chgData name="David CASTELNAU" userId="66a58927-c847-4858-a348-a4848e30932f" providerId="ADAL" clId="{F44B76A6-A5C0-4B08-8BCC-E178E64C4338}" dt="2024-02-01T07:29:08.911" v="11658" actId="1076"/>
          <ac:spMkLst>
            <pc:docMk/>
            <pc:sldMk cId="3058333471" sldId="2147480328"/>
            <ac:spMk id="64" creationId="{DE2731A9-2371-E186-EA60-6E7C48D410EB}"/>
          </ac:spMkLst>
        </pc:spChg>
        <pc:spChg chg="add mod">
          <ac:chgData name="David CASTELNAU" userId="66a58927-c847-4858-a348-a4848e30932f" providerId="ADAL" clId="{F44B76A6-A5C0-4B08-8BCC-E178E64C4338}" dt="2024-02-01T07:29:08.911" v="11658" actId="1076"/>
          <ac:spMkLst>
            <pc:docMk/>
            <pc:sldMk cId="3058333471" sldId="2147480328"/>
            <ac:spMk id="65" creationId="{81647EFE-B3CD-3ADD-FF21-B5281D27F73D}"/>
          </ac:spMkLst>
        </pc:spChg>
        <pc:spChg chg="add mod">
          <ac:chgData name="David CASTELNAU" userId="66a58927-c847-4858-a348-a4848e30932f" providerId="ADAL" clId="{F44B76A6-A5C0-4B08-8BCC-E178E64C4338}" dt="2024-02-01T07:29:08.911" v="11658" actId="1076"/>
          <ac:spMkLst>
            <pc:docMk/>
            <pc:sldMk cId="3058333471" sldId="2147480328"/>
            <ac:spMk id="66" creationId="{E17AD256-AD43-FB46-6DBB-D073F232E20D}"/>
          </ac:spMkLst>
        </pc:spChg>
        <pc:spChg chg="add mod">
          <ac:chgData name="David CASTELNAU" userId="66a58927-c847-4858-a348-a4848e30932f" providerId="ADAL" clId="{F44B76A6-A5C0-4B08-8BCC-E178E64C4338}" dt="2024-02-01T07:29:08.911" v="11658" actId="1076"/>
          <ac:spMkLst>
            <pc:docMk/>
            <pc:sldMk cId="3058333471" sldId="2147480328"/>
            <ac:spMk id="67" creationId="{7080266A-FEE6-8C75-3BB9-A6E8A4448350}"/>
          </ac:spMkLst>
        </pc:spChg>
        <pc:spChg chg="add mod">
          <ac:chgData name="David CASTELNAU" userId="66a58927-c847-4858-a348-a4848e30932f" providerId="ADAL" clId="{F44B76A6-A5C0-4B08-8BCC-E178E64C4338}" dt="2024-02-01T07:29:08.911" v="11658" actId="1076"/>
          <ac:spMkLst>
            <pc:docMk/>
            <pc:sldMk cId="3058333471" sldId="2147480328"/>
            <ac:spMk id="68" creationId="{227D53CC-47A3-2347-0FD5-348537FCA4F8}"/>
          </ac:spMkLst>
        </pc:spChg>
        <pc:spChg chg="add mod">
          <ac:chgData name="David CASTELNAU" userId="66a58927-c847-4858-a348-a4848e30932f" providerId="ADAL" clId="{F44B76A6-A5C0-4B08-8BCC-E178E64C4338}" dt="2024-02-01T07:56:49.112" v="11723" actId="207"/>
          <ac:spMkLst>
            <pc:docMk/>
            <pc:sldMk cId="3058333471" sldId="2147480328"/>
            <ac:spMk id="69" creationId="{592A4850-34AD-AAF4-A979-C060EA6880A9}"/>
          </ac:spMkLst>
        </pc:spChg>
        <pc:spChg chg="add mod">
          <ac:chgData name="David CASTELNAU" userId="66a58927-c847-4858-a348-a4848e30932f" providerId="ADAL" clId="{F44B76A6-A5C0-4B08-8BCC-E178E64C4338}" dt="2024-02-01T12:56:13.246" v="12314" actId="1037"/>
          <ac:spMkLst>
            <pc:docMk/>
            <pc:sldMk cId="3058333471" sldId="2147480328"/>
            <ac:spMk id="70" creationId="{662A894B-6EDF-37C6-2D87-268253FD4F03}"/>
          </ac:spMkLst>
        </pc:spChg>
        <pc:spChg chg="add del mod">
          <ac:chgData name="David CASTELNAU" userId="66a58927-c847-4858-a348-a4848e30932f" providerId="ADAL" clId="{F44B76A6-A5C0-4B08-8BCC-E178E64C4338}" dt="2024-01-31T14:17:47.830" v="7683" actId="478"/>
          <ac:spMkLst>
            <pc:docMk/>
            <pc:sldMk cId="3058333471" sldId="2147480328"/>
            <ac:spMk id="71" creationId="{53E02616-E7BD-2643-BF0E-C632FAF3DC7E}"/>
          </ac:spMkLst>
        </pc:spChg>
        <pc:spChg chg="del">
          <ac:chgData name="David CASTELNAU" userId="66a58927-c847-4858-a348-a4848e30932f" providerId="ADAL" clId="{F44B76A6-A5C0-4B08-8BCC-E178E64C4338}" dt="2024-02-01T12:56:04.855" v="12310" actId="478"/>
          <ac:spMkLst>
            <pc:docMk/>
            <pc:sldMk cId="3058333471" sldId="2147480328"/>
            <ac:spMk id="73" creationId="{6ABFE0D7-0B2A-9CB5-20E5-1171BCFBC1B0}"/>
          </ac:spMkLst>
        </pc:spChg>
        <pc:spChg chg="mod">
          <ac:chgData name="David CASTELNAU" userId="66a58927-c847-4858-a348-a4848e30932f" providerId="ADAL" clId="{F44B76A6-A5C0-4B08-8BCC-E178E64C4338}" dt="2024-02-01T13:32:53.420" v="13149" actId="1037"/>
          <ac:spMkLst>
            <pc:docMk/>
            <pc:sldMk cId="3058333471" sldId="2147480328"/>
            <ac:spMk id="75" creationId="{BC74EBA1-9E2E-CA18-C777-57BB3E586BF6}"/>
          </ac:spMkLst>
        </pc:spChg>
        <pc:spChg chg="mod">
          <ac:chgData name="David CASTELNAU" userId="66a58927-c847-4858-a348-a4848e30932f" providerId="ADAL" clId="{F44B76A6-A5C0-4B08-8BCC-E178E64C4338}" dt="2024-02-01T12:56:17.546" v="12315" actId="1076"/>
          <ac:spMkLst>
            <pc:docMk/>
            <pc:sldMk cId="3058333471" sldId="2147480328"/>
            <ac:spMk id="83" creationId="{C239288C-3F8B-5FF8-45D9-EDB48F87E700}"/>
          </ac:spMkLst>
        </pc:spChg>
        <pc:picChg chg="add mod">
          <ac:chgData name="David CASTELNAU" userId="66a58927-c847-4858-a348-a4848e30932f" providerId="ADAL" clId="{F44B76A6-A5C0-4B08-8BCC-E178E64C4338}" dt="2024-01-31T06:36:51.891" v="2732" actId="1037"/>
          <ac:picMkLst>
            <pc:docMk/>
            <pc:sldMk cId="3058333471" sldId="2147480328"/>
            <ac:picMk id="31" creationId="{17E39801-3DAA-CCF3-2B18-FC790CD36260}"/>
          </ac:picMkLst>
        </pc:picChg>
        <pc:picChg chg="add mod">
          <ac:chgData name="David CASTELNAU" userId="66a58927-c847-4858-a348-a4848e30932f" providerId="ADAL" clId="{F44B76A6-A5C0-4B08-8BCC-E178E64C4338}" dt="2024-01-31T06:35:52.572" v="2614" actId="1038"/>
          <ac:picMkLst>
            <pc:docMk/>
            <pc:sldMk cId="3058333471" sldId="2147480328"/>
            <ac:picMk id="32" creationId="{24DEB61C-E6AC-708F-169D-3D6D4D76DB4B}"/>
          </ac:picMkLst>
        </pc:picChg>
        <pc:picChg chg="add mod modCrop">
          <ac:chgData name="David CASTELNAU" userId="66a58927-c847-4858-a348-a4848e30932f" providerId="ADAL" clId="{F44B76A6-A5C0-4B08-8BCC-E178E64C4338}" dt="2024-01-31T06:37:04.900" v="2733" actId="732"/>
          <ac:picMkLst>
            <pc:docMk/>
            <pc:sldMk cId="3058333471" sldId="2147480328"/>
            <ac:picMk id="34" creationId="{6DE5C6C5-D3BF-E8A4-62A5-22F7547797D4}"/>
          </ac:picMkLst>
        </pc:picChg>
        <pc:picChg chg="del">
          <ac:chgData name="David CASTELNAU" userId="66a58927-c847-4858-a348-a4848e30932f" providerId="ADAL" clId="{F44B76A6-A5C0-4B08-8BCC-E178E64C4338}" dt="2024-02-01T07:56:30.150" v="11721" actId="478"/>
          <ac:picMkLst>
            <pc:docMk/>
            <pc:sldMk cId="3058333471" sldId="2147480328"/>
            <ac:picMk id="36" creationId="{A1E2346E-F115-E950-3812-13BEA272DCBA}"/>
          </ac:picMkLst>
        </pc:picChg>
        <pc:picChg chg="add mod">
          <ac:chgData name="David CASTELNAU" userId="66a58927-c847-4858-a348-a4848e30932f" providerId="ADAL" clId="{F44B76A6-A5C0-4B08-8BCC-E178E64C4338}" dt="2024-01-31T06:37:11.557" v="2734" actId="571"/>
          <ac:picMkLst>
            <pc:docMk/>
            <pc:sldMk cId="3058333471" sldId="2147480328"/>
            <ac:picMk id="42" creationId="{5A512132-7E56-E759-1DAD-86FFAB06FD6D}"/>
          </ac:picMkLst>
        </pc:picChg>
        <pc:picChg chg="mod">
          <ac:chgData name="David CASTELNAU" userId="66a58927-c847-4858-a348-a4848e30932f" providerId="ADAL" clId="{F44B76A6-A5C0-4B08-8BCC-E178E64C4338}" dt="2024-02-01T13:33:19.889" v="13159" actId="1035"/>
          <ac:picMkLst>
            <pc:docMk/>
            <pc:sldMk cId="3058333471" sldId="2147480328"/>
            <ac:picMk id="52" creationId="{19F32CCE-17A7-07B2-A5AE-D93D01CA8CA0}"/>
          </ac:picMkLst>
        </pc:picChg>
        <pc:picChg chg="mod">
          <ac:chgData name="David CASTELNAU" userId="66a58927-c847-4858-a348-a4848e30932f" providerId="ADAL" clId="{F44B76A6-A5C0-4B08-8BCC-E178E64C4338}" dt="2024-02-01T13:33:19.889" v="13159" actId="1035"/>
          <ac:picMkLst>
            <pc:docMk/>
            <pc:sldMk cId="3058333471" sldId="2147480328"/>
            <ac:picMk id="53" creationId="{EEE8D42D-E4A3-4FCC-E025-0100A4904675}"/>
          </ac:picMkLst>
        </pc:picChg>
        <pc:picChg chg="mod">
          <ac:chgData name="David CASTELNAU" userId="66a58927-c847-4858-a348-a4848e30932f" providerId="ADAL" clId="{F44B76A6-A5C0-4B08-8BCC-E178E64C4338}" dt="2024-02-01T13:33:19.889" v="13159" actId="1035"/>
          <ac:picMkLst>
            <pc:docMk/>
            <pc:sldMk cId="3058333471" sldId="2147480328"/>
            <ac:picMk id="54" creationId="{C059AEC9-C12D-15C7-C6D9-B13430DFED66}"/>
          </ac:picMkLst>
        </pc:picChg>
        <pc:picChg chg="mod">
          <ac:chgData name="David CASTELNAU" userId="66a58927-c847-4858-a348-a4848e30932f" providerId="ADAL" clId="{F44B76A6-A5C0-4B08-8BCC-E178E64C4338}" dt="2024-02-01T13:33:19.889" v="13159" actId="1035"/>
          <ac:picMkLst>
            <pc:docMk/>
            <pc:sldMk cId="3058333471" sldId="2147480328"/>
            <ac:picMk id="55" creationId="{605B6943-1D4C-1199-4F2F-2137195B5CF2}"/>
          </ac:picMkLst>
        </pc:picChg>
        <pc:picChg chg="mod">
          <ac:chgData name="David CASTELNAU" userId="66a58927-c847-4858-a348-a4848e30932f" providerId="ADAL" clId="{F44B76A6-A5C0-4B08-8BCC-E178E64C4338}" dt="2024-02-01T13:33:19.889" v="13159" actId="1035"/>
          <ac:picMkLst>
            <pc:docMk/>
            <pc:sldMk cId="3058333471" sldId="2147480328"/>
            <ac:picMk id="57" creationId="{5F172907-1600-D81B-C939-1919F0F8DF7B}"/>
          </ac:picMkLst>
        </pc:picChg>
        <pc:picChg chg="mod">
          <ac:chgData name="David CASTELNAU" userId="66a58927-c847-4858-a348-a4848e30932f" providerId="ADAL" clId="{F44B76A6-A5C0-4B08-8BCC-E178E64C4338}" dt="2024-02-01T13:33:19.889" v="13159" actId="1035"/>
          <ac:picMkLst>
            <pc:docMk/>
            <pc:sldMk cId="3058333471" sldId="2147480328"/>
            <ac:picMk id="58" creationId="{17E27A3F-C2B8-CF45-6972-EDDDDEF829CB}"/>
          </ac:picMkLst>
        </pc:picChg>
        <pc:picChg chg="mod">
          <ac:chgData name="David CASTELNAU" userId="66a58927-c847-4858-a348-a4848e30932f" providerId="ADAL" clId="{F44B76A6-A5C0-4B08-8BCC-E178E64C4338}" dt="2024-02-01T13:33:19.889" v="13159" actId="1035"/>
          <ac:picMkLst>
            <pc:docMk/>
            <pc:sldMk cId="3058333471" sldId="2147480328"/>
            <ac:picMk id="59" creationId="{D2385570-525B-8B02-482A-9E99479A70E8}"/>
          </ac:picMkLst>
        </pc:picChg>
        <pc:picChg chg="add mod">
          <ac:chgData name="David CASTELNAU" userId="66a58927-c847-4858-a348-a4848e30932f" providerId="ADAL" clId="{F44B76A6-A5C0-4B08-8BCC-E178E64C4338}" dt="2024-02-01T12:57:54.994" v="12318" actId="1076"/>
          <ac:picMkLst>
            <pc:docMk/>
            <pc:sldMk cId="3058333471" sldId="2147480328"/>
            <ac:picMk id="72" creationId="{327DBD20-46A3-EE14-AC08-824EA334C42D}"/>
          </ac:picMkLst>
        </pc:picChg>
        <pc:picChg chg="mod">
          <ac:chgData name="David CASTELNAU" userId="66a58927-c847-4858-a348-a4848e30932f" providerId="ADAL" clId="{F44B76A6-A5C0-4B08-8BCC-E178E64C4338}" dt="2024-02-01T13:33:19.889" v="13159" actId="1035"/>
          <ac:picMkLst>
            <pc:docMk/>
            <pc:sldMk cId="3058333471" sldId="2147480328"/>
            <ac:picMk id="74" creationId="{D9163BC7-685B-BAEB-5738-AB12E8955585}"/>
          </ac:picMkLst>
        </pc:picChg>
      </pc:sldChg>
      <pc:sldChg chg="modSp mod">
        <pc:chgData name="David CASTELNAU" userId="66a58927-c847-4858-a348-a4848e30932f" providerId="ADAL" clId="{F44B76A6-A5C0-4B08-8BCC-E178E64C4338}" dt="2024-01-31T23:01:45.200" v="10611" actId="1036"/>
        <pc:sldMkLst>
          <pc:docMk/>
          <pc:sldMk cId="1296099944" sldId="2147480329"/>
        </pc:sldMkLst>
        <pc:spChg chg="mod">
          <ac:chgData name="David CASTELNAU" userId="66a58927-c847-4858-a348-a4848e30932f" providerId="ADAL" clId="{F44B76A6-A5C0-4B08-8BCC-E178E64C4338}" dt="2024-01-31T23:01:37.001" v="10597" actId="13926"/>
          <ac:spMkLst>
            <pc:docMk/>
            <pc:sldMk cId="1296099944" sldId="2147480329"/>
            <ac:spMk id="25" creationId="{BAA3DDC7-5320-E950-E89D-4CD10B5E9099}"/>
          </ac:spMkLst>
        </pc:spChg>
        <pc:spChg chg="mod">
          <ac:chgData name="David CASTELNAU" userId="66a58927-c847-4858-a348-a4848e30932f" providerId="ADAL" clId="{F44B76A6-A5C0-4B08-8BCC-E178E64C4338}" dt="2024-01-31T23:01:31.558" v="10596" actId="13926"/>
          <ac:spMkLst>
            <pc:docMk/>
            <pc:sldMk cId="1296099944" sldId="2147480329"/>
            <ac:spMk id="33" creationId="{429262C6-DEE6-9A95-EA01-31FB2E057A81}"/>
          </ac:spMkLst>
        </pc:spChg>
        <pc:spChg chg="mod">
          <ac:chgData name="David CASTELNAU" userId="66a58927-c847-4858-a348-a4848e30932f" providerId="ADAL" clId="{F44B76A6-A5C0-4B08-8BCC-E178E64C4338}" dt="2024-01-31T23:01:45.200" v="10611" actId="1036"/>
          <ac:spMkLst>
            <pc:docMk/>
            <pc:sldMk cId="1296099944" sldId="2147480329"/>
            <ac:spMk id="43" creationId="{7F4F9A9F-F886-0090-A007-7FA732BDE9A9}"/>
          </ac:spMkLst>
        </pc:spChg>
        <pc:spChg chg="mod">
          <ac:chgData name="David CASTELNAU" userId="66a58927-c847-4858-a348-a4848e30932f" providerId="ADAL" clId="{F44B76A6-A5C0-4B08-8BCC-E178E64C4338}" dt="2024-01-31T22:58:45.732" v="10503" actId="20577"/>
          <ac:spMkLst>
            <pc:docMk/>
            <pc:sldMk cId="1296099944" sldId="2147480329"/>
            <ac:spMk id="44" creationId="{2574D4F7-766F-87CF-7168-E5B6DF704C2A}"/>
          </ac:spMkLst>
        </pc:spChg>
      </pc:sldChg>
      <pc:sldChg chg="addSp delSp modSp mod">
        <pc:chgData name="David CASTELNAU" userId="66a58927-c847-4858-a348-a4848e30932f" providerId="ADAL" clId="{F44B76A6-A5C0-4B08-8BCC-E178E64C4338}" dt="2024-02-02T16:15:11.465" v="20321" actId="20577"/>
        <pc:sldMkLst>
          <pc:docMk/>
          <pc:sldMk cId="1704792734" sldId="2147480331"/>
        </pc:sldMkLst>
        <pc:spChg chg="mod">
          <ac:chgData name="David CASTELNAU" userId="66a58927-c847-4858-a348-a4848e30932f" providerId="ADAL" clId="{F44B76A6-A5C0-4B08-8BCC-E178E64C4338}" dt="2024-01-31T23:23:11.999" v="10779" actId="13926"/>
          <ac:spMkLst>
            <pc:docMk/>
            <pc:sldMk cId="1704792734" sldId="2147480331"/>
            <ac:spMk id="2" creationId="{A2D57B31-7B0D-92C3-B33F-D94DC4725E53}"/>
          </ac:spMkLst>
        </pc:spChg>
        <pc:spChg chg="add mod">
          <ac:chgData name="David CASTELNAU" userId="66a58927-c847-4858-a348-a4848e30932f" providerId="ADAL" clId="{F44B76A6-A5C0-4B08-8BCC-E178E64C4338}" dt="2024-01-31T11:33:12.106" v="7508" actId="20577"/>
          <ac:spMkLst>
            <pc:docMk/>
            <pc:sldMk cId="1704792734" sldId="2147480331"/>
            <ac:spMk id="3" creationId="{0A7DACFE-1E91-2AC3-FB74-FCFF68CD8323}"/>
          </ac:spMkLst>
        </pc:spChg>
        <pc:spChg chg="mod">
          <ac:chgData name="David CASTELNAU" userId="66a58927-c847-4858-a348-a4848e30932f" providerId="ADAL" clId="{F44B76A6-A5C0-4B08-8BCC-E178E64C4338}" dt="2024-01-31T11:35:40.708" v="7539" actId="3064"/>
          <ac:spMkLst>
            <pc:docMk/>
            <pc:sldMk cId="1704792734" sldId="2147480331"/>
            <ac:spMk id="16" creationId="{C4637428-3174-4A3E-7BD6-E1E52594472E}"/>
          </ac:spMkLst>
        </pc:spChg>
        <pc:spChg chg="mod">
          <ac:chgData name="David CASTELNAU" userId="66a58927-c847-4858-a348-a4848e30932f" providerId="ADAL" clId="{F44B76A6-A5C0-4B08-8BCC-E178E64C4338}" dt="2024-02-02T16:09:47.220" v="20287" actId="20577"/>
          <ac:spMkLst>
            <pc:docMk/>
            <pc:sldMk cId="1704792734" sldId="2147480331"/>
            <ac:spMk id="17" creationId="{C78804CD-DE30-6511-DE0B-23188EA98E12}"/>
          </ac:spMkLst>
        </pc:spChg>
        <pc:spChg chg="mod">
          <ac:chgData name="David CASTELNAU" userId="66a58927-c847-4858-a348-a4848e30932f" providerId="ADAL" clId="{F44B76A6-A5C0-4B08-8BCC-E178E64C4338}" dt="2024-02-02T16:06:41.758" v="20246"/>
          <ac:spMkLst>
            <pc:docMk/>
            <pc:sldMk cId="1704792734" sldId="2147480331"/>
            <ac:spMk id="18" creationId="{FA6A2FC4-2315-7E54-5747-154BECA55AAF}"/>
          </ac:spMkLst>
        </pc:spChg>
        <pc:spChg chg="mod">
          <ac:chgData name="David CASTELNAU" userId="66a58927-c847-4858-a348-a4848e30932f" providerId="ADAL" clId="{F44B76A6-A5C0-4B08-8BCC-E178E64C4338}" dt="2024-02-02T16:15:11.465" v="20321" actId="20577"/>
          <ac:spMkLst>
            <pc:docMk/>
            <pc:sldMk cId="1704792734" sldId="2147480331"/>
            <ac:spMk id="20" creationId="{A7144061-CC12-81C0-FA8B-9FA94C621A06}"/>
          </ac:spMkLst>
        </pc:spChg>
        <pc:spChg chg="mod">
          <ac:chgData name="David CASTELNAU" userId="66a58927-c847-4858-a348-a4848e30932f" providerId="ADAL" clId="{F44B76A6-A5C0-4B08-8BCC-E178E64C4338}" dt="2024-01-31T11:26:10.019" v="7137" actId="20577"/>
          <ac:spMkLst>
            <pc:docMk/>
            <pc:sldMk cId="1704792734" sldId="2147480331"/>
            <ac:spMk id="21" creationId="{7A36680B-6E77-1CAE-95FC-45CF4F49C36E}"/>
          </ac:spMkLst>
        </pc:spChg>
        <pc:spChg chg="mod">
          <ac:chgData name="David CASTELNAU" userId="66a58927-c847-4858-a348-a4848e30932f" providerId="ADAL" clId="{F44B76A6-A5C0-4B08-8BCC-E178E64C4338}" dt="2024-01-31T14:39:54.980" v="7861"/>
          <ac:spMkLst>
            <pc:docMk/>
            <pc:sldMk cId="1704792734" sldId="2147480331"/>
            <ac:spMk id="22" creationId="{DC347001-A07D-4C36-36D4-4F7C774F54EA}"/>
          </ac:spMkLst>
        </pc:spChg>
        <pc:spChg chg="mod">
          <ac:chgData name="David CASTELNAU" userId="66a58927-c847-4858-a348-a4848e30932f" providerId="ADAL" clId="{F44B76A6-A5C0-4B08-8BCC-E178E64C4338}" dt="2024-01-31T11:35:40.708" v="7539" actId="3064"/>
          <ac:spMkLst>
            <pc:docMk/>
            <pc:sldMk cId="1704792734" sldId="2147480331"/>
            <ac:spMk id="23" creationId="{EF204365-F7CA-EB1D-00FA-C023A74FE9EA}"/>
          </ac:spMkLst>
        </pc:spChg>
        <pc:spChg chg="add del mod">
          <ac:chgData name="David CASTELNAU" userId="66a58927-c847-4858-a348-a4848e30932f" providerId="ADAL" clId="{F44B76A6-A5C0-4B08-8BCC-E178E64C4338}" dt="2024-01-31T11:35:40.708" v="7539" actId="3064"/>
          <ac:spMkLst>
            <pc:docMk/>
            <pc:sldMk cId="1704792734" sldId="2147480331"/>
            <ac:spMk id="24" creationId="{BCF6E7EC-0B87-5F17-9B44-F3FB68CF4070}"/>
          </ac:spMkLst>
        </pc:spChg>
        <pc:spChg chg="del mod">
          <ac:chgData name="David CASTELNAU" userId="66a58927-c847-4858-a348-a4848e30932f" providerId="ADAL" clId="{F44B76A6-A5C0-4B08-8BCC-E178E64C4338}" dt="2024-01-31T11:33:29.323" v="7510" actId="478"/>
          <ac:spMkLst>
            <pc:docMk/>
            <pc:sldMk cId="1704792734" sldId="2147480331"/>
            <ac:spMk id="26" creationId="{F8C18A7B-0F10-170D-5DD7-A196D6C92E37}"/>
          </ac:spMkLst>
        </pc:spChg>
        <pc:spChg chg="del mod">
          <ac:chgData name="David CASTELNAU" userId="66a58927-c847-4858-a348-a4848e30932f" providerId="ADAL" clId="{F44B76A6-A5C0-4B08-8BCC-E178E64C4338}" dt="2024-01-31T11:34:41.516" v="7521" actId="478"/>
          <ac:spMkLst>
            <pc:docMk/>
            <pc:sldMk cId="1704792734" sldId="2147480331"/>
            <ac:spMk id="27" creationId="{948496AD-016B-BE9D-9062-AEF4D20DE6AD}"/>
          </ac:spMkLst>
        </pc:spChg>
        <pc:spChg chg="mod">
          <ac:chgData name="David CASTELNAU" userId="66a58927-c847-4858-a348-a4848e30932f" providerId="ADAL" clId="{F44B76A6-A5C0-4B08-8BCC-E178E64C4338}" dt="2024-01-31T11:34:06.757" v="7516" actId="3064"/>
          <ac:spMkLst>
            <pc:docMk/>
            <pc:sldMk cId="1704792734" sldId="2147480331"/>
            <ac:spMk id="33" creationId="{8154191D-733C-77D0-EF65-2FCDD5767F31}"/>
          </ac:spMkLst>
        </pc:spChg>
        <pc:spChg chg="mod">
          <ac:chgData name="David CASTELNAU" userId="66a58927-c847-4858-a348-a4848e30932f" providerId="ADAL" clId="{F44B76A6-A5C0-4B08-8BCC-E178E64C4338}" dt="2024-02-02T13:42:45.684" v="18181" actId="14100"/>
          <ac:spMkLst>
            <pc:docMk/>
            <pc:sldMk cId="1704792734" sldId="2147480331"/>
            <ac:spMk id="34" creationId="{5CBCF09F-38E5-08B7-AF21-8CD9E01F957D}"/>
          </ac:spMkLst>
        </pc:spChg>
        <pc:spChg chg="mod">
          <ac:chgData name="David CASTELNAU" userId="66a58927-c847-4858-a348-a4848e30932f" providerId="ADAL" clId="{F44B76A6-A5C0-4B08-8BCC-E178E64C4338}" dt="2024-02-02T13:42:52.109" v="18197" actId="1036"/>
          <ac:spMkLst>
            <pc:docMk/>
            <pc:sldMk cId="1704792734" sldId="2147480331"/>
            <ac:spMk id="36" creationId="{0BF855AC-212E-39C9-E480-D8EC69A466D8}"/>
          </ac:spMkLst>
        </pc:spChg>
        <pc:spChg chg="mod">
          <ac:chgData name="David CASTELNAU" userId="66a58927-c847-4858-a348-a4848e30932f" providerId="ADAL" clId="{F44B76A6-A5C0-4B08-8BCC-E178E64C4338}" dt="2024-02-02T13:43:38.625" v="18220" actId="1036"/>
          <ac:spMkLst>
            <pc:docMk/>
            <pc:sldMk cId="1704792734" sldId="2147480331"/>
            <ac:spMk id="37" creationId="{E9472DAE-ED5E-3F82-09AD-4C2A68453682}"/>
          </ac:spMkLst>
        </pc:spChg>
        <pc:spChg chg="mod">
          <ac:chgData name="David CASTELNAU" userId="66a58927-c847-4858-a348-a4848e30932f" providerId="ADAL" clId="{F44B76A6-A5C0-4B08-8BCC-E178E64C4338}" dt="2024-02-02T16:09:50.932" v="20290" actId="20577"/>
          <ac:spMkLst>
            <pc:docMk/>
            <pc:sldMk cId="1704792734" sldId="2147480331"/>
            <ac:spMk id="53" creationId="{1E5161C6-FD31-AE6B-4777-1B88B54BDB15}"/>
          </ac:spMkLst>
        </pc:spChg>
        <pc:spChg chg="mod">
          <ac:chgData name="David CASTELNAU" userId="66a58927-c847-4858-a348-a4848e30932f" providerId="ADAL" clId="{F44B76A6-A5C0-4B08-8BCC-E178E64C4338}" dt="2024-01-31T11:34:06.757" v="7516" actId="3064"/>
          <ac:spMkLst>
            <pc:docMk/>
            <pc:sldMk cId="1704792734" sldId="2147480331"/>
            <ac:spMk id="54" creationId="{EF87DBE6-BF00-D665-482B-64FE18D05283}"/>
          </ac:spMkLst>
        </pc:spChg>
        <pc:spChg chg="mod">
          <ac:chgData name="David CASTELNAU" userId="66a58927-c847-4858-a348-a4848e30932f" providerId="ADAL" clId="{F44B76A6-A5C0-4B08-8BCC-E178E64C4338}" dt="2024-01-31T11:34:06.757" v="7516" actId="3064"/>
          <ac:spMkLst>
            <pc:docMk/>
            <pc:sldMk cId="1704792734" sldId="2147480331"/>
            <ac:spMk id="57" creationId="{09644C5B-4AA9-9720-DA9D-3B4A7BB73172}"/>
          </ac:spMkLst>
        </pc:spChg>
        <pc:spChg chg="mod">
          <ac:chgData name="David CASTELNAU" userId="66a58927-c847-4858-a348-a4848e30932f" providerId="ADAL" clId="{F44B76A6-A5C0-4B08-8BCC-E178E64C4338}" dt="2024-01-31T11:34:06.757" v="7516" actId="3064"/>
          <ac:spMkLst>
            <pc:docMk/>
            <pc:sldMk cId="1704792734" sldId="2147480331"/>
            <ac:spMk id="61" creationId="{18E18167-B0AB-74D2-BE9D-537F893C19ED}"/>
          </ac:spMkLst>
        </pc:spChg>
        <pc:grpChg chg="mod">
          <ac:chgData name="David CASTELNAU" userId="66a58927-c847-4858-a348-a4848e30932f" providerId="ADAL" clId="{F44B76A6-A5C0-4B08-8BCC-E178E64C4338}" dt="2024-02-02T13:44:34.670" v="18221" actId="14100"/>
          <ac:grpSpMkLst>
            <pc:docMk/>
            <pc:sldMk cId="1704792734" sldId="2147480331"/>
            <ac:grpSpMk id="27" creationId="{971365C5-9D69-9B3D-D108-BEFF2D03C34E}"/>
          </ac:grpSpMkLst>
        </pc:grpChg>
        <pc:grpChg chg="mod">
          <ac:chgData name="David CASTELNAU" userId="66a58927-c847-4858-a348-a4848e30932f" providerId="ADAL" clId="{F44B76A6-A5C0-4B08-8BCC-E178E64C4338}" dt="2024-02-02T13:43:01.023" v="18210" actId="1037"/>
          <ac:grpSpMkLst>
            <pc:docMk/>
            <pc:sldMk cId="1704792734" sldId="2147480331"/>
            <ac:grpSpMk id="46" creationId="{39B618AE-EC14-453B-B3F2-E45A14BDE461}"/>
          </ac:grpSpMkLst>
        </pc:grpChg>
        <pc:graphicFrameChg chg="mod modGraphic">
          <ac:chgData name="David CASTELNAU" userId="66a58927-c847-4858-a348-a4848e30932f" providerId="ADAL" clId="{F44B76A6-A5C0-4B08-8BCC-E178E64C4338}" dt="2024-01-31T11:22:36.145" v="6840" actId="207"/>
          <ac:graphicFrameMkLst>
            <pc:docMk/>
            <pc:sldMk cId="1704792734" sldId="2147480331"/>
            <ac:graphicFrameMk id="25" creationId="{002674AB-6B6B-02F7-5E25-0EB30DB53238}"/>
          </ac:graphicFrameMkLst>
        </pc:graphicFrameChg>
        <pc:picChg chg="mod">
          <ac:chgData name="David CASTELNAU" userId="66a58927-c847-4858-a348-a4848e30932f" providerId="ADAL" clId="{F44B76A6-A5C0-4B08-8BCC-E178E64C4338}" dt="2024-02-02T13:43:38.625" v="18220" actId="1036"/>
          <ac:picMkLst>
            <pc:docMk/>
            <pc:sldMk cId="1704792734" sldId="2147480331"/>
            <ac:picMk id="40" creationId="{66AADC91-F75C-8794-F565-06F654A51FCD}"/>
          </ac:picMkLst>
        </pc:picChg>
      </pc:sldChg>
      <pc:sldChg chg="addSp modSp mod">
        <pc:chgData name="David CASTELNAU" userId="66a58927-c847-4858-a348-a4848e30932f" providerId="ADAL" clId="{F44B76A6-A5C0-4B08-8BCC-E178E64C4338}" dt="2024-02-02T13:48:36.039" v="18394" actId="1036"/>
        <pc:sldMkLst>
          <pc:docMk/>
          <pc:sldMk cId="3670225089" sldId="2147480333"/>
        </pc:sldMkLst>
        <pc:spChg chg="mod">
          <ac:chgData name="David CASTELNAU" userId="66a58927-c847-4858-a348-a4848e30932f" providerId="ADAL" clId="{F44B76A6-A5C0-4B08-8BCC-E178E64C4338}" dt="2024-02-02T13:48:17.948" v="18313" actId="1037"/>
          <ac:spMkLst>
            <pc:docMk/>
            <pc:sldMk cId="3670225089" sldId="2147480333"/>
            <ac:spMk id="2" creationId="{43DFF4CD-4562-09CE-3D1A-F9443AB78791}"/>
          </ac:spMkLst>
        </pc:spChg>
        <pc:spChg chg="mod">
          <ac:chgData name="David CASTELNAU" userId="66a58927-c847-4858-a348-a4848e30932f" providerId="ADAL" clId="{F44B76A6-A5C0-4B08-8BCC-E178E64C4338}" dt="2024-02-02T13:48:30.298" v="18372" actId="1038"/>
          <ac:spMkLst>
            <pc:docMk/>
            <pc:sldMk cId="3670225089" sldId="2147480333"/>
            <ac:spMk id="3" creationId="{E4E2061E-9990-9FE5-0D57-8F31A4143A90}"/>
          </ac:spMkLst>
        </pc:spChg>
        <pc:grpChg chg="add mod">
          <ac:chgData name="David CASTELNAU" userId="66a58927-c847-4858-a348-a4848e30932f" providerId="ADAL" clId="{F44B76A6-A5C0-4B08-8BCC-E178E64C4338}" dt="2024-02-02T13:48:17.948" v="18313" actId="1037"/>
          <ac:grpSpMkLst>
            <pc:docMk/>
            <pc:sldMk cId="3670225089" sldId="2147480333"/>
            <ac:grpSpMk id="20" creationId="{E78D0321-E854-5BE7-F50F-EDE523CF7961}"/>
          </ac:grpSpMkLst>
        </pc:grpChg>
        <pc:picChg chg="mod">
          <ac:chgData name="David CASTELNAU" userId="66a58927-c847-4858-a348-a4848e30932f" providerId="ADAL" clId="{F44B76A6-A5C0-4B08-8BCC-E178E64C4338}" dt="2024-02-02T13:48:06.933" v="18293" actId="1076"/>
          <ac:picMkLst>
            <pc:docMk/>
            <pc:sldMk cId="3670225089" sldId="2147480333"/>
            <ac:picMk id="4" creationId="{3F9D5E9E-4AA1-699A-54FB-4EC60A8E8D8B}"/>
          </ac:picMkLst>
        </pc:picChg>
        <pc:picChg chg="mod">
          <ac:chgData name="David CASTELNAU" userId="66a58927-c847-4858-a348-a4848e30932f" providerId="ADAL" clId="{F44B76A6-A5C0-4B08-8BCC-E178E64C4338}" dt="2024-02-02T13:48:25.292" v="18351" actId="1037"/>
          <ac:picMkLst>
            <pc:docMk/>
            <pc:sldMk cId="3670225089" sldId="2147480333"/>
            <ac:picMk id="10" creationId="{76EC65D6-4717-958B-EFBB-2B050B3628AD}"/>
          </ac:picMkLst>
        </pc:picChg>
        <pc:picChg chg="mod">
          <ac:chgData name="David CASTELNAU" userId="66a58927-c847-4858-a348-a4848e30932f" providerId="ADAL" clId="{F44B76A6-A5C0-4B08-8BCC-E178E64C4338}" dt="2024-02-02T13:48:25.292" v="18351" actId="1037"/>
          <ac:picMkLst>
            <pc:docMk/>
            <pc:sldMk cId="3670225089" sldId="2147480333"/>
            <ac:picMk id="11" creationId="{5CE3F4A0-87BD-DF3E-40EB-6F074AEE419F}"/>
          </ac:picMkLst>
        </pc:picChg>
        <pc:picChg chg="mod">
          <ac:chgData name="David CASTELNAU" userId="66a58927-c847-4858-a348-a4848e30932f" providerId="ADAL" clId="{F44B76A6-A5C0-4B08-8BCC-E178E64C4338}" dt="2024-02-02T13:48:36.039" v="18394" actId="1036"/>
          <ac:picMkLst>
            <pc:docMk/>
            <pc:sldMk cId="3670225089" sldId="2147480333"/>
            <ac:picMk id="13" creationId="{FB25BB29-C01D-B907-15B6-6CC3A4DFF784}"/>
          </ac:picMkLst>
        </pc:picChg>
        <pc:picChg chg="mod">
          <ac:chgData name="David CASTELNAU" userId="66a58927-c847-4858-a348-a4848e30932f" providerId="ADAL" clId="{F44B76A6-A5C0-4B08-8BCC-E178E64C4338}" dt="2024-02-02T13:48:06.933" v="18293" actId="1076"/>
          <ac:picMkLst>
            <pc:docMk/>
            <pc:sldMk cId="3670225089" sldId="2147480333"/>
            <ac:picMk id="15" creationId="{CC110D12-1BF3-92D5-5CF1-72614E064EA6}"/>
          </ac:picMkLst>
        </pc:picChg>
      </pc:sldChg>
      <pc:sldChg chg="modSp mod">
        <pc:chgData name="David CASTELNAU" userId="66a58927-c847-4858-a348-a4848e30932f" providerId="ADAL" clId="{F44B76A6-A5C0-4B08-8BCC-E178E64C4338}" dt="2024-02-02T11:10:16.856" v="17410"/>
        <pc:sldMkLst>
          <pc:docMk/>
          <pc:sldMk cId="2861464629" sldId="2147480335"/>
        </pc:sldMkLst>
        <pc:spChg chg="mod">
          <ac:chgData name="David CASTELNAU" userId="66a58927-c847-4858-a348-a4848e30932f" providerId="ADAL" clId="{F44B76A6-A5C0-4B08-8BCC-E178E64C4338}" dt="2024-02-02T11:10:16.856" v="17410"/>
          <ac:spMkLst>
            <pc:docMk/>
            <pc:sldMk cId="2861464629" sldId="2147480335"/>
            <ac:spMk id="3" creationId="{DE8875F4-96B0-73DD-AC00-F95D729132AD}"/>
          </ac:spMkLst>
        </pc:spChg>
      </pc:sldChg>
      <pc:sldChg chg="addSp delSp modSp mod">
        <pc:chgData name="David CASTELNAU" userId="66a58927-c847-4858-a348-a4848e30932f" providerId="ADAL" clId="{F44B76A6-A5C0-4B08-8BCC-E178E64C4338}" dt="2024-02-02T18:00:48.840" v="20342" actId="20577"/>
        <pc:sldMkLst>
          <pc:docMk/>
          <pc:sldMk cId="1475900930" sldId="2147480336"/>
        </pc:sldMkLst>
        <pc:spChg chg="mod">
          <ac:chgData name="David CASTELNAU" userId="66a58927-c847-4858-a348-a4848e30932f" providerId="ADAL" clId="{F44B76A6-A5C0-4B08-8BCC-E178E64C4338}" dt="2024-02-02T18:00:48.840" v="20342" actId="20577"/>
          <ac:spMkLst>
            <pc:docMk/>
            <pc:sldMk cId="1475900930" sldId="2147480336"/>
            <ac:spMk id="6" creationId="{B6E8369B-647E-2C0C-8E85-E1BD82307DA6}"/>
          </ac:spMkLst>
        </pc:spChg>
        <pc:picChg chg="del">
          <ac:chgData name="David CASTELNAU" userId="66a58927-c847-4858-a348-a4848e30932f" providerId="ADAL" clId="{F44B76A6-A5C0-4B08-8BCC-E178E64C4338}" dt="2024-02-02T09:42:08.169" v="15291" actId="478"/>
          <ac:picMkLst>
            <pc:docMk/>
            <pc:sldMk cId="1475900930" sldId="2147480336"/>
            <ac:picMk id="2" creationId="{9CB8A27F-00FE-E196-C479-0BEDA08DCA4D}"/>
          </ac:picMkLst>
        </pc:picChg>
        <pc:picChg chg="add mod">
          <ac:chgData name="David CASTELNAU" userId="66a58927-c847-4858-a348-a4848e30932f" providerId="ADAL" clId="{F44B76A6-A5C0-4B08-8BCC-E178E64C4338}" dt="2024-02-02T09:42:15.920" v="15292"/>
          <ac:picMkLst>
            <pc:docMk/>
            <pc:sldMk cId="1475900930" sldId="2147480336"/>
            <ac:picMk id="3" creationId="{CA027023-333A-2659-B748-1B9F157D735A}"/>
          </ac:picMkLst>
        </pc:picChg>
      </pc:sldChg>
      <pc:sldChg chg="addSp modSp mod">
        <pc:chgData name="David CASTELNAU" userId="66a58927-c847-4858-a348-a4848e30932f" providerId="ADAL" clId="{F44B76A6-A5C0-4B08-8BCC-E178E64C4338}" dt="2024-02-02T11:10:09.202" v="17406"/>
        <pc:sldMkLst>
          <pc:docMk/>
          <pc:sldMk cId="3124005727" sldId="2147480337"/>
        </pc:sldMkLst>
        <pc:spChg chg="mod">
          <ac:chgData name="David CASTELNAU" userId="66a58927-c847-4858-a348-a4848e30932f" providerId="ADAL" clId="{F44B76A6-A5C0-4B08-8BCC-E178E64C4338}" dt="2024-02-02T11:10:09.202" v="17406"/>
          <ac:spMkLst>
            <pc:docMk/>
            <pc:sldMk cId="3124005727" sldId="2147480337"/>
            <ac:spMk id="3" creationId="{D37069D9-5950-C26E-070A-850EF4F48DB9}"/>
          </ac:spMkLst>
        </pc:spChg>
        <pc:picChg chg="add mod">
          <ac:chgData name="David CASTELNAU" userId="66a58927-c847-4858-a348-a4848e30932f" providerId="ADAL" clId="{F44B76A6-A5C0-4B08-8BCC-E178E64C4338}" dt="2024-02-02T09:42:20.136" v="15293"/>
          <ac:picMkLst>
            <pc:docMk/>
            <pc:sldMk cId="3124005727" sldId="2147480337"/>
            <ac:picMk id="4" creationId="{46590946-ED73-9050-5C85-B2E917F6F6C3}"/>
          </ac:picMkLst>
        </pc:picChg>
      </pc:sldChg>
      <pc:sldChg chg="modSp mod">
        <pc:chgData name="David CASTELNAU" userId="66a58927-c847-4858-a348-a4848e30932f" providerId="ADAL" clId="{F44B76A6-A5C0-4B08-8BCC-E178E64C4338}" dt="2024-02-02T11:09:35.812" v="17396"/>
        <pc:sldMkLst>
          <pc:docMk/>
          <pc:sldMk cId="3879038634" sldId="2147480338"/>
        </pc:sldMkLst>
        <pc:spChg chg="mod">
          <ac:chgData name="David CASTELNAU" userId="66a58927-c847-4858-a348-a4848e30932f" providerId="ADAL" clId="{F44B76A6-A5C0-4B08-8BCC-E178E64C4338}" dt="2024-02-02T11:09:35.812" v="17396"/>
          <ac:spMkLst>
            <pc:docMk/>
            <pc:sldMk cId="3879038634" sldId="2147480338"/>
            <ac:spMk id="33" creationId="{D1492F5E-DBFB-C955-99AE-637B1C055A22}"/>
          </ac:spMkLst>
        </pc:spChg>
      </pc:sldChg>
      <pc:sldChg chg="modSp mod">
        <pc:chgData name="David CASTELNAU" userId="66a58927-c847-4858-a348-a4848e30932f" providerId="ADAL" clId="{F44B76A6-A5C0-4B08-8BCC-E178E64C4338}" dt="2024-02-02T11:09:32.230" v="17394"/>
        <pc:sldMkLst>
          <pc:docMk/>
          <pc:sldMk cId="3848348873" sldId="2147480339"/>
        </pc:sldMkLst>
        <pc:spChg chg="mod">
          <ac:chgData name="David CASTELNAU" userId="66a58927-c847-4858-a348-a4848e30932f" providerId="ADAL" clId="{F44B76A6-A5C0-4B08-8BCC-E178E64C4338}" dt="2024-02-02T11:09:32.230" v="17394"/>
          <ac:spMkLst>
            <pc:docMk/>
            <pc:sldMk cId="3848348873" sldId="2147480339"/>
            <ac:spMk id="2" creationId="{9719F43A-6AB1-1165-4BE0-1A4809079541}"/>
          </ac:spMkLst>
        </pc:spChg>
        <pc:picChg chg="mod">
          <ac:chgData name="David CASTELNAU" userId="66a58927-c847-4858-a348-a4848e30932f" providerId="ADAL" clId="{F44B76A6-A5C0-4B08-8BCC-E178E64C4338}" dt="2024-02-01T00:12:20.558" v="11655" actId="1037"/>
          <ac:picMkLst>
            <pc:docMk/>
            <pc:sldMk cId="3848348873" sldId="2147480339"/>
            <ac:picMk id="10" creationId="{F326AE16-7771-1E62-73F7-CF08441B8FDA}"/>
          </ac:picMkLst>
        </pc:picChg>
      </pc:sldChg>
      <pc:sldChg chg="addSp modSp del mod">
        <pc:chgData name="David CASTELNAU" userId="66a58927-c847-4858-a348-a4848e30932f" providerId="ADAL" clId="{F44B76A6-A5C0-4B08-8BCC-E178E64C4338}" dt="2024-02-02T09:47:22.857" v="15294" actId="47"/>
        <pc:sldMkLst>
          <pc:docMk/>
          <pc:sldMk cId="238977462" sldId="2147480342"/>
        </pc:sldMkLst>
        <pc:spChg chg="add mod">
          <ac:chgData name="David CASTELNAU" userId="66a58927-c847-4858-a348-a4848e30932f" providerId="ADAL" clId="{F44B76A6-A5C0-4B08-8BCC-E178E64C4338}" dt="2024-02-01T00:12:05.360" v="11642" actId="20577"/>
          <ac:spMkLst>
            <pc:docMk/>
            <pc:sldMk cId="238977462" sldId="2147480342"/>
            <ac:spMk id="2" creationId="{13C811C2-19EC-5961-8DEF-9AA58524C732}"/>
          </ac:spMkLst>
        </pc:spChg>
      </pc:sldChg>
      <pc:sldChg chg="del">
        <pc:chgData name="David CASTELNAU" userId="66a58927-c847-4858-a348-a4848e30932f" providerId="ADAL" clId="{F44B76A6-A5C0-4B08-8BCC-E178E64C4338}" dt="2024-02-02T09:47:24.821" v="15295" actId="47"/>
        <pc:sldMkLst>
          <pc:docMk/>
          <pc:sldMk cId="3529778808" sldId="2147480343"/>
        </pc:sldMkLst>
      </pc:sldChg>
      <pc:sldChg chg="modSp mod">
        <pc:chgData name="David CASTELNAU" userId="66a58927-c847-4858-a348-a4848e30932f" providerId="ADAL" clId="{F44B76A6-A5C0-4B08-8BCC-E178E64C4338}" dt="2024-02-02T17:59:23.562" v="20327" actId="20577"/>
        <pc:sldMkLst>
          <pc:docMk/>
          <pc:sldMk cId="3321415146" sldId="2147482331"/>
        </pc:sldMkLst>
        <pc:spChg chg="mod">
          <ac:chgData name="David CASTELNAU" userId="66a58927-c847-4858-a348-a4848e30932f" providerId="ADAL" clId="{F44B76A6-A5C0-4B08-8BCC-E178E64C4338}" dt="2024-02-02T17:59:23.562" v="20327" actId="20577"/>
          <ac:spMkLst>
            <pc:docMk/>
            <pc:sldMk cId="3321415146" sldId="2147482331"/>
            <ac:spMk id="6" creationId="{2D2C8092-12C3-F51D-F225-F381FB143A92}"/>
          </ac:spMkLst>
        </pc:spChg>
      </pc:sldChg>
      <pc:sldChg chg="addSp delSp modSp new mod">
        <pc:chgData name="David CASTELNAU" userId="66a58927-c847-4858-a348-a4848e30932f" providerId="ADAL" clId="{F44B76A6-A5C0-4B08-8BCC-E178E64C4338}" dt="2024-02-01T00:10:48.055" v="11601" actId="20577"/>
        <pc:sldMkLst>
          <pc:docMk/>
          <pc:sldMk cId="748802550" sldId="2147482346"/>
        </pc:sldMkLst>
        <pc:spChg chg="mod">
          <ac:chgData name="David CASTELNAU" userId="66a58927-c847-4858-a348-a4848e30932f" providerId="ADAL" clId="{F44B76A6-A5C0-4B08-8BCC-E178E64C4338}" dt="2024-02-01T00:05:39.828" v="11329" actId="20577"/>
          <ac:spMkLst>
            <pc:docMk/>
            <pc:sldMk cId="748802550" sldId="2147482346"/>
            <ac:spMk id="2" creationId="{8F735B57-3D4E-7071-512C-94B65F6621FE}"/>
          </ac:spMkLst>
        </pc:spChg>
        <pc:spChg chg="del">
          <ac:chgData name="David CASTELNAU" userId="66a58927-c847-4858-a348-a4848e30932f" providerId="ADAL" clId="{F44B76A6-A5C0-4B08-8BCC-E178E64C4338}" dt="2024-02-01T00:07:47.495" v="11379" actId="478"/>
          <ac:spMkLst>
            <pc:docMk/>
            <pc:sldMk cId="748802550" sldId="2147482346"/>
            <ac:spMk id="3" creationId="{7F70F781-2560-6CF7-23E6-AC866AA47A53}"/>
          </ac:spMkLst>
        </pc:spChg>
        <pc:spChg chg="add mod">
          <ac:chgData name="David CASTELNAU" userId="66a58927-c847-4858-a348-a4848e30932f" providerId="ADAL" clId="{F44B76A6-A5C0-4B08-8BCC-E178E64C4338}" dt="2024-02-01T00:09:46.233" v="11531" actId="20577"/>
          <ac:spMkLst>
            <pc:docMk/>
            <pc:sldMk cId="748802550" sldId="2147482346"/>
            <ac:spMk id="4" creationId="{965D60FC-6A43-5B10-E04D-B4DD5E45FAD1}"/>
          </ac:spMkLst>
        </pc:spChg>
        <pc:spChg chg="add mod">
          <ac:chgData name="David CASTELNAU" userId="66a58927-c847-4858-a348-a4848e30932f" providerId="ADAL" clId="{F44B76A6-A5C0-4B08-8BCC-E178E64C4338}" dt="2024-02-01T00:07:43.044" v="11378" actId="3064"/>
          <ac:spMkLst>
            <pc:docMk/>
            <pc:sldMk cId="748802550" sldId="2147482346"/>
            <ac:spMk id="5" creationId="{19BF3417-83DA-7478-9F96-048EB9DB1BB5}"/>
          </ac:spMkLst>
        </pc:spChg>
        <pc:spChg chg="add mod">
          <ac:chgData name="David CASTELNAU" userId="66a58927-c847-4858-a348-a4848e30932f" providerId="ADAL" clId="{F44B76A6-A5C0-4B08-8BCC-E178E64C4338}" dt="2024-02-01T00:07:08.009" v="11345" actId="164"/>
          <ac:spMkLst>
            <pc:docMk/>
            <pc:sldMk cId="748802550" sldId="2147482346"/>
            <ac:spMk id="6" creationId="{E5988D10-AE29-72DB-C980-C4FEA5528A7C}"/>
          </ac:spMkLst>
        </pc:spChg>
        <pc:spChg chg="add mod">
          <ac:chgData name="David CASTELNAU" userId="66a58927-c847-4858-a348-a4848e30932f" providerId="ADAL" clId="{F44B76A6-A5C0-4B08-8BCC-E178E64C4338}" dt="2024-02-01T00:09:25.352" v="11530" actId="20577"/>
          <ac:spMkLst>
            <pc:docMk/>
            <pc:sldMk cId="748802550" sldId="2147482346"/>
            <ac:spMk id="7" creationId="{1604B06A-B842-5E71-F8BF-059C587B787E}"/>
          </ac:spMkLst>
        </pc:spChg>
        <pc:spChg chg="add mod">
          <ac:chgData name="David CASTELNAU" userId="66a58927-c847-4858-a348-a4848e30932f" providerId="ADAL" clId="{F44B76A6-A5C0-4B08-8BCC-E178E64C4338}" dt="2024-02-01T00:07:43.044" v="11378" actId="3064"/>
          <ac:spMkLst>
            <pc:docMk/>
            <pc:sldMk cId="748802550" sldId="2147482346"/>
            <ac:spMk id="8" creationId="{0ACDFF67-76E5-9923-7F16-57A91A1D8DA7}"/>
          </ac:spMkLst>
        </pc:spChg>
        <pc:spChg chg="add mod">
          <ac:chgData name="David CASTELNAU" userId="66a58927-c847-4858-a348-a4848e30932f" providerId="ADAL" clId="{F44B76A6-A5C0-4B08-8BCC-E178E64C4338}" dt="2024-02-01T00:07:08.009" v="11345" actId="164"/>
          <ac:spMkLst>
            <pc:docMk/>
            <pc:sldMk cId="748802550" sldId="2147482346"/>
            <ac:spMk id="9" creationId="{ED688239-4376-4F92-820D-9CF43C3D4A1A}"/>
          </ac:spMkLst>
        </pc:spChg>
        <pc:spChg chg="add mod">
          <ac:chgData name="David CASTELNAU" userId="66a58927-c847-4858-a348-a4848e30932f" providerId="ADAL" clId="{F44B76A6-A5C0-4B08-8BCC-E178E64C4338}" dt="2024-02-01T00:10:48.055" v="11601" actId="20577"/>
          <ac:spMkLst>
            <pc:docMk/>
            <pc:sldMk cId="748802550" sldId="2147482346"/>
            <ac:spMk id="10" creationId="{07AF9652-DE15-8AA6-5439-1B7B486D4BB7}"/>
          </ac:spMkLst>
        </pc:spChg>
        <pc:spChg chg="add mod">
          <ac:chgData name="David CASTELNAU" userId="66a58927-c847-4858-a348-a4848e30932f" providerId="ADAL" clId="{F44B76A6-A5C0-4B08-8BCC-E178E64C4338}" dt="2024-02-01T00:07:43.044" v="11378" actId="3064"/>
          <ac:spMkLst>
            <pc:docMk/>
            <pc:sldMk cId="748802550" sldId="2147482346"/>
            <ac:spMk id="11" creationId="{B10BC3D4-C18C-5E96-738B-919B816AA5F8}"/>
          </ac:spMkLst>
        </pc:spChg>
        <pc:spChg chg="add mod">
          <ac:chgData name="David CASTELNAU" userId="66a58927-c847-4858-a348-a4848e30932f" providerId="ADAL" clId="{F44B76A6-A5C0-4B08-8BCC-E178E64C4338}" dt="2024-02-01T00:07:08.009" v="11345" actId="164"/>
          <ac:spMkLst>
            <pc:docMk/>
            <pc:sldMk cId="748802550" sldId="2147482346"/>
            <ac:spMk id="12" creationId="{00880D16-FFB8-E5B7-9F8F-DE188283D2CE}"/>
          </ac:spMkLst>
        </pc:spChg>
        <pc:spChg chg="add mod">
          <ac:chgData name="David CASTELNAU" userId="66a58927-c847-4858-a348-a4848e30932f" providerId="ADAL" clId="{F44B76A6-A5C0-4B08-8BCC-E178E64C4338}" dt="2024-02-01T00:07:08.009" v="11345" actId="164"/>
          <ac:spMkLst>
            <pc:docMk/>
            <pc:sldMk cId="748802550" sldId="2147482346"/>
            <ac:spMk id="15" creationId="{2975052F-94F9-ACDC-AEE5-0E53D0D60B68}"/>
          </ac:spMkLst>
        </pc:spChg>
        <pc:grpChg chg="add mod">
          <ac:chgData name="David CASTELNAU" userId="66a58927-c847-4858-a348-a4848e30932f" providerId="ADAL" clId="{F44B76A6-A5C0-4B08-8BCC-E178E64C4338}" dt="2024-02-01T00:07:30.271" v="11375" actId="1076"/>
          <ac:grpSpMkLst>
            <pc:docMk/>
            <pc:sldMk cId="748802550" sldId="2147482346"/>
            <ac:grpSpMk id="16" creationId="{0BAEC650-EAA9-ED0C-EFF8-533278AEFA01}"/>
          </ac:grpSpMkLst>
        </pc:grpChg>
        <pc:picChg chg="add mod">
          <ac:chgData name="David CASTELNAU" userId="66a58927-c847-4858-a348-a4848e30932f" providerId="ADAL" clId="{F44B76A6-A5C0-4B08-8BCC-E178E64C4338}" dt="2024-02-01T00:07:08.009" v="11345" actId="164"/>
          <ac:picMkLst>
            <pc:docMk/>
            <pc:sldMk cId="748802550" sldId="2147482346"/>
            <ac:picMk id="13" creationId="{B17D1706-822B-2EF0-E46D-68DCEC966449}"/>
          </ac:picMkLst>
        </pc:picChg>
        <pc:picChg chg="add mod">
          <ac:chgData name="David CASTELNAU" userId="66a58927-c847-4858-a348-a4848e30932f" providerId="ADAL" clId="{F44B76A6-A5C0-4B08-8BCC-E178E64C4338}" dt="2024-02-01T00:07:08.009" v="11345" actId="164"/>
          <ac:picMkLst>
            <pc:docMk/>
            <pc:sldMk cId="748802550" sldId="2147482346"/>
            <ac:picMk id="14" creationId="{36AF7308-1922-FD86-5DDB-A31A1B9A5550}"/>
          </ac:picMkLst>
        </pc:picChg>
      </pc:sldChg>
      <pc:sldChg chg="modSp mod">
        <pc:chgData name="David CASTELNAU" userId="66a58927-c847-4858-a348-a4848e30932f" providerId="ADAL" clId="{F44B76A6-A5C0-4B08-8BCC-E178E64C4338}" dt="2024-02-02T13:36:04.472" v="18108" actId="20577"/>
        <pc:sldMkLst>
          <pc:docMk/>
          <pc:sldMk cId="646768392" sldId="2147482365"/>
        </pc:sldMkLst>
        <pc:spChg chg="mod">
          <ac:chgData name="David CASTELNAU" userId="66a58927-c847-4858-a348-a4848e30932f" providerId="ADAL" clId="{F44B76A6-A5C0-4B08-8BCC-E178E64C4338}" dt="2024-02-02T13:36:04.472" v="18108" actId="20577"/>
          <ac:spMkLst>
            <pc:docMk/>
            <pc:sldMk cId="646768392" sldId="2147482365"/>
            <ac:spMk id="23" creationId="{48E35052-F81C-453D-C1AA-83C5E423FAC3}"/>
          </ac:spMkLst>
        </pc:spChg>
        <pc:spChg chg="mod">
          <ac:chgData name="David CASTELNAU" userId="66a58927-c847-4858-a348-a4848e30932f" providerId="ADAL" clId="{F44B76A6-A5C0-4B08-8BCC-E178E64C4338}" dt="2024-02-02T13:35:18.735" v="18083" actId="20577"/>
          <ac:spMkLst>
            <pc:docMk/>
            <pc:sldMk cId="646768392" sldId="2147482365"/>
            <ac:spMk id="49" creationId="{8C97D30A-09F4-3174-8519-4216346D4832}"/>
          </ac:spMkLst>
        </pc:spChg>
      </pc:sldChg>
      <pc:sldChg chg="modSp mod">
        <pc:chgData name="David CASTELNAU" userId="66a58927-c847-4858-a348-a4848e30932f" providerId="ADAL" clId="{F44B76A6-A5C0-4B08-8BCC-E178E64C4338}" dt="2024-02-02T14:38:55.388" v="19457" actId="13926"/>
        <pc:sldMkLst>
          <pc:docMk/>
          <pc:sldMk cId="3308541053" sldId="2147482367"/>
        </pc:sldMkLst>
        <pc:spChg chg="mod">
          <ac:chgData name="David CASTELNAU" userId="66a58927-c847-4858-a348-a4848e30932f" providerId="ADAL" clId="{F44B76A6-A5C0-4B08-8BCC-E178E64C4338}" dt="2024-02-02T14:38:55.388" v="19457" actId="13926"/>
          <ac:spMkLst>
            <pc:docMk/>
            <pc:sldMk cId="3308541053" sldId="2147482367"/>
            <ac:spMk id="2" creationId="{3B68E42E-736E-7A1E-FBC6-2932F0A30E44}"/>
          </ac:spMkLst>
        </pc:spChg>
        <pc:spChg chg="mod">
          <ac:chgData name="David CASTELNAU" userId="66a58927-c847-4858-a348-a4848e30932f" providerId="ADAL" clId="{F44B76A6-A5C0-4B08-8BCC-E178E64C4338}" dt="2024-02-01T17:27:07.287" v="14715" actId="20577"/>
          <ac:spMkLst>
            <pc:docMk/>
            <pc:sldMk cId="3308541053" sldId="2147482367"/>
            <ac:spMk id="10" creationId="{9DFB28B0-3CC5-D6C4-25E0-D4CCFEB38222}"/>
          </ac:spMkLst>
        </pc:spChg>
        <pc:spChg chg="mod">
          <ac:chgData name="David CASTELNAU" userId="66a58927-c847-4858-a348-a4848e30932f" providerId="ADAL" clId="{F44B76A6-A5C0-4B08-8BCC-E178E64C4338}" dt="2024-02-01T17:27:12.116" v="14717" actId="6549"/>
          <ac:spMkLst>
            <pc:docMk/>
            <pc:sldMk cId="3308541053" sldId="2147482367"/>
            <ac:spMk id="17" creationId="{E21D0531-348B-B44B-52A4-BB0A9DC2EF36}"/>
          </ac:spMkLst>
        </pc:spChg>
        <pc:spChg chg="mod">
          <ac:chgData name="David CASTELNAU" userId="66a58927-c847-4858-a348-a4848e30932f" providerId="ADAL" clId="{F44B76A6-A5C0-4B08-8BCC-E178E64C4338}" dt="2024-02-01T17:27:24.087" v="14720" actId="20577"/>
          <ac:spMkLst>
            <pc:docMk/>
            <pc:sldMk cId="3308541053" sldId="2147482367"/>
            <ac:spMk id="20" creationId="{9CDFF9A3-5DB2-E57C-C788-928C71D11BBD}"/>
          </ac:spMkLst>
        </pc:spChg>
        <pc:spChg chg="mod">
          <ac:chgData name="David CASTELNAU" userId="66a58927-c847-4858-a348-a4848e30932f" providerId="ADAL" clId="{F44B76A6-A5C0-4B08-8BCC-E178E64C4338}" dt="2024-02-01T17:27:28.143" v="14727" actId="20577"/>
          <ac:spMkLst>
            <pc:docMk/>
            <pc:sldMk cId="3308541053" sldId="2147482367"/>
            <ac:spMk id="25" creationId="{77957A4E-EC9D-65F8-F4E8-4FB0A831E163}"/>
          </ac:spMkLst>
        </pc:spChg>
        <pc:spChg chg="mod">
          <ac:chgData name="David CASTELNAU" userId="66a58927-c847-4858-a348-a4848e30932f" providerId="ADAL" clId="{F44B76A6-A5C0-4B08-8BCC-E178E64C4338}" dt="2024-02-01T17:27:32.688" v="14734" actId="20577"/>
          <ac:spMkLst>
            <pc:docMk/>
            <pc:sldMk cId="3308541053" sldId="2147482367"/>
            <ac:spMk id="51" creationId="{A7E03E88-E3F3-616B-BFC0-C5E82F19EFE8}"/>
          </ac:spMkLst>
        </pc:spChg>
        <pc:spChg chg="mod">
          <ac:chgData name="David CASTELNAU" userId="66a58927-c847-4858-a348-a4848e30932f" providerId="ADAL" clId="{F44B76A6-A5C0-4B08-8BCC-E178E64C4338}" dt="2024-02-01T17:44:35.221" v="14738" actId="1036"/>
          <ac:spMkLst>
            <pc:docMk/>
            <pc:sldMk cId="3308541053" sldId="2147482367"/>
            <ac:spMk id="97" creationId="{16817D63-2FD5-1C60-C2BE-428CB3E44517}"/>
          </ac:spMkLst>
        </pc:spChg>
      </pc:sldChg>
      <pc:sldChg chg="addSp delSp modSp mod">
        <pc:chgData name="David CASTELNAU" userId="66a58927-c847-4858-a348-a4848e30932f" providerId="ADAL" clId="{F44B76A6-A5C0-4B08-8BCC-E178E64C4338}" dt="2024-02-02T18:28:51.255" v="20418" actId="20577"/>
        <pc:sldMkLst>
          <pc:docMk/>
          <pc:sldMk cId="3263934951" sldId="2147482369"/>
        </pc:sldMkLst>
        <pc:spChg chg="add del mod">
          <ac:chgData name="David CASTELNAU" userId="66a58927-c847-4858-a348-a4848e30932f" providerId="ADAL" clId="{F44B76A6-A5C0-4B08-8BCC-E178E64C4338}" dt="2024-02-02T18:26:14.059" v="20351" actId="478"/>
          <ac:spMkLst>
            <pc:docMk/>
            <pc:sldMk cId="3263934951" sldId="2147482369"/>
            <ac:spMk id="3" creationId="{F4147975-D2F0-6566-CE38-95E6DAFE204E}"/>
          </ac:spMkLst>
        </pc:spChg>
        <pc:spChg chg="add mod">
          <ac:chgData name="David CASTELNAU" userId="66a58927-c847-4858-a348-a4848e30932f" providerId="ADAL" clId="{F44B76A6-A5C0-4B08-8BCC-E178E64C4338}" dt="2024-02-02T18:28:51.255" v="20418" actId="20577"/>
          <ac:spMkLst>
            <pc:docMk/>
            <pc:sldMk cId="3263934951" sldId="2147482369"/>
            <ac:spMk id="8" creationId="{33CE7D01-12F6-9445-EC07-9D41C73955BB}"/>
          </ac:spMkLst>
        </pc:spChg>
        <pc:spChg chg="add mod">
          <ac:chgData name="David CASTELNAU" userId="66a58927-c847-4858-a348-a4848e30932f" providerId="ADAL" clId="{F44B76A6-A5C0-4B08-8BCC-E178E64C4338}" dt="2024-02-02T18:28:12.088" v="20395" actId="555"/>
          <ac:spMkLst>
            <pc:docMk/>
            <pc:sldMk cId="3263934951" sldId="2147482369"/>
            <ac:spMk id="52" creationId="{E60EFE31-8487-0530-9AAF-9E670DB121E9}"/>
          </ac:spMkLst>
        </pc:spChg>
        <pc:spChg chg="add mod">
          <ac:chgData name="David CASTELNAU" userId="66a58927-c847-4858-a348-a4848e30932f" providerId="ADAL" clId="{F44B76A6-A5C0-4B08-8BCC-E178E64C4338}" dt="2024-02-02T18:27:32.063" v="20384" actId="571"/>
          <ac:spMkLst>
            <pc:docMk/>
            <pc:sldMk cId="3263934951" sldId="2147482369"/>
            <ac:spMk id="53" creationId="{47632487-D404-0784-859F-EE11C8FA631A}"/>
          </ac:spMkLst>
        </pc:spChg>
        <pc:spChg chg="add mod">
          <ac:chgData name="David CASTELNAU" userId="66a58927-c847-4858-a348-a4848e30932f" providerId="ADAL" clId="{F44B76A6-A5C0-4B08-8BCC-E178E64C4338}" dt="2024-02-02T18:27:36.393" v="20385" actId="571"/>
          <ac:spMkLst>
            <pc:docMk/>
            <pc:sldMk cId="3263934951" sldId="2147482369"/>
            <ac:spMk id="55" creationId="{BED148EE-E868-B887-0230-77E096B4435F}"/>
          </ac:spMkLst>
        </pc:spChg>
        <pc:spChg chg="add mod">
          <ac:chgData name="David CASTELNAU" userId="66a58927-c847-4858-a348-a4848e30932f" providerId="ADAL" clId="{F44B76A6-A5C0-4B08-8BCC-E178E64C4338}" dt="2024-02-02T18:27:40.743" v="20386" actId="571"/>
          <ac:spMkLst>
            <pc:docMk/>
            <pc:sldMk cId="3263934951" sldId="2147482369"/>
            <ac:spMk id="57" creationId="{1AB2E4EA-C2D9-CAB8-5F60-668D0F7C1405}"/>
          </ac:spMkLst>
        </pc:spChg>
        <pc:spChg chg="add mod">
          <ac:chgData name="David CASTELNAU" userId="66a58927-c847-4858-a348-a4848e30932f" providerId="ADAL" clId="{F44B76A6-A5C0-4B08-8BCC-E178E64C4338}" dt="2024-02-02T18:28:23.430" v="20409" actId="20577"/>
          <ac:spMkLst>
            <pc:docMk/>
            <pc:sldMk cId="3263934951" sldId="2147482369"/>
            <ac:spMk id="58" creationId="{6A0F70AB-9801-F4EF-246A-7171F0B2A35D}"/>
          </ac:spMkLst>
        </pc:spChg>
        <pc:spChg chg="add mod">
          <ac:chgData name="David CASTELNAU" userId="66a58927-c847-4858-a348-a4848e30932f" providerId="ADAL" clId="{F44B76A6-A5C0-4B08-8BCC-E178E64C4338}" dt="2024-02-02T18:28:06.308" v="20394" actId="6549"/>
          <ac:spMkLst>
            <pc:docMk/>
            <pc:sldMk cId="3263934951" sldId="2147482369"/>
            <ac:spMk id="59" creationId="{63B996AA-53B9-BFB6-AF09-AAF54A63606C}"/>
          </ac:spMkLst>
        </pc:spChg>
        <pc:spChg chg="add mod">
          <ac:chgData name="David CASTELNAU" userId="66a58927-c847-4858-a348-a4848e30932f" providerId="ADAL" clId="{F44B76A6-A5C0-4B08-8BCC-E178E64C4338}" dt="2024-02-02T18:28:35.361" v="20414" actId="20577"/>
          <ac:spMkLst>
            <pc:docMk/>
            <pc:sldMk cId="3263934951" sldId="2147482369"/>
            <ac:spMk id="60" creationId="{22924D4C-0286-2025-6116-F3B2FCB92C1B}"/>
          </ac:spMkLst>
        </pc:spChg>
        <pc:spChg chg="add mod">
          <ac:chgData name="David CASTELNAU" userId="66a58927-c847-4858-a348-a4848e30932f" providerId="ADAL" clId="{F44B76A6-A5C0-4B08-8BCC-E178E64C4338}" dt="2024-02-02T18:28:44.439" v="20415" actId="571"/>
          <ac:spMkLst>
            <pc:docMk/>
            <pc:sldMk cId="3263934951" sldId="2147482369"/>
            <ac:spMk id="61" creationId="{AB7D8BCE-EEE5-39F9-C4C4-A588C7719097}"/>
          </ac:spMkLst>
        </pc:spChg>
        <pc:picChg chg="mod">
          <ac:chgData name="David CASTELNAU" userId="66a58927-c847-4858-a348-a4848e30932f" providerId="ADAL" clId="{F44B76A6-A5C0-4B08-8BCC-E178E64C4338}" dt="2024-02-02T18:27:10.949" v="20362" actId="12789"/>
          <ac:picMkLst>
            <pc:docMk/>
            <pc:sldMk cId="3263934951" sldId="2147482369"/>
            <ac:picMk id="10" creationId="{7C8EA320-C122-C3B0-D133-E66B9CF52E64}"/>
          </ac:picMkLst>
        </pc:picChg>
        <pc:picChg chg="mod">
          <ac:chgData name="David CASTELNAU" userId="66a58927-c847-4858-a348-a4848e30932f" providerId="ADAL" clId="{F44B76A6-A5C0-4B08-8BCC-E178E64C4338}" dt="2024-02-02T18:27:10.949" v="20362" actId="12789"/>
          <ac:picMkLst>
            <pc:docMk/>
            <pc:sldMk cId="3263934951" sldId="2147482369"/>
            <ac:picMk id="27" creationId="{BC25BBB3-4AB8-45C9-7E27-6B1E17633C2D}"/>
          </ac:picMkLst>
        </pc:picChg>
        <pc:picChg chg="mod">
          <ac:chgData name="David CASTELNAU" userId="66a58927-c847-4858-a348-a4848e30932f" providerId="ADAL" clId="{F44B76A6-A5C0-4B08-8BCC-E178E64C4338}" dt="2024-02-02T18:27:10.949" v="20362" actId="12789"/>
          <ac:picMkLst>
            <pc:docMk/>
            <pc:sldMk cId="3263934951" sldId="2147482369"/>
            <ac:picMk id="31" creationId="{F32D145D-D990-A551-06AD-48657605A425}"/>
          </ac:picMkLst>
        </pc:picChg>
        <pc:picChg chg="mod">
          <ac:chgData name="David CASTELNAU" userId="66a58927-c847-4858-a348-a4848e30932f" providerId="ADAL" clId="{F44B76A6-A5C0-4B08-8BCC-E178E64C4338}" dt="2024-02-02T18:28:18.066" v="20406" actId="1036"/>
          <ac:picMkLst>
            <pc:docMk/>
            <pc:sldMk cId="3263934951" sldId="2147482369"/>
            <ac:picMk id="1030" creationId="{A6CECA1F-640C-4C9E-6E7B-DB4ACABF9979}"/>
          </ac:picMkLst>
        </pc:picChg>
      </pc:sldChg>
      <pc:sldChg chg="delSp modSp mod">
        <pc:chgData name="David CASTELNAU" userId="66a58927-c847-4858-a348-a4848e30932f" providerId="ADAL" clId="{F44B76A6-A5C0-4B08-8BCC-E178E64C4338}" dt="2024-02-02T13:06:22.847" v="17916" actId="478"/>
        <pc:sldMkLst>
          <pc:docMk/>
          <pc:sldMk cId="536151402" sldId="2147482373"/>
        </pc:sldMkLst>
        <pc:spChg chg="del mod">
          <ac:chgData name="David CASTELNAU" userId="66a58927-c847-4858-a348-a4848e30932f" providerId="ADAL" clId="{F44B76A6-A5C0-4B08-8BCC-E178E64C4338}" dt="2024-02-02T13:06:06.877" v="17914" actId="478"/>
          <ac:spMkLst>
            <pc:docMk/>
            <pc:sldMk cId="536151402" sldId="2147482373"/>
            <ac:spMk id="12" creationId="{3BC848F9-B044-4878-9360-64CD05B4F22B}"/>
          </ac:spMkLst>
        </pc:spChg>
        <pc:spChg chg="del mod">
          <ac:chgData name="David CASTELNAU" userId="66a58927-c847-4858-a348-a4848e30932f" providerId="ADAL" clId="{F44B76A6-A5C0-4B08-8BCC-E178E64C4338}" dt="2024-02-02T13:06:22.847" v="17916" actId="478"/>
          <ac:spMkLst>
            <pc:docMk/>
            <pc:sldMk cId="536151402" sldId="2147482373"/>
            <ac:spMk id="13" creationId="{75257E40-4F9D-E4EC-9007-FE32838B0009}"/>
          </ac:spMkLst>
        </pc:spChg>
      </pc:sldChg>
      <pc:sldChg chg="modSp mod">
        <pc:chgData name="David CASTELNAU" userId="66a58927-c847-4858-a348-a4848e30932f" providerId="ADAL" clId="{F44B76A6-A5C0-4B08-8BCC-E178E64C4338}" dt="2024-02-02T13:17:01.915" v="17989" actId="20577"/>
        <pc:sldMkLst>
          <pc:docMk/>
          <pc:sldMk cId="3722675707" sldId="2147482376"/>
        </pc:sldMkLst>
        <pc:spChg chg="mod">
          <ac:chgData name="David CASTELNAU" userId="66a58927-c847-4858-a348-a4848e30932f" providerId="ADAL" clId="{F44B76A6-A5C0-4B08-8BCC-E178E64C4338}" dt="2024-02-02T13:17:01.915" v="17989" actId="20577"/>
          <ac:spMkLst>
            <pc:docMk/>
            <pc:sldMk cId="3722675707" sldId="2147482376"/>
            <ac:spMk id="29" creationId="{D665831F-8946-0839-6638-8AEED4A71689}"/>
          </ac:spMkLst>
        </pc:spChg>
      </pc:sldChg>
      <pc:sldChg chg="modSp mod">
        <pc:chgData name="David CASTELNAU" userId="66a58927-c847-4858-a348-a4848e30932f" providerId="ADAL" clId="{F44B76A6-A5C0-4B08-8BCC-E178E64C4338}" dt="2024-02-02T11:09:28.460" v="17392"/>
        <pc:sldMkLst>
          <pc:docMk/>
          <pc:sldMk cId="1396490910" sldId="2147482385"/>
        </pc:sldMkLst>
        <pc:spChg chg="mod">
          <ac:chgData name="David CASTELNAU" userId="66a58927-c847-4858-a348-a4848e30932f" providerId="ADAL" clId="{F44B76A6-A5C0-4B08-8BCC-E178E64C4338}" dt="2024-02-02T11:09:28.460" v="17392"/>
          <ac:spMkLst>
            <pc:docMk/>
            <pc:sldMk cId="1396490910" sldId="2147482385"/>
            <ac:spMk id="2" creationId="{B1FEC22B-43DA-180B-BF7E-55151744CFC3}"/>
          </ac:spMkLst>
        </pc:spChg>
      </pc:sldChg>
      <pc:sldChg chg="addSp delSp modSp new mod">
        <pc:chgData name="David CASTELNAU" userId="66a58927-c847-4858-a348-a4848e30932f" providerId="ADAL" clId="{F44B76A6-A5C0-4B08-8BCC-E178E64C4338}" dt="2024-02-02T14:37:34.377" v="19455" actId="403"/>
        <pc:sldMkLst>
          <pc:docMk/>
          <pc:sldMk cId="2566787782" sldId="2147482387"/>
        </pc:sldMkLst>
        <pc:spChg chg="del">
          <ac:chgData name="David CASTELNAU" userId="66a58927-c847-4858-a348-a4848e30932f" providerId="ADAL" clId="{F44B76A6-A5C0-4B08-8BCC-E178E64C4338}" dt="2024-02-02T14:20:57.133" v="19129" actId="478"/>
          <ac:spMkLst>
            <pc:docMk/>
            <pc:sldMk cId="2566787782" sldId="2147482387"/>
            <ac:spMk id="2" creationId="{6B39B80F-C148-F04B-B00D-BEA4AF401EE7}"/>
          </ac:spMkLst>
        </pc:spChg>
        <pc:spChg chg="del">
          <ac:chgData name="David CASTELNAU" userId="66a58927-c847-4858-a348-a4848e30932f" providerId="ADAL" clId="{F44B76A6-A5C0-4B08-8BCC-E178E64C4338}" dt="2024-02-02T14:00:37.038" v="18571" actId="478"/>
          <ac:spMkLst>
            <pc:docMk/>
            <pc:sldMk cId="2566787782" sldId="2147482387"/>
            <ac:spMk id="3" creationId="{6FF523DB-D621-40BA-5003-CA9D71ECDD49}"/>
          </ac:spMkLst>
        </pc:spChg>
        <pc:spChg chg="add mod topLvl">
          <ac:chgData name="David CASTELNAU" userId="66a58927-c847-4858-a348-a4848e30932f" providerId="ADAL" clId="{F44B76A6-A5C0-4B08-8BCC-E178E64C4338}" dt="2024-02-02T14:28:14.721" v="19246" actId="1036"/>
          <ac:spMkLst>
            <pc:docMk/>
            <pc:sldMk cId="2566787782" sldId="2147482387"/>
            <ac:spMk id="4" creationId="{5381FEBF-3C80-5699-0A9A-F97C84152F5D}"/>
          </ac:spMkLst>
        </pc:spChg>
        <pc:spChg chg="add mod topLvl">
          <ac:chgData name="David CASTELNAU" userId="66a58927-c847-4858-a348-a4848e30932f" providerId="ADAL" clId="{F44B76A6-A5C0-4B08-8BCC-E178E64C4338}" dt="2024-02-02T14:37:34.377" v="19455" actId="403"/>
          <ac:spMkLst>
            <pc:docMk/>
            <pc:sldMk cId="2566787782" sldId="2147482387"/>
            <ac:spMk id="9" creationId="{9CB97F7C-3D2B-40CE-E773-E9E99BADC38E}"/>
          </ac:spMkLst>
        </pc:spChg>
        <pc:spChg chg="add mod topLvl">
          <ac:chgData name="David CASTELNAU" userId="66a58927-c847-4858-a348-a4848e30932f" providerId="ADAL" clId="{F44B76A6-A5C0-4B08-8BCC-E178E64C4338}" dt="2024-02-02T14:37:34.377" v="19455" actId="403"/>
          <ac:spMkLst>
            <pc:docMk/>
            <pc:sldMk cId="2566787782" sldId="2147482387"/>
            <ac:spMk id="10" creationId="{754E2880-C41C-9F70-6F61-C0402C893717}"/>
          </ac:spMkLst>
        </pc:spChg>
        <pc:spChg chg="mod topLvl">
          <ac:chgData name="David CASTELNAU" userId="66a58927-c847-4858-a348-a4848e30932f" providerId="ADAL" clId="{F44B76A6-A5C0-4B08-8BCC-E178E64C4338}" dt="2024-02-02T14:28:14.721" v="19246" actId="1036"/>
          <ac:spMkLst>
            <pc:docMk/>
            <pc:sldMk cId="2566787782" sldId="2147482387"/>
            <ac:spMk id="11" creationId="{7C7FC928-0011-CD41-7E30-DB58002CE647}"/>
          </ac:spMkLst>
        </pc:spChg>
        <pc:spChg chg="add mod topLvl">
          <ac:chgData name="David CASTELNAU" userId="66a58927-c847-4858-a348-a4848e30932f" providerId="ADAL" clId="{F44B76A6-A5C0-4B08-8BCC-E178E64C4338}" dt="2024-02-02T14:37:34.377" v="19455" actId="403"/>
          <ac:spMkLst>
            <pc:docMk/>
            <pc:sldMk cId="2566787782" sldId="2147482387"/>
            <ac:spMk id="13" creationId="{F2A40830-5E2B-300E-FBFF-D98AA4B4EB25}"/>
          </ac:spMkLst>
        </pc:spChg>
        <pc:spChg chg="add mod topLvl">
          <ac:chgData name="David CASTELNAU" userId="66a58927-c847-4858-a348-a4848e30932f" providerId="ADAL" clId="{F44B76A6-A5C0-4B08-8BCC-E178E64C4338}" dt="2024-02-02T14:37:34.377" v="19455" actId="403"/>
          <ac:spMkLst>
            <pc:docMk/>
            <pc:sldMk cId="2566787782" sldId="2147482387"/>
            <ac:spMk id="14" creationId="{D4D5B11C-BD2B-0081-C82C-FB033E7DD87C}"/>
          </ac:spMkLst>
        </pc:spChg>
        <pc:spChg chg="add mod topLvl">
          <ac:chgData name="David CASTELNAU" userId="66a58927-c847-4858-a348-a4848e30932f" providerId="ADAL" clId="{F44B76A6-A5C0-4B08-8BCC-E178E64C4338}" dt="2024-02-02T14:37:34.377" v="19455" actId="403"/>
          <ac:spMkLst>
            <pc:docMk/>
            <pc:sldMk cId="2566787782" sldId="2147482387"/>
            <ac:spMk id="15" creationId="{6EBD593D-FC4F-6133-5BFD-5C255F32C105}"/>
          </ac:spMkLst>
        </pc:spChg>
        <pc:spChg chg="add mod topLvl">
          <ac:chgData name="David CASTELNAU" userId="66a58927-c847-4858-a348-a4848e30932f" providerId="ADAL" clId="{F44B76A6-A5C0-4B08-8BCC-E178E64C4338}" dt="2024-02-02T14:37:34.377" v="19455" actId="403"/>
          <ac:spMkLst>
            <pc:docMk/>
            <pc:sldMk cId="2566787782" sldId="2147482387"/>
            <ac:spMk id="16" creationId="{EE250E88-4BEF-B8D2-53F3-F353654D9BB0}"/>
          </ac:spMkLst>
        </pc:spChg>
        <pc:spChg chg="add mod topLvl">
          <ac:chgData name="David CASTELNAU" userId="66a58927-c847-4858-a348-a4848e30932f" providerId="ADAL" clId="{F44B76A6-A5C0-4B08-8BCC-E178E64C4338}" dt="2024-02-02T14:28:14.721" v="19246" actId="1036"/>
          <ac:spMkLst>
            <pc:docMk/>
            <pc:sldMk cId="2566787782" sldId="2147482387"/>
            <ac:spMk id="17" creationId="{61F75F00-94F5-AC6D-31E8-30709D5674C7}"/>
          </ac:spMkLst>
        </pc:spChg>
        <pc:spChg chg="add del mod topLvl">
          <ac:chgData name="David CASTELNAU" userId="66a58927-c847-4858-a348-a4848e30932f" providerId="ADAL" clId="{F44B76A6-A5C0-4B08-8BCC-E178E64C4338}" dt="2024-02-02T14:12:30.611" v="18820" actId="478"/>
          <ac:spMkLst>
            <pc:docMk/>
            <pc:sldMk cId="2566787782" sldId="2147482387"/>
            <ac:spMk id="18" creationId="{B0684027-3948-8597-EE40-73580B4CE0CA}"/>
          </ac:spMkLst>
        </pc:spChg>
        <pc:spChg chg="mod topLvl">
          <ac:chgData name="David CASTELNAU" userId="66a58927-c847-4858-a348-a4848e30932f" providerId="ADAL" clId="{F44B76A6-A5C0-4B08-8BCC-E178E64C4338}" dt="2024-02-02T14:28:14.721" v="19246" actId="1036"/>
          <ac:spMkLst>
            <pc:docMk/>
            <pc:sldMk cId="2566787782" sldId="2147482387"/>
            <ac:spMk id="19" creationId="{7E15F808-6529-4F31-E135-73ED1499BD30}"/>
          </ac:spMkLst>
        </pc:spChg>
        <pc:spChg chg="mod topLvl">
          <ac:chgData name="David CASTELNAU" userId="66a58927-c847-4858-a348-a4848e30932f" providerId="ADAL" clId="{F44B76A6-A5C0-4B08-8BCC-E178E64C4338}" dt="2024-02-02T14:28:14.721" v="19246" actId="1036"/>
          <ac:spMkLst>
            <pc:docMk/>
            <pc:sldMk cId="2566787782" sldId="2147482387"/>
            <ac:spMk id="20" creationId="{BE3FA3AA-B7AE-FFF5-4A62-B0C527944FBB}"/>
          </ac:spMkLst>
        </pc:spChg>
        <pc:spChg chg="mod topLvl">
          <ac:chgData name="David CASTELNAU" userId="66a58927-c847-4858-a348-a4848e30932f" providerId="ADAL" clId="{F44B76A6-A5C0-4B08-8BCC-E178E64C4338}" dt="2024-02-02T14:28:14.721" v="19246" actId="1036"/>
          <ac:spMkLst>
            <pc:docMk/>
            <pc:sldMk cId="2566787782" sldId="2147482387"/>
            <ac:spMk id="21" creationId="{344A8829-7390-AEDF-8946-FF9FE1D406AF}"/>
          </ac:spMkLst>
        </pc:spChg>
        <pc:spChg chg="add del mod topLvl">
          <ac:chgData name="David CASTELNAU" userId="66a58927-c847-4858-a348-a4848e30932f" providerId="ADAL" clId="{F44B76A6-A5C0-4B08-8BCC-E178E64C4338}" dt="2024-02-02T14:12:32.162" v="18821" actId="478"/>
          <ac:spMkLst>
            <pc:docMk/>
            <pc:sldMk cId="2566787782" sldId="2147482387"/>
            <ac:spMk id="22" creationId="{F9332B9D-768C-2139-EE9B-D30985968F0B}"/>
          </ac:spMkLst>
        </pc:spChg>
        <pc:spChg chg="mod topLvl">
          <ac:chgData name="David CASTELNAU" userId="66a58927-c847-4858-a348-a4848e30932f" providerId="ADAL" clId="{F44B76A6-A5C0-4B08-8BCC-E178E64C4338}" dt="2024-02-02T14:28:14.721" v="19246" actId="1036"/>
          <ac:spMkLst>
            <pc:docMk/>
            <pc:sldMk cId="2566787782" sldId="2147482387"/>
            <ac:spMk id="23" creationId="{3E67951F-645C-75D5-4C00-0501D91507E4}"/>
          </ac:spMkLst>
        </pc:spChg>
        <pc:spChg chg="add mod topLvl">
          <ac:chgData name="David CASTELNAU" userId="66a58927-c847-4858-a348-a4848e30932f" providerId="ADAL" clId="{F44B76A6-A5C0-4B08-8BCC-E178E64C4338}" dt="2024-02-02T14:28:14.721" v="19246" actId="1036"/>
          <ac:spMkLst>
            <pc:docMk/>
            <pc:sldMk cId="2566787782" sldId="2147482387"/>
            <ac:spMk id="24" creationId="{90790667-63D2-80E3-D1C2-EAD188274D8D}"/>
          </ac:spMkLst>
        </pc:spChg>
        <pc:spChg chg="add mod">
          <ac:chgData name="David CASTELNAU" userId="66a58927-c847-4858-a348-a4848e30932f" providerId="ADAL" clId="{F44B76A6-A5C0-4B08-8BCC-E178E64C4338}" dt="2024-02-02T14:37:34.377" v="19455" actId="403"/>
          <ac:spMkLst>
            <pc:docMk/>
            <pc:sldMk cId="2566787782" sldId="2147482387"/>
            <ac:spMk id="25" creationId="{DF9822B8-69EB-519D-0152-935445B09742}"/>
          </ac:spMkLst>
        </pc:spChg>
        <pc:spChg chg="add mod">
          <ac:chgData name="David CASTELNAU" userId="66a58927-c847-4858-a348-a4848e30932f" providerId="ADAL" clId="{F44B76A6-A5C0-4B08-8BCC-E178E64C4338}" dt="2024-02-02T14:37:34.377" v="19455" actId="403"/>
          <ac:spMkLst>
            <pc:docMk/>
            <pc:sldMk cId="2566787782" sldId="2147482387"/>
            <ac:spMk id="27" creationId="{186DAC6B-A561-E451-05A7-D71E8B71D1EB}"/>
          </ac:spMkLst>
        </pc:spChg>
        <pc:spChg chg="mod topLvl">
          <ac:chgData name="David CASTELNAU" userId="66a58927-c847-4858-a348-a4848e30932f" providerId="ADAL" clId="{F44B76A6-A5C0-4B08-8BCC-E178E64C4338}" dt="2024-02-02T14:28:14.721" v="19246" actId="1036"/>
          <ac:spMkLst>
            <pc:docMk/>
            <pc:sldMk cId="2566787782" sldId="2147482387"/>
            <ac:spMk id="28" creationId="{5223089B-F7C4-1DFD-01E9-F99B6115C18C}"/>
          </ac:spMkLst>
        </pc:spChg>
        <pc:spChg chg="mod topLvl">
          <ac:chgData name="David CASTELNAU" userId="66a58927-c847-4858-a348-a4848e30932f" providerId="ADAL" clId="{F44B76A6-A5C0-4B08-8BCC-E178E64C4338}" dt="2024-02-02T14:28:14.721" v="19246" actId="1036"/>
          <ac:spMkLst>
            <pc:docMk/>
            <pc:sldMk cId="2566787782" sldId="2147482387"/>
            <ac:spMk id="30" creationId="{0E880AF1-20A2-6A42-D025-78354F94021D}"/>
          </ac:spMkLst>
        </pc:spChg>
        <pc:spChg chg="del mod">
          <ac:chgData name="David CASTELNAU" userId="66a58927-c847-4858-a348-a4848e30932f" providerId="ADAL" clId="{F44B76A6-A5C0-4B08-8BCC-E178E64C4338}" dt="2024-02-02T14:03:09.225" v="18648" actId="478"/>
          <ac:spMkLst>
            <pc:docMk/>
            <pc:sldMk cId="2566787782" sldId="2147482387"/>
            <ac:spMk id="31" creationId="{E133B8CB-A607-3763-834C-6264786D75F0}"/>
          </ac:spMkLst>
        </pc:spChg>
        <pc:spChg chg="add del mod topLvl">
          <ac:chgData name="David CASTELNAU" userId="66a58927-c847-4858-a348-a4848e30932f" providerId="ADAL" clId="{F44B76A6-A5C0-4B08-8BCC-E178E64C4338}" dt="2024-02-02T14:28:14.721" v="19246" actId="1036"/>
          <ac:spMkLst>
            <pc:docMk/>
            <pc:sldMk cId="2566787782" sldId="2147482387"/>
            <ac:spMk id="32" creationId="{32E8FA62-1181-B645-3B13-BA0E061ECCE4}"/>
          </ac:spMkLst>
        </pc:spChg>
        <pc:spChg chg="mod topLvl">
          <ac:chgData name="David CASTELNAU" userId="66a58927-c847-4858-a348-a4848e30932f" providerId="ADAL" clId="{F44B76A6-A5C0-4B08-8BCC-E178E64C4338}" dt="2024-02-02T14:28:14.721" v="19246" actId="1036"/>
          <ac:spMkLst>
            <pc:docMk/>
            <pc:sldMk cId="2566787782" sldId="2147482387"/>
            <ac:spMk id="33" creationId="{BAD2694A-3BF3-E8A4-BB49-5393ACA8F317}"/>
          </ac:spMkLst>
        </pc:spChg>
        <pc:spChg chg="add mod">
          <ac:chgData name="David CASTELNAU" userId="66a58927-c847-4858-a348-a4848e30932f" providerId="ADAL" clId="{F44B76A6-A5C0-4B08-8BCC-E178E64C4338}" dt="2024-02-02T14:37:34.377" v="19455" actId="403"/>
          <ac:spMkLst>
            <pc:docMk/>
            <pc:sldMk cId="2566787782" sldId="2147482387"/>
            <ac:spMk id="35" creationId="{0913B8B4-2A79-879B-34E8-DE8A61E5D7A0}"/>
          </ac:spMkLst>
        </pc:spChg>
        <pc:spChg chg="add mod">
          <ac:chgData name="David CASTELNAU" userId="66a58927-c847-4858-a348-a4848e30932f" providerId="ADAL" clId="{F44B76A6-A5C0-4B08-8BCC-E178E64C4338}" dt="2024-02-02T14:37:34.377" v="19455" actId="403"/>
          <ac:spMkLst>
            <pc:docMk/>
            <pc:sldMk cId="2566787782" sldId="2147482387"/>
            <ac:spMk id="36" creationId="{E8958357-AD83-5D10-90D9-3C04BEDF75AD}"/>
          </ac:spMkLst>
        </pc:spChg>
        <pc:spChg chg="add mod">
          <ac:chgData name="David CASTELNAU" userId="66a58927-c847-4858-a348-a4848e30932f" providerId="ADAL" clId="{F44B76A6-A5C0-4B08-8BCC-E178E64C4338}" dt="2024-02-02T14:28:14.721" v="19246" actId="1036"/>
          <ac:spMkLst>
            <pc:docMk/>
            <pc:sldMk cId="2566787782" sldId="2147482387"/>
            <ac:spMk id="37" creationId="{0B05B942-D3DC-F621-FDD7-5BDE197FF265}"/>
          </ac:spMkLst>
        </pc:spChg>
        <pc:spChg chg="add mod">
          <ac:chgData name="David CASTELNAU" userId="66a58927-c847-4858-a348-a4848e30932f" providerId="ADAL" clId="{F44B76A6-A5C0-4B08-8BCC-E178E64C4338}" dt="2024-02-02T14:28:14.721" v="19246" actId="1036"/>
          <ac:spMkLst>
            <pc:docMk/>
            <pc:sldMk cId="2566787782" sldId="2147482387"/>
            <ac:spMk id="39" creationId="{57771D25-A50D-1001-B455-12F5ACF9E486}"/>
          </ac:spMkLst>
        </pc:spChg>
        <pc:spChg chg="add del mod">
          <ac:chgData name="David CASTELNAU" userId="66a58927-c847-4858-a348-a4848e30932f" providerId="ADAL" clId="{F44B76A6-A5C0-4B08-8BCC-E178E64C4338}" dt="2024-02-02T14:10:32.763" v="18814" actId="478"/>
          <ac:spMkLst>
            <pc:docMk/>
            <pc:sldMk cId="2566787782" sldId="2147482387"/>
            <ac:spMk id="41" creationId="{6F366E65-7675-FE0A-FC0A-00F1F28A4A08}"/>
          </ac:spMkLst>
        </pc:spChg>
        <pc:spChg chg="add mod">
          <ac:chgData name="David CASTELNAU" userId="66a58927-c847-4858-a348-a4848e30932f" providerId="ADAL" clId="{F44B76A6-A5C0-4B08-8BCC-E178E64C4338}" dt="2024-02-02T14:28:14.721" v="19246" actId="1036"/>
          <ac:spMkLst>
            <pc:docMk/>
            <pc:sldMk cId="2566787782" sldId="2147482387"/>
            <ac:spMk id="43" creationId="{8C825C28-75D3-6556-FD24-8953C607E082}"/>
          </ac:spMkLst>
        </pc:spChg>
        <pc:spChg chg="add mod">
          <ac:chgData name="David CASTELNAU" userId="66a58927-c847-4858-a348-a4848e30932f" providerId="ADAL" clId="{F44B76A6-A5C0-4B08-8BCC-E178E64C4338}" dt="2024-02-02T14:37:34.377" v="19455" actId="403"/>
          <ac:spMkLst>
            <pc:docMk/>
            <pc:sldMk cId="2566787782" sldId="2147482387"/>
            <ac:spMk id="44" creationId="{B2B6C052-F431-497F-9079-EAE19115C2E1}"/>
          </ac:spMkLst>
        </pc:spChg>
        <pc:spChg chg="add mod">
          <ac:chgData name="David CASTELNAU" userId="66a58927-c847-4858-a348-a4848e30932f" providerId="ADAL" clId="{F44B76A6-A5C0-4B08-8BCC-E178E64C4338}" dt="2024-02-02T14:37:34.377" v="19455" actId="403"/>
          <ac:spMkLst>
            <pc:docMk/>
            <pc:sldMk cId="2566787782" sldId="2147482387"/>
            <ac:spMk id="45" creationId="{6498D411-E9B7-2BE8-16D2-E26811AC50F4}"/>
          </ac:spMkLst>
        </pc:spChg>
        <pc:spChg chg="add mod">
          <ac:chgData name="David CASTELNAU" userId="66a58927-c847-4858-a348-a4848e30932f" providerId="ADAL" clId="{F44B76A6-A5C0-4B08-8BCC-E178E64C4338}" dt="2024-02-02T14:28:14.721" v="19246" actId="1036"/>
          <ac:spMkLst>
            <pc:docMk/>
            <pc:sldMk cId="2566787782" sldId="2147482387"/>
            <ac:spMk id="46" creationId="{6BFFAAF6-3D40-12D4-C55F-BB42D99E1C20}"/>
          </ac:spMkLst>
        </pc:spChg>
        <pc:spChg chg="add mod">
          <ac:chgData name="David CASTELNAU" userId="66a58927-c847-4858-a348-a4848e30932f" providerId="ADAL" clId="{F44B76A6-A5C0-4B08-8BCC-E178E64C4338}" dt="2024-02-02T14:28:14.721" v="19246" actId="1036"/>
          <ac:spMkLst>
            <pc:docMk/>
            <pc:sldMk cId="2566787782" sldId="2147482387"/>
            <ac:spMk id="47" creationId="{CB2754CF-97E8-A191-FCE5-A087795C224F}"/>
          </ac:spMkLst>
        </pc:spChg>
        <pc:spChg chg="add mod">
          <ac:chgData name="David CASTELNAU" userId="66a58927-c847-4858-a348-a4848e30932f" providerId="ADAL" clId="{F44B76A6-A5C0-4B08-8BCC-E178E64C4338}" dt="2024-02-02T14:20:57.765" v="19130"/>
          <ac:spMkLst>
            <pc:docMk/>
            <pc:sldMk cId="2566787782" sldId="2147482387"/>
            <ac:spMk id="48" creationId="{FBE732E5-DD43-821F-FB5A-CBF7BE6301AE}"/>
          </ac:spMkLst>
        </pc:spChg>
        <pc:spChg chg="add mod">
          <ac:chgData name="David CASTELNAU" userId="66a58927-c847-4858-a348-a4848e30932f" providerId="ADAL" clId="{F44B76A6-A5C0-4B08-8BCC-E178E64C4338}" dt="2024-02-02T14:21:35.094" v="19154" actId="20577"/>
          <ac:spMkLst>
            <pc:docMk/>
            <pc:sldMk cId="2566787782" sldId="2147482387"/>
            <ac:spMk id="49" creationId="{3C2CB9FD-E0F5-C0DC-27DF-1A4AA45DA099}"/>
          </ac:spMkLst>
        </pc:spChg>
        <pc:spChg chg="add mod">
          <ac:chgData name="David CASTELNAU" userId="66a58927-c847-4858-a348-a4848e30932f" providerId="ADAL" clId="{F44B76A6-A5C0-4B08-8BCC-E178E64C4338}" dt="2024-02-02T14:28:26.816" v="19249" actId="552"/>
          <ac:spMkLst>
            <pc:docMk/>
            <pc:sldMk cId="2566787782" sldId="2147482387"/>
            <ac:spMk id="50" creationId="{FEB7122C-56BC-5D7F-3D65-6BC276CBA021}"/>
          </ac:spMkLst>
        </pc:spChg>
        <pc:spChg chg="add mod">
          <ac:chgData name="David CASTELNAU" userId="66a58927-c847-4858-a348-a4848e30932f" providerId="ADAL" clId="{F44B76A6-A5C0-4B08-8BCC-E178E64C4338}" dt="2024-02-02T14:28:43.859" v="19254" actId="20577"/>
          <ac:spMkLst>
            <pc:docMk/>
            <pc:sldMk cId="2566787782" sldId="2147482387"/>
            <ac:spMk id="54" creationId="{0632809A-3CF4-825F-76A4-D988414A2E59}"/>
          </ac:spMkLst>
        </pc:spChg>
        <pc:spChg chg="add del mod">
          <ac:chgData name="David CASTELNAU" userId="66a58927-c847-4858-a348-a4848e30932f" providerId="ADAL" clId="{F44B76A6-A5C0-4B08-8BCC-E178E64C4338}" dt="2024-02-02T14:29:44.246" v="19365" actId="478"/>
          <ac:spMkLst>
            <pc:docMk/>
            <pc:sldMk cId="2566787782" sldId="2147482387"/>
            <ac:spMk id="55" creationId="{A6F3A16F-F7BC-CE9A-CDED-728E3538610C}"/>
          </ac:spMkLst>
        </pc:spChg>
        <pc:spChg chg="add mod">
          <ac:chgData name="David CASTELNAU" userId="66a58927-c847-4858-a348-a4848e30932f" providerId="ADAL" clId="{F44B76A6-A5C0-4B08-8BCC-E178E64C4338}" dt="2024-02-02T14:37:03.564" v="19452" actId="20577"/>
          <ac:spMkLst>
            <pc:docMk/>
            <pc:sldMk cId="2566787782" sldId="2147482387"/>
            <ac:spMk id="56" creationId="{4E2D8219-6AFB-26A0-8ACE-F94FB841B886}"/>
          </ac:spMkLst>
        </pc:spChg>
        <pc:grpChg chg="add del mod">
          <ac:chgData name="David CASTELNAU" userId="66a58927-c847-4858-a348-a4848e30932f" providerId="ADAL" clId="{F44B76A6-A5C0-4B08-8BCC-E178E64C4338}" dt="2024-02-02T14:07:20.222" v="18724" actId="165"/>
          <ac:grpSpMkLst>
            <pc:docMk/>
            <pc:sldMk cId="2566787782" sldId="2147482387"/>
            <ac:grpSpMk id="5" creationId="{0009CCB3-6C6D-ED3B-1866-AEA85971E56F}"/>
          </ac:grpSpMkLst>
        </pc:grpChg>
        <pc:grpChg chg="del mod topLvl">
          <ac:chgData name="David CASTELNAU" userId="66a58927-c847-4858-a348-a4848e30932f" providerId="ADAL" clId="{F44B76A6-A5C0-4B08-8BCC-E178E64C4338}" dt="2024-02-02T14:07:29.381" v="18725" actId="165"/>
          <ac:grpSpMkLst>
            <pc:docMk/>
            <pc:sldMk cId="2566787782" sldId="2147482387"/>
            <ac:grpSpMk id="6" creationId="{A4B18A93-67A8-0A71-FBD6-264C75EE1A8F}"/>
          </ac:grpSpMkLst>
        </pc:grpChg>
        <pc:grpChg chg="del mod topLvl">
          <ac:chgData name="David CASTELNAU" userId="66a58927-c847-4858-a348-a4848e30932f" providerId="ADAL" clId="{F44B76A6-A5C0-4B08-8BCC-E178E64C4338}" dt="2024-02-02T14:07:34.431" v="18726" actId="165"/>
          <ac:grpSpMkLst>
            <pc:docMk/>
            <pc:sldMk cId="2566787782" sldId="2147482387"/>
            <ac:grpSpMk id="8" creationId="{1AF8C81F-6797-E34C-02A8-C4F56C37BFC6}"/>
          </ac:grpSpMkLst>
        </pc:grpChg>
        <pc:grpChg chg="del mod topLvl">
          <ac:chgData name="David CASTELNAU" userId="66a58927-c847-4858-a348-a4848e30932f" providerId="ADAL" clId="{F44B76A6-A5C0-4B08-8BCC-E178E64C4338}" dt="2024-02-02T14:07:39.196" v="18727" actId="165"/>
          <ac:grpSpMkLst>
            <pc:docMk/>
            <pc:sldMk cId="2566787782" sldId="2147482387"/>
            <ac:grpSpMk id="26" creationId="{586E3D06-B818-1A58-6200-735C37E01405}"/>
          </ac:grpSpMkLst>
        </pc:grpChg>
        <pc:grpChg chg="del mod topLvl">
          <ac:chgData name="David CASTELNAU" userId="66a58927-c847-4858-a348-a4848e30932f" providerId="ADAL" clId="{F44B76A6-A5C0-4B08-8BCC-E178E64C4338}" dt="2024-02-02T14:07:39.196" v="18727" actId="165"/>
          <ac:grpSpMkLst>
            <pc:docMk/>
            <pc:sldMk cId="2566787782" sldId="2147482387"/>
            <ac:grpSpMk id="29" creationId="{98FF0885-39DD-B057-FE68-5BC163799956}"/>
          </ac:grpSpMkLst>
        </pc:grpChg>
        <pc:picChg chg="mod topLvl">
          <ac:chgData name="David CASTELNAU" userId="66a58927-c847-4858-a348-a4848e30932f" providerId="ADAL" clId="{F44B76A6-A5C0-4B08-8BCC-E178E64C4338}" dt="2024-02-02T14:28:14.721" v="19246" actId="1036"/>
          <ac:picMkLst>
            <pc:docMk/>
            <pc:sldMk cId="2566787782" sldId="2147482387"/>
            <ac:picMk id="7" creationId="{B289B514-1A36-9099-550B-B66D7BDE0D4A}"/>
          </ac:picMkLst>
        </pc:picChg>
        <pc:picChg chg="mod topLvl">
          <ac:chgData name="David CASTELNAU" userId="66a58927-c847-4858-a348-a4848e30932f" providerId="ADAL" clId="{F44B76A6-A5C0-4B08-8BCC-E178E64C4338}" dt="2024-02-02T14:28:14.721" v="19246" actId="1036"/>
          <ac:picMkLst>
            <pc:docMk/>
            <pc:sldMk cId="2566787782" sldId="2147482387"/>
            <ac:picMk id="12" creationId="{F6FC4EDC-8E79-0393-D090-F45DBA852479}"/>
          </ac:picMkLst>
        </pc:picChg>
        <pc:picChg chg="mod topLvl">
          <ac:chgData name="David CASTELNAU" userId="66a58927-c847-4858-a348-a4848e30932f" providerId="ADAL" clId="{F44B76A6-A5C0-4B08-8BCC-E178E64C4338}" dt="2024-02-02T14:28:14.721" v="19246" actId="1036"/>
          <ac:picMkLst>
            <pc:docMk/>
            <pc:sldMk cId="2566787782" sldId="2147482387"/>
            <ac:picMk id="34" creationId="{D69D86BB-B15E-C613-D4C6-E71CAD92D268}"/>
          </ac:picMkLst>
        </pc:picChg>
        <pc:picChg chg="add mod">
          <ac:chgData name="David CASTELNAU" userId="66a58927-c847-4858-a348-a4848e30932f" providerId="ADAL" clId="{F44B76A6-A5C0-4B08-8BCC-E178E64C4338}" dt="2024-02-02T14:28:14.721" v="19246" actId="1036"/>
          <ac:picMkLst>
            <pc:docMk/>
            <pc:sldMk cId="2566787782" sldId="2147482387"/>
            <ac:picMk id="38" creationId="{BB3F1275-33A4-E2F6-AB2F-4B443C6761E3}"/>
          </ac:picMkLst>
        </pc:picChg>
        <pc:picChg chg="add mod">
          <ac:chgData name="David CASTELNAU" userId="66a58927-c847-4858-a348-a4848e30932f" providerId="ADAL" clId="{F44B76A6-A5C0-4B08-8BCC-E178E64C4338}" dt="2024-02-02T14:28:14.721" v="19246" actId="1036"/>
          <ac:picMkLst>
            <pc:docMk/>
            <pc:sldMk cId="2566787782" sldId="2147482387"/>
            <ac:picMk id="40" creationId="{283230D3-A7EB-9AD1-C191-34863C618CF6}"/>
          </ac:picMkLst>
        </pc:picChg>
        <pc:picChg chg="add del mod">
          <ac:chgData name="David CASTELNAU" userId="66a58927-c847-4858-a348-a4848e30932f" providerId="ADAL" clId="{F44B76A6-A5C0-4B08-8BCC-E178E64C4338}" dt="2024-02-02T14:12:38.123" v="18838" actId="478"/>
          <ac:picMkLst>
            <pc:docMk/>
            <pc:sldMk cId="2566787782" sldId="2147482387"/>
            <ac:picMk id="42" creationId="{95E04183-8CC0-CA40-FBA8-C14D1F3BC868}"/>
          </ac:picMkLst>
        </pc:picChg>
        <pc:picChg chg="add mod">
          <ac:chgData name="David CASTELNAU" userId="66a58927-c847-4858-a348-a4848e30932f" providerId="ADAL" clId="{F44B76A6-A5C0-4B08-8BCC-E178E64C4338}" dt="2024-02-02T14:29:17.912" v="19363" actId="1037"/>
          <ac:picMkLst>
            <pc:docMk/>
            <pc:sldMk cId="2566787782" sldId="2147482387"/>
            <ac:picMk id="51" creationId="{9E8B8053-23BB-156E-A0E5-B7A14BC7C622}"/>
          </ac:picMkLst>
        </pc:picChg>
        <pc:picChg chg="add mod">
          <ac:chgData name="David CASTELNAU" userId="66a58927-c847-4858-a348-a4848e30932f" providerId="ADAL" clId="{F44B76A6-A5C0-4B08-8BCC-E178E64C4338}" dt="2024-02-02T14:29:17.912" v="19363" actId="1037"/>
          <ac:picMkLst>
            <pc:docMk/>
            <pc:sldMk cId="2566787782" sldId="2147482387"/>
            <ac:picMk id="52" creationId="{C513184B-A144-CB17-D8AF-995D1B7F9540}"/>
          </ac:picMkLst>
        </pc:picChg>
        <pc:picChg chg="add mod">
          <ac:chgData name="David CASTELNAU" userId="66a58927-c847-4858-a348-a4848e30932f" providerId="ADAL" clId="{F44B76A6-A5C0-4B08-8BCC-E178E64C4338}" dt="2024-02-02T14:29:17.912" v="19363" actId="1037"/>
          <ac:picMkLst>
            <pc:docMk/>
            <pc:sldMk cId="2566787782" sldId="2147482387"/>
            <ac:picMk id="53" creationId="{465B8E59-06A8-C45F-F567-D77F94E867BA}"/>
          </ac:picMkLst>
        </pc:picChg>
      </pc:sldChg>
      <pc:sldChg chg="ord">
        <pc:chgData name="David CASTELNAU" userId="66a58927-c847-4858-a348-a4848e30932f" providerId="ADAL" clId="{F44B76A6-A5C0-4B08-8BCC-E178E64C4338}" dt="2024-02-02T17:55:12.381" v="20325"/>
        <pc:sldMkLst>
          <pc:docMk/>
          <pc:sldMk cId="658512743" sldId="2147482390"/>
        </pc:sldMkLst>
      </pc:sldChg>
      <pc:sldMasterChg chg="delSldLayout">
        <pc:chgData name="David CASTELNAU" userId="66a58927-c847-4858-a348-a4848e30932f" providerId="ADAL" clId="{F44B76A6-A5C0-4B08-8BCC-E178E64C4338}" dt="2024-01-31T22:26:36.272" v="9630" actId="47"/>
        <pc:sldMasterMkLst>
          <pc:docMk/>
          <pc:sldMasterMk cId="2531651770" sldId="2147483701"/>
        </pc:sldMasterMkLst>
        <pc:sldLayoutChg chg="del">
          <pc:chgData name="David CASTELNAU" userId="66a58927-c847-4858-a348-a4848e30932f" providerId="ADAL" clId="{F44B76A6-A5C0-4B08-8BCC-E178E64C4338}" dt="2024-01-31T22:26:36.272" v="9630" actId="47"/>
          <pc:sldLayoutMkLst>
            <pc:docMk/>
            <pc:sldMasterMk cId="2531651770" sldId="2147483701"/>
            <pc:sldLayoutMk cId="3958027660" sldId="2147483850"/>
          </pc:sldLayoutMkLst>
        </pc:sldLayoutChg>
      </pc:sldMasterChg>
    </pc:docChg>
  </pc:docChgLst>
  <pc:docChgLst>
    <pc:chgData name="Soumaya ZERHOUNI" userId="S::soumaya.zerhouni@talan.com::690e4aa6-586b-4341-8f1a-54a3e7457441" providerId="AD" clId="Web-{97BAF7BB-7DE9-DCE8-2D1F-282F3D9E6B18}"/>
    <pc:docChg chg="modSld">
      <pc:chgData name="Soumaya ZERHOUNI" userId="S::soumaya.zerhouni@talan.com::690e4aa6-586b-4341-8f1a-54a3e7457441" providerId="AD" clId="Web-{97BAF7BB-7DE9-DCE8-2D1F-282F3D9E6B18}" dt="2024-01-23T08:33:42.190" v="3" actId="1076"/>
      <pc:docMkLst>
        <pc:docMk/>
      </pc:docMkLst>
      <pc:sldChg chg="modSp">
        <pc:chgData name="Soumaya ZERHOUNI" userId="S::soumaya.zerhouni@talan.com::690e4aa6-586b-4341-8f1a-54a3e7457441" providerId="AD" clId="Web-{97BAF7BB-7DE9-DCE8-2D1F-282F3D9E6B18}" dt="2024-01-23T08:33:42.190" v="3" actId="1076"/>
        <pc:sldMkLst>
          <pc:docMk/>
          <pc:sldMk cId="596601236" sldId="2147480292"/>
        </pc:sldMkLst>
        <pc:picChg chg="mod">
          <ac:chgData name="Soumaya ZERHOUNI" userId="S::soumaya.zerhouni@talan.com::690e4aa6-586b-4341-8f1a-54a3e7457441" providerId="AD" clId="Web-{97BAF7BB-7DE9-DCE8-2D1F-282F3D9E6B18}" dt="2024-01-23T08:33:42.190" v="3" actId="1076"/>
          <ac:picMkLst>
            <pc:docMk/>
            <pc:sldMk cId="596601236" sldId="2147480292"/>
            <ac:picMk id="8" creationId="{327A1E60-4FEA-E2EB-90CD-5D9C5F8E12C1}"/>
          </ac:picMkLst>
        </pc:picChg>
      </pc:sldChg>
    </pc:docChg>
  </pc:docChgLst>
  <pc:docChgLst>
    <pc:chgData name="Cyprien ARETHUSE" userId="abd46b16-7bf0-4c01-a850-92fb83f61f27" providerId="ADAL" clId="{067C7D3F-9573-4B1A-A9B0-3005DA5BAAAF}"/>
    <pc:docChg chg="undo redo custSel addSld delSld modSld sldOrd delMainMaster">
      <pc:chgData name="Cyprien ARETHUSE" userId="abd46b16-7bf0-4c01-a850-92fb83f61f27" providerId="ADAL" clId="{067C7D3F-9573-4B1A-A9B0-3005DA5BAAAF}" dt="2024-02-14T14:28:38.213" v="19550" actId="1038"/>
      <pc:docMkLst>
        <pc:docMk/>
      </pc:docMkLst>
      <pc:sldChg chg="modSp mod">
        <pc:chgData name="Cyprien ARETHUSE" userId="abd46b16-7bf0-4c01-a850-92fb83f61f27" providerId="ADAL" clId="{067C7D3F-9573-4B1A-A9B0-3005DA5BAAAF}" dt="2024-01-26T13:32:45.611" v="7869" actId="1036"/>
        <pc:sldMkLst>
          <pc:docMk/>
          <pc:sldMk cId="0" sldId="257"/>
        </pc:sldMkLst>
        <pc:spChg chg="mod">
          <ac:chgData name="Cyprien ARETHUSE" userId="abd46b16-7bf0-4c01-a850-92fb83f61f27" providerId="ADAL" clId="{067C7D3F-9573-4B1A-A9B0-3005DA5BAAAF}" dt="2024-01-26T13:32:45.611" v="7869" actId="1036"/>
          <ac:spMkLst>
            <pc:docMk/>
            <pc:sldMk cId="0" sldId="257"/>
            <ac:spMk id="2" creationId="{90633EB4-5B7F-471E-9E01-2A30008FFA87}"/>
          </ac:spMkLst>
        </pc:spChg>
        <pc:spChg chg="mod">
          <ac:chgData name="Cyprien ARETHUSE" userId="abd46b16-7bf0-4c01-a850-92fb83f61f27" providerId="ADAL" clId="{067C7D3F-9573-4B1A-A9B0-3005DA5BAAAF}" dt="2024-01-18T15:01:41.587" v="1247" actId="20577"/>
          <ac:spMkLst>
            <pc:docMk/>
            <pc:sldMk cId="0" sldId="257"/>
            <ac:spMk id="4" creationId="{8CE7BE52-3F52-4BBA-9510-A74BF5FE88E0}"/>
          </ac:spMkLst>
        </pc:spChg>
      </pc:sldChg>
      <pc:sldChg chg="modSp add del mod">
        <pc:chgData name="Cyprien ARETHUSE" userId="abd46b16-7bf0-4c01-a850-92fb83f61f27" providerId="ADAL" clId="{067C7D3F-9573-4B1A-A9B0-3005DA5BAAAF}" dt="2024-01-31T13:11:07.376" v="9788" actId="47"/>
        <pc:sldMkLst>
          <pc:docMk/>
          <pc:sldMk cId="66010817" sldId="332"/>
        </pc:sldMkLst>
        <pc:spChg chg="mod">
          <ac:chgData name="Cyprien ARETHUSE" userId="abd46b16-7bf0-4c01-a850-92fb83f61f27" providerId="ADAL" clId="{067C7D3F-9573-4B1A-A9B0-3005DA5BAAAF}" dt="2024-01-31T13:04:54.792" v="9719" actId="20577"/>
          <ac:spMkLst>
            <pc:docMk/>
            <pc:sldMk cId="66010817" sldId="332"/>
            <ac:spMk id="19" creationId="{BBC93055-643A-4775-93A0-1BD0C9CA9394}"/>
          </ac:spMkLst>
        </pc:spChg>
      </pc:sldChg>
      <pc:sldChg chg="addSp delSp modSp add mod">
        <pc:chgData name="Cyprien ARETHUSE" userId="abd46b16-7bf0-4c01-a850-92fb83f61f27" providerId="ADAL" clId="{067C7D3F-9573-4B1A-A9B0-3005DA5BAAAF}" dt="2024-02-02T14:04:17.045" v="16217"/>
        <pc:sldMkLst>
          <pc:docMk/>
          <pc:sldMk cId="1494044101" sldId="332"/>
        </pc:sldMkLst>
        <pc:spChg chg="del">
          <ac:chgData name="Cyprien ARETHUSE" userId="abd46b16-7bf0-4c01-a850-92fb83f61f27" providerId="ADAL" clId="{067C7D3F-9573-4B1A-A9B0-3005DA5BAAAF}" dt="2024-02-01T07:28:57.894" v="10999" actId="478"/>
          <ac:spMkLst>
            <pc:docMk/>
            <pc:sldMk cId="1494044101" sldId="332"/>
            <ac:spMk id="3" creationId="{E748E0B5-C195-AC33-310F-0A8386CC23A9}"/>
          </ac:spMkLst>
        </pc:spChg>
        <pc:spChg chg="del">
          <ac:chgData name="Cyprien ARETHUSE" userId="abd46b16-7bf0-4c01-a850-92fb83f61f27" providerId="ADAL" clId="{067C7D3F-9573-4B1A-A9B0-3005DA5BAAAF}" dt="2024-02-01T07:28:57.894" v="10999" actId="478"/>
          <ac:spMkLst>
            <pc:docMk/>
            <pc:sldMk cId="1494044101" sldId="332"/>
            <ac:spMk id="5" creationId="{B71F450B-4AC1-C892-AECC-9B0F1AB12681}"/>
          </ac:spMkLst>
        </pc:spChg>
        <pc:spChg chg="del">
          <ac:chgData name="Cyprien ARETHUSE" userId="abd46b16-7bf0-4c01-a850-92fb83f61f27" providerId="ADAL" clId="{067C7D3F-9573-4B1A-A9B0-3005DA5BAAAF}" dt="2024-02-01T07:28:57.894" v="10999" actId="478"/>
          <ac:spMkLst>
            <pc:docMk/>
            <pc:sldMk cId="1494044101" sldId="332"/>
            <ac:spMk id="6" creationId="{1F630698-C136-AE99-FFB4-9759DE47E6D9}"/>
          </ac:spMkLst>
        </pc:spChg>
        <pc:spChg chg="del">
          <ac:chgData name="Cyprien ARETHUSE" userId="abd46b16-7bf0-4c01-a850-92fb83f61f27" providerId="ADAL" clId="{067C7D3F-9573-4B1A-A9B0-3005DA5BAAAF}" dt="2024-02-01T07:28:57.894" v="10999" actId="478"/>
          <ac:spMkLst>
            <pc:docMk/>
            <pc:sldMk cId="1494044101" sldId="332"/>
            <ac:spMk id="8" creationId="{BD917ADC-89C5-0539-0F97-20EE14D8B87F}"/>
          </ac:spMkLst>
        </pc:spChg>
        <pc:spChg chg="add mod">
          <ac:chgData name="Cyprien ARETHUSE" userId="abd46b16-7bf0-4c01-a850-92fb83f61f27" providerId="ADAL" clId="{067C7D3F-9573-4B1A-A9B0-3005DA5BAAAF}" dt="2024-02-01T07:28:58.610" v="11000"/>
          <ac:spMkLst>
            <pc:docMk/>
            <pc:sldMk cId="1494044101" sldId="332"/>
            <ac:spMk id="10" creationId="{EA2B4BBA-734B-6F21-DD29-52C947500666}"/>
          </ac:spMkLst>
        </pc:spChg>
        <pc:spChg chg="add del">
          <ac:chgData name="Cyprien ARETHUSE" userId="abd46b16-7bf0-4c01-a850-92fb83f61f27" providerId="ADAL" clId="{067C7D3F-9573-4B1A-A9B0-3005DA5BAAAF}" dt="2024-02-01T17:14:36.925" v="15350" actId="22"/>
          <ac:spMkLst>
            <pc:docMk/>
            <pc:sldMk cId="1494044101" sldId="332"/>
            <ac:spMk id="15" creationId="{C5AB8A92-EEBB-C5EB-DFF6-C5580A0DCD55}"/>
          </ac:spMkLst>
        </pc:spChg>
        <pc:spChg chg="mod">
          <ac:chgData name="Cyprien ARETHUSE" userId="abd46b16-7bf0-4c01-a850-92fb83f61f27" providerId="ADAL" clId="{067C7D3F-9573-4B1A-A9B0-3005DA5BAAAF}" dt="2024-02-01T17:14:48.462" v="15354" actId="20577"/>
          <ac:spMkLst>
            <pc:docMk/>
            <pc:sldMk cId="1494044101" sldId="332"/>
            <ac:spMk id="19" creationId="{BBC93055-643A-4775-93A0-1BD0C9CA9394}"/>
          </ac:spMkLst>
        </pc:spChg>
        <pc:graphicFrameChg chg="del">
          <ac:chgData name="Cyprien ARETHUSE" userId="abd46b16-7bf0-4c01-a850-92fb83f61f27" providerId="ADAL" clId="{067C7D3F-9573-4B1A-A9B0-3005DA5BAAAF}" dt="2024-02-01T07:28:57.894" v="10999" actId="478"/>
          <ac:graphicFrameMkLst>
            <pc:docMk/>
            <pc:sldMk cId="1494044101" sldId="332"/>
            <ac:graphicFrameMk id="4" creationId="{9770B5C9-789A-450B-BEFE-7FE09605F540}"/>
          </ac:graphicFrameMkLst>
        </pc:graphicFrameChg>
        <pc:graphicFrameChg chg="add mod">
          <ac:chgData name="Cyprien ARETHUSE" userId="abd46b16-7bf0-4c01-a850-92fb83f61f27" providerId="ADAL" clId="{067C7D3F-9573-4B1A-A9B0-3005DA5BAAAF}" dt="2024-02-01T07:28:58.610" v="11000"/>
          <ac:graphicFrameMkLst>
            <pc:docMk/>
            <pc:sldMk cId="1494044101" sldId="332"/>
            <ac:graphicFrameMk id="12" creationId="{5B63011A-AEDE-D3D3-EADD-F1ADB862A254}"/>
          </ac:graphicFrameMkLst>
        </pc:graphicFrameChg>
        <pc:graphicFrameChg chg="add mod">
          <ac:chgData name="Cyprien ARETHUSE" userId="abd46b16-7bf0-4c01-a850-92fb83f61f27" providerId="ADAL" clId="{067C7D3F-9573-4B1A-A9B0-3005DA5BAAAF}" dt="2024-02-02T14:04:17.045" v="16217"/>
          <ac:graphicFrameMkLst>
            <pc:docMk/>
            <pc:sldMk cId="1494044101" sldId="332"/>
            <ac:graphicFrameMk id="13" creationId="{1679008C-CE74-8F57-041E-B607E8E15583}"/>
          </ac:graphicFrameMkLst>
        </pc:graphicFrameChg>
        <pc:graphicFrameChg chg="del">
          <ac:chgData name="Cyprien ARETHUSE" userId="abd46b16-7bf0-4c01-a850-92fb83f61f27" providerId="ADAL" clId="{067C7D3F-9573-4B1A-A9B0-3005DA5BAAAF}" dt="2024-02-01T07:28:57.894" v="10999" actId="478"/>
          <ac:graphicFrameMkLst>
            <pc:docMk/>
            <pc:sldMk cId="1494044101" sldId="332"/>
            <ac:graphicFrameMk id="21" creationId="{187B67DD-4F81-4889-A8FC-7A0CDB82050E}"/>
          </ac:graphicFrameMkLst>
        </pc:graphicFrameChg>
        <pc:picChg chg="del">
          <ac:chgData name="Cyprien ARETHUSE" userId="abd46b16-7bf0-4c01-a850-92fb83f61f27" providerId="ADAL" clId="{067C7D3F-9573-4B1A-A9B0-3005DA5BAAAF}" dt="2024-02-01T07:28:57.894" v="10999" actId="478"/>
          <ac:picMkLst>
            <pc:docMk/>
            <pc:sldMk cId="1494044101" sldId="332"/>
            <ac:picMk id="2" creationId="{4E12CBAB-424D-480A-6D54-1FF8E366BA7C}"/>
          </ac:picMkLst>
        </pc:picChg>
        <pc:picChg chg="del">
          <ac:chgData name="Cyprien ARETHUSE" userId="abd46b16-7bf0-4c01-a850-92fb83f61f27" providerId="ADAL" clId="{067C7D3F-9573-4B1A-A9B0-3005DA5BAAAF}" dt="2024-02-01T07:28:57.894" v="10999" actId="478"/>
          <ac:picMkLst>
            <pc:docMk/>
            <pc:sldMk cId="1494044101" sldId="332"/>
            <ac:picMk id="7" creationId="{9A0AFC1C-7BD0-D98F-9168-A5BC94F22245}"/>
          </ac:picMkLst>
        </pc:picChg>
        <pc:picChg chg="del">
          <ac:chgData name="Cyprien ARETHUSE" userId="abd46b16-7bf0-4c01-a850-92fb83f61f27" providerId="ADAL" clId="{067C7D3F-9573-4B1A-A9B0-3005DA5BAAAF}" dt="2024-02-01T07:28:57.894" v="10999" actId="478"/>
          <ac:picMkLst>
            <pc:docMk/>
            <pc:sldMk cId="1494044101" sldId="332"/>
            <ac:picMk id="9" creationId="{D1729B3F-A3BA-C13B-3B2D-109F6BB9DFEF}"/>
          </ac:picMkLst>
        </pc:picChg>
        <pc:picChg chg="del">
          <ac:chgData name="Cyprien ARETHUSE" userId="abd46b16-7bf0-4c01-a850-92fb83f61f27" providerId="ADAL" clId="{067C7D3F-9573-4B1A-A9B0-3005DA5BAAAF}" dt="2024-02-01T07:28:57.894" v="10999" actId="478"/>
          <ac:picMkLst>
            <pc:docMk/>
            <pc:sldMk cId="1494044101" sldId="332"/>
            <ac:picMk id="46083" creationId="{D5359D95-FF97-4EB3-8C65-2EB2B28C4DD8}"/>
          </ac:picMkLst>
        </pc:picChg>
      </pc:sldChg>
      <pc:sldChg chg="del">
        <pc:chgData name="Cyprien ARETHUSE" userId="abd46b16-7bf0-4c01-a850-92fb83f61f27" providerId="ADAL" clId="{067C7D3F-9573-4B1A-A9B0-3005DA5BAAAF}" dt="2024-01-31T13:10:36.530" v="9780" actId="47"/>
        <pc:sldMkLst>
          <pc:docMk/>
          <pc:sldMk cId="1408279558" sldId="333"/>
        </pc:sldMkLst>
      </pc:sldChg>
      <pc:sldChg chg="del">
        <pc:chgData name="Cyprien ARETHUSE" userId="abd46b16-7bf0-4c01-a850-92fb83f61f27" providerId="ADAL" clId="{067C7D3F-9573-4B1A-A9B0-3005DA5BAAAF}" dt="2024-01-31T13:10:59.662" v="9786" actId="47"/>
        <pc:sldMkLst>
          <pc:docMk/>
          <pc:sldMk cId="2620030195" sldId="337"/>
        </pc:sldMkLst>
      </pc:sldChg>
      <pc:sldChg chg="del ord">
        <pc:chgData name="Cyprien ARETHUSE" userId="abd46b16-7bf0-4c01-a850-92fb83f61f27" providerId="ADAL" clId="{067C7D3F-9573-4B1A-A9B0-3005DA5BAAAF}" dt="2024-01-31T13:08:53.257" v="9757" actId="47"/>
        <pc:sldMkLst>
          <pc:docMk/>
          <pc:sldMk cId="1820046800" sldId="1609"/>
        </pc:sldMkLst>
      </pc:sldChg>
      <pc:sldChg chg="del">
        <pc:chgData name="Cyprien ARETHUSE" userId="abd46b16-7bf0-4c01-a850-92fb83f61f27" providerId="ADAL" clId="{067C7D3F-9573-4B1A-A9B0-3005DA5BAAAF}" dt="2024-01-31T13:09:45.664" v="9768" actId="47"/>
        <pc:sldMkLst>
          <pc:docMk/>
          <pc:sldMk cId="2408047115" sldId="1610"/>
        </pc:sldMkLst>
      </pc:sldChg>
      <pc:sldChg chg="del">
        <pc:chgData name="Cyprien ARETHUSE" userId="abd46b16-7bf0-4c01-a850-92fb83f61f27" providerId="ADAL" clId="{067C7D3F-9573-4B1A-A9B0-3005DA5BAAAF}" dt="2024-01-31T13:09:29.890" v="9765" actId="47"/>
        <pc:sldMkLst>
          <pc:docMk/>
          <pc:sldMk cId="1561969959" sldId="1611"/>
        </pc:sldMkLst>
      </pc:sldChg>
      <pc:sldChg chg="del">
        <pc:chgData name="Cyprien ARETHUSE" userId="abd46b16-7bf0-4c01-a850-92fb83f61f27" providerId="ADAL" clId="{067C7D3F-9573-4B1A-A9B0-3005DA5BAAAF}" dt="2024-01-31T13:09:13.661" v="9762" actId="47"/>
        <pc:sldMkLst>
          <pc:docMk/>
          <pc:sldMk cId="1180710134" sldId="1613"/>
        </pc:sldMkLst>
      </pc:sldChg>
      <pc:sldChg chg="del">
        <pc:chgData name="Cyprien ARETHUSE" userId="abd46b16-7bf0-4c01-a850-92fb83f61f27" providerId="ADAL" clId="{067C7D3F-9573-4B1A-A9B0-3005DA5BAAAF}" dt="2024-01-31T13:10:25.537" v="9777" actId="47"/>
        <pc:sldMkLst>
          <pc:docMk/>
          <pc:sldMk cId="1812049774" sldId="1616"/>
        </pc:sldMkLst>
      </pc:sldChg>
      <pc:sldChg chg="del">
        <pc:chgData name="Cyprien ARETHUSE" userId="abd46b16-7bf0-4c01-a850-92fb83f61f27" providerId="ADAL" clId="{067C7D3F-9573-4B1A-A9B0-3005DA5BAAAF}" dt="2024-01-31T13:10:15.588" v="9775" actId="47"/>
        <pc:sldMkLst>
          <pc:docMk/>
          <pc:sldMk cId="1203037579" sldId="1619"/>
        </pc:sldMkLst>
      </pc:sldChg>
      <pc:sldChg chg="del">
        <pc:chgData name="Cyprien ARETHUSE" userId="abd46b16-7bf0-4c01-a850-92fb83f61f27" providerId="ADAL" clId="{067C7D3F-9573-4B1A-A9B0-3005DA5BAAAF}" dt="2024-01-31T13:06:23.961" v="9728" actId="47"/>
        <pc:sldMkLst>
          <pc:docMk/>
          <pc:sldMk cId="2196020231" sldId="1859"/>
        </pc:sldMkLst>
      </pc:sldChg>
      <pc:sldChg chg="del ord">
        <pc:chgData name="Cyprien ARETHUSE" userId="abd46b16-7bf0-4c01-a850-92fb83f61f27" providerId="ADAL" clId="{067C7D3F-9573-4B1A-A9B0-3005DA5BAAAF}" dt="2024-01-31T13:07:09.205" v="9737" actId="47"/>
        <pc:sldMkLst>
          <pc:docMk/>
          <pc:sldMk cId="505205297" sldId="1860"/>
        </pc:sldMkLst>
      </pc:sldChg>
      <pc:sldChg chg="modSp del">
        <pc:chgData name="Cyprien ARETHUSE" userId="abd46b16-7bf0-4c01-a850-92fb83f61f27" providerId="ADAL" clId="{067C7D3F-9573-4B1A-A9B0-3005DA5BAAAF}" dt="2024-02-02T15:54:22.395" v="19224" actId="47"/>
        <pc:sldMkLst>
          <pc:docMk/>
          <pc:sldMk cId="390129520" sldId="1895"/>
        </pc:sldMkLst>
        <pc:graphicFrameChg chg="mod">
          <ac:chgData name="Cyprien ARETHUSE" userId="abd46b16-7bf0-4c01-a850-92fb83f61f27" providerId="ADAL" clId="{067C7D3F-9573-4B1A-A9B0-3005DA5BAAAF}" dt="2024-02-02T15:49:49.380" v="19097" actId="20578"/>
          <ac:graphicFrameMkLst>
            <pc:docMk/>
            <pc:sldMk cId="390129520" sldId="1895"/>
            <ac:graphicFrameMk id="5" creationId="{BA190318-D5D7-40F7-B44A-C82D981946BE}"/>
          </ac:graphicFrameMkLst>
        </pc:graphicFrameChg>
      </pc:sldChg>
      <pc:sldChg chg="addSp delSp modSp mod">
        <pc:chgData name="Cyprien ARETHUSE" userId="abd46b16-7bf0-4c01-a850-92fb83f61f27" providerId="ADAL" clId="{067C7D3F-9573-4B1A-A9B0-3005DA5BAAAF}" dt="2024-02-02T09:14:59.627" v="16031" actId="1035"/>
        <pc:sldMkLst>
          <pc:docMk/>
          <pc:sldMk cId="4028295010" sldId="8008"/>
        </pc:sldMkLst>
        <pc:spChg chg="mod">
          <ac:chgData name="Cyprien ARETHUSE" userId="abd46b16-7bf0-4c01-a850-92fb83f61f27" providerId="ADAL" clId="{067C7D3F-9573-4B1A-A9B0-3005DA5BAAAF}" dt="2024-02-01T14:22:00.669" v="12908" actId="1035"/>
          <ac:spMkLst>
            <pc:docMk/>
            <pc:sldMk cId="4028295010" sldId="8008"/>
            <ac:spMk id="5" creationId="{FE4B25A6-0E19-E941-7B29-A12EC47947D0}"/>
          </ac:spMkLst>
        </pc:spChg>
        <pc:spChg chg="mod">
          <ac:chgData name="Cyprien ARETHUSE" userId="abd46b16-7bf0-4c01-a850-92fb83f61f27" providerId="ADAL" clId="{067C7D3F-9573-4B1A-A9B0-3005DA5BAAAF}" dt="2024-02-01T14:22:00.669" v="12908" actId="1035"/>
          <ac:spMkLst>
            <pc:docMk/>
            <pc:sldMk cId="4028295010" sldId="8008"/>
            <ac:spMk id="6" creationId="{7EABBF27-A745-DDF7-92BF-783BDD6E3CF4}"/>
          </ac:spMkLst>
        </pc:spChg>
        <pc:spChg chg="add mod">
          <ac:chgData name="Cyprien ARETHUSE" userId="abd46b16-7bf0-4c01-a850-92fb83f61f27" providerId="ADAL" clId="{067C7D3F-9573-4B1A-A9B0-3005DA5BAAAF}" dt="2024-02-01T14:22:00.669" v="12908" actId="1035"/>
          <ac:spMkLst>
            <pc:docMk/>
            <pc:sldMk cId="4028295010" sldId="8008"/>
            <ac:spMk id="7" creationId="{57A288DB-80E7-978F-4896-306A8CD7B875}"/>
          </ac:spMkLst>
        </pc:spChg>
        <pc:spChg chg="mod">
          <ac:chgData name="Cyprien ARETHUSE" userId="abd46b16-7bf0-4c01-a850-92fb83f61f27" providerId="ADAL" clId="{067C7D3F-9573-4B1A-A9B0-3005DA5BAAAF}" dt="2024-02-01T14:22:00.669" v="12908" actId="1035"/>
          <ac:spMkLst>
            <pc:docMk/>
            <pc:sldMk cId="4028295010" sldId="8008"/>
            <ac:spMk id="9" creationId="{5F9BB760-43AE-759D-616D-2AEE9B991B41}"/>
          </ac:spMkLst>
        </pc:spChg>
        <pc:spChg chg="mod">
          <ac:chgData name="Cyprien ARETHUSE" userId="abd46b16-7bf0-4c01-a850-92fb83f61f27" providerId="ADAL" clId="{067C7D3F-9573-4B1A-A9B0-3005DA5BAAAF}" dt="2024-02-01T14:22:00.669" v="12908" actId="1035"/>
          <ac:spMkLst>
            <pc:docMk/>
            <pc:sldMk cId="4028295010" sldId="8008"/>
            <ac:spMk id="10" creationId="{D03E37C9-169D-6FA6-AD25-E1873A28F8A1}"/>
          </ac:spMkLst>
        </pc:spChg>
        <pc:spChg chg="add mod">
          <ac:chgData name="Cyprien ARETHUSE" userId="abd46b16-7bf0-4c01-a850-92fb83f61f27" providerId="ADAL" clId="{067C7D3F-9573-4B1A-A9B0-3005DA5BAAAF}" dt="2024-02-01T14:22:00.669" v="12908" actId="1035"/>
          <ac:spMkLst>
            <pc:docMk/>
            <pc:sldMk cId="4028295010" sldId="8008"/>
            <ac:spMk id="11" creationId="{7D3E72B2-7C2E-A0EE-72D1-B3E8926BF504}"/>
          </ac:spMkLst>
        </pc:spChg>
        <pc:spChg chg="mod">
          <ac:chgData name="Cyprien ARETHUSE" userId="abd46b16-7bf0-4c01-a850-92fb83f61f27" providerId="ADAL" clId="{067C7D3F-9573-4B1A-A9B0-3005DA5BAAAF}" dt="2024-02-01T14:22:00.669" v="12908" actId="1035"/>
          <ac:spMkLst>
            <pc:docMk/>
            <pc:sldMk cId="4028295010" sldId="8008"/>
            <ac:spMk id="15" creationId="{C943EFC8-669E-4788-988F-16AD9E9C1069}"/>
          </ac:spMkLst>
        </pc:spChg>
        <pc:spChg chg="mod">
          <ac:chgData name="Cyprien ARETHUSE" userId="abd46b16-7bf0-4c01-a850-92fb83f61f27" providerId="ADAL" clId="{067C7D3F-9573-4B1A-A9B0-3005DA5BAAAF}" dt="2024-02-01T14:22:00.669" v="12908" actId="1035"/>
          <ac:spMkLst>
            <pc:docMk/>
            <pc:sldMk cId="4028295010" sldId="8008"/>
            <ac:spMk id="16" creationId="{FB6AE47B-A44B-4B81-A567-763482494FD3}"/>
          </ac:spMkLst>
        </pc:spChg>
        <pc:spChg chg="mod">
          <ac:chgData name="Cyprien ARETHUSE" userId="abd46b16-7bf0-4c01-a850-92fb83f61f27" providerId="ADAL" clId="{067C7D3F-9573-4B1A-A9B0-3005DA5BAAAF}" dt="2024-02-01T14:22:00.669" v="12908" actId="1035"/>
          <ac:spMkLst>
            <pc:docMk/>
            <pc:sldMk cId="4028295010" sldId="8008"/>
            <ac:spMk id="18" creationId="{631DE21D-9110-45C1-860F-D4B0296E8FB2}"/>
          </ac:spMkLst>
        </pc:spChg>
        <pc:spChg chg="mod">
          <ac:chgData name="Cyprien ARETHUSE" userId="abd46b16-7bf0-4c01-a850-92fb83f61f27" providerId="ADAL" clId="{067C7D3F-9573-4B1A-A9B0-3005DA5BAAAF}" dt="2024-02-01T14:22:00.669" v="12908" actId="1035"/>
          <ac:spMkLst>
            <pc:docMk/>
            <pc:sldMk cId="4028295010" sldId="8008"/>
            <ac:spMk id="19" creationId="{2D77A245-1F29-48F1-AE4B-55C5F25B488C}"/>
          </ac:spMkLst>
        </pc:spChg>
        <pc:spChg chg="mod">
          <ac:chgData name="Cyprien ARETHUSE" userId="abd46b16-7bf0-4c01-a850-92fb83f61f27" providerId="ADAL" clId="{067C7D3F-9573-4B1A-A9B0-3005DA5BAAAF}" dt="2024-02-01T14:22:00.669" v="12908" actId="1035"/>
          <ac:spMkLst>
            <pc:docMk/>
            <pc:sldMk cId="4028295010" sldId="8008"/>
            <ac:spMk id="20" creationId="{7D1772DF-A8CA-4534-8680-DEFCE6825AF4}"/>
          </ac:spMkLst>
        </pc:spChg>
        <pc:spChg chg="mod">
          <ac:chgData name="Cyprien ARETHUSE" userId="abd46b16-7bf0-4c01-a850-92fb83f61f27" providerId="ADAL" clId="{067C7D3F-9573-4B1A-A9B0-3005DA5BAAAF}" dt="2024-02-01T14:22:00.669" v="12908" actId="1035"/>
          <ac:spMkLst>
            <pc:docMk/>
            <pc:sldMk cId="4028295010" sldId="8008"/>
            <ac:spMk id="21" creationId="{4A9712BC-2492-44A1-9479-D0153480674B}"/>
          </ac:spMkLst>
        </pc:spChg>
        <pc:spChg chg="mod">
          <ac:chgData name="Cyprien ARETHUSE" userId="abd46b16-7bf0-4c01-a850-92fb83f61f27" providerId="ADAL" clId="{067C7D3F-9573-4B1A-A9B0-3005DA5BAAAF}" dt="2024-02-01T14:22:00.669" v="12908" actId="1035"/>
          <ac:spMkLst>
            <pc:docMk/>
            <pc:sldMk cId="4028295010" sldId="8008"/>
            <ac:spMk id="23" creationId="{F09E0DE6-81EF-415B-B653-B0141CF75103}"/>
          </ac:spMkLst>
        </pc:spChg>
        <pc:spChg chg="mod">
          <ac:chgData name="Cyprien ARETHUSE" userId="abd46b16-7bf0-4c01-a850-92fb83f61f27" providerId="ADAL" clId="{067C7D3F-9573-4B1A-A9B0-3005DA5BAAAF}" dt="2024-02-01T14:22:00.669" v="12908" actId="1035"/>
          <ac:spMkLst>
            <pc:docMk/>
            <pc:sldMk cId="4028295010" sldId="8008"/>
            <ac:spMk id="24" creationId="{D50D9C48-0679-4CA0-8CEC-7A243400C1C7}"/>
          </ac:spMkLst>
        </pc:spChg>
        <pc:spChg chg="mod">
          <ac:chgData name="Cyprien ARETHUSE" userId="abd46b16-7bf0-4c01-a850-92fb83f61f27" providerId="ADAL" clId="{067C7D3F-9573-4B1A-A9B0-3005DA5BAAAF}" dt="2024-02-01T14:22:00.669" v="12908" actId="1035"/>
          <ac:spMkLst>
            <pc:docMk/>
            <pc:sldMk cId="4028295010" sldId="8008"/>
            <ac:spMk id="26" creationId="{222F9681-8AE0-494E-A664-C9ADC4432A64}"/>
          </ac:spMkLst>
        </pc:spChg>
        <pc:spChg chg="mod">
          <ac:chgData name="Cyprien ARETHUSE" userId="abd46b16-7bf0-4c01-a850-92fb83f61f27" providerId="ADAL" clId="{067C7D3F-9573-4B1A-A9B0-3005DA5BAAAF}" dt="2024-02-01T14:22:00.669" v="12908" actId="1035"/>
          <ac:spMkLst>
            <pc:docMk/>
            <pc:sldMk cId="4028295010" sldId="8008"/>
            <ac:spMk id="27" creationId="{B12DE2EB-84B0-4EEA-B32C-F0C252E5A92B}"/>
          </ac:spMkLst>
        </pc:spChg>
        <pc:spChg chg="mod">
          <ac:chgData name="Cyprien ARETHUSE" userId="abd46b16-7bf0-4c01-a850-92fb83f61f27" providerId="ADAL" clId="{067C7D3F-9573-4B1A-A9B0-3005DA5BAAAF}" dt="2024-02-01T14:22:00.669" v="12908" actId="1035"/>
          <ac:spMkLst>
            <pc:docMk/>
            <pc:sldMk cId="4028295010" sldId="8008"/>
            <ac:spMk id="28" creationId="{016D43FE-C605-4F5D-B68F-F4D82B931A91}"/>
          </ac:spMkLst>
        </pc:spChg>
        <pc:spChg chg="mod">
          <ac:chgData name="Cyprien ARETHUSE" userId="abd46b16-7bf0-4c01-a850-92fb83f61f27" providerId="ADAL" clId="{067C7D3F-9573-4B1A-A9B0-3005DA5BAAAF}" dt="2024-02-01T14:22:00.669" v="12908" actId="1035"/>
          <ac:spMkLst>
            <pc:docMk/>
            <pc:sldMk cId="4028295010" sldId="8008"/>
            <ac:spMk id="29" creationId="{18CB3812-FD95-4F66-9858-A878242AF8F9}"/>
          </ac:spMkLst>
        </pc:spChg>
        <pc:spChg chg="mod">
          <ac:chgData name="Cyprien ARETHUSE" userId="abd46b16-7bf0-4c01-a850-92fb83f61f27" providerId="ADAL" clId="{067C7D3F-9573-4B1A-A9B0-3005DA5BAAAF}" dt="2024-02-01T14:22:00.669" v="12908" actId="1035"/>
          <ac:spMkLst>
            <pc:docMk/>
            <pc:sldMk cId="4028295010" sldId="8008"/>
            <ac:spMk id="31" creationId="{1E725034-2429-4519-916B-7AB286A04C34}"/>
          </ac:spMkLst>
        </pc:spChg>
        <pc:spChg chg="mod">
          <ac:chgData name="Cyprien ARETHUSE" userId="abd46b16-7bf0-4c01-a850-92fb83f61f27" providerId="ADAL" clId="{067C7D3F-9573-4B1A-A9B0-3005DA5BAAAF}" dt="2024-02-01T14:22:00.669" v="12908" actId="1035"/>
          <ac:spMkLst>
            <pc:docMk/>
            <pc:sldMk cId="4028295010" sldId="8008"/>
            <ac:spMk id="32" creationId="{06753A17-C3CA-467A-8693-0A00FBBC2D2A}"/>
          </ac:spMkLst>
        </pc:spChg>
        <pc:spChg chg="mod">
          <ac:chgData name="Cyprien ARETHUSE" userId="abd46b16-7bf0-4c01-a850-92fb83f61f27" providerId="ADAL" clId="{067C7D3F-9573-4B1A-A9B0-3005DA5BAAAF}" dt="2024-02-01T14:22:00.669" v="12908" actId="1035"/>
          <ac:spMkLst>
            <pc:docMk/>
            <pc:sldMk cId="4028295010" sldId="8008"/>
            <ac:spMk id="34" creationId="{3FBFE048-FFA6-4021-A39D-859DACFBD073}"/>
          </ac:spMkLst>
        </pc:spChg>
        <pc:spChg chg="mod">
          <ac:chgData name="Cyprien ARETHUSE" userId="abd46b16-7bf0-4c01-a850-92fb83f61f27" providerId="ADAL" clId="{067C7D3F-9573-4B1A-A9B0-3005DA5BAAAF}" dt="2024-02-01T14:22:00.669" v="12908" actId="1035"/>
          <ac:spMkLst>
            <pc:docMk/>
            <pc:sldMk cId="4028295010" sldId="8008"/>
            <ac:spMk id="35" creationId="{E81F8920-CEE4-4C2D-8D6B-C7789E955F53}"/>
          </ac:spMkLst>
        </pc:spChg>
        <pc:spChg chg="mod">
          <ac:chgData name="Cyprien ARETHUSE" userId="abd46b16-7bf0-4c01-a850-92fb83f61f27" providerId="ADAL" clId="{067C7D3F-9573-4B1A-A9B0-3005DA5BAAAF}" dt="2024-02-01T14:22:00.669" v="12908" actId="1035"/>
          <ac:spMkLst>
            <pc:docMk/>
            <pc:sldMk cId="4028295010" sldId="8008"/>
            <ac:spMk id="36" creationId="{CB6C19FB-BB7C-479D-96E1-BCDA386CED87}"/>
          </ac:spMkLst>
        </pc:spChg>
        <pc:spChg chg="mod">
          <ac:chgData name="Cyprien ARETHUSE" userId="abd46b16-7bf0-4c01-a850-92fb83f61f27" providerId="ADAL" clId="{067C7D3F-9573-4B1A-A9B0-3005DA5BAAAF}" dt="2024-02-01T14:22:00.669" v="12908" actId="1035"/>
          <ac:spMkLst>
            <pc:docMk/>
            <pc:sldMk cId="4028295010" sldId="8008"/>
            <ac:spMk id="37" creationId="{766E072B-347D-4D37-A2CF-742E56C6BF53}"/>
          </ac:spMkLst>
        </pc:spChg>
        <pc:spChg chg="mod">
          <ac:chgData name="Cyprien ARETHUSE" userId="abd46b16-7bf0-4c01-a850-92fb83f61f27" providerId="ADAL" clId="{067C7D3F-9573-4B1A-A9B0-3005DA5BAAAF}" dt="2024-02-02T09:14:59.627" v="16031" actId="1035"/>
          <ac:spMkLst>
            <pc:docMk/>
            <pc:sldMk cId="4028295010" sldId="8008"/>
            <ac:spMk id="39" creationId="{7762E860-1A9F-48CB-A5CF-2498FB61ABDE}"/>
          </ac:spMkLst>
        </pc:spChg>
        <pc:spChg chg="mod">
          <ac:chgData name="Cyprien ARETHUSE" userId="abd46b16-7bf0-4c01-a850-92fb83f61f27" providerId="ADAL" clId="{067C7D3F-9573-4B1A-A9B0-3005DA5BAAAF}" dt="2024-02-02T09:14:59.627" v="16031" actId="1035"/>
          <ac:spMkLst>
            <pc:docMk/>
            <pc:sldMk cId="4028295010" sldId="8008"/>
            <ac:spMk id="40" creationId="{7CB7D3B7-10E6-478E-A69C-308242110A36}"/>
          </ac:spMkLst>
        </pc:spChg>
        <pc:spChg chg="mod">
          <ac:chgData name="Cyprien ARETHUSE" userId="abd46b16-7bf0-4c01-a850-92fb83f61f27" providerId="ADAL" clId="{067C7D3F-9573-4B1A-A9B0-3005DA5BAAAF}" dt="2024-02-01T17:39:39.055" v="15841" actId="20577"/>
          <ac:spMkLst>
            <pc:docMk/>
            <pc:sldMk cId="4028295010" sldId="8008"/>
            <ac:spMk id="42" creationId="{2E761A34-DCE4-4809-8CE6-42F91F503F4E}"/>
          </ac:spMkLst>
        </pc:spChg>
        <pc:spChg chg="mod">
          <ac:chgData name="Cyprien ARETHUSE" userId="abd46b16-7bf0-4c01-a850-92fb83f61f27" providerId="ADAL" clId="{067C7D3F-9573-4B1A-A9B0-3005DA5BAAAF}" dt="2024-02-02T09:14:59.627" v="16031" actId="1035"/>
          <ac:spMkLst>
            <pc:docMk/>
            <pc:sldMk cId="4028295010" sldId="8008"/>
            <ac:spMk id="43" creationId="{CBD72BFA-0BF3-4810-964D-75B16A13C4B8}"/>
          </ac:spMkLst>
        </pc:spChg>
        <pc:spChg chg="mod">
          <ac:chgData name="Cyprien ARETHUSE" userId="abd46b16-7bf0-4c01-a850-92fb83f61f27" providerId="ADAL" clId="{067C7D3F-9573-4B1A-A9B0-3005DA5BAAAF}" dt="2024-02-02T09:14:59.627" v="16031" actId="1035"/>
          <ac:spMkLst>
            <pc:docMk/>
            <pc:sldMk cId="4028295010" sldId="8008"/>
            <ac:spMk id="44" creationId="{B26E64F0-5718-4A75-B749-9EAD2449574A}"/>
          </ac:spMkLst>
        </pc:spChg>
        <pc:spChg chg="mod">
          <ac:chgData name="Cyprien ARETHUSE" userId="abd46b16-7bf0-4c01-a850-92fb83f61f27" providerId="ADAL" clId="{067C7D3F-9573-4B1A-A9B0-3005DA5BAAAF}" dt="2024-02-02T09:14:59.627" v="16031" actId="1035"/>
          <ac:spMkLst>
            <pc:docMk/>
            <pc:sldMk cId="4028295010" sldId="8008"/>
            <ac:spMk id="45" creationId="{A93F5781-8FE6-4D64-9B71-5AA483F8D0DF}"/>
          </ac:spMkLst>
        </pc:spChg>
        <pc:spChg chg="mod">
          <ac:chgData name="Cyprien ARETHUSE" userId="abd46b16-7bf0-4c01-a850-92fb83f61f27" providerId="ADAL" clId="{067C7D3F-9573-4B1A-A9B0-3005DA5BAAAF}" dt="2024-02-02T09:14:59.627" v="16031" actId="1035"/>
          <ac:spMkLst>
            <pc:docMk/>
            <pc:sldMk cId="4028295010" sldId="8008"/>
            <ac:spMk id="46" creationId="{01EE19DC-96DE-42EA-8334-7CED2C560D6A}"/>
          </ac:spMkLst>
        </pc:spChg>
        <pc:spChg chg="mod">
          <ac:chgData name="Cyprien ARETHUSE" userId="abd46b16-7bf0-4c01-a850-92fb83f61f27" providerId="ADAL" clId="{067C7D3F-9573-4B1A-A9B0-3005DA5BAAAF}" dt="2024-02-02T09:14:59.627" v="16031" actId="1035"/>
          <ac:spMkLst>
            <pc:docMk/>
            <pc:sldMk cId="4028295010" sldId="8008"/>
            <ac:spMk id="48" creationId="{F25832E8-8554-4BA7-B99D-E360F1323AA8}"/>
          </ac:spMkLst>
        </pc:spChg>
        <pc:spChg chg="mod">
          <ac:chgData name="Cyprien ARETHUSE" userId="abd46b16-7bf0-4c01-a850-92fb83f61f27" providerId="ADAL" clId="{067C7D3F-9573-4B1A-A9B0-3005DA5BAAAF}" dt="2024-02-02T09:14:59.627" v="16031" actId="1035"/>
          <ac:spMkLst>
            <pc:docMk/>
            <pc:sldMk cId="4028295010" sldId="8008"/>
            <ac:spMk id="49" creationId="{65B8D796-3F67-4AA3-B885-1DA4AB0F10AD}"/>
          </ac:spMkLst>
        </pc:spChg>
        <pc:spChg chg="mod">
          <ac:chgData name="Cyprien ARETHUSE" userId="abd46b16-7bf0-4c01-a850-92fb83f61f27" providerId="ADAL" clId="{067C7D3F-9573-4B1A-A9B0-3005DA5BAAAF}" dt="2024-02-02T09:14:59.627" v="16031" actId="1035"/>
          <ac:spMkLst>
            <pc:docMk/>
            <pc:sldMk cId="4028295010" sldId="8008"/>
            <ac:spMk id="51" creationId="{58AF4EF7-1A25-474B-A784-FD17D17C9719}"/>
          </ac:spMkLst>
        </pc:spChg>
        <pc:spChg chg="mod">
          <ac:chgData name="Cyprien ARETHUSE" userId="abd46b16-7bf0-4c01-a850-92fb83f61f27" providerId="ADAL" clId="{067C7D3F-9573-4B1A-A9B0-3005DA5BAAAF}" dt="2024-02-02T09:14:59.627" v="16031" actId="1035"/>
          <ac:spMkLst>
            <pc:docMk/>
            <pc:sldMk cId="4028295010" sldId="8008"/>
            <ac:spMk id="52" creationId="{1163646E-5274-4240-B57D-D994157E549E}"/>
          </ac:spMkLst>
        </pc:spChg>
        <pc:spChg chg="mod">
          <ac:chgData name="Cyprien ARETHUSE" userId="abd46b16-7bf0-4c01-a850-92fb83f61f27" providerId="ADAL" clId="{067C7D3F-9573-4B1A-A9B0-3005DA5BAAAF}" dt="2024-02-02T09:14:59.627" v="16031" actId="1035"/>
          <ac:spMkLst>
            <pc:docMk/>
            <pc:sldMk cId="4028295010" sldId="8008"/>
            <ac:spMk id="53" creationId="{87C35C41-FAC6-40A9-B3E0-3E6B5A97528D}"/>
          </ac:spMkLst>
        </pc:spChg>
        <pc:spChg chg="mod">
          <ac:chgData name="Cyprien ARETHUSE" userId="abd46b16-7bf0-4c01-a850-92fb83f61f27" providerId="ADAL" clId="{067C7D3F-9573-4B1A-A9B0-3005DA5BAAAF}" dt="2024-02-02T09:14:59.627" v="16031" actId="1035"/>
          <ac:spMkLst>
            <pc:docMk/>
            <pc:sldMk cId="4028295010" sldId="8008"/>
            <ac:spMk id="54" creationId="{4E3F8DDF-254A-4F72-A8E4-4E94087EAFAF}"/>
          </ac:spMkLst>
        </pc:spChg>
        <pc:spChg chg="del">
          <ac:chgData name="Cyprien ARETHUSE" userId="abd46b16-7bf0-4c01-a850-92fb83f61f27" providerId="ADAL" clId="{067C7D3F-9573-4B1A-A9B0-3005DA5BAAAF}" dt="2024-02-01T14:13:54.507" v="12682" actId="478"/>
          <ac:spMkLst>
            <pc:docMk/>
            <pc:sldMk cId="4028295010" sldId="8008"/>
            <ac:spMk id="61" creationId="{DEA8E539-B806-4AE1-8D1B-CFB21142DF77}"/>
          </ac:spMkLst>
        </pc:spChg>
        <pc:spChg chg="del">
          <ac:chgData name="Cyprien ARETHUSE" userId="abd46b16-7bf0-4c01-a850-92fb83f61f27" providerId="ADAL" clId="{067C7D3F-9573-4B1A-A9B0-3005DA5BAAAF}" dt="2024-02-01T14:13:54.507" v="12682" actId="478"/>
          <ac:spMkLst>
            <pc:docMk/>
            <pc:sldMk cId="4028295010" sldId="8008"/>
            <ac:spMk id="62" creationId="{B7FF390A-89B7-41D3-AEDD-FE726B0A0A9B}"/>
          </ac:spMkLst>
        </pc:spChg>
        <pc:grpChg chg="add mod">
          <ac:chgData name="Cyprien ARETHUSE" userId="abd46b16-7bf0-4c01-a850-92fb83f61f27" providerId="ADAL" clId="{067C7D3F-9573-4B1A-A9B0-3005DA5BAAAF}" dt="2024-02-01T14:22:00.669" v="12908" actId="1035"/>
          <ac:grpSpMkLst>
            <pc:docMk/>
            <pc:sldMk cId="4028295010" sldId="8008"/>
            <ac:grpSpMk id="4" creationId="{0BB16660-AA8E-3699-BBFD-10AD17716D61}"/>
          </ac:grpSpMkLst>
        </pc:grpChg>
        <pc:grpChg chg="add mod">
          <ac:chgData name="Cyprien ARETHUSE" userId="abd46b16-7bf0-4c01-a850-92fb83f61f27" providerId="ADAL" clId="{067C7D3F-9573-4B1A-A9B0-3005DA5BAAAF}" dt="2024-02-01T14:22:00.669" v="12908" actId="1035"/>
          <ac:grpSpMkLst>
            <pc:docMk/>
            <pc:sldMk cId="4028295010" sldId="8008"/>
            <ac:grpSpMk id="8" creationId="{44DB6C15-8725-F921-BB0D-D4BCC270D86E}"/>
          </ac:grpSpMkLst>
        </pc:grpChg>
        <pc:grpChg chg="mod">
          <ac:chgData name="Cyprien ARETHUSE" userId="abd46b16-7bf0-4c01-a850-92fb83f61f27" providerId="ADAL" clId="{067C7D3F-9573-4B1A-A9B0-3005DA5BAAAF}" dt="2024-02-01T14:22:00.669" v="12908" actId="1035"/>
          <ac:grpSpMkLst>
            <pc:docMk/>
            <pc:sldMk cId="4028295010" sldId="8008"/>
            <ac:grpSpMk id="14" creationId="{AC9D9286-76F9-4C86-AE4C-EA5FE66A89E8}"/>
          </ac:grpSpMkLst>
        </pc:grpChg>
        <pc:grpChg chg="mod">
          <ac:chgData name="Cyprien ARETHUSE" userId="abd46b16-7bf0-4c01-a850-92fb83f61f27" providerId="ADAL" clId="{067C7D3F-9573-4B1A-A9B0-3005DA5BAAAF}" dt="2024-02-01T14:22:00.669" v="12908" actId="1035"/>
          <ac:grpSpMkLst>
            <pc:docMk/>
            <pc:sldMk cId="4028295010" sldId="8008"/>
            <ac:grpSpMk id="17" creationId="{72ABCABD-816A-4C72-B1E0-14BA4A39FBF4}"/>
          </ac:grpSpMkLst>
        </pc:grpChg>
        <pc:grpChg chg="mod">
          <ac:chgData name="Cyprien ARETHUSE" userId="abd46b16-7bf0-4c01-a850-92fb83f61f27" providerId="ADAL" clId="{067C7D3F-9573-4B1A-A9B0-3005DA5BAAAF}" dt="2024-02-01T14:22:00.669" v="12908" actId="1035"/>
          <ac:grpSpMkLst>
            <pc:docMk/>
            <pc:sldMk cId="4028295010" sldId="8008"/>
            <ac:grpSpMk id="22" creationId="{B5813291-4D3C-43CC-AB78-867697258843}"/>
          </ac:grpSpMkLst>
        </pc:grpChg>
        <pc:grpChg chg="mod">
          <ac:chgData name="Cyprien ARETHUSE" userId="abd46b16-7bf0-4c01-a850-92fb83f61f27" providerId="ADAL" clId="{067C7D3F-9573-4B1A-A9B0-3005DA5BAAAF}" dt="2024-02-01T14:22:00.669" v="12908" actId="1035"/>
          <ac:grpSpMkLst>
            <pc:docMk/>
            <pc:sldMk cId="4028295010" sldId="8008"/>
            <ac:grpSpMk id="25" creationId="{E06A0FE7-7E48-4C59-9FB8-E3003903BFC5}"/>
          </ac:grpSpMkLst>
        </pc:grpChg>
        <pc:grpChg chg="mod">
          <ac:chgData name="Cyprien ARETHUSE" userId="abd46b16-7bf0-4c01-a850-92fb83f61f27" providerId="ADAL" clId="{067C7D3F-9573-4B1A-A9B0-3005DA5BAAAF}" dt="2024-02-01T14:22:00.669" v="12908" actId="1035"/>
          <ac:grpSpMkLst>
            <pc:docMk/>
            <pc:sldMk cId="4028295010" sldId="8008"/>
            <ac:grpSpMk id="30" creationId="{5929075F-8509-4E0E-AD6B-C68777E2AF61}"/>
          </ac:grpSpMkLst>
        </pc:grpChg>
        <pc:grpChg chg="mod">
          <ac:chgData name="Cyprien ARETHUSE" userId="abd46b16-7bf0-4c01-a850-92fb83f61f27" providerId="ADAL" clId="{067C7D3F-9573-4B1A-A9B0-3005DA5BAAAF}" dt="2024-02-01T14:22:00.669" v="12908" actId="1035"/>
          <ac:grpSpMkLst>
            <pc:docMk/>
            <pc:sldMk cId="4028295010" sldId="8008"/>
            <ac:grpSpMk id="33" creationId="{8C06E34F-5D0A-473D-BC03-AF776E63737C}"/>
          </ac:grpSpMkLst>
        </pc:grpChg>
        <pc:grpChg chg="mod">
          <ac:chgData name="Cyprien ARETHUSE" userId="abd46b16-7bf0-4c01-a850-92fb83f61f27" providerId="ADAL" clId="{067C7D3F-9573-4B1A-A9B0-3005DA5BAAAF}" dt="2024-02-02T09:14:59.627" v="16031" actId="1035"/>
          <ac:grpSpMkLst>
            <pc:docMk/>
            <pc:sldMk cId="4028295010" sldId="8008"/>
            <ac:grpSpMk id="38" creationId="{0E9E00AC-5841-40A2-B7FB-B52906ADB3F0}"/>
          </ac:grpSpMkLst>
        </pc:grpChg>
        <pc:grpChg chg="mod">
          <ac:chgData name="Cyprien ARETHUSE" userId="abd46b16-7bf0-4c01-a850-92fb83f61f27" providerId="ADAL" clId="{067C7D3F-9573-4B1A-A9B0-3005DA5BAAAF}" dt="2024-02-02T09:14:59.627" v="16031" actId="1035"/>
          <ac:grpSpMkLst>
            <pc:docMk/>
            <pc:sldMk cId="4028295010" sldId="8008"/>
            <ac:grpSpMk id="41" creationId="{00478A8D-A2F0-49F8-8C35-C2DC8D1E3A3F}"/>
          </ac:grpSpMkLst>
        </pc:grpChg>
        <pc:grpChg chg="mod">
          <ac:chgData name="Cyprien ARETHUSE" userId="abd46b16-7bf0-4c01-a850-92fb83f61f27" providerId="ADAL" clId="{067C7D3F-9573-4B1A-A9B0-3005DA5BAAAF}" dt="2024-02-02T09:14:59.627" v="16031" actId="1035"/>
          <ac:grpSpMkLst>
            <pc:docMk/>
            <pc:sldMk cId="4028295010" sldId="8008"/>
            <ac:grpSpMk id="47" creationId="{FD4BA166-2BF1-40AD-A498-392F293675E5}"/>
          </ac:grpSpMkLst>
        </pc:grpChg>
        <pc:grpChg chg="mod">
          <ac:chgData name="Cyprien ARETHUSE" userId="abd46b16-7bf0-4c01-a850-92fb83f61f27" providerId="ADAL" clId="{067C7D3F-9573-4B1A-A9B0-3005DA5BAAAF}" dt="2024-02-02T09:14:59.627" v="16031" actId="1035"/>
          <ac:grpSpMkLst>
            <pc:docMk/>
            <pc:sldMk cId="4028295010" sldId="8008"/>
            <ac:grpSpMk id="50" creationId="{99DDA5ED-4458-407B-A1C3-341CBD32DA43}"/>
          </ac:grpSpMkLst>
        </pc:grpChg>
        <pc:grpChg chg="del">
          <ac:chgData name="Cyprien ARETHUSE" userId="abd46b16-7bf0-4c01-a850-92fb83f61f27" providerId="ADAL" clId="{067C7D3F-9573-4B1A-A9B0-3005DA5BAAAF}" dt="2024-02-01T14:13:54.507" v="12682" actId="478"/>
          <ac:grpSpMkLst>
            <pc:docMk/>
            <pc:sldMk cId="4028295010" sldId="8008"/>
            <ac:grpSpMk id="55" creationId="{B53C255F-2988-4BD9-BCC8-1C4F1C212635}"/>
          </ac:grpSpMkLst>
        </pc:grpChg>
        <pc:grpChg chg="del">
          <ac:chgData name="Cyprien ARETHUSE" userId="abd46b16-7bf0-4c01-a850-92fb83f61f27" providerId="ADAL" clId="{067C7D3F-9573-4B1A-A9B0-3005DA5BAAAF}" dt="2024-02-01T14:13:54.507" v="12682" actId="478"/>
          <ac:grpSpMkLst>
            <pc:docMk/>
            <pc:sldMk cId="4028295010" sldId="8008"/>
            <ac:grpSpMk id="58" creationId="{B1A47BD7-2E39-45D3-B345-1423AEDBB4FA}"/>
          </ac:grpSpMkLst>
        </pc:grpChg>
        <pc:graphicFrameChg chg="add">
          <ac:chgData name="Cyprien ARETHUSE" userId="abd46b16-7bf0-4c01-a850-92fb83f61f27" providerId="ADAL" clId="{067C7D3F-9573-4B1A-A9B0-3005DA5BAAAF}" dt="2024-02-01T14:13:32.724" v="12680"/>
          <ac:graphicFrameMkLst>
            <pc:docMk/>
            <pc:sldMk cId="4028295010" sldId="8008"/>
            <ac:graphicFrameMk id="3" creationId="{A2AECBA5-E5CA-6D36-A33A-1FBBAD1D97CC}"/>
          </ac:graphicFrameMkLst>
        </pc:graphicFrameChg>
        <pc:graphicFrameChg chg="mod modGraphic">
          <ac:chgData name="Cyprien ARETHUSE" userId="abd46b16-7bf0-4c01-a850-92fb83f61f27" providerId="ADAL" clId="{067C7D3F-9573-4B1A-A9B0-3005DA5BAAAF}" dt="2024-02-01T14:22:00.669" v="12908" actId="1035"/>
          <ac:graphicFrameMkLst>
            <pc:docMk/>
            <pc:sldMk cId="4028295010" sldId="8008"/>
            <ac:graphicFrameMk id="66" creationId="{8B4DDF8D-5451-4B9A-BCF8-057011D0841C}"/>
          </ac:graphicFrameMkLst>
        </pc:graphicFrameChg>
        <pc:picChg chg="del">
          <ac:chgData name="Cyprien ARETHUSE" userId="abd46b16-7bf0-4c01-a850-92fb83f61f27" providerId="ADAL" clId="{067C7D3F-9573-4B1A-A9B0-3005DA5BAAAF}" dt="2024-02-01T14:13:24.360" v="12679" actId="478"/>
          <ac:picMkLst>
            <pc:docMk/>
            <pc:sldMk cId="4028295010" sldId="8008"/>
            <ac:picMk id="2" creationId="{B06B4362-15BB-4430-A0A6-572003C47901}"/>
          </ac:picMkLst>
        </pc:picChg>
        <pc:picChg chg="add mod">
          <ac:chgData name="Cyprien ARETHUSE" userId="abd46b16-7bf0-4c01-a850-92fb83f61f27" providerId="ADAL" clId="{067C7D3F-9573-4B1A-A9B0-3005DA5BAAAF}" dt="2024-02-01T14:22:10.374" v="12913" actId="1035"/>
          <ac:picMkLst>
            <pc:docMk/>
            <pc:sldMk cId="4028295010" sldId="8008"/>
            <ac:picMk id="12" creationId="{622A7716-7A93-62CF-2033-E0890A0020B7}"/>
          </ac:picMkLst>
        </pc:picChg>
        <pc:picChg chg="mod">
          <ac:chgData name="Cyprien ARETHUSE" userId="abd46b16-7bf0-4c01-a850-92fb83f61f27" providerId="ADAL" clId="{067C7D3F-9573-4B1A-A9B0-3005DA5BAAAF}" dt="2024-02-01T14:22:00.669" v="12908" actId="1035"/>
          <ac:picMkLst>
            <pc:docMk/>
            <pc:sldMk cId="4028295010" sldId="8008"/>
            <ac:picMk id="73" creationId="{1F8D81BA-EBF5-4D09-BCC9-B0174B6CECA4}"/>
          </ac:picMkLst>
        </pc:picChg>
        <pc:picChg chg="mod">
          <ac:chgData name="Cyprien ARETHUSE" userId="abd46b16-7bf0-4c01-a850-92fb83f61f27" providerId="ADAL" clId="{067C7D3F-9573-4B1A-A9B0-3005DA5BAAAF}" dt="2024-02-01T14:22:00.669" v="12908" actId="1035"/>
          <ac:picMkLst>
            <pc:docMk/>
            <pc:sldMk cId="4028295010" sldId="8008"/>
            <ac:picMk id="74" creationId="{694703C2-CC00-4981-8F0A-7D8936FC30A0}"/>
          </ac:picMkLst>
        </pc:picChg>
        <pc:picChg chg="mod">
          <ac:chgData name="Cyprien ARETHUSE" userId="abd46b16-7bf0-4c01-a850-92fb83f61f27" providerId="ADAL" clId="{067C7D3F-9573-4B1A-A9B0-3005DA5BAAAF}" dt="2024-02-01T14:22:00.669" v="12908" actId="1035"/>
          <ac:picMkLst>
            <pc:docMk/>
            <pc:sldMk cId="4028295010" sldId="8008"/>
            <ac:picMk id="75" creationId="{01A07623-E424-4BDE-BDB2-8AA11915889C}"/>
          </ac:picMkLst>
        </pc:picChg>
        <pc:picChg chg="mod">
          <ac:chgData name="Cyprien ARETHUSE" userId="abd46b16-7bf0-4c01-a850-92fb83f61f27" providerId="ADAL" clId="{067C7D3F-9573-4B1A-A9B0-3005DA5BAAAF}" dt="2024-02-01T14:22:00.669" v="12908" actId="1035"/>
          <ac:picMkLst>
            <pc:docMk/>
            <pc:sldMk cId="4028295010" sldId="8008"/>
            <ac:picMk id="76" creationId="{A3B1D5EA-C9C8-422A-9385-DE8DF22B7324}"/>
          </ac:picMkLst>
        </pc:picChg>
        <pc:picChg chg="mod">
          <ac:chgData name="Cyprien ARETHUSE" userId="abd46b16-7bf0-4c01-a850-92fb83f61f27" providerId="ADAL" clId="{067C7D3F-9573-4B1A-A9B0-3005DA5BAAAF}" dt="2024-02-01T14:22:00.669" v="12908" actId="1035"/>
          <ac:picMkLst>
            <pc:docMk/>
            <pc:sldMk cId="4028295010" sldId="8008"/>
            <ac:picMk id="77" creationId="{D8EB3924-06D4-451A-8808-A7F2D30C3657}"/>
          </ac:picMkLst>
        </pc:picChg>
        <pc:picChg chg="mod">
          <ac:chgData name="Cyprien ARETHUSE" userId="abd46b16-7bf0-4c01-a850-92fb83f61f27" providerId="ADAL" clId="{067C7D3F-9573-4B1A-A9B0-3005DA5BAAAF}" dt="2024-02-01T14:22:00.669" v="12908" actId="1035"/>
          <ac:picMkLst>
            <pc:docMk/>
            <pc:sldMk cId="4028295010" sldId="8008"/>
            <ac:picMk id="78" creationId="{CE50FA31-CA5D-4595-8C40-BCE7B0E21BCF}"/>
          </ac:picMkLst>
        </pc:picChg>
      </pc:sldChg>
      <pc:sldChg chg="modSp del mod modClrScheme chgLayout">
        <pc:chgData name="Cyprien ARETHUSE" userId="abd46b16-7bf0-4c01-a850-92fb83f61f27" providerId="ADAL" clId="{067C7D3F-9573-4B1A-A9B0-3005DA5BAAAF}" dt="2024-01-18T17:01:57.045" v="3017" actId="47"/>
        <pc:sldMkLst>
          <pc:docMk/>
          <pc:sldMk cId="2792747479" sldId="8015"/>
        </pc:sldMkLst>
        <pc:spChg chg="mod ord">
          <ac:chgData name="Cyprien ARETHUSE" userId="abd46b16-7bf0-4c01-a850-92fb83f61f27" providerId="ADAL" clId="{067C7D3F-9573-4B1A-A9B0-3005DA5BAAAF}" dt="2024-01-18T17:00:09.257" v="3015" actId="1038"/>
          <ac:spMkLst>
            <pc:docMk/>
            <pc:sldMk cId="2792747479" sldId="8015"/>
            <ac:spMk id="42" creationId="{2E761A34-DCE4-4809-8CE6-42F91F503F4E}"/>
          </ac:spMkLst>
        </pc:spChg>
        <pc:spChg chg="mod">
          <ac:chgData name="Cyprien ARETHUSE" userId="abd46b16-7bf0-4c01-a850-92fb83f61f27" providerId="ADAL" clId="{067C7D3F-9573-4B1A-A9B0-3005DA5BAAAF}" dt="2024-01-18T17:00:16.257" v="3016" actId="2711"/>
          <ac:spMkLst>
            <pc:docMk/>
            <pc:sldMk cId="2792747479" sldId="8015"/>
            <ac:spMk id="46" creationId="{DCA017BD-9706-428F-B919-AFE7CEDFC5A0}"/>
          </ac:spMkLst>
        </pc:spChg>
        <pc:spChg chg="mod">
          <ac:chgData name="Cyprien ARETHUSE" userId="abd46b16-7bf0-4c01-a850-92fb83f61f27" providerId="ADAL" clId="{067C7D3F-9573-4B1A-A9B0-3005DA5BAAAF}" dt="2024-01-18T17:00:16.257" v="3016" actId="2711"/>
          <ac:spMkLst>
            <pc:docMk/>
            <pc:sldMk cId="2792747479" sldId="8015"/>
            <ac:spMk id="47" creationId="{2EE53A95-9DAA-4122-A76F-33000DA18B7B}"/>
          </ac:spMkLst>
        </pc:spChg>
        <pc:spChg chg="mod">
          <ac:chgData name="Cyprien ARETHUSE" userId="abd46b16-7bf0-4c01-a850-92fb83f61f27" providerId="ADAL" clId="{067C7D3F-9573-4B1A-A9B0-3005DA5BAAAF}" dt="2024-01-18T17:00:16.257" v="3016" actId="2711"/>
          <ac:spMkLst>
            <pc:docMk/>
            <pc:sldMk cId="2792747479" sldId="8015"/>
            <ac:spMk id="48" creationId="{A4724973-65CA-4B4F-8436-1F9314D3BF26}"/>
          </ac:spMkLst>
        </pc:spChg>
        <pc:spChg chg="mod">
          <ac:chgData name="Cyprien ARETHUSE" userId="abd46b16-7bf0-4c01-a850-92fb83f61f27" providerId="ADAL" clId="{067C7D3F-9573-4B1A-A9B0-3005DA5BAAAF}" dt="2024-01-18T17:00:16.257" v="3016" actId="2711"/>
          <ac:spMkLst>
            <pc:docMk/>
            <pc:sldMk cId="2792747479" sldId="8015"/>
            <ac:spMk id="50" creationId="{EEA85414-5AC7-42B6-8901-DFEA00BF34C0}"/>
          </ac:spMkLst>
        </pc:spChg>
        <pc:spChg chg="mod">
          <ac:chgData name="Cyprien ARETHUSE" userId="abd46b16-7bf0-4c01-a850-92fb83f61f27" providerId="ADAL" clId="{067C7D3F-9573-4B1A-A9B0-3005DA5BAAAF}" dt="2024-01-18T17:00:16.257" v="3016" actId="2711"/>
          <ac:spMkLst>
            <pc:docMk/>
            <pc:sldMk cId="2792747479" sldId="8015"/>
            <ac:spMk id="51" creationId="{AB12E909-43D8-453D-88BB-DD77CFCB9204}"/>
          </ac:spMkLst>
        </pc:spChg>
        <pc:spChg chg="mod">
          <ac:chgData name="Cyprien ARETHUSE" userId="abd46b16-7bf0-4c01-a850-92fb83f61f27" providerId="ADAL" clId="{067C7D3F-9573-4B1A-A9B0-3005DA5BAAAF}" dt="2024-01-18T17:00:16.257" v="3016" actId="2711"/>
          <ac:spMkLst>
            <pc:docMk/>
            <pc:sldMk cId="2792747479" sldId="8015"/>
            <ac:spMk id="53" creationId="{27292B6F-CDF0-4D92-BA02-92E2D8E8132B}"/>
          </ac:spMkLst>
        </pc:spChg>
        <pc:spChg chg="mod">
          <ac:chgData name="Cyprien ARETHUSE" userId="abd46b16-7bf0-4c01-a850-92fb83f61f27" providerId="ADAL" clId="{067C7D3F-9573-4B1A-A9B0-3005DA5BAAAF}" dt="2024-01-18T17:00:16.257" v="3016" actId="2711"/>
          <ac:spMkLst>
            <pc:docMk/>
            <pc:sldMk cId="2792747479" sldId="8015"/>
            <ac:spMk id="54" creationId="{18761495-0744-4716-95FB-BA3F6B344B66}"/>
          </ac:spMkLst>
        </pc:spChg>
        <pc:spChg chg="mod">
          <ac:chgData name="Cyprien ARETHUSE" userId="abd46b16-7bf0-4c01-a850-92fb83f61f27" providerId="ADAL" clId="{067C7D3F-9573-4B1A-A9B0-3005DA5BAAAF}" dt="2024-01-18T17:00:16.257" v="3016" actId="2711"/>
          <ac:spMkLst>
            <pc:docMk/>
            <pc:sldMk cId="2792747479" sldId="8015"/>
            <ac:spMk id="55" creationId="{9932D331-7E60-428D-8E62-B30B83B67B47}"/>
          </ac:spMkLst>
        </pc:spChg>
        <pc:spChg chg="mod">
          <ac:chgData name="Cyprien ARETHUSE" userId="abd46b16-7bf0-4c01-a850-92fb83f61f27" providerId="ADAL" clId="{067C7D3F-9573-4B1A-A9B0-3005DA5BAAAF}" dt="2024-01-18T17:00:16.257" v="3016" actId="2711"/>
          <ac:spMkLst>
            <pc:docMk/>
            <pc:sldMk cId="2792747479" sldId="8015"/>
            <ac:spMk id="56" creationId="{078033D8-D8D6-489D-AA66-AB9225E593B7}"/>
          </ac:spMkLst>
        </pc:spChg>
        <pc:spChg chg="mod">
          <ac:chgData name="Cyprien ARETHUSE" userId="abd46b16-7bf0-4c01-a850-92fb83f61f27" providerId="ADAL" clId="{067C7D3F-9573-4B1A-A9B0-3005DA5BAAAF}" dt="2024-01-18T17:00:16.257" v="3016" actId="2711"/>
          <ac:spMkLst>
            <pc:docMk/>
            <pc:sldMk cId="2792747479" sldId="8015"/>
            <ac:spMk id="57" creationId="{63871CD6-FAD5-49F5-864B-E869BC3E07AD}"/>
          </ac:spMkLst>
        </pc:spChg>
        <pc:spChg chg="mod">
          <ac:chgData name="Cyprien ARETHUSE" userId="abd46b16-7bf0-4c01-a850-92fb83f61f27" providerId="ADAL" clId="{067C7D3F-9573-4B1A-A9B0-3005DA5BAAAF}" dt="2024-01-18T17:00:16.257" v="3016" actId="2711"/>
          <ac:spMkLst>
            <pc:docMk/>
            <pc:sldMk cId="2792747479" sldId="8015"/>
            <ac:spMk id="58" creationId="{A5149D87-6394-4BFA-9968-622D4E5DCDD7}"/>
          </ac:spMkLst>
        </pc:spChg>
        <pc:spChg chg="mod">
          <ac:chgData name="Cyprien ARETHUSE" userId="abd46b16-7bf0-4c01-a850-92fb83f61f27" providerId="ADAL" clId="{067C7D3F-9573-4B1A-A9B0-3005DA5BAAAF}" dt="2024-01-18T17:00:16.257" v="3016" actId="2711"/>
          <ac:spMkLst>
            <pc:docMk/>
            <pc:sldMk cId="2792747479" sldId="8015"/>
            <ac:spMk id="59" creationId="{0F0DDD75-3222-4236-B3FC-2503A5B005BC}"/>
          </ac:spMkLst>
        </pc:spChg>
        <pc:spChg chg="mod">
          <ac:chgData name="Cyprien ARETHUSE" userId="abd46b16-7bf0-4c01-a850-92fb83f61f27" providerId="ADAL" clId="{067C7D3F-9573-4B1A-A9B0-3005DA5BAAAF}" dt="2024-01-18T17:00:16.257" v="3016" actId="2711"/>
          <ac:spMkLst>
            <pc:docMk/>
            <pc:sldMk cId="2792747479" sldId="8015"/>
            <ac:spMk id="60" creationId="{D2489851-72CA-4E99-9591-81CA6CB4BD94}"/>
          </ac:spMkLst>
        </pc:spChg>
        <pc:spChg chg="mod">
          <ac:chgData name="Cyprien ARETHUSE" userId="abd46b16-7bf0-4c01-a850-92fb83f61f27" providerId="ADAL" clId="{067C7D3F-9573-4B1A-A9B0-3005DA5BAAAF}" dt="2024-01-18T17:00:16.257" v="3016" actId="2711"/>
          <ac:spMkLst>
            <pc:docMk/>
            <pc:sldMk cId="2792747479" sldId="8015"/>
            <ac:spMk id="61" creationId="{E51E9E26-741E-4079-8866-13CC1E3E7698}"/>
          </ac:spMkLst>
        </pc:spChg>
        <pc:spChg chg="mod">
          <ac:chgData name="Cyprien ARETHUSE" userId="abd46b16-7bf0-4c01-a850-92fb83f61f27" providerId="ADAL" clId="{067C7D3F-9573-4B1A-A9B0-3005DA5BAAAF}" dt="2024-01-18T17:00:16.257" v="3016" actId="2711"/>
          <ac:spMkLst>
            <pc:docMk/>
            <pc:sldMk cId="2792747479" sldId="8015"/>
            <ac:spMk id="62" creationId="{88FBA998-9050-47E0-942D-19CC8FC4325F}"/>
          </ac:spMkLst>
        </pc:spChg>
        <pc:spChg chg="mod">
          <ac:chgData name="Cyprien ARETHUSE" userId="abd46b16-7bf0-4c01-a850-92fb83f61f27" providerId="ADAL" clId="{067C7D3F-9573-4B1A-A9B0-3005DA5BAAAF}" dt="2024-01-18T17:00:16.257" v="3016" actId="2711"/>
          <ac:spMkLst>
            <pc:docMk/>
            <pc:sldMk cId="2792747479" sldId="8015"/>
            <ac:spMk id="64" creationId="{BB158F16-F4B6-4711-B6C5-F70E0DF05DD9}"/>
          </ac:spMkLst>
        </pc:spChg>
        <pc:spChg chg="mod">
          <ac:chgData name="Cyprien ARETHUSE" userId="abd46b16-7bf0-4c01-a850-92fb83f61f27" providerId="ADAL" clId="{067C7D3F-9573-4B1A-A9B0-3005DA5BAAAF}" dt="2024-01-18T17:00:16.257" v="3016" actId="2711"/>
          <ac:spMkLst>
            <pc:docMk/>
            <pc:sldMk cId="2792747479" sldId="8015"/>
            <ac:spMk id="100" creationId="{B63D6BA7-07FA-480A-959E-9039ACBD50C7}"/>
          </ac:spMkLst>
        </pc:spChg>
        <pc:spChg chg="mod">
          <ac:chgData name="Cyprien ARETHUSE" userId="abd46b16-7bf0-4c01-a850-92fb83f61f27" providerId="ADAL" clId="{067C7D3F-9573-4B1A-A9B0-3005DA5BAAAF}" dt="2024-01-18T17:00:16.257" v="3016" actId="2711"/>
          <ac:spMkLst>
            <pc:docMk/>
            <pc:sldMk cId="2792747479" sldId="8015"/>
            <ac:spMk id="101" creationId="{23964404-65DA-4C81-A794-81124A5588AF}"/>
          </ac:spMkLst>
        </pc:spChg>
        <pc:spChg chg="mod">
          <ac:chgData name="Cyprien ARETHUSE" userId="abd46b16-7bf0-4c01-a850-92fb83f61f27" providerId="ADAL" clId="{067C7D3F-9573-4B1A-A9B0-3005DA5BAAAF}" dt="2024-01-18T17:00:16.257" v="3016" actId="2711"/>
          <ac:spMkLst>
            <pc:docMk/>
            <pc:sldMk cId="2792747479" sldId="8015"/>
            <ac:spMk id="102" creationId="{6B8C4EAB-7C1B-4A23-92D9-23F23114FBE6}"/>
          </ac:spMkLst>
        </pc:spChg>
        <pc:spChg chg="mod">
          <ac:chgData name="Cyprien ARETHUSE" userId="abd46b16-7bf0-4c01-a850-92fb83f61f27" providerId="ADAL" clId="{067C7D3F-9573-4B1A-A9B0-3005DA5BAAAF}" dt="2024-01-18T17:00:16.257" v="3016" actId="2711"/>
          <ac:spMkLst>
            <pc:docMk/>
            <pc:sldMk cId="2792747479" sldId="8015"/>
            <ac:spMk id="103" creationId="{913817B2-D0B6-4903-BBFB-D02EAFCDDD12}"/>
          </ac:spMkLst>
        </pc:spChg>
        <pc:spChg chg="mod">
          <ac:chgData name="Cyprien ARETHUSE" userId="abd46b16-7bf0-4c01-a850-92fb83f61f27" providerId="ADAL" clId="{067C7D3F-9573-4B1A-A9B0-3005DA5BAAAF}" dt="2024-01-18T17:00:16.257" v="3016" actId="2711"/>
          <ac:spMkLst>
            <pc:docMk/>
            <pc:sldMk cId="2792747479" sldId="8015"/>
            <ac:spMk id="104" creationId="{1EA8108C-D91B-47A4-B0C0-4B36EC9E32B8}"/>
          </ac:spMkLst>
        </pc:spChg>
        <pc:spChg chg="mod">
          <ac:chgData name="Cyprien ARETHUSE" userId="abd46b16-7bf0-4c01-a850-92fb83f61f27" providerId="ADAL" clId="{067C7D3F-9573-4B1A-A9B0-3005DA5BAAAF}" dt="2024-01-18T17:00:16.257" v="3016" actId="2711"/>
          <ac:spMkLst>
            <pc:docMk/>
            <pc:sldMk cId="2792747479" sldId="8015"/>
            <ac:spMk id="105" creationId="{93E30B57-5F06-443D-9133-A727E870DA63}"/>
          </ac:spMkLst>
        </pc:spChg>
        <pc:spChg chg="mod">
          <ac:chgData name="Cyprien ARETHUSE" userId="abd46b16-7bf0-4c01-a850-92fb83f61f27" providerId="ADAL" clId="{067C7D3F-9573-4B1A-A9B0-3005DA5BAAAF}" dt="2024-01-18T17:00:16.257" v="3016" actId="2711"/>
          <ac:spMkLst>
            <pc:docMk/>
            <pc:sldMk cId="2792747479" sldId="8015"/>
            <ac:spMk id="108" creationId="{6F5478DA-777C-4F03-9B53-80286C09C952}"/>
          </ac:spMkLst>
        </pc:spChg>
        <pc:spChg chg="mod">
          <ac:chgData name="Cyprien ARETHUSE" userId="abd46b16-7bf0-4c01-a850-92fb83f61f27" providerId="ADAL" clId="{067C7D3F-9573-4B1A-A9B0-3005DA5BAAAF}" dt="2024-01-18T17:00:16.257" v="3016" actId="2711"/>
          <ac:spMkLst>
            <pc:docMk/>
            <pc:sldMk cId="2792747479" sldId="8015"/>
            <ac:spMk id="109" creationId="{80B641A1-145F-4138-87C8-554C8C74A47C}"/>
          </ac:spMkLst>
        </pc:spChg>
        <pc:spChg chg="mod">
          <ac:chgData name="Cyprien ARETHUSE" userId="abd46b16-7bf0-4c01-a850-92fb83f61f27" providerId="ADAL" clId="{067C7D3F-9573-4B1A-A9B0-3005DA5BAAAF}" dt="2024-01-18T17:00:16.257" v="3016" actId="2711"/>
          <ac:spMkLst>
            <pc:docMk/>
            <pc:sldMk cId="2792747479" sldId="8015"/>
            <ac:spMk id="110" creationId="{6B674191-B21C-46B2-B3A7-34A718B53061}"/>
          </ac:spMkLst>
        </pc:spChg>
        <pc:spChg chg="mod">
          <ac:chgData name="Cyprien ARETHUSE" userId="abd46b16-7bf0-4c01-a850-92fb83f61f27" providerId="ADAL" clId="{067C7D3F-9573-4B1A-A9B0-3005DA5BAAAF}" dt="2024-01-18T17:00:16.257" v="3016" actId="2711"/>
          <ac:spMkLst>
            <pc:docMk/>
            <pc:sldMk cId="2792747479" sldId="8015"/>
            <ac:spMk id="111" creationId="{60B39DAA-111A-4F19-A946-88E1FC18C930}"/>
          </ac:spMkLst>
        </pc:spChg>
        <pc:spChg chg="mod">
          <ac:chgData name="Cyprien ARETHUSE" userId="abd46b16-7bf0-4c01-a850-92fb83f61f27" providerId="ADAL" clId="{067C7D3F-9573-4B1A-A9B0-3005DA5BAAAF}" dt="2024-01-18T17:00:16.257" v="3016" actId="2711"/>
          <ac:spMkLst>
            <pc:docMk/>
            <pc:sldMk cId="2792747479" sldId="8015"/>
            <ac:spMk id="112" creationId="{90912448-9463-4B4B-967D-D69A2B0262D4}"/>
          </ac:spMkLst>
        </pc:spChg>
        <pc:spChg chg="mod">
          <ac:chgData name="Cyprien ARETHUSE" userId="abd46b16-7bf0-4c01-a850-92fb83f61f27" providerId="ADAL" clId="{067C7D3F-9573-4B1A-A9B0-3005DA5BAAAF}" dt="2024-01-18T17:00:16.257" v="3016" actId="2711"/>
          <ac:spMkLst>
            <pc:docMk/>
            <pc:sldMk cId="2792747479" sldId="8015"/>
            <ac:spMk id="114" creationId="{8316C39C-9EBD-468A-A2B7-3F211AE6D6C5}"/>
          </ac:spMkLst>
        </pc:spChg>
        <pc:spChg chg="mod">
          <ac:chgData name="Cyprien ARETHUSE" userId="abd46b16-7bf0-4c01-a850-92fb83f61f27" providerId="ADAL" clId="{067C7D3F-9573-4B1A-A9B0-3005DA5BAAAF}" dt="2024-01-18T17:00:16.257" v="3016" actId="2711"/>
          <ac:spMkLst>
            <pc:docMk/>
            <pc:sldMk cId="2792747479" sldId="8015"/>
            <ac:spMk id="115" creationId="{6CE74E42-05CB-4A97-ABF1-75E66BDD4C16}"/>
          </ac:spMkLst>
        </pc:spChg>
        <pc:spChg chg="mod">
          <ac:chgData name="Cyprien ARETHUSE" userId="abd46b16-7bf0-4c01-a850-92fb83f61f27" providerId="ADAL" clId="{067C7D3F-9573-4B1A-A9B0-3005DA5BAAAF}" dt="2024-01-18T17:00:16.257" v="3016" actId="2711"/>
          <ac:spMkLst>
            <pc:docMk/>
            <pc:sldMk cId="2792747479" sldId="8015"/>
            <ac:spMk id="116" creationId="{EFCE78ED-1F51-4DC3-A34A-565D66AD18EA}"/>
          </ac:spMkLst>
        </pc:spChg>
        <pc:spChg chg="mod">
          <ac:chgData name="Cyprien ARETHUSE" userId="abd46b16-7bf0-4c01-a850-92fb83f61f27" providerId="ADAL" clId="{067C7D3F-9573-4B1A-A9B0-3005DA5BAAAF}" dt="2024-01-18T17:00:16.257" v="3016" actId="2711"/>
          <ac:spMkLst>
            <pc:docMk/>
            <pc:sldMk cId="2792747479" sldId="8015"/>
            <ac:spMk id="117" creationId="{12DD103E-212A-4BAD-A619-A3B4F2DDD437}"/>
          </ac:spMkLst>
        </pc:spChg>
        <pc:spChg chg="mod">
          <ac:chgData name="Cyprien ARETHUSE" userId="abd46b16-7bf0-4c01-a850-92fb83f61f27" providerId="ADAL" clId="{067C7D3F-9573-4B1A-A9B0-3005DA5BAAAF}" dt="2024-01-18T17:00:16.257" v="3016" actId="2711"/>
          <ac:spMkLst>
            <pc:docMk/>
            <pc:sldMk cId="2792747479" sldId="8015"/>
            <ac:spMk id="118" creationId="{A66BFA44-EF88-44AC-9D4D-10D8361D20F0}"/>
          </ac:spMkLst>
        </pc:spChg>
        <pc:spChg chg="mod">
          <ac:chgData name="Cyprien ARETHUSE" userId="abd46b16-7bf0-4c01-a850-92fb83f61f27" providerId="ADAL" clId="{067C7D3F-9573-4B1A-A9B0-3005DA5BAAAF}" dt="2024-01-18T17:00:16.257" v="3016" actId="2711"/>
          <ac:spMkLst>
            <pc:docMk/>
            <pc:sldMk cId="2792747479" sldId="8015"/>
            <ac:spMk id="119" creationId="{D24ABCE7-5FA4-4FEA-B87F-F5F9A9365829}"/>
          </ac:spMkLst>
        </pc:spChg>
        <pc:spChg chg="mod">
          <ac:chgData name="Cyprien ARETHUSE" userId="abd46b16-7bf0-4c01-a850-92fb83f61f27" providerId="ADAL" clId="{067C7D3F-9573-4B1A-A9B0-3005DA5BAAAF}" dt="2024-01-18T17:00:16.257" v="3016" actId="2711"/>
          <ac:spMkLst>
            <pc:docMk/>
            <pc:sldMk cId="2792747479" sldId="8015"/>
            <ac:spMk id="120" creationId="{5FD8270F-1A8B-4211-AB2E-752BDB233ED1}"/>
          </ac:spMkLst>
        </pc:spChg>
      </pc:sldChg>
      <pc:sldChg chg="addSp delSp modSp mod">
        <pc:chgData name="Cyprien ARETHUSE" userId="abd46b16-7bf0-4c01-a850-92fb83f61f27" providerId="ADAL" clId="{067C7D3F-9573-4B1A-A9B0-3005DA5BAAAF}" dt="2024-02-02T10:32:36.982" v="16045" actId="20577"/>
        <pc:sldMkLst>
          <pc:docMk/>
          <pc:sldMk cId="3662488934" sldId="9006"/>
        </pc:sldMkLst>
        <pc:spChg chg="mod">
          <ac:chgData name="Cyprien ARETHUSE" userId="abd46b16-7bf0-4c01-a850-92fb83f61f27" providerId="ADAL" clId="{067C7D3F-9573-4B1A-A9B0-3005DA5BAAAF}" dt="2024-01-31T14:08:28.497" v="10112" actId="6549"/>
          <ac:spMkLst>
            <pc:docMk/>
            <pc:sldMk cId="3662488934" sldId="9006"/>
            <ac:spMk id="9" creationId="{E49072AE-C14A-CF26-F002-E4BAFD1D6496}"/>
          </ac:spMkLst>
        </pc:spChg>
        <pc:spChg chg="del">
          <ac:chgData name="Cyprien ARETHUSE" userId="abd46b16-7bf0-4c01-a850-92fb83f61f27" providerId="ADAL" clId="{067C7D3F-9573-4B1A-A9B0-3005DA5BAAAF}" dt="2024-01-31T14:08:19.288" v="10093" actId="478"/>
          <ac:spMkLst>
            <pc:docMk/>
            <pc:sldMk cId="3662488934" sldId="9006"/>
            <ac:spMk id="11" creationId="{502CB124-249E-B6D6-357E-BDC73C240FC6}"/>
          </ac:spMkLst>
        </pc:spChg>
        <pc:spChg chg="mod">
          <ac:chgData name="Cyprien ARETHUSE" userId="abd46b16-7bf0-4c01-a850-92fb83f61f27" providerId="ADAL" clId="{067C7D3F-9573-4B1A-A9B0-3005DA5BAAAF}" dt="2024-02-02T10:32:36.982" v="16045" actId="20577"/>
          <ac:spMkLst>
            <pc:docMk/>
            <pc:sldMk cId="3662488934" sldId="9006"/>
            <ac:spMk id="12" creationId="{6949D553-9B02-42D7-9487-5D76097EDB8C}"/>
          </ac:spMkLst>
        </pc:spChg>
        <pc:spChg chg="mod">
          <ac:chgData name="Cyprien ARETHUSE" userId="abd46b16-7bf0-4c01-a850-92fb83f61f27" providerId="ADAL" clId="{067C7D3F-9573-4B1A-A9B0-3005DA5BAAAF}" dt="2024-01-31T14:08:32.054" v="10122" actId="20577"/>
          <ac:spMkLst>
            <pc:docMk/>
            <pc:sldMk cId="3662488934" sldId="9006"/>
            <ac:spMk id="14" creationId="{38DBFD3F-BCFB-F4A7-1F54-FB33DE2636CA}"/>
          </ac:spMkLst>
        </pc:spChg>
        <pc:spChg chg="mod">
          <ac:chgData name="Cyprien ARETHUSE" userId="abd46b16-7bf0-4c01-a850-92fb83f61f27" providerId="ADAL" clId="{067C7D3F-9573-4B1A-A9B0-3005DA5BAAAF}" dt="2024-01-31T14:08:43.034" v="10133" actId="20577"/>
          <ac:spMkLst>
            <pc:docMk/>
            <pc:sldMk cId="3662488934" sldId="9006"/>
            <ac:spMk id="18" creationId="{A0809EC0-F1B8-DE7C-6BA7-B01EEDBCD78B}"/>
          </ac:spMkLst>
        </pc:spChg>
        <pc:spChg chg="mod">
          <ac:chgData name="Cyprien ARETHUSE" userId="abd46b16-7bf0-4c01-a850-92fb83f61f27" providerId="ADAL" clId="{067C7D3F-9573-4B1A-A9B0-3005DA5BAAAF}" dt="2024-01-31T14:08:54.629" v="10162" actId="20577"/>
          <ac:spMkLst>
            <pc:docMk/>
            <pc:sldMk cId="3662488934" sldId="9006"/>
            <ac:spMk id="21" creationId="{1D4180AE-3E60-37A0-D115-80ADE2D62A21}"/>
          </ac:spMkLst>
        </pc:spChg>
        <pc:spChg chg="mod">
          <ac:chgData name="Cyprien ARETHUSE" userId="abd46b16-7bf0-4c01-a850-92fb83f61f27" providerId="ADAL" clId="{067C7D3F-9573-4B1A-A9B0-3005DA5BAAAF}" dt="2024-02-01T10:15:01.582" v="11079" actId="207"/>
          <ac:spMkLst>
            <pc:docMk/>
            <pc:sldMk cId="3662488934" sldId="9006"/>
            <ac:spMk id="52" creationId="{BB71371E-4B29-2877-68D4-7D0ECE8E1FD8}"/>
          </ac:spMkLst>
        </pc:spChg>
        <pc:picChg chg="add del mod">
          <ac:chgData name="Cyprien ARETHUSE" userId="abd46b16-7bf0-4c01-a850-92fb83f61f27" providerId="ADAL" clId="{067C7D3F-9573-4B1A-A9B0-3005DA5BAAAF}" dt="2024-01-31T14:09:21.786" v="10165" actId="478"/>
          <ac:picMkLst>
            <pc:docMk/>
            <pc:sldMk cId="3662488934" sldId="9006"/>
            <ac:picMk id="53" creationId="{20EF2B4E-E025-C761-A689-65D75FAD0D56}"/>
          </ac:picMkLst>
        </pc:picChg>
      </pc:sldChg>
      <pc:sldChg chg="addSp delSp modSp mod ord modClrScheme chgLayout">
        <pc:chgData name="Cyprien ARETHUSE" userId="abd46b16-7bf0-4c01-a850-92fb83f61f27" providerId="ADAL" clId="{067C7D3F-9573-4B1A-A9B0-3005DA5BAAAF}" dt="2024-01-26T14:21:45.162" v="7935"/>
        <pc:sldMkLst>
          <pc:docMk/>
          <pc:sldMk cId="3703637770" sldId="9012"/>
        </pc:sldMkLst>
        <pc:spChg chg="add mod ord">
          <ac:chgData name="Cyprien ARETHUSE" userId="abd46b16-7bf0-4c01-a850-92fb83f61f27" providerId="ADAL" clId="{067C7D3F-9573-4B1A-A9B0-3005DA5BAAAF}" dt="2024-01-23T08:38:22.283" v="5684" actId="20577"/>
          <ac:spMkLst>
            <pc:docMk/>
            <pc:sldMk cId="3703637770" sldId="9012"/>
            <ac:spMk id="2" creationId="{D33FBB2F-2AE4-E66B-7DFE-DC1F3B26D400}"/>
          </ac:spMkLst>
        </pc:spChg>
        <pc:spChg chg="mod ord">
          <ac:chgData name="Cyprien ARETHUSE" userId="abd46b16-7bf0-4c01-a850-92fb83f61f27" providerId="ADAL" clId="{067C7D3F-9573-4B1A-A9B0-3005DA5BAAAF}" dt="2024-01-23T08:31:46.537" v="5665" actId="700"/>
          <ac:spMkLst>
            <pc:docMk/>
            <pc:sldMk cId="3703637770" sldId="9012"/>
            <ac:spMk id="3" creationId="{9F010E3A-9898-4967-8E0E-189A53740B55}"/>
          </ac:spMkLst>
        </pc:spChg>
        <pc:spChg chg="add del mod ord">
          <ac:chgData name="Cyprien ARETHUSE" userId="abd46b16-7bf0-4c01-a850-92fb83f61f27" providerId="ADAL" clId="{067C7D3F-9573-4B1A-A9B0-3005DA5BAAAF}" dt="2024-01-23T08:38:44.234" v="5687" actId="478"/>
          <ac:spMkLst>
            <pc:docMk/>
            <pc:sldMk cId="3703637770" sldId="9012"/>
            <ac:spMk id="4" creationId="{B9A34D1C-B19F-F11B-F75D-40EF8A5ECCE8}"/>
          </ac:spMkLst>
        </pc:spChg>
        <pc:spChg chg="del">
          <ac:chgData name="Cyprien ARETHUSE" userId="abd46b16-7bf0-4c01-a850-92fb83f61f27" providerId="ADAL" clId="{067C7D3F-9573-4B1A-A9B0-3005DA5BAAAF}" dt="2024-01-23T08:38:25.893" v="5685" actId="478"/>
          <ac:spMkLst>
            <pc:docMk/>
            <pc:sldMk cId="3703637770" sldId="9012"/>
            <ac:spMk id="5" creationId="{EDD15E62-9F1C-4324-B837-0948071749EA}"/>
          </ac:spMkLst>
        </pc:spChg>
        <pc:spChg chg="add mod ord">
          <ac:chgData name="Cyprien ARETHUSE" userId="abd46b16-7bf0-4c01-a850-92fb83f61f27" providerId="ADAL" clId="{067C7D3F-9573-4B1A-A9B0-3005DA5BAAAF}" dt="2024-01-23T08:31:46.537" v="5665" actId="700"/>
          <ac:spMkLst>
            <pc:docMk/>
            <pc:sldMk cId="3703637770" sldId="9012"/>
            <ac:spMk id="7" creationId="{4579C956-5D0D-9AEE-BAD0-1BDC264C32B9}"/>
          </ac:spMkLst>
        </pc:spChg>
        <pc:graphicFrameChg chg="modGraphic">
          <ac:chgData name="Cyprien ARETHUSE" userId="abd46b16-7bf0-4c01-a850-92fb83f61f27" providerId="ADAL" clId="{067C7D3F-9573-4B1A-A9B0-3005DA5BAAAF}" dt="2024-01-23T08:38:30.922" v="5686" actId="207"/>
          <ac:graphicFrameMkLst>
            <pc:docMk/>
            <pc:sldMk cId="3703637770" sldId="9012"/>
            <ac:graphicFrameMk id="6" creationId="{F49AD9D9-8EB9-40C8-817E-797AEF95B20C}"/>
          </ac:graphicFrameMkLst>
        </pc:graphicFrameChg>
      </pc:sldChg>
      <pc:sldChg chg="addSp delSp modSp del mod">
        <pc:chgData name="Cyprien ARETHUSE" userId="abd46b16-7bf0-4c01-a850-92fb83f61f27" providerId="ADAL" clId="{067C7D3F-9573-4B1A-A9B0-3005DA5BAAAF}" dt="2024-02-02T14:30:31.477" v="17350" actId="47"/>
        <pc:sldMkLst>
          <pc:docMk/>
          <pc:sldMk cId="3851078281" sldId="2076137166"/>
        </pc:sldMkLst>
        <pc:spChg chg="del mod">
          <ac:chgData name="Cyprien ARETHUSE" userId="abd46b16-7bf0-4c01-a850-92fb83f61f27" providerId="ADAL" clId="{067C7D3F-9573-4B1A-A9B0-3005DA5BAAAF}" dt="2024-02-02T14:29:35.504" v="17330" actId="478"/>
          <ac:spMkLst>
            <pc:docMk/>
            <pc:sldMk cId="3851078281" sldId="2076137166"/>
            <ac:spMk id="2" creationId="{753ECB55-805E-4D84-8104-D3179B11CE2F}"/>
          </ac:spMkLst>
        </pc:spChg>
        <pc:spChg chg="del mod">
          <ac:chgData name="Cyprien ARETHUSE" userId="abd46b16-7bf0-4c01-a850-92fb83f61f27" providerId="ADAL" clId="{067C7D3F-9573-4B1A-A9B0-3005DA5BAAAF}" dt="2024-02-02T14:29:35.504" v="17330" actId="478"/>
          <ac:spMkLst>
            <pc:docMk/>
            <pc:sldMk cId="3851078281" sldId="2076137166"/>
            <ac:spMk id="3" creationId="{369A1818-1D34-4722-8C5C-5459B5E5151A}"/>
          </ac:spMkLst>
        </pc:spChg>
        <pc:spChg chg="add mod">
          <ac:chgData name="Cyprien ARETHUSE" userId="abd46b16-7bf0-4c01-a850-92fb83f61f27" providerId="ADAL" clId="{067C7D3F-9573-4B1A-A9B0-3005DA5BAAAF}" dt="2024-02-02T14:04:37.452" v="16224"/>
          <ac:spMkLst>
            <pc:docMk/>
            <pc:sldMk cId="3851078281" sldId="2076137166"/>
            <ac:spMk id="4" creationId="{F85C2A37-9454-9A5C-82CC-58A9A61C4529}"/>
          </ac:spMkLst>
        </pc:spChg>
        <pc:spChg chg="mod">
          <ac:chgData name="Cyprien ARETHUSE" userId="abd46b16-7bf0-4c01-a850-92fb83f61f27" providerId="ADAL" clId="{067C7D3F-9573-4B1A-A9B0-3005DA5BAAAF}" dt="2024-02-02T14:28:42.344" v="17263" actId="403"/>
          <ac:spMkLst>
            <pc:docMk/>
            <pc:sldMk cId="3851078281" sldId="2076137166"/>
            <ac:spMk id="5" creationId="{58C11047-AC56-4A9D-F242-6FC6ACBF3F0D}"/>
          </ac:spMkLst>
        </pc:spChg>
        <pc:spChg chg="add del">
          <ac:chgData name="Cyprien ARETHUSE" userId="abd46b16-7bf0-4c01-a850-92fb83f61f27" providerId="ADAL" clId="{067C7D3F-9573-4B1A-A9B0-3005DA5BAAAF}" dt="2024-02-02T14:29:01.697" v="17266" actId="22"/>
          <ac:spMkLst>
            <pc:docMk/>
            <pc:sldMk cId="3851078281" sldId="2076137166"/>
            <ac:spMk id="7" creationId="{69511D9D-7388-A156-8CDD-27778D40A867}"/>
          </ac:spMkLst>
        </pc:spChg>
        <pc:spChg chg="add mod">
          <ac:chgData name="Cyprien ARETHUSE" userId="abd46b16-7bf0-4c01-a850-92fb83f61f27" providerId="ADAL" clId="{067C7D3F-9573-4B1A-A9B0-3005DA5BAAAF}" dt="2024-02-02T14:29:43.614" v="17342" actId="1036"/>
          <ac:spMkLst>
            <pc:docMk/>
            <pc:sldMk cId="3851078281" sldId="2076137166"/>
            <ac:spMk id="11" creationId="{29735EB8-AFF1-D9C9-79AD-DAA3F938C881}"/>
          </ac:spMkLst>
        </pc:spChg>
        <pc:spChg chg="add del mod">
          <ac:chgData name="Cyprien ARETHUSE" userId="abd46b16-7bf0-4c01-a850-92fb83f61f27" providerId="ADAL" clId="{067C7D3F-9573-4B1A-A9B0-3005DA5BAAAF}" dt="2024-02-02T14:29:37.513" v="17331" actId="478"/>
          <ac:spMkLst>
            <pc:docMk/>
            <pc:sldMk cId="3851078281" sldId="2076137166"/>
            <ac:spMk id="16" creationId="{1B3821CF-4144-39CC-F9A2-B575D023CCFE}"/>
          </ac:spMkLst>
        </pc:spChg>
        <pc:graphicFrameChg chg="mod modGraphic">
          <ac:chgData name="Cyprien ARETHUSE" userId="abd46b16-7bf0-4c01-a850-92fb83f61f27" providerId="ADAL" clId="{067C7D3F-9573-4B1A-A9B0-3005DA5BAAAF}" dt="2024-02-02T09:13:40.486" v="16019" actId="1036"/>
          <ac:graphicFrameMkLst>
            <pc:docMk/>
            <pc:sldMk cId="3851078281" sldId="2076137166"/>
            <ac:graphicFrameMk id="12" creationId="{BF58C473-3FA3-EFB3-A1A6-46EF49FC78BE}"/>
          </ac:graphicFrameMkLst>
        </pc:graphicFrameChg>
        <pc:graphicFrameChg chg="mod modGraphic">
          <ac:chgData name="Cyprien ARETHUSE" userId="abd46b16-7bf0-4c01-a850-92fb83f61f27" providerId="ADAL" clId="{067C7D3F-9573-4B1A-A9B0-3005DA5BAAAF}" dt="2024-02-02T13:01:45.043" v="16207"/>
          <ac:graphicFrameMkLst>
            <pc:docMk/>
            <pc:sldMk cId="3851078281" sldId="2076137166"/>
            <ac:graphicFrameMk id="14" creationId="{E159034C-7C14-4AD1-BE7B-F0D59BDB1A56}"/>
          </ac:graphicFrameMkLst>
        </pc:graphicFrameChg>
        <pc:picChg chg="mod">
          <ac:chgData name="Cyprien ARETHUSE" userId="abd46b16-7bf0-4c01-a850-92fb83f61f27" providerId="ADAL" clId="{067C7D3F-9573-4B1A-A9B0-3005DA5BAAAF}" dt="2024-02-02T09:12:42.259" v="16007" actId="1036"/>
          <ac:picMkLst>
            <pc:docMk/>
            <pc:sldMk cId="3851078281" sldId="2076137166"/>
            <ac:picMk id="8" creationId="{93FC40D9-61DB-B89A-B522-17F5BC9B4FF0}"/>
          </ac:picMkLst>
        </pc:picChg>
        <pc:picChg chg="mod">
          <ac:chgData name="Cyprien ARETHUSE" userId="abd46b16-7bf0-4c01-a850-92fb83f61f27" providerId="ADAL" clId="{067C7D3F-9573-4B1A-A9B0-3005DA5BAAAF}" dt="2024-02-02T09:12:39.426" v="16001" actId="1036"/>
          <ac:picMkLst>
            <pc:docMk/>
            <pc:sldMk cId="3851078281" sldId="2076137166"/>
            <ac:picMk id="1026" creationId="{D8E15EB8-A90B-5235-79AA-38A232C198BF}"/>
          </ac:picMkLst>
        </pc:picChg>
      </pc:sldChg>
      <pc:sldChg chg="add del">
        <pc:chgData name="Cyprien ARETHUSE" userId="abd46b16-7bf0-4c01-a850-92fb83f61f27" providerId="ADAL" clId="{067C7D3F-9573-4B1A-A9B0-3005DA5BAAAF}" dt="2024-02-02T16:51:21.251" v="19474" actId="47"/>
        <pc:sldMkLst>
          <pc:docMk/>
          <pc:sldMk cId="3327420613" sldId="2076137341"/>
        </pc:sldMkLst>
      </pc:sldChg>
      <pc:sldChg chg="del">
        <pc:chgData name="Cyprien ARETHUSE" userId="abd46b16-7bf0-4c01-a850-92fb83f61f27" providerId="ADAL" clId="{067C7D3F-9573-4B1A-A9B0-3005DA5BAAAF}" dt="2024-01-26T14:22:29.858" v="7944" actId="47"/>
        <pc:sldMkLst>
          <pc:docMk/>
          <pc:sldMk cId="4122494433" sldId="2076137942"/>
        </pc:sldMkLst>
      </pc:sldChg>
      <pc:sldChg chg="addSp delSp modSp del mod ord modShow">
        <pc:chgData name="Cyprien ARETHUSE" userId="abd46b16-7bf0-4c01-a850-92fb83f61f27" providerId="ADAL" clId="{067C7D3F-9573-4B1A-A9B0-3005DA5BAAAF}" dt="2024-01-29T14:51:26.764" v="8639" actId="47"/>
        <pc:sldMkLst>
          <pc:docMk/>
          <pc:sldMk cId="1240652411" sldId="2076138007"/>
        </pc:sldMkLst>
        <pc:spChg chg="add del mod">
          <ac:chgData name="Cyprien ARETHUSE" userId="abd46b16-7bf0-4c01-a850-92fb83f61f27" providerId="ADAL" clId="{067C7D3F-9573-4B1A-A9B0-3005DA5BAAAF}" dt="2024-01-29T13:31:31.580" v="8076" actId="478"/>
          <ac:spMkLst>
            <pc:docMk/>
            <pc:sldMk cId="1240652411" sldId="2076138007"/>
            <ac:spMk id="5" creationId="{1B3782AE-F0C4-EF30-302F-06EAF4E5930C}"/>
          </ac:spMkLst>
        </pc:spChg>
        <pc:picChg chg="add mod">
          <ac:chgData name="Cyprien ARETHUSE" userId="abd46b16-7bf0-4c01-a850-92fb83f61f27" providerId="ADAL" clId="{067C7D3F-9573-4B1A-A9B0-3005DA5BAAAF}" dt="2024-01-29T13:31:54.730" v="8081" actId="1076"/>
          <ac:picMkLst>
            <pc:docMk/>
            <pc:sldMk cId="1240652411" sldId="2076138007"/>
            <ac:picMk id="6" creationId="{43CB518D-040B-AB7E-FBDE-2D2FFD6A22F1}"/>
          </ac:picMkLst>
        </pc:picChg>
        <pc:picChg chg="del">
          <ac:chgData name="Cyprien ARETHUSE" userId="abd46b16-7bf0-4c01-a850-92fb83f61f27" providerId="ADAL" clId="{067C7D3F-9573-4B1A-A9B0-3005DA5BAAAF}" dt="2024-01-29T13:29:16.293" v="8070" actId="478"/>
          <ac:picMkLst>
            <pc:docMk/>
            <pc:sldMk cId="1240652411" sldId="2076138007"/>
            <ac:picMk id="53" creationId="{4E6D7464-F57F-40D9-9D80-D4C376D49C91}"/>
          </ac:picMkLst>
        </pc:picChg>
      </pc:sldChg>
      <pc:sldChg chg="del">
        <pc:chgData name="Cyprien ARETHUSE" userId="abd46b16-7bf0-4c01-a850-92fb83f61f27" providerId="ADAL" clId="{067C7D3F-9573-4B1A-A9B0-3005DA5BAAAF}" dt="2024-01-18T16:53:01.416" v="2979" actId="47"/>
        <pc:sldMkLst>
          <pc:docMk/>
          <pc:sldMk cId="1725836987" sldId="2076138010"/>
        </pc:sldMkLst>
      </pc:sldChg>
      <pc:sldChg chg="del">
        <pc:chgData name="Cyprien ARETHUSE" userId="abd46b16-7bf0-4c01-a850-92fb83f61f27" providerId="ADAL" clId="{067C7D3F-9573-4B1A-A9B0-3005DA5BAAAF}" dt="2024-01-18T16:53:06.538" v="2980" actId="47"/>
        <pc:sldMkLst>
          <pc:docMk/>
          <pc:sldMk cId="974746753" sldId="2076138016"/>
        </pc:sldMkLst>
      </pc:sldChg>
      <pc:sldChg chg="add del">
        <pc:chgData name="Cyprien ARETHUSE" userId="abd46b16-7bf0-4c01-a850-92fb83f61f27" providerId="ADAL" clId="{067C7D3F-9573-4B1A-A9B0-3005DA5BAAAF}" dt="2024-01-26T13:26:19.605" v="7866" actId="47"/>
        <pc:sldMkLst>
          <pc:docMk/>
          <pc:sldMk cId="1824461453" sldId="2076138035"/>
        </pc:sldMkLst>
      </pc:sldChg>
      <pc:sldChg chg="del">
        <pc:chgData name="Cyprien ARETHUSE" userId="abd46b16-7bf0-4c01-a850-92fb83f61f27" providerId="ADAL" clId="{067C7D3F-9573-4B1A-A9B0-3005DA5BAAAF}" dt="2024-02-02T17:02:42.816" v="19520" actId="47"/>
        <pc:sldMkLst>
          <pc:docMk/>
          <pc:sldMk cId="1688334320" sldId="2076138056"/>
        </pc:sldMkLst>
      </pc:sldChg>
      <pc:sldChg chg="mod modShow">
        <pc:chgData name="Cyprien ARETHUSE" userId="abd46b16-7bf0-4c01-a850-92fb83f61f27" providerId="ADAL" clId="{067C7D3F-9573-4B1A-A9B0-3005DA5BAAAF}" dt="2024-01-29T09:20:11.877" v="8031" actId="729"/>
        <pc:sldMkLst>
          <pc:docMk/>
          <pc:sldMk cId="3879889702" sldId="2076138056"/>
        </pc:sldMkLst>
      </pc:sldChg>
      <pc:sldChg chg="del">
        <pc:chgData name="Cyprien ARETHUSE" userId="abd46b16-7bf0-4c01-a850-92fb83f61f27" providerId="ADAL" clId="{067C7D3F-9573-4B1A-A9B0-3005DA5BAAAF}" dt="2024-02-02T17:02:42.816" v="19520" actId="47"/>
        <pc:sldMkLst>
          <pc:docMk/>
          <pc:sldMk cId="2622980503" sldId="2076138104"/>
        </pc:sldMkLst>
      </pc:sldChg>
      <pc:sldChg chg="modSp mod modShow">
        <pc:chgData name="Cyprien ARETHUSE" userId="abd46b16-7bf0-4c01-a850-92fb83f61f27" providerId="ADAL" clId="{067C7D3F-9573-4B1A-A9B0-3005DA5BAAAF}" dt="2024-01-29T09:20:09.659" v="8030" actId="729"/>
        <pc:sldMkLst>
          <pc:docMk/>
          <pc:sldMk cId="3866936782" sldId="2076138104"/>
        </pc:sldMkLst>
        <pc:graphicFrameChg chg="modGraphic">
          <ac:chgData name="Cyprien ARETHUSE" userId="abd46b16-7bf0-4c01-a850-92fb83f61f27" providerId="ADAL" clId="{067C7D3F-9573-4B1A-A9B0-3005DA5BAAAF}" dt="2024-01-23T16:35:27.245" v="5968" actId="6549"/>
          <ac:graphicFrameMkLst>
            <pc:docMk/>
            <pc:sldMk cId="3866936782" sldId="2076138104"/>
            <ac:graphicFrameMk id="367" creationId="{67F6A5B7-E321-4E80-BD20-573C3DC68A97}"/>
          </ac:graphicFrameMkLst>
        </pc:graphicFrameChg>
      </pc:sldChg>
      <pc:sldChg chg="modSp add del mod">
        <pc:chgData name="Cyprien ARETHUSE" userId="abd46b16-7bf0-4c01-a850-92fb83f61f27" providerId="ADAL" clId="{067C7D3F-9573-4B1A-A9B0-3005DA5BAAAF}" dt="2024-01-31T15:54:03.253" v="10945" actId="47"/>
        <pc:sldMkLst>
          <pc:docMk/>
          <pc:sldMk cId="16090225" sldId="2076138114"/>
        </pc:sldMkLst>
        <pc:graphicFrameChg chg="modGraphic">
          <ac:chgData name="Cyprien ARETHUSE" userId="abd46b16-7bf0-4c01-a850-92fb83f61f27" providerId="ADAL" clId="{067C7D3F-9573-4B1A-A9B0-3005DA5BAAAF}" dt="2024-01-31T15:53:38.536" v="10944" actId="14734"/>
          <ac:graphicFrameMkLst>
            <pc:docMk/>
            <pc:sldMk cId="16090225" sldId="2076138114"/>
            <ac:graphicFrameMk id="22" creationId="{2942CA80-B127-C51C-C4F0-8C30F4E545F1}"/>
          </ac:graphicFrameMkLst>
        </pc:graphicFrameChg>
      </pc:sldChg>
      <pc:sldChg chg="modSp mod">
        <pc:chgData name="Cyprien ARETHUSE" userId="abd46b16-7bf0-4c01-a850-92fb83f61f27" providerId="ADAL" clId="{067C7D3F-9573-4B1A-A9B0-3005DA5BAAAF}" dt="2024-02-01T17:03:37.913" v="15231" actId="207"/>
        <pc:sldMkLst>
          <pc:docMk/>
          <pc:sldMk cId="549485756" sldId="2142532689"/>
        </pc:sldMkLst>
        <pc:spChg chg="mod">
          <ac:chgData name="Cyprien ARETHUSE" userId="abd46b16-7bf0-4c01-a850-92fb83f61f27" providerId="ADAL" clId="{067C7D3F-9573-4B1A-A9B0-3005DA5BAAAF}" dt="2024-02-01T17:03:22.701" v="15227" actId="207"/>
          <ac:spMkLst>
            <pc:docMk/>
            <pc:sldMk cId="549485756" sldId="2142532689"/>
            <ac:spMk id="5" creationId="{544069F3-8220-51EE-508A-1C07112F822D}"/>
          </ac:spMkLst>
        </pc:spChg>
        <pc:spChg chg="mod">
          <ac:chgData name="Cyprien ARETHUSE" userId="abd46b16-7bf0-4c01-a850-92fb83f61f27" providerId="ADAL" clId="{067C7D3F-9573-4B1A-A9B0-3005DA5BAAAF}" dt="2024-02-01T17:03:37.913" v="15231" actId="207"/>
          <ac:spMkLst>
            <pc:docMk/>
            <pc:sldMk cId="549485756" sldId="2142532689"/>
            <ac:spMk id="7" creationId="{8079125D-CFC6-49E2-531A-B3BCD8992476}"/>
          </ac:spMkLst>
        </pc:spChg>
        <pc:spChg chg="mod">
          <ac:chgData name="Cyprien ARETHUSE" userId="abd46b16-7bf0-4c01-a850-92fb83f61f27" providerId="ADAL" clId="{067C7D3F-9573-4B1A-A9B0-3005DA5BAAAF}" dt="2024-02-01T17:03:30.667" v="15229" actId="207"/>
          <ac:spMkLst>
            <pc:docMk/>
            <pc:sldMk cId="549485756" sldId="2142532689"/>
            <ac:spMk id="8" creationId="{DE545888-F0D1-9B72-F95E-9BE644FB71DD}"/>
          </ac:spMkLst>
        </pc:spChg>
        <pc:spChg chg="mod">
          <ac:chgData name="Cyprien ARETHUSE" userId="abd46b16-7bf0-4c01-a850-92fb83f61f27" providerId="ADAL" clId="{067C7D3F-9573-4B1A-A9B0-3005DA5BAAAF}" dt="2024-01-29T09:16:51.576" v="8024" actId="13926"/>
          <ac:spMkLst>
            <pc:docMk/>
            <pc:sldMk cId="549485756" sldId="2142532689"/>
            <ac:spMk id="18" creationId="{C8231268-C2B2-BE48-01AF-35E343770CEF}"/>
          </ac:spMkLst>
        </pc:spChg>
        <pc:spChg chg="mod">
          <ac:chgData name="Cyprien ARETHUSE" userId="abd46b16-7bf0-4c01-a850-92fb83f61f27" providerId="ADAL" clId="{067C7D3F-9573-4B1A-A9B0-3005DA5BAAAF}" dt="2024-02-01T17:03:34.085" v="15230" actId="207"/>
          <ac:spMkLst>
            <pc:docMk/>
            <pc:sldMk cId="549485756" sldId="2142532689"/>
            <ac:spMk id="19" creationId="{2919C7B7-E893-CF95-29BA-9D5F3B7828C1}"/>
          </ac:spMkLst>
        </pc:spChg>
        <pc:spChg chg="mod">
          <ac:chgData name="Cyprien ARETHUSE" userId="abd46b16-7bf0-4c01-a850-92fb83f61f27" providerId="ADAL" clId="{067C7D3F-9573-4B1A-A9B0-3005DA5BAAAF}" dt="2024-01-31T13:49:12.850" v="10081" actId="12"/>
          <ac:spMkLst>
            <pc:docMk/>
            <pc:sldMk cId="549485756" sldId="2142532689"/>
            <ac:spMk id="25" creationId="{1515E993-6069-6C0D-1BB2-F62EC1A5417F}"/>
          </ac:spMkLst>
        </pc:spChg>
        <pc:spChg chg="mod">
          <ac:chgData name="Cyprien ARETHUSE" userId="abd46b16-7bf0-4c01-a850-92fb83f61f27" providerId="ADAL" clId="{067C7D3F-9573-4B1A-A9B0-3005DA5BAAAF}" dt="2024-01-31T13:49:03.246" v="10080" actId="12"/>
          <ac:spMkLst>
            <pc:docMk/>
            <pc:sldMk cId="549485756" sldId="2142532689"/>
            <ac:spMk id="34" creationId="{9650F1C7-7C98-3C61-8C3C-2BBA81E3429C}"/>
          </ac:spMkLst>
        </pc:spChg>
        <pc:spChg chg="mod">
          <ac:chgData name="Cyprien ARETHUSE" userId="abd46b16-7bf0-4c01-a850-92fb83f61f27" providerId="ADAL" clId="{067C7D3F-9573-4B1A-A9B0-3005DA5BAAAF}" dt="2024-02-01T17:03:27.745" v="15228" actId="207"/>
          <ac:spMkLst>
            <pc:docMk/>
            <pc:sldMk cId="549485756" sldId="2142532689"/>
            <ac:spMk id="38" creationId="{B39395E4-28F0-BDD2-0069-AD0984A16A96}"/>
          </ac:spMkLst>
        </pc:spChg>
      </pc:sldChg>
      <pc:sldChg chg="add del">
        <pc:chgData name="Cyprien ARETHUSE" userId="abd46b16-7bf0-4c01-a850-92fb83f61f27" providerId="ADAL" clId="{067C7D3F-9573-4B1A-A9B0-3005DA5BAAAF}" dt="2024-01-23T08:39:52.833" v="5724" actId="47"/>
        <pc:sldMkLst>
          <pc:docMk/>
          <pc:sldMk cId="1869138125" sldId="2142532941"/>
        </pc:sldMkLst>
      </pc:sldChg>
      <pc:sldChg chg="delSp modSp add del mod">
        <pc:chgData name="Cyprien ARETHUSE" userId="abd46b16-7bf0-4c01-a850-92fb83f61f27" providerId="ADAL" clId="{067C7D3F-9573-4B1A-A9B0-3005DA5BAAAF}" dt="2024-01-26T13:17:29.480" v="7773" actId="47"/>
        <pc:sldMkLst>
          <pc:docMk/>
          <pc:sldMk cId="3082558100" sldId="2142533065"/>
        </pc:sldMkLst>
        <pc:spChg chg="del">
          <ac:chgData name="Cyprien ARETHUSE" userId="abd46b16-7bf0-4c01-a850-92fb83f61f27" providerId="ADAL" clId="{067C7D3F-9573-4B1A-A9B0-3005DA5BAAAF}" dt="2024-01-26T13:07:44.283" v="7729" actId="478"/>
          <ac:spMkLst>
            <pc:docMk/>
            <pc:sldMk cId="3082558100" sldId="2142533065"/>
            <ac:spMk id="7" creationId="{246B5079-EC82-96A9-0DCA-C8BD599DC19D}"/>
          </ac:spMkLst>
        </pc:spChg>
        <pc:spChg chg="mod">
          <ac:chgData name="Cyprien ARETHUSE" userId="abd46b16-7bf0-4c01-a850-92fb83f61f27" providerId="ADAL" clId="{067C7D3F-9573-4B1A-A9B0-3005DA5BAAAF}" dt="2024-01-24T15:54:47.096" v="7713" actId="6549"/>
          <ac:spMkLst>
            <pc:docMk/>
            <pc:sldMk cId="3082558100" sldId="2142533065"/>
            <ac:spMk id="33" creationId="{3E0F5B5D-3D24-D4DA-303D-613FA792FCA1}"/>
          </ac:spMkLst>
        </pc:spChg>
        <pc:spChg chg="mod">
          <ac:chgData name="Cyprien ARETHUSE" userId="abd46b16-7bf0-4c01-a850-92fb83f61f27" providerId="ADAL" clId="{067C7D3F-9573-4B1A-A9B0-3005DA5BAAAF}" dt="2024-01-24T15:54:56.460" v="7717" actId="5793"/>
          <ac:spMkLst>
            <pc:docMk/>
            <pc:sldMk cId="3082558100" sldId="2142533065"/>
            <ac:spMk id="35" creationId="{80C09B90-7B99-9C32-A176-AE9068285AC8}"/>
          </ac:spMkLst>
        </pc:spChg>
        <pc:spChg chg="mod">
          <ac:chgData name="Cyprien ARETHUSE" userId="abd46b16-7bf0-4c01-a850-92fb83f61f27" providerId="ADAL" clId="{067C7D3F-9573-4B1A-A9B0-3005DA5BAAAF}" dt="2024-01-24T15:55:07.183" v="7720" actId="20577"/>
          <ac:spMkLst>
            <pc:docMk/>
            <pc:sldMk cId="3082558100" sldId="2142533065"/>
            <ac:spMk id="36" creationId="{2932BA17-EFC1-F95F-AE63-DD2CEEB3CAE5}"/>
          </ac:spMkLst>
        </pc:spChg>
        <pc:spChg chg="mod">
          <ac:chgData name="Cyprien ARETHUSE" userId="abd46b16-7bf0-4c01-a850-92fb83f61f27" providerId="ADAL" clId="{067C7D3F-9573-4B1A-A9B0-3005DA5BAAAF}" dt="2024-01-24T15:54:39.314" v="7710" actId="6549"/>
          <ac:spMkLst>
            <pc:docMk/>
            <pc:sldMk cId="3082558100" sldId="2142533065"/>
            <ac:spMk id="38" creationId="{6153E7D1-148E-7237-C236-E68E450BB637}"/>
          </ac:spMkLst>
        </pc:spChg>
        <pc:spChg chg="mod">
          <ac:chgData name="Cyprien ARETHUSE" userId="abd46b16-7bf0-4c01-a850-92fb83f61f27" providerId="ADAL" clId="{067C7D3F-9573-4B1A-A9B0-3005DA5BAAAF}" dt="2024-01-24T15:55:12.326" v="7724" actId="5793"/>
          <ac:spMkLst>
            <pc:docMk/>
            <pc:sldMk cId="3082558100" sldId="2142533065"/>
            <ac:spMk id="39" creationId="{E59228D8-D1EB-AC6C-4C56-7A82F7BF681B}"/>
          </ac:spMkLst>
        </pc:spChg>
        <pc:spChg chg="mod">
          <ac:chgData name="Cyprien ARETHUSE" userId="abd46b16-7bf0-4c01-a850-92fb83f61f27" providerId="ADAL" clId="{067C7D3F-9573-4B1A-A9B0-3005DA5BAAAF}" dt="2024-01-24T15:54:35.553" v="7708" actId="6549"/>
          <ac:spMkLst>
            <pc:docMk/>
            <pc:sldMk cId="3082558100" sldId="2142533065"/>
            <ac:spMk id="50" creationId="{4552D5CE-EDEF-55DB-243E-F6364418A48F}"/>
          </ac:spMkLst>
        </pc:spChg>
        <pc:spChg chg="mod">
          <ac:chgData name="Cyprien ARETHUSE" userId="abd46b16-7bf0-4c01-a850-92fb83f61f27" providerId="ADAL" clId="{067C7D3F-9573-4B1A-A9B0-3005DA5BAAAF}" dt="2024-01-24T15:55:16.809" v="7728" actId="5793"/>
          <ac:spMkLst>
            <pc:docMk/>
            <pc:sldMk cId="3082558100" sldId="2142533065"/>
            <ac:spMk id="51" creationId="{A4956CCC-575B-B036-1E19-B5712E97C68C}"/>
          </ac:spMkLst>
        </pc:spChg>
        <pc:picChg chg="del">
          <ac:chgData name="Cyprien ARETHUSE" userId="abd46b16-7bf0-4c01-a850-92fb83f61f27" providerId="ADAL" clId="{067C7D3F-9573-4B1A-A9B0-3005DA5BAAAF}" dt="2024-01-24T15:54:42.444" v="7712" actId="478"/>
          <ac:picMkLst>
            <pc:docMk/>
            <pc:sldMk cId="3082558100" sldId="2142533065"/>
            <ac:picMk id="3" creationId="{216B37FB-DDE2-D7CA-A8DE-A0AB172BB554}"/>
          </ac:picMkLst>
        </pc:picChg>
        <pc:picChg chg="del">
          <ac:chgData name="Cyprien ARETHUSE" userId="abd46b16-7bf0-4c01-a850-92fb83f61f27" providerId="ADAL" clId="{067C7D3F-9573-4B1A-A9B0-3005DA5BAAAF}" dt="2024-01-24T15:54:41.136" v="7711" actId="478"/>
          <ac:picMkLst>
            <pc:docMk/>
            <pc:sldMk cId="3082558100" sldId="2142533065"/>
            <ac:picMk id="6" creationId="{A1BD47D7-99E9-8DCF-7737-880BFE7017B8}"/>
          </ac:picMkLst>
        </pc:picChg>
        <pc:picChg chg="del">
          <ac:chgData name="Cyprien ARETHUSE" userId="abd46b16-7bf0-4c01-a850-92fb83f61f27" providerId="ADAL" clId="{067C7D3F-9573-4B1A-A9B0-3005DA5BAAAF}" dt="2024-01-24T15:54:31.194" v="7707" actId="478"/>
          <ac:picMkLst>
            <pc:docMk/>
            <pc:sldMk cId="3082558100" sldId="2142533065"/>
            <ac:picMk id="8" creationId="{C700D3D8-9FE3-05E5-9601-1918E1302C48}"/>
          </ac:picMkLst>
        </pc:picChg>
      </pc:sldChg>
      <pc:sldChg chg="addSp delSp modSp mod modClrScheme chgLayout">
        <pc:chgData name="Cyprien ARETHUSE" userId="abd46b16-7bf0-4c01-a850-92fb83f61f27" providerId="ADAL" clId="{067C7D3F-9573-4B1A-A9B0-3005DA5BAAAF}" dt="2024-01-23T08:39:04.900" v="5698" actId="207"/>
        <pc:sldMkLst>
          <pc:docMk/>
          <pc:sldMk cId="66151116" sldId="2142533073"/>
        </pc:sldMkLst>
        <pc:spChg chg="add mod ord">
          <ac:chgData name="Cyprien ARETHUSE" userId="abd46b16-7bf0-4c01-a850-92fb83f61f27" providerId="ADAL" clId="{067C7D3F-9573-4B1A-A9B0-3005DA5BAAAF}" dt="2024-01-23T08:38:56.770" v="5695" actId="20577"/>
          <ac:spMkLst>
            <pc:docMk/>
            <pc:sldMk cId="66151116" sldId="2142533073"/>
            <ac:spMk id="2" creationId="{892B6121-B183-BD18-A304-73CCB233E79C}"/>
          </ac:spMkLst>
        </pc:spChg>
        <pc:spChg chg="mod ord">
          <ac:chgData name="Cyprien ARETHUSE" userId="abd46b16-7bf0-4c01-a850-92fb83f61f27" providerId="ADAL" clId="{067C7D3F-9573-4B1A-A9B0-3005DA5BAAAF}" dt="2024-01-23T08:31:51.721" v="5666" actId="700"/>
          <ac:spMkLst>
            <pc:docMk/>
            <pc:sldMk cId="66151116" sldId="2142533073"/>
            <ac:spMk id="3" creationId="{9F010E3A-9898-4967-8E0E-189A53740B55}"/>
          </ac:spMkLst>
        </pc:spChg>
        <pc:spChg chg="add del mod ord">
          <ac:chgData name="Cyprien ARETHUSE" userId="abd46b16-7bf0-4c01-a850-92fb83f61f27" providerId="ADAL" clId="{067C7D3F-9573-4B1A-A9B0-3005DA5BAAAF}" dt="2024-01-23T08:38:59.706" v="5696" actId="478"/>
          <ac:spMkLst>
            <pc:docMk/>
            <pc:sldMk cId="66151116" sldId="2142533073"/>
            <ac:spMk id="4" creationId="{4B02A313-2436-A16B-B306-77AA97DC7C4B}"/>
          </ac:spMkLst>
        </pc:spChg>
        <pc:spChg chg="del">
          <ac:chgData name="Cyprien ARETHUSE" userId="abd46b16-7bf0-4c01-a850-92fb83f61f27" providerId="ADAL" clId="{067C7D3F-9573-4B1A-A9B0-3005DA5BAAAF}" dt="2024-01-23T08:39:01.899" v="5697" actId="478"/>
          <ac:spMkLst>
            <pc:docMk/>
            <pc:sldMk cId="66151116" sldId="2142533073"/>
            <ac:spMk id="5" creationId="{EDD15E62-9F1C-4324-B837-0948071749EA}"/>
          </ac:spMkLst>
        </pc:spChg>
        <pc:spChg chg="add mod ord">
          <ac:chgData name="Cyprien ARETHUSE" userId="abd46b16-7bf0-4c01-a850-92fb83f61f27" providerId="ADAL" clId="{067C7D3F-9573-4B1A-A9B0-3005DA5BAAAF}" dt="2024-01-23T08:31:51.721" v="5666" actId="700"/>
          <ac:spMkLst>
            <pc:docMk/>
            <pc:sldMk cId="66151116" sldId="2142533073"/>
            <ac:spMk id="7" creationId="{145938A4-33E0-8629-2957-43A5587B4EF2}"/>
          </ac:spMkLst>
        </pc:spChg>
        <pc:graphicFrameChg chg="modGraphic">
          <ac:chgData name="Cyprien ARETHUSE" userId="abd46b16-7bf0-4c01-a850-92fb83f61f27" providerId="ADAL" clId="{067C7D3F-9573-4B1A-A9B0-3005DA5BAAAF}" dt="2024-01-23T08:39:04.900" v="5698" actId="207"/>
          <ac:graphicFrameMkLst>
            <pc:docMk/>
            <pc:sldMk cId="66151116" sldId="2142533073"/>
            <ac:graphicFrameMk id="6" creationId="{F49AD9D9-8EB9-40C8-817E-797AEF95B20C}"/>
          </ac:graphicFrameMkLst>
        </pc:graphicFrameChg>
      </pc:sldChg>
      <pc:sldChg chg="addSp delSp modSp mod modClrScheme chgLayout">
        <pc:chgData name="Cyprien ARETHUSE" userId="abd46b16-7bf0-4c01-a850-92fb83f61f27" providerId="ADAL" clId="{067C7D3F-9573-4B1A-A9B0-3005DA5BAAAF}" dt="2024-01-23T08:39:18.494" v="5709" actId="207"/>
        <pc:sldMkLst>
          <pc:docMk/>
          <pc:sldMk cId="3185406215" sldId="2142533074"/>
        </pc:sldMkLst>
        <pc:spChg chg="add mod ord">
          <ac:chgData name="Cyprien ARETHUSE" userId="abd46b16-7bf0-4c01-a850-92fb83f61f27" providerId="ADAL" clId="{067C7D3F-9573-4B1A-A9B0-3005DA5BAAAF}" dt="2024-01-23T08:39:10.056" v="5706" actId="20577"/>
          <ac:spMkLst>
            <pc:docMk/>
            <pc:sldMk cId="3185406215" sldId="2142533074"/>
            <ac:spMk id="2" creationId="{3EC0D0FE-33EB-107D-9B8D-2C5B73C1DFE0}"/>
          </ac:spMkLst>
        </pc:spChg>
        <pc:spChg chg="mod ord">
          <ac:chgData name="Cyprien ARETHUSE" userId="abd46b16-7bf0-4c01-a850-92fb83f61f27" providerId="ADAL" clId="{067C7D3F-9573-4B1A-A9B0-3005DA5BAAAF}" dt="2024-01-23T08:38:01.503" v="5672" actId="700"/>
          <ac:spMkLst>
            <pc:docMk/>
            <pc:sldMk cId="3185406215" sldId="2142533074"/>
            <ac:spMk id="3" creationId="{9F010E3A-9898-4967-8E0E-189A53740B55}"/>
          </ac:spMkLst>
        </pc:spChg>
        <pc:spChg chg="add del mod ord">
          <ac:chgData name="Cyprien ARETHUSE" userId="abd46b16-7bf0-4c01-a850-92fb83f61f27" providerId="ADAL" clId="{067C7D3F-9573-4B1A-A9B0-3005DA5BAAAF}" dt="2024-01-23T08:39:13.452" v="5707" actId="478"/>
          <ac:spMkLst>
            <pc:docMk/>
            <pc:sldMk cId="3185406215" sldId="2142533074"/>
            <ac:spMk id="4" creationId="{BD20B3F6-91A8-A81D-1524-660B66AF7519}"/>
          </ac:spMkLst>
        </pc:spChg>
        <pc:spChg chg="del">
          <ac:chgData name="Cyprien ARETHUSE" userId="abd46b16-7bf0-4c01-a850-92fb83f61f27" providerId="ADAL" clId="{067C7D3F-9573-4B1A-A9B0-3005DA5BAAAF}" dt="2024-01-23T08:39:15.515" v="5708" actId="478"/>
          <ac:spMkLst>
            <pc:docMk/>
            <pc:sldMk cId="3185406215" sldId="2142533074"/>
            <ac:spMk id="5" creationId="{EDD15E62-9F1C-4324-B837-0948071749EA}"/>
          </ac:spMkLst>
        </pc:spChg>
        <pc:spChg chg="add mod ord">
          <ac:chgData name="Cyprien ARETHUSE" userId="abd46b16-7bf0-4c01-a850-92fb83f61f27" providerId="ADAL" clId="{067C7D3F-9573-4B1A-A9B0-3005DA5BAAAF}" dt="2024-01-23T08:38:01.503" v="5672" actId="700"/>
          <ac:spMkLst>
            <pc:docMk/>
            <pc:sldMk cId="3185406215" sldId="2142533074"/>
            <ac:spMk id="7" creationId="{0B77C474-5DD1-C04C-9BD4-31C6ED062097}"/>
          </ac:spMkLst>
        </pc:spChg>
        <pc:graphicFrameChg chg="modGraphic">
          <ac:chgData name="Cyprien ARETHUSE" userId="abd46b16-7bf0-4c01-a850-92fb83f61f27" providerId="ADAL" clId="{067C7D3F-9573-4B1A-A9B0-3005DA5BAAAF}" dt="2024-01-23T08:39:18.494" v="5709" actId="207"/>
          <ac:graphicFrameMkLst>
            <pc:docMk/>
            <pc:sldMk cId="3185406215" sldId="2142533074"/>
            <ac:graphicFrameMk id="6" creationId="{F49AD9D9-8EB9-40C8-817E-797AEF95B20C}"/>
          </ac:graphicFrameMkLst>
        </pc:graphicFrameChg>
      </pc:sldChg>
      <pc:sldChg chg="addSp delSp modSp add del mod modClrScheme chgLayout">
        <pc:chgData name="Cyprien ARETHUSE" userId="abd46b16-7bf0-4c01-a850-92fb83f61f27" providerId="ADAL" clId="{067C7D3F-9573-4B1A-A9B0-3005DA5BAAAF}" dt="2024-01-23T08:39:49.486" v="5723" actId="47"/>
        <pc:sldMkLst>
          <pc:docMk/>
          <pc:sldMk cId="2838154252" sldId="2142533077"/>
        </pc:sldMkLst>
        <pc:spChg chg="add mod ord">
          <ac:chgData name="Cyprien ARETHUSE" userId="abd46b16-7bf0-4c01-a850-92fb83f61f27" providerId="ADAL" clId="{067C7D3F-9573-4B1A-A9B0-3005DA5BAAAF}" dt="2024-01-23T08:39:31.136" v="5718" actId="20577"/>
          <ac:spMkLst>
            <pc:docMk/>
            <pc:sldMk cId="2838154252" sldId="2142533077"/>
            <ac:spMk id="2" creationId="{38647188-6683-A4DC-F579-314AFF468980}"/>
          </ac:spMkLst>
        </pc:spChg>
        <pc:spChg chg="mod ord">
          <ac:chgData name="Cyprien ARETHUSE" userId="abd46b16-7bf0-4c01-a850-92fb83f61f27" providerId="ADAL" clId="{067C7D3F-9573-4B1A-A9B0-3005DA5BAAAF}" dt="2024-01-23T08:39:28.493" v="5710" actId="700"/>
          <ac:spMkLst>
            <pc:docMk/>
            <pc:sldMk cId="2838154252" sldId="2142533077"/>
            <ac:spMk id="3" creationId="{9F010E3A-9898-4967-8E0E-189A53740B55}"/>
          </ac:spMkLst>
        </pc:spChg>
        <pc:spChg chg="add del mod ord">
          <ac:chgData name="Cyprien ARETHUSE" userId="abd46b16-7bf0-4c01-a850-92fb83f61f27" providerId="ADAL" clId="{067C7D3F-9573-4B1A-A9B0-3005DA5BAAAF}" dt="2024-01-23T08:39:33.258" v="5719" actId="478"/>
          <ac:spMkLst>
            <pc:docMk/>
            <pc:sldMk cId="2838154252" sldId="2142533077"/>
            <ac:spMk id="4" creationId="{F13176CD-B9E8-2255-E7A2-B6ECB1B7CA41}"/>
          </ac:spMkLst>
        </pc:spChg>
        <pc:spChg chg="del">
          <ac:chgData name="Cyprien ARETHUSE" userId="abd46b16-7bf0-4c01-a850-92fb83f61f27" providerId="ADAL" clId="{067C7D3F-9573-4B1A-A9B0-3005DA5BAAAF}" dt="2024-01-23T08:39:36.495" v="5720" actId="478"/>
          <ac:spMkLst>
            <pc:docMk/>
            <pc:sldMk cId="2838154252" sldId="2142533077"/>
            <ac:spMk id="5" creationId="{EDD15E62-9F1C-4324-B837-0948071749EA}"/>
          </ac:spMkLst>
        </pc:spChg>
        <pc:spChg chg="add mod ord">
          <ac:chgData name="Cyprien ARETHUSE" userId="abd46b16-7bf0-4c01-a850-92fb83f61f27" providerId="ADAL" clId="{067C7D3F-9573-4B1A-A9B0-3005DA5BAAAF}" dt="2024-01-23T08:39:28.493" v="5710" actId="700"/>
          <ac:spMkLst>
            <pc:docMk/>
            <pc:sldMk cId="2838154252" sldId="2142533077"/>
            <ac:spMk id="7" creationId="{1E30033A-CD31-854F-8274-FD17AB3EF921}"/>
          </ac:spMkLst>
        </pc:spChg>
        <pc:graphicFrameChg chg="modGraphic">
          <ac:chgData name="Cyprien ARETHUSE" userId="abd46b16-7bf0-4c01-a850-92fb83f61f27" providerId="ADAL" clId="{067C7D3F-9573-4B1A-A9B0-3005DA5BAAAF}" dt="2024-01-23T08:39:39.926" v="5721" actId="207"/>
          <ac:graphicFrameMkLst>
            <pc:docMk/>
            <pc:sldMk cId="2838154252" sldId="2142533077"/>
            <ac:graphicFrameMk id="6" creationId="{F49AD9D9-8EB9-40C8-817E-797AEF95B20C}"/>
          </ac:graphicFrameMkLst>
        </pc:graphicFrameChg>
      </pc:sldChg>
      <pc:sldChg chg="del mod modShow">
        <pc:chgData name="Cyprien ARETHUSE" userId="abd46b16-7bf0-4c01-a850-92fb83f61f27" providerId="ADAL" clId="{067C7D3F-9573-4B1A-A9B0-3005DA5BAAAF}" dt="2024-01-26T14:22:04.421" v="7940" actId="47"/>
        <pc:sldMkLst>
          <pc:docMk/>
          <pc:sldMk cId="142014039" sldId="2142533080"/>
        </pc:sldMkLst>
      </pc:sldChg>
      <pc:sldChg chg="del mod modShow">
        <pc:chgData name="Cyprien ARETHUSE" userId="abd46b16-7bf0-4c01-a850-92fb83f61f27" providerId="ADAL" clId="{067C7D3F-9573-4B1A-A9B0-3005DA5BAAAF}" dt="2024-01-26T14:21:59.719" v="7938" actId="47"/>
        <pc:sldMkLst>
          <pc:docMk/>
          <pc:sldMk cId="1498202446" sldId="2142533081"/>
        </pc:sldMkLst>
      </pc:sldChg>
      <pc:sldChg chg="del mod modShow">
        <pc:chgData name="Cyprien ARETHUSE" userId="abd46b16-7bf0-4c01-a850-92fb83f61f27" providerId="ADAL" clId="{067C7D3F-9573-4B1A-A9B0-3005DA5BAAAF}" dt="2024-01-26T14:22:02.485" v="7939" actId="47"/>
        <pc:sldMkLst>
          <pc:docMk/>
          <pc:sldMk cId="2190822735" sldId="2142533082"/>
        </pc:sldMkLst>
      </pc:sldChg>
      <pc:sldChg chg="add del">
        <pc:chgData name="Cyprien ARETHUSE" userId="abd46b16-7bf0-4c01-a850-92fb83f61f27" providerId="ADAL" clId="{067C7D3F-9573-4B1A-A9B0-3005DA5BAAAF}" dt="2024-01-23T08:39:52.833" v="5724" actId="47"/>
        <pc:sldMkLst>
          <pc:docMk/>
          <pc:sldMk cId="1294616094" sldId="2142533083"/>
        </pc:sldMkLst>
      </pc:sldChg>
      <pc:sldChg chg="del">
        <pc:chgData name="Cyprien ARETHUSE" userId="abd46b16-7bf0-4c01-a850-92fb83f61f27" providerId="ADAL" clId="{067C7D3F-9573-4B1A-A9B0-3005DA5BAAAF}" dt="2024-01-29T13:28:26.746" v="8069" actId="47"/>
        <pc:sldMkLst>
          <pc:docMk/>
          <pc:sldMk cId="2918682052" sldId="2147376831"/>
        </pc:sldMkLst>
      </pc:sldChg>
      <pc:sldChg chg="add del">
        <pc:chgData name="Cyprien ARETHUSE" userId="abd46b16-7bf0-4c01-a850-92fb83f61f27" providerId="ADAL" clId="{067C7D3F-9573-4B1A-A9B0-3005DA5BAAAF}" dt="2024-01-29T16:16:38.076" v="8874" actId="47"/>
        <pc:sldMkLst>
          <pc:docMk/>
          <pc:sldMk cId="3061899670" sldId="2147376922"/>
        </pc:sldMkLst>
      </pc:sldChg>
      <pc:sldChg chg="del ord">
        <pc:chgData name="Cyprien ARETHUSE" userId="abd46b16-7bf0-4c01-a850-92fb83f61f27" providerId="ADAL" clId="{067C7D3F-9573-4B1A-A9B0-3005DA5BAAAF}" dt="2024-01-31T13:08:10.504" v="9749" actId="47"/>
        <pc:sldMkLst>
          <pc:docMk/>
          <pc:sldMk cId="148168937" sldId="2147376923"/>
        </pc:sldMkLst>
      </pc:sldChg>
      <pc:sldChg chg="addSp delSp modSp mod">
        <pc:chgData name="Cyprien ARETHUSE" userId="abd46b16-7bf0-4c01-a850-92fb83f61f27" providerId="ADAL" clId="{067C7D3F-9573-4B1A-A9B0-3005DA5BAAAF}" dt="2024-02-02T16:51:31.820" v="19476" actId="14734"/>
        <pc:sldMkLst>
          <pc:docMk/>
          <pc:sldMk cId="1887839909" sldId="2147376928"/>
        </pc:sldMkLst>
        <pc:spChg chg="add mod ord">
          <ac:chgData name="Cyprien ARETHUSE" userId="abd46b16-7bf0-4c01-a850-92fb83f61f27" providerId="ADAL" clId="{067C7D3F-9573-4B1A-A9B0-3005DA5BAAAF}" dt="2024-02-02T14:20:20.200" v="16825" actId="207"/>
          <ac:spMkLst>
            <pc:docMk/>
            <pc:sldMk cId="1887839909" sldId="2147376928"/>
            <ac:spMk id="2" creationId="{01EB7CAD-19A1-9CC3-5862-86CC9A88B5F2}"/>
          </ac:spMkLst>
        </pc:spChg>
        <pc:spChg chg="mod">
          <ac:chgData name="Cyprien ARETHUSE" userId="abd46b16-7bf0-4c01-a850-92fb83f61f27" providerId="ADAL" clId="{067C7D3F-9573-4B1A-A9B0-3005DA5BAAAF}" dt="2024-02-02T14:22:48.907" v="16921" actId="20577"/>
          <ac:spMkLst>
            <pc:docMk/>
            <pc:sldMk cId="1887839909" sldId="2147376928"/>
            <ac:spMk id="44" creationId="{A701F5D0-898E-4B8E-96FA-99DF84B7AC97}"/>
          </ac:spMkLst>
        </pc:spChg>
        <pc:spChg chg="del">
          <ac:chgData name="Cyprien ARETHUSE" userId="abd46b16-7bf0-4c01-a850-92fb83f61f27" providerId="ADAL" clId="{067C7D3F-9573-4B1A-A9B0-3005DA5BAAAF}" dt="2024-02-02T14:08:37.841" v="16226" actId="478"/>
          <ac:spMkLst>
            <pc:docMk/>
            <pc:sldMk cId="1887839909" sldId="2147376928"/>
            <ac:spMk id="47" creationId="{50C0029E-B412-494D-9FA3-0CAEEFCBC4DE}"/>
          </ac:spMkLst>
        </pc:spChg>
        <pc:spChg chg="del">
          <ac:chgData name="Cyprien ARETHUSE" userId="abd46b16-7bf0-4c01-a850-92fb83f61f27" providerId="ADAL" clId="{067C7D3F-9573-4B1A-A9B0-3005DA5BAAAF}" dt="2024-02-02T14:08:37.841" v="16226" actId="478"/>
          <ac:spMkLst>
            <pc:docMk/>
            <pc:sldMk cId="1887839909" sldId="2147376928"/>
            <ac:spMk id="48" creationId="{4AAE7969-E7A0-428E-AE4D-0164B5285F9F}"/>
          </ac:spMkLst>
        </pc:spChg>
        <pc:spChg chg="del">
          <ac:chgData name="Cyprien ARETHUSE" userId="abd46b16-7bf0-4c01-a850-92fb83f61f27" providerId="ADAL" clId="{067C7D3F-9573-4B1A-A9B0-3005DA5BAAAF}" dt="2024-02-02T14:08:37.841" v="16226" actId="478"/>
          <ac:spMkLst>
            <pc:docMk/>
            <pc:sldMk cId="1887839909" sldId="2147376928"/>
            <ac:spMk id="49" creationId="{DBE371C4-E781-40DE-A6CD-DB07B7E49668}"/>
          </ac:spMkLst>
        </pc:spChg>
        <pc:spChg chg="del">
          <ac:chgData name="Cyprien ARETHUSE" userId="abd46b16-7bf0-4c01-a850-92fb83f61f27" providerId="ADAL" clId="{067C7D3F-9573-4B1A-A9B0-3005DA5BAAAF}" dt="2024-02-02T14:08:37.841" v="16226" actId="478"/>
          <ac:spMkLst>
            <pc:docMk/>
            <pc:sldMk cId="1887839909" sldId="2147376928"/>
            <ac:spMk id="58" creationId="{CC294F77-EF3E-483C-97AC-D28A28714E57}"/>
          </ac:spMkLst>
        </pc:spChg>
        <pc:spChg chg="del">
          <ac:chgData name="Cyprien ARETHUSE" userId="abd46b16-7bf0-4c01-a850-92fb83f61f27" providerId="ADAL" clId="{067C7D3F-9573-4B1A-A9B0-3005DA5BAAAF}" dt="2024-02-02T14:08:37.841" v="16226" actId="478"/>
          <ac:spMkLst>
            <pc:docMk/>
            <pc:sldMk cId="1887839909" sldId="2147376928"/>
            <ac:spMk id="59" creationId="{4892150F-C45D-4C55-AF06-76E29DDD4A7B}"/>
          </ac:spMkLst>
        </pc:spChg>
        <pc:spChg chg="del">
          <ac:chgData name="Cyprien ARETHUSE" userId="abd46b16-7bf0-4c01-a850-92fb83f61f27" providerId="ADAL" clId="{067C7D3F-9573-4B1A-A9B0-3005DA5BAAAF}" dt="2024-02-02T14:08:37.841" v="16226" actId="478"/>
          <ac:spMkLst>
            <pc:docMk/>
            <pc:sldMk cId="1887839909" sldId="2147376928"/>
            <ac:spMk id="60" creationId="{9A2A11B9-781B-4EC2-A55C-5F1502E8DDDE}"/>
          </ac:spMkLst>
        </pc:spChg>
        <pc:spChg chg="mod">
          <ac:chgData name="Cyprien ARETHUSE" userId="abd46b16-7bf0-4c01-a850-92fb83f61f27" providerId="ADAL" clId="{067C7D3F-9573-4B1A-A9B0-3005DA5BAAAF}" dt="2024-02-02T14:57:22.450" v="18198" actId="207"/>
          <ac:spMkLst>
            <pc:docMk/>
            <pc:sldMk cId="1887839909" sldId="2147376928"/>
            <ac:spMk id="65" creationId="{2B91D39A-3E18-4164-B79E-1ECE1E6510B2}"/>
          </ac:spMkLst>
        </pc:spChg>
        <pc:grpChg chg="del">
          <ac:chgData name="Cyprien ARETHUSE" userId="abd46b16-7bf0-4c01-a850-92fb83f61f27" providerId="ADAL" clId="{067C7D3F-9573-4B1A-A9B0-3005DA5BAAAF}" dt="2024-02-02T14:08:37.841" v="16226" actId="478"/>
          <ac:grpSpMkLst>
            <pc:docMk/>
            <pc:sldMk cId="1887839909" sldId="2147376928"/>
            <ac:grpSpMk id="10" creationId="{55B9BFCC-AFFA-4C0C-AB1B-38FFE58F60D4}"/>
          </ac:grpSpMkLst>
        </pc:grpChg>
        <pc:grpChg chg="del">
          <ac:chgData name="Cyprien ARETHUSE" userId="abd46b16-7bf0-4c01-a850-92fb83f61f27" providerId="ADAL" clId="{067C7D3F-9573-4B1A-A9B0-3005DA5BAAAF}" dt="2024-02-02T14:08:37.841" v="16226" actId="478"/>
          <ac:grpSpMkLst>
            <pc:docMk/>
            <pc:sldMk cId="1887839909" sldId="2147376928"/>
            <ac:grpSpMk id="85" creationId="{0BCDBBC5-30C9-4FDE-9E4A-9EBD5625C6D2}"/>
          </ac:grpSpMkLst>
        </pc:grpChg>
        <pc:grpChg chg="del">
          <ac:chgData name="Cyprien ARETHUSE" userId="abd46b16-7bf0-4c01-a850-92fb83f61f27" providerId="ADAL" clId="{067C7D3F-9573-4B1A-A9B0-3005DA5BAAAF}" dt="2024-02-02T14:08:37.841" v="16226" actId="478"/>
          <ac:grpSpMkLst>
            <pc:docMk/>
            <pc:sldMk cId="1887839909" sldId="2147376928"/>
            <ac:grpSpMk id="89" creationId="{1216B87B-B2CB-4D7F-BD47-3B084CA6A329}"/>
          </ac:grpSpMkLst>
        </pc:grpChg>
        <pc:grpChg chg="del">
          <ac:chgData name="Cyprien ARETHUSE" userId="abd46b16-7bf0-4c01-a850-92fb83f61f27" providerId="ADAL" clId="{067C7D3F-9573-4B1A-A9B0-3005DA5BAAAF}" dt="2024-02-02T14:08:37.841" v="16226" actId="478"/>
          <ac:grpSpMkLst>
            <pc:docMk/>
            <pc:sldMk cId="1887839909" sldId="2147376928"/>
            <ac:grpSpMk id="93" creationId="{7D5E371B-1B5E-4699-8F4D-8D2C1165D46E}"/>
          </ac:grpSpMkLst>
        </pc:grpChg>
        <pc:grpChg chg="del">
          <ac:chgData name="Cyprien ARETHUSE" userId="abd46b16-7bf0-4c01-a850-92fb83f61f27" providerId="ADAL" clId="{067C7D3F-9573-4B1A-A9B0-3005DA5BAAAF}" dt="2024-02-02T14:08:37.841" v="16226" actId="478"/>
          <ac:grpSpMkLst>
            <pc:docMk/>
            <pc:sldMk cId="1887839909" sldId="2147376928"/>
            <ac:grpSpMk id="97" creationId="{500F0092-7D64-4108-8887-37188B2C37BF}"/>
          </ac:grpSpMkLst>
        </pc:grpChg>
        <pc:grpChg chg="del">
          <ac:chgData name="Cyprien ARETHUSE" userId="abd46b16-7bf0-4c01-a850-92fb83f61f27" providerId="ADAL" clId="{067C7D3F-9573-4B1A-A9B0-3005DA5BAAAF}" dt="2024-02-02T14:08:37.841" v="16226" actId="478"/>
          <ac:grpSpMkLst>
            <pc:docMk/>
            <pc:sldMk cId="1887839909" sldId="2147376928"/>
            <ac:grpSpMk id="100" creationId="{48C59007-DB93-48FF-A057-C6C87FD3160B}"/>
          </ac:grpSpMkLst>
        </pc:grpChg>
        <pc:graphicFrameChg chg="mod modGraphic">
          <ac:chgData name="Cyprien ARETHUSE" userId="abd46b16-7bf0-4c01-a850-92fb83f61f27" providerId="ADAL" clId="{067C7D3F-9573-4B1A-A9B0-3005DA5BAAAF}" dt="2024-02-02T16:51:31.820" v="19476" actId="14734"/>
          <ac:graphicFrameMkLst>
            <pc:docMk/>
            <pc:sldMk cId="1887839909" sldId="2147376928"/>
            <ac:graphicFrameMk id="46" creationId="{9B88C77B-3F72-44A5-BB1B-C0FB3C980FF5}"/>
          </ac:graphicFrameMkLst>
        </pc:graphicFrameChg>
        <pc:graphicFrameChg chg="mod modGraphic">
          <ac:chgData name="Cyprien ARETHUSE" userId="abd46b16-7bf0-4c01-a850-92fb83f61f27" providerId="ADAL" clId="{067C7D3F-9573-4B1A-A9B0-3005DA5BAAAF}" dt="2024-02-02T14:41:57.741" v="17885" actId="20577"/>
          <ac:graphicFrameMkLst>
            <pc:docMk/>
            <pc:sldMk cId="1887839909" sldId="2147376928"/>
            <ac:graphicFrameMk id="50" creationId="{91EF391E-FD98-4C57-B3FC-704AE319DA44}"/>
          </ac:graphicFrameMkLst>
        </pc:graphicFrameChg>
        <pc:picChg chg="del">
          <ac:chgData name="Cyprien ARETHUSE" userId="abd46b16-7bf0-4c01-a850-92fb83f61f27" providerId="ADAL" clId="{067C7D3F-9573-4B1A-A9B0-3005DA5BAAAF}" dt="2024-02-02T14:08:37.841" v="16226" actId="478"/>
          <ac:picMkLst>
            <pc:docMk/>
            <pc:sldMk cId="1887839909" sldId="2147376928"/>
            <ac:picMk id="12" creationId="{12D0855B-2B0F-4951-862A-91F75E532D26}"/>
          </ac:picMkLst>
        </pc:picChg>
        <pc:picChg chg="del">
          <ac:chgData name="Cyprien ARETHUSE" userId="abd46b16-7bf0-4c01-a850-92fb83f61f27" providerId="ADAL" clId="{067C7D3F-9573-4B1A-A9B0-3005DA5BAAAF}" dt="2024-02-02T14:08:37.841" v="16226" actId="478"/>
          <ac:picMkLst>
            <pc:docMk/>
            <pc:sldMk cId="1887839909" sldId="2147376928"/>
            <ac:picMk id="14" creationId="{306DF457-F618-455B-B4F4-C51888007485}"/>
          </ac:picMkLst>
        </pc:picChg>
        <pc:picChg chg="del">
          <ac:chgData name="Cyprien ARETHUSE" userId="abd46b16-7bf0-4c01-a850-92fb83f61f27" providerId="ADAL" clId="{067C7D3F-9573-4B1A-A9B0-3005DA5BAAAF}" dt="2024-02-02T14:08:37.841" v="16226" actId="478"/>
          <ac:picMkLst>
            <pc:docMk/>
            <pc:sldMk cId="1887839909" sldId="2147376928"/>
            <ac:picMk id="16" creationId="{1358D3A9-C808-434A-A3C1-19E2E2E53DCC}"/>
          </ac:picMkLst>
        </pc:picChg>
        <pc:picChg chg="del">
          <ac:chgData name="Cyprien ARETHUSE" userId="abd46b16-7bf0-4c01-a850-92fb83f61f27" providerId="ADAL" clId="{067C7D3F-9573-4B1A-A9B0-3005DA5BAAAF}" dt="2024-02-02T14:08:37.841" v="16226" actId="478"/>
          <ac:picMkLst>
            <pc:docMk/>
            <pc:sldMk cId="1887839909" sldId="2147376928"/>
            <ac:picMk id="18" creationId="{0B02E52A-C916-4E0C-B282-6DB07CB8E90E}"/>
          </ac:picMkLst>
        </pc:picChg>
        <pc:picChg chg="del">
          <ac:chgData name="Cyprien ARETHUSE" userId="abd46b16-7bf0-4c01-a850-92fb83f61f27" providerId="ADAL" clId="{067C7D3F-9573-4B1A-A9B0-3005DA5BAAAF}" dt="2024-02-02T14:08:37.841" v="16226" actId="478"/>
          <ac:picMkLst>
            <pc:docMk/>
            <pc:sldMk cId="1887839909" sldId="2147376928"/>
            <ac:picMk id="103" creationId="{F9056ED3-3BDF-4EF5-8090-E81A2C6E6888}"/>
          </ac:picMkLst>
        </pc:picChg>
      </pc:sldChg>
      <pc:sldChg chg="addSp delSp modSp mod">
        <pc:chgData name="Cyprien ARETHUSE" userId="abd46b16-7bf0-4c01-a850-92fb83f61f27" providerId="ADAL" clId="{067C7D3F-9573-4B1A-A9B0-3005DA5BAAAF}" dt="2024-02-02T14:41:08.053" v="17849" actId="20577"/>
        <pc:sldMkLst>
          <pc:docMk/>
          <pc:sldMk cId="1636239246" sldId="2147376929"/>
        </pc:sldMkLst>
        <pc:spChg chg="add del mod">
          <ac:chgData name="Cyprien ARETHUSE" userId="abd46b16-7bf0-4c01-a850-92fb83f61f27" providerId="ADAL" clId="{067C7D3F-9573-4B1A-A9B0-3005DA5BAAAF}" dt="2024-02-02T10:56:10.633" v="16124" actId="478"/>
          <ac:spMkLst>
            <pc:docMk/>
            <pc:sldMk cId="1636239246" sldId="2147376929"/>
            <ac:spMk id="11" creationId="{C22F66B3-A8BB-88B5-6572-4628CC16F630}"/>
          </ac:spMkLst>
        </pc:spChg>
        <pc:spChg chg="add mod">
          <ac:chgData name="Cyprien ARETHUSE" userId="abd46b16-7bf0-4c01-a850-92fb83f61f27" providerId="ADAL" clId="{067C7D3F-9573-4B1A-A9B0-3005DA5BAAAF}" dt="2024-02-02T10:56:08.584" v="16123"/>
          <ac:spMkLst>
            <pc:docMk/>
            <pc:sldMk cId="1636239246" sldId="2147376929"/>
            <ac:spMk id="12" creationId="{01EA173B-465B-471C-611A-E10DA3B5FA7A}"/>
          </ac:spMkLst>
        </pc:spChg>
        <pc:spChg chg="add mod">
          <ac:chgData name="Cyprien ARETHUSE" userId="abd46b16-7bf0-4c01-a850-92fb83f61f27" providerId="ADAL" clId="{067C7D3F-9573-4B1A-A9B0-3005DA5BAAAF}" dt="2024-02-02T14:22:39.399" v="16918" actId="20577"/>
          <ac:spMkLst>
            <pc:docMk/>
            <pc:sldMk cId="1636239246" sldId="2147376929"/>
            <ac:spMk id="13" creationId="{C7B5FEAC-D508-22E1-9F67-72C1ED0CC901}"/>
          </ac:spMkLst>
        </pc:spChg>
        <pc:spChg chg="del">
          <ac:chgData name="Cyprien ARETHUSE" userId="abd46b16-7bf0-4c01-a850-92fb83f61f27" providerId="ADAL" clId="{067C7D3F-9573-4B1A-A9B0-3005DA5BAAAF}" dt="2024-02-02T10:56:06.933" v="16121" actId="478"/>
          <ac:spMkLst>
            <pc:docMk/>
            <pc:sldMk cId="1636239246" sldId="2147376929"/>
            <ac:spMk id="44" creationId="{A701F5D0-898E-4B8E-96FA-99DF84B7AC97}"/>
          </ac:spMkLst>
        </pc:spChg>
        <pc:graphicFrameChg chg="mod modGraphic">
          <ac:chgData name="Cyprien ARETHUSE" userId="abd46b16-7bf0-4c01-a850-92fb83f61f27" providerId="ADAL" clId="{067C7D3F-9573-4B1A-A9B0-3005DA5BAAAF}" dt="2024-02-02T14:41:08.053" v="17849" actId="20577"/>
          <ac:graphicFrameMkLst>
            <pc:docMk/>
            <pc:sldMk cId="1636239246" sldId="2147376929"/>
            <ac:graphicFrameMk id="50" creationId="{91EF391E-FD98-4C57-B3FC-704AE319DA44}"/>
          </ac:graphicFrameMkLst>
        </pc:graphicFrameChg>
      </pc:sldChg>
      <pc:sldChg chg="add del">
        <pc:chgData name="Cyprien ARETHUSE" userId="abd46b16-7bf0-4c01-a850-92fb83f61f27" providerId="ADAL" clId="{067C7D3F-9573-4B1A-A9B0-3005DA5BAAAF}" dt="2024-01-29T16:15:24.465" v="8785" actId="47"/>
        <pc:sldMkLst>
          <pc:docMk/>
          <pc:sldMk cId="2575592477" sldId="2147376932"/>
        </pc:sldMkLst>
      </pc:sldChg>
      <pc:sldChg chg="modSp mod">
        <pc:chgData name="Cyprien ARETHUSE" userId="abd46b16-7bf0-4c01-a850-92fb83f61f27" providerId="ADAL" clId="{067C7D3F-9573-4B1A-A9B0-3005DA5BAAAF}" dt="2024-01-31T14:33:22.560" v="10378" actId="20577"/>
        <pc:sldMkLst>
          <pc:docMk/>
          <pc:sldMk cId="212100458" sldId="2147376937"/>
        </pc:sldMkLst>
        <pc:spChg chg="mod">
          <ac:chgData name="Cyprien ARETHUSE" userId="abd46b16-7bf0-4c01-a850-92fb83f61f27" providerId="ADAL" clId="{067C7D3F-9573-4B1A-A9B0-3005DA5BAAAF}" dt="2024-01-31T14:33:22.560" v="10378" actId="20577"/>
          <ac:spMkLst>
            <pc:docMk/>
            <pc:sldMk cId="212100458" sldId="2147376937"/>
            <ac:spMk id="12" creationId="{A83C8ABF-DDD7-697A-2199-AFA13CEA9AE8}"/>
          </ac:spMkLst>
        </pc:spChg>
      </pc:sldChg>
      <pc:sldChg chg="del">
        <pc:chgData name="Cyprien ARETHUSE" userId="abd46b16-7bf0-4c01-a850-92fb83f61f27" providerId="ADAL" clId="{067C7D3F-9573-4B1A-A9B0-3005DA5BAAAF}" dt="2024-02-02T17:02:42.816" v="19520" actId="47"/>
        <pc:sldMkLst>
          <pc:docMk/>
          <pc:sldMk cId="3713294166" sldId="2147376937"/>
        </pc:sldMkLst>
      </pc:sldChg>
      <pc:sldChg chg="del">
        <pc:chgData name="Cyprien ARETHUSE" userId="abd46b16-7bf0-4c01-a850-92fb83f61f27" providerId="ADAL" clId="{067C7D3F-9573-4B1A-A9B0-3005DA5BAAAF}" dt="2024-01-31T13:10:53.358" v="9784" actId="47"/>
        <pc:sldMkLst>
          <pc:docMk/>
          <pc:sldMk cId="4265832668" sldId="2147376944"/>
        </pc:sldMkLst>
      </pc:sldChg>
      <pc:sldChg chg="del">
        <pc:chgData name="Cyprien ARETHUSE" userId="abd46b16-7bf0-4c01-a850-92fb83f61f27" providerId="ADAL" clId="{067C7D3F-9573-4B1A-A9B0-3005DA5BAAAF}" dt="2024-01-22T15:09:15.111" v="3890" actId="47"/>
        <pc:sldMkLst>
          <pc:docMk/>
          <pc:sldMk cId="2267003078" sldId="2147377271"/>
        </pc:sldMkLst>
      </pc:sldChg>
      <pc:sldChg chg="del">
        <pc:chgData name="Cyprien ARETHUSE" userId="abd46b16-7bf0-4c01-a850-92fb83f61f27" providerId="ADAL" clId="{067C7D3F-9573-4B1A-A9B0-3005DA5BAAAF}" dt="2024-01-18T16:53:01.416" v="2979" actId="47"/>
        <pc:sldMkLst>
          <pc:docMk/>
          <pc:sldMk cId="2407356733" sldId="2147470007"/>
        </pc:sldMkLst>
      </pc:sldChg>
      <pc:sldChg chg="del mod modShow">
        <pc:chgData name="Cyprien ARETHUSE" userId="abd46b16-7bf0-4c01-a850-92fb83f61f27" providerId="ADAL" clId="{067C7D3F-9573-4B1A-A9B0-3005DA5BAAAF}" dt="2024-01-26T14:22:20.510" v="7943" actId="47"/>
        <pc:sldMkLst>
          <pc:docMk/>
          <pc:sldMk cId="3624857779" sldId="2147470008"/>
        </pc:sldMkLst>
      </pc:sldChg>
      <pc:sldChg chg="del">
        <pc:chgData name="Cyprien ARETHUSE" userId="abd46b16-7bf0-4c01-a850-92fb83f61f27" providerId="ADAL" clId="{067C7D3F-9573-4B1A-A9B0-3005DA5BAAAF}" dt="2024-01-18T16:55:04.401" v="2981" actId="47"/>
        <pc:sldMkLst>
          <pc:docMk/>
          <pc:sldMk cId="1828859758" sldId="2147470009"/>
        </pc:sldMkLst>
      </pc:sldChg>
      <pc:sldChg chg="add del">
        <pc:chgData name="Cyprien ARETHUSE" userId="abd46b16-7bf0-4c01-a850-92fb83f61f27" providerId="ADAL" clId="{067C7D3F-9573-4B1A-A9B0-3005DA5BAAAF}" dt="2024-01-23T08:39:52.833" v="5724" actId="47"/>
        <pc:sldMkLst>
          <pc:docMk/>
          <pc:sldMk cId="847113510" sldId="2147470012"/>
        </pc:sldMkLst>
      </pc:sldChg>
      <pc:sldChg chg="add del">
        <pc:chgData name="Cyprien ARETHUSE" userId="abd46b16-7bf0-4c01-a850-92fb83f61f27" providerId="ADAL" clId="{067C7D3F-9573-4B1A-A9B0-3005DA5BAAAF}" dt="2024-01-23T08:39:52.833" v="5724" actId="47"/>
        <pc:sldMkLst>
          <pc:docMk/>
          <pc:sldMk cId="204636688" sldId="2147470013"/>
        </pc:sldMkLst>
      </pc:sldChg>
      <pc:sldChg chg="del">
        <pc:chgData name="Cyprien ARETHUSE" userId="abd46b16-7bf0-4c01-a850-92fb83f61f27" providerId="ADAL" clId="{067C7D3F-9573-4B1A-A9B0-3005DA5BAAAF}" dt="2024-01-26T13:21:45.080" v="7805" actId="47"/>
        <pc:sldMkLst>
          <pc:docMk/>
          <pc:sldMk cId="3805834229" sldId="2147470016"/>
        </pc:sldMkLst>
      </pc:sldChg>
      <pc:sldChg chg="addSp delSp modSp del mod ord">
        <pc:chgData name="Cyprien ARETHUSE" userId="abd46b16-7bf0-4c01-a850-92fb83f61f27" providerId="ADAL" clId="{067C7D3F-9573-4B1A-A9B0-3005DA5BAAAF}" dt="2024-01-18T14:04:30.233" v="447" actId="47"/>
        <pc:sldMkLst>
          <pc:docMk/>
          <pc:sldMk cId="256129981" sldId="2147470017"/>
        </pc:sldMkLst>
        <pc:spChg chg="mod">
          <ac:chgData name="Cyprien ARETHUSE" userId="abd46b16-7bf0-4c01-a850-92fb83f61f27" providerId="ADAL" clId="{067C7D3F-9573-4B1A-A9B0-3005DA5BAAAF}" dt="2024-01-18T13:37:39.076" v="42" actId="1038"/>
          <ac:spMkLst>
            <pc:docMk/>
            <pc:sldMk cId="256129981" sldId="2147470017"/>
            <ac:spMk id="58" creationId="{33996D55-C7C3-BB18-A669-7040C2CF165F}"/>
          </ac:spMkLst>
        </pc:spChg>
        <pc:spChg chg="mod">
          <ac:chgData name="Cyprien ARETHUSE" userId="abd46b16-7bf0-4c01-a850-92fb83f61f27" providerId="ADAL" clId="{067C7D3F-9573-4B1A-A9B0-3005DA5BAAAF}" dt="2024-01-18T13:36:49.437" v="12" actId="12788"/>
          <ac:spMkLst>
            <pc:docMk/>
            <pc:sldMk cId="256129981" sldId="2147470017"/>
            <ac:spMk id="59" creationId="{CBAF0517-238D-7149-785F-CB5E620BDA8F}"/>
          </ac:spMkLst>
        </pc:spChg>
        <pc:spChg chg="mod">
          <ac:chgData name="Cyprien ARETHUSE" userId="abd46b16-7bf0-4c01-a850-92fb83f61f27" providerId="ADAL" clId="{067C7D3F-9573-4B1A-A9B0-3005DA5BAAAF}" dt="2024-01-18T13:36:57.222" v="13" actId="113"/>
          <ac:spMkLst>
            <pc:docMk/>
            <pc:sldMk cId="256129981" sldId="2147470017"/>
            <ac:spMk id="60" creationId="{E37C64BC-55F1-E6FB-E64E-AF2B6F155CE7}"/>
          </ac:spMkLst>
        </pc:spChg>
        <pc:spChg chg="mod">
          <ac:chgData name="Cyprien ARETHUSE" userId="abd46b16-7bf0-4c01-a850-92fb83f61f27" providerId="ADAL" clId="{067C7D3F-9573-4B1A-A9B0-3005DA5BAAAF}" dt="2024-01-18T13:36:49.437" v="12" actId="12788"/>
          <ac:spMkLst>
            <pc:docMk/>
            <pc:sldMk cId="256129981" sldId="2147470017"/>
            <ac:spMk id="61" creationId="{038141E5-5C7A-D441-7919-B2B11E58D492}"/>
          </ac:spMkLst>
        </pc:spChg>
        <pc:spChg chg="mod">
          <ac:chgData name="Cyprien ARETHUSE" userId="abd46b16-7bf0-4c01-a850-92fb83f61f27" providerId="ADAL" clId="{067C7D3F-9573-4B1A-A9B0-3005DA5BAAAF}" dt="2024-01-18T13:37:12.493" v="21" actId="12788"/>
          <ac:spMkLst>
            <pc:docMk/>
            <pc:sldMk cId="256129981" sldId="2147470017"/>
            <ac:spMk id="62" creationId="{93472FFA-19B4-AF6D-55C6-2465D6DA8091}"/>
          </ac:spMkLst>
        </pc:spChg>
        <pc:spChg chg="ord">
          <ac:chgData name="Cyprien ARETHUSE" userId="abd46b16-7bf0-4c01-a850-92fb83f61f27" providerId="ADAL" clId="{067C7D3F-9573-4B1A-A9B0-3005DA5BAAAF}" dt="2024-01-18T13:36:23.379" v="9" actId="166"/>
          <ac:spMkLst>
            <pc:docMk/>
            <pc:sldMk cId="256129981" sldId="2147470017"/>
            <ac:spMk id="94" creationId="{9D144084-BB17-FC27-BE49-24837E005D63}"/>
          </ac:spMkLst>
        </pc:spChg>
        <pc:spChg chg="mod">
          <ac:chgData name="Cyprien ARETHUSE" userId="abd46b16-7bf0-4c01-a850-92fb83f61f27" providerId="ADAL" clId="{067C7D3F-9573-4B1A-A9B0-3005DA5BAAAF}" dt="2024-01-18T13:32:29.611" v="0" actId="207"/>
          <ac:spMkLst>
            <pc:docMk/>
            <pc:sldMk cId="256129981" sldId="2147470017"/>
            <ac:spMk id="109" creationId="{0CB62A5A-3593-DCF0-128F-A6528451837D}"/>
          </ac:spMkLst>
        </pc:spChg>
        <pc:spChg chg="mod">
          <ac:chgData name="Cyprien ARETHUSE" userId="abd46b16-7bf0-4c01-a850-92fb83f61f27" providerId="ADAL" clId="{067C7D3F-9573-4B1A-A9B0-3005DA5BAAAF}" dt="2024-01-18T13:38:01.965" v="50" actId="1038"/>
          <ac:spMkLst>
            <pc:docMk/>
            <pc:sldMk cId="256129981" sldId="2147470017"/>
            <ac:spMk id="123" creationId="{FF6209E0-599D-A29F-7740-1961D89FCDAD}"/>
          </ac:spMkLst>
        </pc:spChg>
        <pc:grpChg chg="mod">
          <ac:chgData name="Cyprien ARETHUSE" userId="abd46b16-7bf0-4c01-a850-92fb83f61f27" providerId="ADAL" clId="{067C7D3F-9573-4B1A-A9B0-3005DA5BAAAF}" dt="2024-01-18T13:37:12.493" v="21" actId="12788"/>
          <ac:grpSpMkLst>
            <pc:docMk/>
            <pc:sldMk cId="256129981" sldId="2147470017"/>
            <ac:grpSpMk id="21" creationId="{5C692242-3745-A15C-1BA8-6F3769A9C2E0}"/>
          </ac:grpSpMkLst>
        </pc:grpChg>
        <pc:picChg chg="mod">
          <ac:chgData name="Cyprien ARETHUSE" userId="abd46b16-7bf0-4c01-a850-92fb83f61f27" providerId="ADAL" clId="{067C7D3F-9573-4B1A-A9B0-3005DA5BAAAF}" dt="2024-01-18T13:37:48.854" v="49" actId="1037"/>
          <ac:picMkLst>
            <pc:docMk/>
            <pc:sldMk cId="256129981" sldId="2147470017"/>
            <ac:picMk id="8" creationId="{327A1E60-4FEA-E2EB-90CD-5D9C5F8E12C1}"/>
          </ac:picMkLst>
        </pc:picChg>
        <pc:picChg chg="mod">
          <ac:chgData name="Cyprien ARETHUSE" userId="abd46b16-7bf0-4c01-a850-92fb83f61f27" providerId="ADAL" clId="{067C7D3F-9573-4B1A-A9B0-3005DA5BAAAF}" dt="2024-01-18T13:37:48.854" v="49" actId="1037"/>
          <ac:picMkLst>
            <pc:docMk/>
            <pc:sldMk cId="256129981" sldId="2147470017"/>
            <ac:picMk id="9" creationId="{F3FF6A12-3C94-5D56-5289-92D0AF6FA303}"/>
          </ac:picMkLst>
        </pc:picChg>
        <pc:picChg chg="mod">
          <ac:chgData name="Cyprien ARETHUSE" userId="abd46b16-7bf0-4c01-a850-92fb83f61f27" providerId="ADAL" clId="{067C7D3F-9573-4B1A-A9B0-3005DA5BAAAF}" dt="2024-01-18T13:37:48.854" v="49" actId="1037"/>
          <ac:picMkLst>
            <pc:docMk/>
            <pc:sldMk cId="256129981" sldId="2147470017"/>
            <ac:picMk id="10" creationId="{E3C1C133-40C6-5969-ABA7-33DD4348B13C}"/>
          </ac:picMkLst>
        </pc:picChg>
        <pc:picChg chg="mod">
          <ac:chgData name="Cyprien ARETHUSE" userId="abd46b16-7bf0-4c01-a850-92fb83f61f27" providerId="ADAL" clId="{067C7D3F-9573-4B1A-A9B0-3005DA5BAAAF}" dt="2024-01-18T13:37:48.854" v="49" actId="1037"/>
          <ac:picMkLst>
            <pc:docMk/>
            <pc:sldMk cId="256129981" sldId="2147470017"/>
            <ac:picMk id="11" creationId="{CC62A1A3-A1A0-C606-F971-84217571F07F}"/>
          </ac:picMkLst>
        </pc:picChg>
        <pc:picChg chg="del">
          <ac:chgData name="Cyprien ARETHUSE" userId="abd46b16-7bf0-4c01-a850-92fb83f61f27" providerId="ADAL" clId="{067C7D3F-9573-4B1A-A9B0-3005DA5BAAAF}" dt="2024-01-18T13:35:51.419" v="1" actId="478"/>
          <ac:picMkLst>
            <pc:docMk/>
            <pc:sldMk cId="256129981" sldId="2147470017"/>
            <ac:picMk id="93" creationId="{51914231-99B6-C01F-3A84-4395E1DBEE7E}"/>
          </ac:picMkLst>
        </pc:picChg>
        <pc:picChg chg="add mod ord">
          <ac:chgData name="Cyprien ARETHUSE" userId="abd46b16-7bf0-4c01-a850-92fb83f61f27" providerId="ADAL" clId="{067C7D3F-9573-4B1A-A9B0-3005DA5BAAAF}" dt="2024-01-18T13:36:18.604" v="8" actId="171"/>
          <ac:picMkLst>
            <pc:docMk/>
            <pc:sldMk cId="256129981" sldId="2147470017"/>
            <ac:picMk id="2065" creationId="{140A507A-8DCF-41BF-6186-51C33117FB9A}"/>
          </ac:picMkLst>
        </pc:picChg>
      </pc:sldChg>
      <pc:sldChg chg="addSp delSp modSp mod">
        <pc:chgData name="Cyprien ARETHUSE" userId="abd46b16-7bf0-4c01-a850-92fb83f61f27" providerId="ADAL" clId="{067C7D3F-9573-4B1A-A9B0-3005DA5BAAAF}" dt="2024-02-02T15:34:57.440" v="18854" actId="1035"/>
        <pc:sldMkLst>
          <pc:docMk/>
          <pc:sldMk cId="4212703342" sldId="2147470798"/>
        </pc:sldMkLst>
        <pc:spChg chg="mod">
          <ac:chgData name="Cyprien ARETHUSE" userId="abd46b16-7bf0-4c01-a850-92fb83f61f27" providerId="ADAL" clId="{067C7D3F-9573-4B1A-A9B0-3005DA5BAAAF}" dt="2024-02-01T14:21:13.904" v="12891" actId="20577"/>
          <ac:spMkLst>
            <pc:docMk/>
            <pc:sldMk cId="4212703342" sldId="2147470798"/>
            <ac:spMk id="2" creationId="{8063F442-F7C0-EE54-6993-3DE537BEFC4A}"/>
          </ac:spMkLst>
        </pc:spChg>
        <pc:spChg chg="mod">
          <ac:chgData name="Cyprien ARETHUSE" userId="abd46b16-7bf0-4c01-a850-92fb83f61f27" providerId="ADAL" clId="{067C7D3F-9573-4B1A-A9B0-3005DA5BAAAF}" dt="2024-01-31T15:29:08.745" v="10904" actId="1035"/>
          <ac:spMkLst>
            <pc:docMk/>
            <pc:sldMk cId="4212703342" sldId="2147470798"/>
            <ac:spMk id="10" creationId="{035C4F14-C241-ECC1-02E1-820924C01481}"/>
          </ac:spMkLst>
        </pc:spChg>
        <pc:spChg chg="mod">
          <ac:chgData name="Cyprien ARETHUSE" userId="abd46b16-7bf0-4c01-a850-92fb83f61f27" providerId="ADAL" clId="{067C7D3F-9573-4B1A-A9B0-3005DA5BAAAF}" dt="2024-01-31T15:29:08.745" v="10904" actId="1035"/>
          <ac:spMkLst>
            <pc:docMk/>
            <pc:sldMk cId="4212703342" sldId="2147470798"/>
            <ac:spMk id="11" creationId="{3B54F5EA-044B-D88A-0B86-7735B6645CB5}"/>
          </ac:spMkLst>
        </pc:spChg>
        <pc:spChg chg="add del mod">
          <ac:chgData name="Cyprien ARETHUSE" userId="abd46b16-7bf0-4c01-a850-92fb83f61f27" providerId="ADAL" clId="{067C7D3F-9573-4B1A-A9B0-3005DA5BAAAF}" dt="2024-02-01T14:14:36.835" v="12699" actId="478"/>
          <ac:spMkLst>
            <pc:docMk/>
            <pc:sldMk cId="4212703342" sldId="2147470798"/>
            <ac:spMk id="12" creationId="{6330AB82-EE28-E37E-2DEC-D0A1D6DECA47}"/>
          </ac:spMkLst>
        </pc:spChg>
        <pc:spChg chg="mod">
          <ac:chgData name="Cyprien ARETHUSE" userId="abd46b16-7bf0-4c01-a850-92fb83f61f27" providerId="ADAL" clId="{067C7D3F-9573-4B1A-A9B0-3005DA5BAAAF}" dt="2024-02-01T17:06:43.011" v="15272" actId="1035"/>
          <ac:spMkLst>
            <pc:docMk/>
            <pc:sldMk cId="4212703342" sldId="2147470798"/>
            <ac:spMk id="15" creationId="{C943EFC8-669E-4788-988F-16AD9E9C1069}"/>
          </ac:spMkLst>
        </pc:spChg>
        <pc:spChg chg="mod">
          <ac:chgData name="Cyprien ARETHUSE" userId="abd46b16-7bf0-4c01-a850-92fb83f61f27" providerId="ADAL" clId="{067C7D3F-9573-4B1A-A9B0-3005DA5BAAAF}" dt="2024-02-01T17:06:43.011" v="15272" actId="1035"/>
          <ac:spMkLst>
            <pc:docMk/>
            <pc:sldMk cId="4212703342" sldId="2147470798"/>
            <ac:spMk id="16" creationId="{FB6AE47B-A44B-4B81-A567-763482494FD3}"/>
          </ac:spMkLst>
        </pc:spChg>
        <pc:spChg chg="mod">
          <ac:chgData name="Cyprien ARETHUSE" userId="abd46b16-7bf0-4c01-a850-92fb83f61f27" providerId="ADAL" clId="{067C7D3F-9573-4B1A-A9B0-3005DA5BAAAF}" dt="2024-02-01T17:06:43.011" v="15272" actId="1035"/>
          <ac:spMkLst>
            <pc:docMk/>
            <pc:sldMk cId="4212703342" sldId="2147470798"/>
            <ac:spMk id="18" creationId="{631DE21D-9110-45C1-860F-D4B0296E8FB2}"/>
          </ac:spMkLst>
        </pc:spChg>
        <pc:spChg chg="mod">
          <ac:chgData name="Cyprien ARETHUSE" userId="abd46b16-7bf0-4c01-a850-92fb83f61f27" providerId="ADAL" clId="{067C7D3F-9573-4B1A-A9B0-3005DA5BAAAF}" dt="2024-02-01T17:06:43.011" v="15272" actId="1035"/>
          <ac:spMkLst>
            <pc:docMk/>
            <pc:sldMk cId="4212703342" sldId="2147470798"/>
            <ac:spMk id="19" creationId="{2D77A245-1F29-48F1-AE4B-55C5F25B488C}"/>
          </ac:spMkLst>
        </pc:spChg>
        <pc:spChg chg="mod">
          <ac:chgData name="Cyprien ARETHUSE" userId="abd46b16-7bf0-4c01-a850-92fb83f61f27" providerId="ADAL" clId="{067C7D3F-9573-4B1A-A9B0-3005DA5BAAAF}" dt="2024-02-01T17:06:43.011" v="15272" actId="1035"/>
          <ac:spMkLst>
            <pc:docMk/>
            <pc:sldMk cId="4212703342" sldId="2147470798"/>
            <ac:spMk id="20" creationId="{7D1772DF-A8CA-4534-8680-DEFCE6825AF4}"/>
          </ac:spMkLst>
        </pc:spChg>
        <pc:spChg chg="mod">
          <ac:chgData name="Cyprien ARETHUSE" userId="abd46b16-7bf0-4c01-a850-92fb83f61f27" providerId="ADAL" clId="{067C7D3F-9573-4B1A-A9B0-3005DA5BAAAF}" dt="2024-02-01T17:06:43.011" v="15272" actId="1035"/>
          <ac:spMkLst>
            <pc:docMk/>
            <pc:sldMk cId="4212703342" sldId="2147470798"/>
            <ac:spMk id="21" creationId="{4A9712BC-2492-44A1-9479-D0153480674B}"/>
          </ac:spMkLst>
        </pc:spChg>
        <pc:spChg chg="mod">
          <ac:chgData name="Cyprien ARETHUSE" userId="abd46b16-7bf0-4c01-a850-92fb83f61f27" providerId="ADAL" clId="{067C7D3F-9573-4B1A-A9B0-3005DA5BAAAF}" dt="2024-02-01T17:06:43.011" v="15272" actId="1035"/>
          <ac:spMkLst>
            <pc:docMk/>
            <pc:sldMk cId="4212703342" sldId="2147470798"/>
            <ac:spMk id="23" creationId="{F09E0DE6-81EF-415B-B653-B0141CF75103}"/>
          </ac:spMkLst>
        </pc:spChg>
        <pc:spChg chg="mod">
          <ac:chgData name="Cyprien ARETHUSE" userId="abd46b16-7bf0-4c01-a850-92fb83f61f27" providerId="ADAL" clId="{067C7D3F-9573-4B1A-A9B0-3005DA5BAAAF}" dt="2024-02-01T17:06:43.011" v="15272" actId="1035"/>
          <ac:spMkLst>
            <pc:docMk/>
            <pc:sldMk cId="4212703342" sldId="2147470798"/>
            <ac:spMk id="24" creationId="{D50D9C48-0679-4CA0-8CEC-7A243400C1C7}"/>
          </ac:spMkLst>
        </pc:spChg>
        <pc:spChg chg="mod">
          <ac:chgData name="Cyprien ARETHUSE" userId="abd46b16-7bf0-4c01-a850-92fb83f61f27" providerId="ADAL" clId="{067C7D3F-9573-4B1A-A9B0-3005DA5BAAAF}" dt="2024-02-01T17:06:43.011" v="15272" actId="1035"/>
          <ac:spMkLst>
            <pc:docMk/>
            <pc:sldMk cId="4212703342" sldId="2147470798"/>
            <ac:spMk id="26" creationId="{222F9681-8AE0-494E-A664-C9ADC4432A64}"/>
          </ac:spMkLst>
        </pc:spChg>
        <pc:spChg chg="mod">
          <ac:chgData name="Cyprien ARETHUSE" userId="abd46b16-7bf0-4c01-a850-92fb83f61f27" providerId="ADAL" clId="{067C7D3F-9573-4B1A-A9B0-3005DA5BAAAF}" dt="2024-02-01T17:06:43.011" v="15272" actId="1035"/>
          <ac:spMkLst>
            <pc:docMk/>
            <pc:sldMk cId="4212703342" sldId="2147470798"/>
            <ac:spMk id="27" creationId="{B12DE2EB-84B0-4EEA-B32C-F0C252E5A92B}"/>
          </ac:spMkLst>
        </pc:spChg>
        <pc:spChg chg="mod">
          <ac:chgData name="Cyprien ARETHUSE" userId="abd46b16-7bf0-4c01-a850-92fb83f61f27" providerId="ADAL" clId="{067C7D3F-9573-4B1A-A9B0-3005DA5BAAAF}" dt="2024-02-01T17:06:43.011" v="15272" actId="1035"/>
          <ac:spMkLst>
            <pc:docMk/>
            <pc:sldMk cId="4212703342" sldId="2147470798"/>
            <ac:spMk id="28" creationId="{016D43FE-C605-4F5D-B68F-F4D82B931A91}"/>
          </ac:spMkLst>
        </pc:spChg>
        <pc:spChg chg="mod">
          <ac:chgData name="Cyprien ARETHUSE" userId="abd46b16-7bf0-4c01-a850-92fb83f61f27" providerId="ADAL" clId="{067C7D3F-9573-4B1A-A9B0-3005DA5BAAAF}" dt="2024-02-01T17:06:43.011" v="15272" actId="1035"/>
          <ac:spMkLst>
            <pc:docMk/>
            <pc:sldMk cId="4212703342" sldId="2147470798"/>
            <ac:spMk id="29" creationId="{18CB3812-FD95-4F66-9858-A878242AF8F9}"/>
          </ac:spMkLst>
        </pc:spChg>
        <pc:spChg chg="mod">
          <ac:chgData name="Cyprien ARETHUSE" userId="abd46b16-7bf0-4c01-a850-92fb83f61f27" providerId="ADAL" clId="{067C7D3F-9573-4B1A-A9B0-3005DA5BAAAF}" dt="2024-02-01T17:06:43.011" v="15272" actId="1035"/>
          <ac:spMkLst>
            <pc:docMk/>
            <pc:sldMk cId="4212703342" sldId="2147470798"/>
            <ac:spMk id="30" creationId="{F86FF486-2CDB-D2FB-944A-0A9424CA9EA7}"/>
          </ac:spMkLst>
        </pc:spChg>
        <pc:spChg chg="mod">
          <ac:chgData name="Cyprien ARETHUSE" userId="abd46b16-7bf0-4c01-a850-92fb83f61f27" providerId="ADAL" clId="{067C7D3F-9573-4B1A-A9B0-3005DA5BAAAF}" dt="2024-02-01T17:06:43.011" v="15272" actId="1035"/>
          <ac:spMkLst>
            <pc:docMk/>
            <pc:sldMk cId="4212703342" sldId="2147470798"/>
            <ac:spMk id="31" creationId="{987C15D3-BB11-1BEA-F655-23301D462541}"/>
          </ac:spMkLst>
        </pc:spChg>
        <pc:spChg chg="mod">
          <ac:chgData name="Cyprien ARETHUSE" userId="abd46b16-7bf0-4c01-a850-92fb83f61f27" providerId="ADAL" clId="{067C7D3F-9573-4B1A-A9B0-3005DA5BAAAF}" dt="2024-02-01T17:06:43.011" v="15272" actId="1035"/>
          <ac:spMkLst>
            <pc:docMk/>
            <pc:sldMk cId="4212703342" sldId="2147470798"/>
            <ac:spMk id="33" creationId="{AEBAC970-7995-3DE0-8E1F-BF85891B057F}"/>
          </ac:spMkLst>
        </pc:spChg>
        <pc:spChg chg="mod">
          <ac:chgData name="Cyprien ARETHUSE" userId="abd46b16-7bf0-4c01-a850-92fb83f61f27" providerId="ADAL" clId="{067C7D3F-9573-4B1A-A9B0-3005DA5BAAAF}" dt="2024-02-01T17:06:43.011" v="15272" actId="1035"/>
          <ac:spMkLst>
            <pc:docMk/>
            <pc:sldMk cId="4212703342" sldId="2147470798"/>
            <ac:spMk id="34" creationId="{9CBB6656-1768-B22E-0824-4D3D7ED882C8}"/>
          </ac:spMkLst>
        </pc:spChg>
        <pc:spChg chg="mod">
          <ac:chgData name="Cyprien ARETHUSE" userId="abd46b16-7bf0-4c01-a850-92fb83f61f27" providerId="ADAL" clId="{067C7D3F-9573-4B1A-A9B0-3005DA5BAAAF}" dt="2024-02-01T17:06:43.011" v="15272" actId="1035"/>
          <ac:spMkLst>
            <pc:docMk/>
            <pc:sldMk cId="4212703342" sldId="2147470798"/>
            <ac:spMk id="35" creationId="{7977B2A6-01AC-06B4-61D1-84ACE6B1F1A7}"/>
          </ac:spMkLst>
        </pc:spChg>
        <pc:spChg chg="mod">
          <ac:chgData name="Cyprien ARETHUSE" userId="abd46b16-7bf0-4c01-a850-92fb83f61f27" providerId="ADAL" clId="{067C7D3F-9573-4B1A-A9B0-3005DA5BAAAF}" dt="2024-02-01T17:06:43.011" v="15272" actId="1035"/>
          <ac:spMkLst>
            <pc:docMk/>
            <pc:sldMk cId="4212703342" sldId="2147470798"/>
            <ac:spMk id="36" creationId="{33AD694E-5A99-1CE7-9B6E-918F4CF4E568}"/>
          </ac:spMkLst>
        </pc:spChg>
        <pc:spChg chg="del">
          <ac:chgData name="Cyprien ARETHUSE" userId="abd46b16-7bf0-4c01-a850-92fb83f61f27" providerId="ADAL" clId="{067C7D3F-9573-4B1A-A9B0-3005DA5BAAAF}" dt="2024-01-31T15:18:59.300" v="10436" actId="478"/>
          <ac:spMkLst>
            <pc:docMk/>
            <pc:sldMk cId="4212703342" sldId="2147470798"/>
            <ac:spMk id="36" creationId="{CB6C19FB-BB7C-479D-96E1-BCDA386CED87}"/>
          </ac:spMkLst>
        </pc:spChg>
        <pc:spChg chg="del">
          <ac:chgData name="Cyprien ARETHUSE" userId="abd46b16-7bf0-4c01-a850-92fb83f61f27" providerId="ADAL" clId="{067C7D3F-9573-4B1A-A9B0-3005DA5BAAAF}" dt="2024-01-31T15:18:59.300" v="10436" actId="478"/>
          <ac:spMkLst>
            <pc:docMk/>
            <pc:sldMk cId="4212703342" sldId="2147470798"/>
            <ac:spMk id="37" creationId="{766E072B-347D-4D37-A2CF-742E56C6BF53}"/>
          </ac:spMkLst>
        </pc:spChg>
        <pc:spChg chg="mod">
          <ac:chgData name="Cyprien ARETHUSE" userId="abd46b16-7bf0-4c01-a850-92fb83f61f27" providerId="ADAL" clId="{067C7D3F-9573-4B1A-A9B0-3005DA5BAAAF}" dt="2024-02-02T15:34:57.440" v="18854" actId="1035"/>
          <ac:spMkLst>
            <pc:docMk/>
            <pc:sldMk cId="4212703342" sldId="2147470798"/>
            <ac:spMk id="39" creationId="{7762E860-1A9F-48CB-A5CF-2498FB61ABDE}"/>
          </ac:spMkLst>
        </pc:spChg>
        <pc:spChg chg="mod">
          <ac:chgData name="Cyprien ARETHUSE" userId="abd46b16-7bf0-4c01-a850-92fb83f61f27" providerId="ADAL" clId="{067C7D3F-9573-4B1A-A9B0-3005DA5BAAAF}" dt="2024-02-02T15:34:57.440" v="18854" actId="1035"/>
          <ac:spMkLst>
            <pc:docMk/>
            <pc:sldMk cId="4212703342" sldId="2147470798"/>
            <ac:spMk id="40" creationId="{7CB7D3B7-10E6-478E-A69C-308242110A36}"/>
          </ac:spMkLst>
        </pc:spChg>
        <pc:spChg chg="mod">
          <ac:chgData name="Cyprien ARETHUSE" userId="abd46b16-7bf0-4c01-a850-92fb83f61f27" providerId="ADAL" clId="{067C7D3F-9573-4B1A-A9B0-3005DA5BAAAF}" dt="2024-02-01T14:21:05.589" v="12876" actId="20577"/>
          <ac:spMkLst>
            <pc:docMk/>
            <pc:sldMk cId="4212703342" sldId="2147470798"/>
            <ac:spMk id="42" creationId="{2E761A34-DCE4-4809-8CE6-42F91F503F4E}"/>
          </ac:spMkLst>
        </pc:spChg>
        <pc:spChg chg="mod">
          <ac:chgData name="Cyprien ARETHUSE" userId="abd46b16-7bf0-4c01-a850-92fb83f61f27" providerId="ADAL" clId="{067C7D3F-9573-4B1A-A9B0-3005DA5BAAAF}" dt="2024-02-02T15:34:57.440" v="18854" actId="1035"/>
          <ac:spMkLst>
            <pc:docMk/>
            <pc:sldMk cId="4212703342" sldId="2147470798"/>
            <ac:spMk id="45" creationId="{A93F5781-8FE6-4D64-9B71-5AA483F8D0DF}"/>
          </ac:spMkLst>
        </pc:spChg>
        <pc:spChg chg="del">
          <ac:chgData name="Cyprien ARETHUSE" userId="abd46b16-7bf0-4c01-a850-92fb83f61f27" providerId="ADAL" clId="{067C7D3F-9573-4B1A-A9B0-3005DA5BAAAF}" dt="2024-01-31T15:18:59.300" v="10436" actId="478"/>
          <ac:spMkLst>
            <pc:docMk/>
            <pc:sldMk cId="4212703342" sldId="2147470798"/>
            <ac:spMk id="46" creationId="{01EE19DC-96DE-42EA-8334-7CED2C560D6A}"/>
          </ac:spMkLst>
        </pc:spChg>
        <pc:spChg chg="mod">
          <ac:chgData name="Cyprien ARETHUSE" userId="abd46b16-7bf0-4c01-a850-92fb83f61f27" providerId="ADAL" clId="{067C7D3F-9573-4B1A-A9B0-3005DA5BAAAF}" dt="2024-02-02T09:15:33.877" v="16042" actId="1036"/>
          <ac:spMkLst>
            <pc:docMk/>
            <pc:sldMk cId="4212703342" sldId="2147470798"/>
            <ac:spMk id="48" creationId="{F25832E8-8554-4BA7-B99D-E360F1323AA8}"/>
          </ac:spMkLst>
        </pc:spChg>
        <pc:spChg chg="mod">
          <ac:chgData name="Cyprien ARETHUSE" userId="abd46b16-7bf0-4c01-a850-92fb83f61f27" providerId="ADAL" clId="{067C7D3F-9573-4B1A-A9B0-3005DA5BAAAF}" dt="2024-02-02T09:15:33.877" v="16042" actId="1036"/>
          <ac:spMkLst>
            <pc:docMk/>
            <pc:sldMk cId="4212703342" sldId="2147470798"/>
            <ac:spMk id="49" creationId="{65B8D796-3F67-4AA3-B885-1DA4AB0F10AD}"/>
          </ac:spMkLst>
        </pc:spChg>
        <pc:spChg chg="mod">
          <ac:chgData name="Cyprien ARETHUSE" userId="abd46b16-7bf0-4c01-a850-92fb83f61f27" providerId="ADAL" clId="{067C7D3F-9573-4B1A-A9B0-3005DA5BAAAF}" dt="2024-02-02T09:15:21.063" v="16040" actId="1035"/>
          <ac:spMkLst>
            <pc:docMk/>
            <pc:sldMk cId="4212703342" sldId="2147470798"/>
            <ac:spMk id="51" creationId="{58AF4EF7-1A25-474B-A784-FD17D17C9719}"/>
          </ac:spMkLst>
        </pc:spChg>
        <pc:spChg chg="mod">
          <ac:chgData name="Cyprien ARETHUSE" userId="abd46b16-7bf0-4c01-a850-92fb83f61f27" providerId="ADAL" clId="{067C7D3F-9573-4B1A-A9B0-3005DA5BAAAF}" dt="2024-02-02T09:15:21.063" v="16040" actId="1035"/>
          <ac:spMkLst>
            <pc:docMk/>
            <pc:sldMk cId="4212703342" sldId="2147470798"/>
            <ac:spMk id="52" creationId="{1163646E-5274-4240-B57D-D994157E549E}"/>
          </ac:spMkLst>
        </pc:spChg>
        <pc:spChg chg="mod">
          <ac:chgData name="Cyprien ARETHUSE" userId="abd46b16-7bf0-4c01-a850-92fb83f61f27" providerId="ADAL" clId="{067C7D3F-9573-4B1A-A9B0-3005DA5BAAAF}" dt="2024-02-02T09:15:33.877" v="16042" actId="1036"/>
          <ac:spMkLst>
            <pc:docMk/>
            <pc:sldMk cId="4212703342" sldId="2147470798"/>
            <ac:spMk id="53" creationId="{87C35C41-FAC6-40A9-B3E0-3E6B5A97528D}"/>
          </ac:spMkLst>
        </pc:spChg>
        <pc:spChg chg="mod">
          <ac:chgData name="Cyprien ARETHUSE" userId="abd46b16-7bf0-4c01-a850-92fb83f61f27" providerId="ADAL" clId="{067C7D3F-9573-4B1A-A9B0-3005DA5BAAAF}" dt="2024-02-02T09:15:21.063" v="16040" actId="1035"/>
          <ac:spMkLst>
            <pc:docMk/>
            <pc:sldMk cId="4212703342" sldId="2147470798"/>
            <ac:spMk id="54" creationId="{4E3F8DDF-254A-4F72-A8E4-4E94087EAFAF}"/>
          </ac:spMkLst>
        </pc:spChg>
        <pc:spChg chg="mod">
          <ac:chgData name="Cyprien ARETHUSE" userId="abd46b16-7bf0-4c01-a850-92fb83f61f27" providerId="ADAL" clId="{067C7D3F-9573-4B1A-A9B0-3005DA5BAAAF}" dt="2024-02-01T17:06:43.011" v="15272" actId="1035"/>
          <ac:spMkLst>
            <pc:docMk/>
            <pc:sldMk cId="4212703342" sldId="2147470798"/>
            <ac:spMk id="56" creationId="{E661A504-6A6A-441F-9CAE-3CCDC31DFA7B}"/>
          </ac:spMkLst>
        </pc:spChg>
        <pc:spChg chg="mod">
          <ac:chgData name="Cyprien ARETHUSE" userId="abd46b16-7bf0-4c01-a850-92fb83f61f27" providerId="ADAL" clId="{067C7D3F-9573-4B1A-A9B0-3005DA5BAAAF}" dt="2024-02-01T17:06:43.011" v="15272" actId="1035"/>
          <ac:spMkLst>
            <pc:docMk/>
            <pc:sldMk cId="4212703342" sldId="2147470798"/>
            <ac:spMk id="57" creationId="{FE77CF8E-6972-495F-9700-8BB04AD4A2AF}"/>
          </ac:spMkLst>
        </pc:spChg>
        <pc:spChg chg="mod">
          <ac:chgData name="Cyprien ARETHUSE" userId="abd46b16-7bf0-4c01-a850-92fb83f61f27" providerId="ADAL" clId="{067C7D3F-9573-4B1A-A9B0-3005DA5BAAAF}" dt="2024-02-01T17:06:43.011" v="15272" actId="1035"/>
          <ac:spMkLst>
            <pc:docMk/>
            <pc:sldMk cId="4212703342" sldId="2147470798"/>
            <ac:spMk id="59" creationId="{83EC3B96-04B2-4348-AF2D-4153B842C650}"/>
          </ac:spMkLst>
        </pc:spChg>
        <pc:spChg chg="mod">
          <ac:chgData name="Cyprien ARETHUSE" userId="abd46b16-7bf0-4c01-a850-92fb83f61f27" providerId="ADAL" clId="{067C7D3F-9573-4B1A-A9B0-3005DA5BAAAF}" dt="2024-02-01T17:06:43.011" v="15272" actId="1035"/>
          <ac:spMkLst>
            <pc:docMk/>
            <pc:sldMk cId="4212703342" sldId="2147470798"/>
            <ac:spMk id="60" creationId="{9AD63C82-889D-47F4-A6C2-AFB870FD921D}"/>
          </ac:spMkLst>
        </pc:spChg>
        <pc:spChg chg="mod">
          <ac:chgData name="Cyprien ARETHUSE" userId="abd46b16-7bf0-4c01-a850-92fb83f61f27" providerId="ADAL" clId="{067C7D3F-9573-4B1A-A9B0-3005DA5BAAAF}" dt="2024-02-01T17:06:43.011" v="15272" actId="1035"/>
          <ac:spMkLst>
            <pc:docMk/>
            <pc:sldMk cId="4212703342" sldId="2147470798"/>
            <ac:spMk id="61" creationId="{DEA8E539-B806-4AE1-8D1B-CFB21142DF77}"/>
          </ac:spMkLst>
        </pc:spChg>
        <pc:spChg chg="mod">
          <ac:chgData name="Cyprien ARETHUSE" userId="abd46b16-7bf0-4c01-a850-92fb83f61f27" providerId="ADAL" clId="{067C7D3F-9573-4B1A-A9B0-3005DA5BAAAF}" dt="2024-02-01T17:06:43.011" v="15272" actId="1035"/>
          <ac:spMkLst>
            <pc:docMk/>
            <pc:sldMk cId="4212703342" sldId="2147470798"/>
            <ac:spMk id="62" creationId="{B7FF390A-89B7-41D3-AEDD-FE726B0A0A9B}"/>
          </ac:spMkLst>
        </pc:spChg>
        <pc:spChg chg="mod">
          <ac:chgData name="Cyprien ARETHUSE" userId="abd46b16-7bf0-4c01-a850-92fb83f61f27" providerId="ADAL" clId="{067C7D3F-9573-4B1A-A9B0-3005DA5BAAAF}" dt="2024-01-31T15:29:14.692" v="10905" actId="1036"/>
          <ac:spMkLst>
            <pc:docMk/>
            <pc:sldMk cId="4212703342" sldId="2147470798"/>
            <ac:spMk id="63" creationId="{3E5D9450-47D7-0BA9-4D0B-293DAA3EC90E}"/>
          </ac:spMkLst>
        </pc:spChg>
        <pc:spChg chg="mod">
          <ac:chgData name="Cyprien ARETHUSE" userId="abd46b16-7bf0-4c01-a850-92fb83f61f27" providerId="ADAL" clId="{067C7D3F-9573-4B1A-A9B0-3005DA5BAAAF}" dt="2024-01-31T15:29:14.692" v="10905" actId="1036"/>
          <ac:spMkLst>
            <pc:docMk/>
            <pc:sldMk cId="4212703342" sldId="2147470798"/>
            <ac:spMk id="64" creationId="{6584CEF7-35BD-BBFC-5683-37BA6F3FDE5E}"/>
          </ac:spMkLst>
        </pc:spChg>
        <pc:spChg chg="add del mod">
          <ac:chgData name="Cyprien ARETHUSE" userId="abd46b16-7bf0-4c01-a850-92fb83f61f27" providerId="ADAL" clId="{067C7D3F-9573-4B1A-A9B0-3005DA5BAAAF}" dt="2024-02-01T14:14:36.835" v="12699" actId="478"/>
          <ac:spMkLst>
            <pc:docMk/>
            <pc:sldMk cId="4212703342" sldId="2147470798"/>
            <ac:spMk id="65" creationId="{E6084684-FA24-33B5-40D5-D3473D27F9D9}"/>
          </ac:spMkLst>
        </pc:spChg>
        <pc:spChg chg="mod">
          <ac:chgData name="Cyprien ARETHUSE" userId="abd46b16-7bf0-4c01-a850-92fb83f61f27" providerId="ADAL" clId="{067C7D3F-9573-4B1A-A9B0-3005DA5BAAAF}" dt="2024-02-01T14:14:34.167" v="12698" actId="571"/>
          <ac:spMkLst>
            <pc:docMk/>
            <pc:sldMk cId="4212703342" sldId="2147470798"/>
            <ac:spMk id="69" creationId="{28752BD7-64AE-D46A-ADD6-9DA4AB2BF321}"/>
          </ac:spMkLst>
        </pc:spChg>
        <pc:spChg chg="mod">
          <ac:chgData name="Cyprien ARETHUSE" userId="abd46b16-7bf0-4c01-a850-92fb83f61f27" providerId="ADAL" clId="{067C7D3F-9573-4B1A-A9B0-3005DA5BAAAF}" dt="2024-02-01T14:14:34.167" v="12698" actId="571"/>
          <ac:spMkLst>
            <pc:docMk/>
            <pc:sldMk cId="4212703342" sldId="2147470798"/>
            <ac:spMk id="70" creationId="{A34D2575-2A2B-2988-8C7C-5051C796D122}"/>
          </ac:spMkLst>
        </pc:spChg>
        <pc:spChg chg="add del mod">
          <ac:chgData name="Cyprien ARETHUSE" userId="abd46b16-7bf0-4c01-a850-92fb83f61f27" providerId="ADAL" clId="{067C7D3F-9573-4B1A-A9B0-3005DA5BAAAF}" dt="2024-02-01T14:14:36.835" v="12699" actId="478"/>
          <ac:spMkLst>
            <pc:docMk/>
            <pc:sldMk cId="4212703342" sldId="2147470798"/>
            <ac:spMk id="71" creationId="{711A0491-3A98-2364-A195-03069529419D}"/>
          </ac:spMkLst>
        </pc:spChg>
        <pc:grpChg chg="mod">
          <ac:chgData name="Cyprien ARETHUSE" userId="abd46b16-7bf0-4c01-a850-92fb83f61f27" providerId="ADAL" clId="{067C7D3F-9573-4B1A-A9B0-3005DA5BAAAF}" dt="2024-02-01T17:06:43.011" v="15272" actId="1035"/>
          <ac:grpSpMkLst>
            <pc:docMk/>
            <pc:sldMk cId="4212703342" sldId="2147470798"/>
            <ac:grpSpMk id="5" creationId="{0A9E08F4-24FB-5D2D-AB6C-F2C28DB5B889}"/>
          </ac:grpSpMkLst>
        </pc:grpChg>
        <pc:grpChg chg="add del mod">
          <ac:chgData name="Cyprien ARETHUSE" userId="abd46b16-7bf0-4c01-a850-92fb83f61f27" providerId="ADAL" clId="{067C7D3F-9573-4B1A-A9B0-3005DA5BAAAF}" dt="2024-02-01T14:14:36.835" v="12699" actId="478"/>
          <ac:grpSpMkLst>
            <pc:docMk/>
            <pc:sldMk cId="4212703342" sldId="2147470798"/>
            <ac:grpSpMk id="9" creationId="{620939FC-D787-9F69-C699-580CC5682D8E}"/>
          </ac:grpSpMkLst>
        </pc:grpChg>
        <pc:grpChg chg="add del mod">
          <ac:chgData name="Cyprien ARETHUSE" userId="abd46b16-7bf0-4c01-a850-92fb83f61f27" providerId="ADAL" clId="{067C7D3F-9573-4B1A-A9B0-3005DA5BAAAF}" dt="2024-02-01T14:14:36.835" v="12699" actId="478"/>
          <ac:grpSpMkLst>
            <pc:docMk/>
            <pc:sldMk cId="4212703342" sldId="2147470798"/>
            <ac:grpSpMk id="13" creationId="{3E3CFCEA-79E7-0779-BC8B-328BA271F9C2}"/>
          </ac:grpSpMkLst>
        </pc:grpChg>
        <pc:grpChg chg="mod">
          <ac:chgData name="Cyprien ARETHUSE" userId="abd46b16-7bf0-4c01-a850-92fb83f61f27" providerId="ADAL" clId="{067C7D3F-9573-4B1A-A9B0-3005DA5BAAAF}" dt="2024-02-01T17:06:43.011" v="15272" actId="1035"/>
          <ac:grpSpMkLst>
            <pc:docMk/>
            <pc:sldMk cId="4212703342" sldId="2147470798"/>
            <ac:grpSpMk id="14" creationId="{AC9D9286-76F9-4C86-AE4C-EA5FE66A89E8}"/>
          </ac:grpSpMkLst>
        </pc:grpChg>
        <pc:grpChg chg="mod">
          <ac:chgData name="Cyprien ARETHUSE" userId="abd46b16-7bf0-4c01-a850-92fb83f61f27" providerId="ADAL" clId="{067C7D3F-9573-4B1A-A9B0-3005DA5BAAAF}" dt="2024-02-01T17:06:43.011" v="15272" actId="1035"/>
          <ac:grpSpMkLst>
            <pc:docMk/>
            <pc:sldMk cId="4212703342" sldId="2147470798"/>
            <ac:grpSpMk id="17" creationId="{72ABCABD-816A-4C72-B1E0-14BA4A39FBF4}"/>
          </ac:grpSpMkLst>
        </pc:grpChg>
        <pc:grpChg chg="mod">
          <ac:chgData name="Cyprien ARETHUSE" userId="abd46b16-7bf0-4c01-a850-92fb83f61f27" providerId="ADAL" clId="{067C7D3F-9573-4B1A-A9B0-3005DA5BAAAF}" dt="2024-02-01T17:06:43.011" v="15272" actId="1035"/>
          <ac:grpSpMkLst>
            <pc:docMk/>
            <pc:sldMk cId="4212703342" sldId="2147470798"/>
            <ac:grpSpMk id="22" creationId="{B5813291-4D3C-43CC-AB78-867697258843}"/>
          </ac:grpSpMkLst>
        </pc:grpChg>
        <pc:grpChg chg="mod">
          <ac:chgData name="Cyprien ARETHUSE" userId="abd46b16-7bf0-4c01-a850-92fb83f61f27" providerId="ADAL" clId="{067C7D3F-9573-4B1A-A9B0-3005DA5BAAAF}" dt="2024-02-01T17:06:43.011" v="15272" actId="1035"/>
          <ac:grpSpMkLst>
            <pc:docMk/>
            <pc:sldMk cId="4212703342" sldId="2147470798"/>
            <ac:grpSpMk id="25" creationId="{E06A0FE7-7E48-4C59-9FB8-E3003903BFC5}"/>
          </ac:grpSpMkLst>
        </pc:grpChg>
        <pc:grpChg chg="del">
          <ac:chgData name="Cyprien ARETHUSE" userId="abd46b16-7bf0-4c01-a850-92fb83f61f27" providerId="ADAL" clId="{067C7D3F-9573-4B1A-A9B0-3005DA5BAAAF}" dt="2024-01-31T15:18:59.300" v="10436" actId="478"/>
          <ac:grpSpMkLst>
            <pc:docMk/>
            <pc:sldMk cId="4212703342" sldId="2147470798"/>
            <ac:grpSpMk id="30" creationId="{5929075F-8509-4E0E-AD6B-C68777E2AF61}"/>
          </ac:grpSpMkLst>
        </pc:grpChg>
        <pc:grpChg chg="mod">
          <ac:chgData name="Cyprien ARETHUSE" userId="abd46b16-7bf0-4c01-a850-92fb83f61f27" providerId="ADAL" clId="{067C7D3F-9573-4B1A-A9B0-3005DA5BAAAF}" dt="2024-02-01T17:06:43.011" v="15272" actId="1035"/>
          <ac:grpSpMkLst>
            <pc:docMk/>
            <pc:sldMk cId="4212703342" sldId="2147470798"/>
            <ac:grpSpMk id="32" creationId="{159CA356-D6F3-6652-2CD1-BAC4D078E996}"/>
          </ac:grpSpMkLst>
        </pc:grpChg>
        <pc:grpChg chg="del">
          <ac:chgData name="Cyprien ARETHUSE" userId="abd46b16-7bf0-4c01-a850-92fb83f61f27" providerId="ADAL" clId="{067C7D3F-9573-4B1A-A9B0-3005DA5BAAAF}" dt="2024-01-31T15:18:59.300" v="10436" actId="478"/>
          <ac:grpSpMkLst>
            <pc:docMk/>
            <pc:sldMk cId="4212703342" sldId="2147470798"/>
            <ac:grpSpMk id="33" creationId="{8C06E34F-5D0A-473D-BC03-AF776E63737C}"/>
          </ac:grpSpMkLst>
        </pc:grpChg>
        <pc:grpChg chg="mod">
          <ac:chgData name="Cyprien ARETHUSE" userId="abd46b16-7bf0-4c01-a850-92fb83f61f27" providerId="ADAL" clId="{067C7D3F-9573-4B1A-A9B0-3005DA5BAAAF}" dt="2024-02-02T15:34:57.440" v="18854" actId="1035"/>
          <ac:grpSpMkLst>
            <pc:docMk/>
            <pc:sldMk cId="4212703342" sldId="2147470798"/>
            <ac:grpSpMk id="38" creationId="{0E9E00AC-5841-40A2-B7FB-B52906ADB3F0}"/>
          </ac:grpSpMkLst>
        </pc:grpChg>
        <pc:grpChg chg="del">
          <ac:chgData name="Cyprien ARETHUSE" userId="abd46b16-7bf0-4c01-a850-92fb83f61f27" providerId="ADAL" clId="{067C7D3F-9573-4B1A-A9B0-3005DA5BAAAF}" dt="2024-01-31T15:18:59.300" v="10436" actId="478"/>
          <ac:grpSpMkLst>
            <pc:docMk/>
            <pc:sldMk cId="4212703342" sldId="2147470798"/>
            <ac:grpSpMk id="41" creationId="{00478A8D-A2F0-49F8-8C35-C2DC8D1E3A3F}"/>
          </ac:grpSpMkLst>
        </pc:grpChg>
        <pc:grpChg chg="mod">
          <ac:chgData name="Cyprien ARETHUSE" userId="abd46b16-7bf0-4c01-a850-92fb83f61f27" providerId="ADAL" clId="{067C7D3F-9573-4B1A-A9B0-3005DA5BAAAF}" dt="2024-02-02T09:15:33.877" v="16042" actId="1036"/>
          <ac:grpSpMkLst>
            <pc:docMk/>
            <pc:sldMk cId="4212703342" sldId="2147470798"/>
            <ac:grpSpMk id="47" creationId="{FD4BA166-2BF1-40AD-A498-392F293675E5}"/>
          </ac:grpSpMkLst>
        </pc:grpChg>
        <pc:grpChg chg="mod">
          <ac:chgData name="Cyprien ARETHUSE" userId="abd46b16-7bf0-4c01-a850-92fb83f61f27" providerId="ADAL" clId="{067C7D3F-9573-4B1A-A9B0-3005DA5BAAAF}" dt="2024-02-02T09:15:21.063" v="16040" actId="1035"/>
          <ac:grpSpMkLst>
            <pc:docMk/>
            <pc:sldMk cId="4212703342" sldId="2147470798"/>
            <ac:grpSpMk id="50" creationId="{99DDA5ED-4458-407B-A1C3-341CBD32DA43}"/>
          </ac:grpSpMkLst>
        </pc:grpChg>
        <pc:grpChg chg="mod">
          <ac:chgData name="Cyprien ARETHUSE" userId="abd46b16-7bf0-4c01-a850-92fb83f61f27" providerId="ADAL" clId="{067C7D3F-9573-4B1A-A9B0-3005DA5BAAAF}" dt="2024-02-01T17:06:43.011" v="15272" actId="1035"/>
          <ac:grpSpMkLst>
            <pc:docMk/>
            <pc:sldMk cId="4212703342" sldId="2147470798"/>
            <ac:grpSpMk id="55" creationId="{B53C255F-2988-4BD9-BCC8-1C4F1C212635}"/>
          </ac:grpSpMkLst>
        </pc:grpChg>
        <pc:grpChg chg="mod">
          <ac:chgData name="Cyprien ARETHUSE" userId="abd46b16-7bf0-4c01-a850-92fb83f61f27" providerId="ADAL" clId="{067C7D3F-9573-4B1A-A9B0-3005DA5BAAAF}" dt="2024-02-01T17:06:43.011" v="15272" actId="1035"/>
          <ac:grpSpMkLst>
            <pc:docMk/>
            <pc:sldMk cId="4212703342" sldId="2147470798"/>
            <ac:grpSpMk id="58" creationId="{B1A47BD7-2E39-45D3-B345-1423AEDBB4FA}"/>
          </ac:grpSpMkLst>
        </pc:grpChg>
        <pc:grpChg chg="add del mod">
          <ac:chgData name="Cyprien ARETHUSE" userId="abd46b16-7bf0-4c01-a850-92fb83f61f27" providerId="ADAL" clId="{067C7D3F-9573-4B1A-A9B0-3005DA5BAAAF}" dt="2024-02-01T14:14:36.835" v="12699" actId="478"/>
          <ac:grpSpMkLst>
            <pc:docMk/>
            <pc:sldMk cId="4212703342" sldId="2147470798"/>
            <ac:grpSpMk id="68" creationId="{C14C6904-78FF-36F6-7451-6F597AE686D2}"/>
          </ac:grpSpMkLst>
        </pc:grpChg>
        <pc:graphicFrameChg chg="mod modGraphic">
          <ac:chgData name="Cyprien ARETHUSE" userId="abd46b16-7bf0-4c01-a850-92fb83f61f27" providerId="ADAL" clId="{067C7D3F-9573-4B1A-A9B0-3005DA5BAAAF}" dt="2024-02-01T17:06:43.011" v="15272" actId="1035"/>
          <ac:graphicFrameMkLst>
            <pc:docMk/>
            <pc:sldMk cId="4212703342" sldId="2147470798"/>
            <ac:graphicFrameMk id="66" creationId="{8B4DDF8D-5451-4B9A-BCF8-057011D0841C}"/>
          </ac:graphicFrameMkLst>
        </pc:graphicFrameChg>
        <pc:picChg chg="mod">
          <ac:chgData name="Cyprien ARETHUSE" userId="abd46b16-7bf0-4c01-a850-92fb83f61f27" providerId="ADAL" clId="{067C7D3F-9573-4B1A-A9B0-3005DA5BAAAF}" dt="2024-02-01T17:06:43.011" v="15272" actId="1035"/>
          <ac:picMkLst>
            <pc:docMk/>
            <pc:sldMk cId="4212703342" sldId="2147470798"/>
            <ac:picMk id="3" creationId="{D8B2B1D0-1367-2DFC-0FEE-8160C143BFBF}"/>
          </ac:picMkLst>
        </pc:picChg>
        <pc:picChg chg="mod">
          <ac:chgData name="Cyprien ARETHUSE" userId="abd46b16-7bf0-4c01-a850-92fb83f61f27" providerId="ADAL" clId="{067C7D3F-9573-4B1A-A9B0-3005DA5BAAAF}" dt="2024-02-01T17:06:43.011" v="15272" actId="1035"/>
          <ac:picMkLst>
            <pc:docMk/>
            <pc:sldMk cId="4212703342" sldId="2147470798"/>
            <ac:picMk id="4" creationId="{179B3F6D-BB62-F755-1E83-D617F80DEF41}"/>
          </ac:picMkLst>
        </pc:picChg>
        <pc:picChg chg="del">
          <ac:chgData name="Cyprien ARETHUSE" userId="abd46b16-7bf0-4c01-a850-92fb83f61f27" providerId="ADAL" clId="{067C7D3F-9573-4B1A-A9B0-3005DA5BAAAF}" dt="2024-01-31T15:18:59.300" v="10436" actId="478"/>
          <ac:picMkLst>
            <pc:docMk/>
            <pc:sldMk cId="4212703342" sldId="2147470798"/>
            <ac:picMk id="5" creationId="{9A6CC572-26F2-7BB5-D41A-E82884ABF250}"/>
          </ac:picMkLst>
        </pc:picChg>
        <pc:picChg chg="add del mod">
          <ac:chgData name="Cyprien ARETHUSE" userId="abd46b16-7bf0-4c01-a850-92fb83f61f27" providerId="ADAL" clId="{067C7D3F-9573-4B1A-A9B0-3005DA5BAAAF}" dt="2024-02-01T14:14:11.179" v="12696" actId="478"/>
          <ac:picMkLst>
            <pc:docMk/>
            <pc:sldMk cId="4212703342" sldId="2147470798"/>
            <ac:picMk id="6" creationId="{E7CAA5B8-11DB-B82F-5517-A64F37C7BD73}"/>
          </ac:picMkLst>
        </pc:picChg>
        <pc:picChg chg="mod">
          <ac:chgData name="Cyprien ARETHUSE" userId="abd46b16-7bf0-4c01-a850-92fb83f61f27" providerId="ADAL" clId="{067C7D3F-9573-4B1A-A9B0-3005DA5BAAAF}" dt="2024-02-01T17:06:43.011" v="15272" actId="1035"/>
          <ac:picMkLst>
            <pc:docMk/>
            <pc:sldMk cId="4212703342" sldId="2147470798"/>
            <ac:picMk id="7" creationId="{800F937A-4E99-8EFD-1DEE-DFB2F048E9E9}"/>
          </ac:picMkLst>
        </pc:picChg>
        <pc:picChg chg="mod">
          <ac:chgData name="Cyprien ARETHUSE" userId="abd46b16-7bf0-4c01-a850-92fb83f61f27" providerId="ADAL" clId="{067C7D3F-9573-4B1A-A9B0-3005DA5BAAAF}" dt="2024-02-01T17:06:43.011" v="15272" actId="1035"/>
          <ac:picMkLst>
            <pc:docMk/>
            <pc:sldMk cId="4212703342" sldId="2147470798"/>
            <ac:picMk id="8" creationId="{41CFE187-72C6-29DB-344C-94778A46ECC8}"/>
          </ac:picMkLst>
        </pc:picChg>
        <pc:picChg chg="add mod">
          <ac:chgData name="Cyprien ARETHUSE" userId="abd46b16-7bf0-4c01-a850-92fb83f61f27" providerId="ADAL" clId="{067C7D3F-9573-4B1A-A9B0-3005DA5BAAAF}" dt="2024-02-01T17:06:43.011" v="15272" actId="1035"/>
          <ac:picMkLst>
            <pc:docMk/>
            <pc:sldMk cId="4212703342" sldId="2147470798"/>
            <ac:picMk id="72" creationId="{194CE9AE-7378-82A2-73E4-40A21B1C1027}"/>
          </ac:picMkLst>
        </pc:picChg>
        <pc:picChg chg="mod">
          <ac:chgData name="Cyprien ARETHUSE" userId="abd46b16-7bf0-4c01-a850-92fb83f61f27" providerId="ADAL" clId="{067C7D3F-9573-4B1A-A9B0-3005DA5BAAAF}" dt="2024-02-01T17:06:43.011" v="15272" actId="1035"/>
          <ac:picMkLst>
            <pc:docMk/>
            <pc:sldMk cId="4212703342" sldId="2147470798"/>
            <ac:picMk id="1026" creationId="{763822DE-398C-6576-D183-B8508D9621E7}"/>
          </ac:picMkLst>
        </pc:picChg>
      </pc:sldChg>
      <pc:sldChg chg="modSp mod">
        <pc:chgData name="Cyprien ARETHUSE" userId="abd46b16-7bf0-4c01-a850-92fb83f61f27" providerId="ADAL" clId="{067C7D3F-9573-4B1A-A9B0-3005DA5BAAAF}" dt="2024-02-02T10:32:59.173" v="16048" actId="20577"/>
        <pc:sldMkLst>
          <pc:docMk/>
          <pc:sldMk cId="29736360" sldId="2147470826"/>
        </pc:sldMkLst>
        <pc:spChg chg="mod">
          <ac:chgData name="Cyprien ARETHUSE" userId="abd46b16-7bf0-4c01-a850-92fb83f61f27" providerId="ADAL" clId="{067C7D3F-9573-4B1A-A9B0-3005DA5BAAAF}" dt="2024-02-02T10:32:59.173" v="16048" actId="20577"/>
          <ac:spMkLst>
            <pc:docMk/>
            <pc:sldMk cId="29736360" sldId="2147470826"/>
            <ac:spMk id="2" creationId="{C5EBD2AC-721A-2E1F-CDB8-7F1A3F0A89B6}"/>
          </ac:spMkLst>
        </pc:spChg>
        <pc:spChg chg="mod">
          <ac:chgData name="Cyprien ARETHUSE" userId="abd46b16-7bf0-4c01-a850-92fb83f61f27" providerId="ADAL" clId="{067C7D3F-9573-4B1A-A9B0-3005DA5BAAAF}" dt="2024-02-01T17:18:14.328" v="15408" actId="13926"/>
          <ac:spMkLst>
            <pc:docMk/>
            <pc:sldMk cId="29736360" sldId="2147470826"/>
            <ac:spMk id="47" creationId="{5ACE338F-AA70-8C28-393B-1687C80E4BA8}"/>
          </ac:spMkLst>
        </pc:spChg>
      </pc:sldChg>
      <pc:sldChg chg="delSp modSp mod ord">
        <pc:chgData name="Cyprien ARETHUSE" userId="abd46b16-7bf0-4c01-a850-92fb83f61f27" providerId="ADAL" clId="{067C7D3F-9573-4B1A-A9B0-3005DA5BAAAF}" dt="2024-01-29T09:21:53.049" v="8066" actId="13926"/>
        <pc:sldMkLst>
          <pc:docMk/>
          <pc:sldMk cId="1139860624" sldId="2147470883"/>
        </pc:sldMkLst>
        <pc:spChg chg="mod">
          <ac:chgData name="Cyprien ARETHUSE" userId="abd46b16-7bf0-4c01-a850-92fb83f61f27" providerId="ADAL" clId="{067C7D3F-9573-4B1A-A9B0-3005DA5BAAAF}" dt="2024-01-29T09:21:53.049" v="8066" actId="13926"/>
          <ac:spMkLst>
            <pc:docMk/>
            <pc:sldMk cId="1139860624" sldId="2147470883"/>
            <ac:spMk id="2" creationId="{79BEB425-9E0E-5DC0-A086-FCE256816139}"/>
          </ac:spMkLst>
        </pc:spChg>
        <pc:spChg chg="del">
          <ac:chgData name="Cyprien ARETHUSE" userId="abd46b16-7bf0-4c01-a850-92fb83f61f27" providerId="ADAL" clId="{067C7D3F-9573-4B1A-A9B0-3005DA5BAAAF}" dt="2024-01-23T17:03:41.439" v="5969" actId="478"/>
          <ac:spMkLst>
            <pc:docMk/>
            <pc:sldMk cId="1139860624" sldId="2147470883"/>
            <ac:spMk id="41" creationId="{FEAE36F9-5FB6-0159-2899-DC9B7718194B}"/>
          </ac:spMkLst>
        </pc:spChg>
        <pc:spChg chg="del">
          <ac:chgData name="Cyprien ARETHUSE" userId="abd46b16-7bf0-4c01-a850-92fb83f61f27" providerId="ADAL" clId="{067C7D3F-9573-4B1A-A9B0-3005DA5BAAAF}" dt="2024-01-23T17:03:41.439" v="5969" actId="478"/>
          <ac:spMkLst>
            <pc:docMk/>
            <pc:sldMk cId="1139860624" sldId="2147470883"/>
            <ac:spMk id="42" creationId="{4690ECC9-EAB8-B850-F79E-A56CA3CE1FFC}"/>
          </ac:spMkLst>
        </pc:spChg>
      </pc:sldChg>
      <pc:sldChg chg="del">
        <pc:chgData name="Cyprien ARETHUSE" userId="abd46b16-7bf0-4c01-a850-92fb83f61f27" providerId="ADAL" clId="{067C7D3F-9573-4B1A-A9B0-3005DA5BAAAF}" dt="2024-02-02T17:02:42.816" v="19520" actId="47"/>
        <pc:sldMkLst>
          <pc:docMk/>
          <pc:sldMk cId="1710549885" sldId="2147470885"/>
        </pc:sldMkLst>
      </pc:sldChg>
      <pc:sldChg chg="delSp modSp mod ord">
        <pc:chgData name="Cyprien ARETHUSE" userId="abd46b16-7bf0-4c01-a850-92fb83f61f27" providerId="ADAL" clId="{067C7D3F-9573-4B1A-A9B0-3005DA5BAAAF}" dt="2024-01-29T17:19:21.567" v="9344" actId="478"/>
        <pc:sldMkLst>
          <pc:docMk/>
          <pc:sldMk cId="1787236388" sldId="2147470885"/>
        </pc:sldMkLst>
        <pc:spChg chg="del">
          <ac:chgData name="Cyprien ARETHUSE" userId="abd46b16-7bf0-4c01-a850-92fb83f61f27" providerId="ADAL" clId="{067C7D3F-9573-4B1A-A9B0-3005DA5BAAAF}" dt="2024-01-29T17:19:21.567" v="9344" actId="478"/>
          <ac:spMkLst>
            <pc:docMk/>
            <pc:sldMk cId="1787236388" sldId="2147470885"/>
            <ac:spMk id="3" creationId="{0C43E541-CB61-90ED-7688-1014584267E5}"/>
          </ac:spMkLst>
        </pc:spChg>
        <pc:spChg chg="mod">
          <ac:chgData name="Cyprien ARETHUSE" userId="abd46b16-7bf0-4c01-a850-92fb83f61f27" providerId="ADAL" clId="{067C7D3F-9573-4B1A-A9B0-3005DA5BAAAF}" dt="2024-01-23T15:48:24.014" v="5957" actId="207"/>
          <ac:spMkLst>
            <pc:docMk/>
            <pc:sldMk cId="1787236388" sldId="2147470885"/>
            <ac:spMk id="8" creationId="{81540782-9568-A02D-4346-F37386AB1C7C}"/>
          </ac:spMkLst>
        </pc:spChg>
        <pc:spChg chg="mod">
          <ac:chgData name="Cyprien ARETHUSE" userId="abd46b16-7bf0-4c01-a850-92fb83f61f27" providerId="ADAL" clId="{067C7D3F-9573-4B1A-A9B0-3005DA5BAAAF}" dt="2024-01-23T15:46:36.755" v="5933" actId="1076"/>
          <ac:spMkLst>
            <pc:docMk/>
            <pc:sldMk cId="1787236388" sldId="2147470885"/>
            <ac:spMk id="22" creationId="{1389C256-4FD5-C59D-F882-884C7E7BEB51}"/>
          </ac:spMkLst>
        </pc:spChg>
        <pc:spChg chg="mod">
          <ac:chgData name="Cyprien ARETHUSE" userId="abd46b16-7bf0-4c01-a850-92fb83f61f27" providerId="ADAL" clId="{067C7D3F-9573-4B1A-A9B0-3005DA5BAAAF}" dt="2024-01-23T15:48:22.196" v="5955" actId="208"/>
          <ac:spMkLst>
            <pc:docMk/>
            <pc:sldMk cId="1787236388" sldId="2147470885"/>
            <ac:spMk id="24" creationId="{869A629E-6478-990A-ACED-8000BE5A7019}"/>
          </ac:spMkLst>
        </pc:spChg>
        <pc:spChg chg="mod">
          <ac:chgData name="Cyprien ARETHUSE" userId="abd46b16-7bf0-4c01-a850-92fb83f61f27" providerId="ADAL" clId="{067C7D3F-9573-4B1A-A9B0-3005DA5BAAAF}" dt="2024-01-23T15:48:19.784" v="5951" actId="208"/>
          <ac:spMkLst>
            <pc:docMk/>
            <pc:sldMk cId="1787236388" sldId="2147470885"/>
            <ac:spMk id="37" creationId="{BBDC9709-D976-CFC3-94DE-8427E753C52F}"/>
          </ac:spMkLst>
        </pc:spChg>
        <pc:spChg chg="mod">
          <ac:chgData name="Cyprien ARETHUSE" userId="abd46b16-7bf0-4c01-a850-92fb83f61f27" providerId="ADAL" clId="{067C7D3F-9573-4B1A-A9B0-3005DA5BAAAF}" dt="2024-01-23T15:48:20.761" v="5953" actId="208"/>
          <ac:spMkLst>
            <pc:docMk/>
            <pc:sldMk cId="1787236388" sldId="2147470885"/>
            <ac:spMk id="50" creationId="{EDCBD7D8-94F9-6077-6ECD-0E516F9D3210}"/>
          </ac:spMkLst>
        </pc:spChg>
        <pc:grpChg chg="mod">
          <ac:chgData name="Cyprien ARETHUSE" userId="abd46b16-7bf0-4c01-a850-92fb83f61f27" providerId="ADAL" clId="{067C7D3F-9573-4B1A-A9B0-3005DA5BAAAF}" dt="2024-01-23T15:46:36.755" v="5933" actId="1076"/>
          <ac:grpSpMkLst>
            <pc:docMk/>
            <pc:sldMk cId="1787236388" sldId="2147470885"/>
            <ac:grpSpMk id="23" creationId="{80B82DB5-12EA-9344-DF31-BB4FDE4E91D6}"/>
          </ac:grpSpMkLst>
        </pc:grpChg>
        <pc:grpChg chg="mod">
          <ac:chgData name="Cyprien ARETHUSE" userId="abd46b16-7bf0-4c01-a850-92fb83f61f27" providerId="ADAL" clId="{067C7D3F-9573-4B1A-A9B0-3005DA5BAAAF}" dt="2024-01-23T15:46:36.755" v="5933" actId="1076"/>
          <ac:grpSpMkLst>
            <pc:docMk/>
            <pc:sldMk cId="1787236388" sldId="2147470885"/>
            <ac:grpSpMk id="25" creationId="{1567ACCE-15AD-234E-D061-4450508DD571}"/>
          </ac:grpSpMkLst>
        </pc:grpChg>
        <pc:grpChg chg="mod">
          <ac:chgData name="Cyprien ARETHUSE" userId="abd46b16-7bf0-4c01-a850-92fb83f61f27" providerId="ADAL" clId="{067C7D3F-9573-4B1A-A9B0-3005DA5BAAAF}" dt="2024-01-23T15:46:36.755" v="5933" actId="1076"/>
          <ac:grpSpMkLst>
            <pc:docMk/>
            <pc:sldMk cId="1787236388" sldId="2147470885"/>
            <ac:grpSpMk id="57" creationId="{993DEF1C-848E-2C68-F4FD-AFC2BFE8130D}"/>
          </ac:grpSpMkLst>
        </pc:grpChg>
        <pc:picChg chg="mod">
          <ac:chgData name="Cyprien ARETHUSE" userId="abd46b16-7bf0-4c01-a850-92fb83f61f27" providerId="ADAL" clId="{067C7D3F-9573-4B1A-A9B0-3005DA5BAAAF}" dt="2024-01-23T15:46:36.755" v="5933" actId="1076"/>
          <ac:picMkLst>
            <pc:docMk/>
            <pc:sldMk cId="1787236388" sldId="2147470885"/>
            <ac:picMk id="26" creationId="{9E645DDB-146E-EA6C-117E-D0663F189561}"/>
          </ac:picMkLst>
        </pc:picChg>
        <pc:picChg chg="mod">
          <ac:chgData name="Cyprien ARETHUSE" userId="abd46b16-7bf0-4c01-a850-92fb83f61f27" providerId="ADAL" clId="{067C7D3F-9573-4B1A-A9B0-3005DA5BAAAF}" dt="2024-01-23T15:46:36.755" v="5933" actId="1076"/>
          <ac:picMkLst>
            <pc:docMk/>
            <pc:sldMk cId="1787236388" sldId="2147470885"/>
            <ac:picMk id="27" creationId="{AB3410B1-DE62-2A7D-D856-1964471F17AF}"/>
          </ac:picMkLst>
        </pc:picChg>
        <pc:picChg chg="mod">
          <ac:chgData name="Cyprien ARETHUSE" userId="abd46b16-7bf0-4c01-a850-92fb83f61f27" providerId="ADAL" clId="{067C7D3F-9573-4B1A-A9B0-3005DA5BAAAF}" dt="2024-01-23T15:46:36.755" v="5933" actId="1076"/>
          <ac:picMkLst>
            <pc:docMk/>
            <pc:sldMk cId="1787236388" sldId="2147470885"/>
            <ac:picMk id="28" creationId="{C0B06534-392A-C05D-0CFF-D772D5CD9CAE}"/>
          </ac:picMkLst>
        </pc:picChg>
        <pc:picChg chg="mod">
          <ac:chgData name="Cyprien ARETHUSE" userId="abd46b16-7bf0-4c01-a850-92fb83f61f27" providerId="ADAL" clId="{067C7D3F-9573-4B1A-A9B0-3005DA5BAAAF}" dt="2024-01-23T15:46:36.755" v="5933" actId="1076"/>
          <ac:picMkLst>
            <pc:docMk/>
            <pc:sldMk cId="1787236388" sldId="2147470885"/>
            <ac:picMk id="29" creationId="{10BD364A-648C-14F4-3768-64EED584DB5D}"/>
          </ac:picMkLst>
        </pc:picChg>
        <pc:picChg chg="del">
          <ac:chgData name="Cyprien ARETHUSE" userId="abd46b16-7bf0-4c01-a850-92fb83f61f27" providerId="ADAL" clId="{067C7D3F-9573-4B1A-A9B0-3005DA5BAAAF}" dt="2024-01-29T17:19:21.567" v="9344" actId="478"/>
          <ac:picMkLst>
            <pc:docMk/>
            <pc:sldMk cId="1787236388" sldId="2147470885"/>
            <ac:picMk id="53" creationId="{A5988D8C-55B8-A88C-347C-0C96D2DC9FA0}"/>
          </ac:picMkLst>
        </pc:picChg>
        <pc:cxnChg chg="mod">
          <ac:chgData name="Cyprien ARETHUSE" userId="abd46b16-7bf0-4c01-a850-92fb83f61f27" providerId="ADAL" clId="{067C7D3F-9573-4B1A-A9B0-3005DA5BAAAF}" dt="2024-01-23T15:48:21.341" v="5954" actId="208"/>
          <ac:cxnSpMkLst>
            <pc:docMk/>
            <pc:sldMk cId="1787236388" sldId="2147470885"/>
            <ac:cxnSpMk id="10" creationId="{78C22478-0170-F40C-198B-BEEC74E9BC86}"/>
          </ac:cxnSpMkLst>
        </pc:cxnChg>
      </pc:sldChg>
      <pc:sldChg chg="addSp delSp modSp mod ord">
        <pc:chgData name="Cyprien ARETHUSE" userId="abd46b16-7bf0-4c01-a850-92fb83f61f27" providerId="ADAL" clId="{067C7D3F-9573-4B1A-A9B0-3005DA5BAAAF}" dt="2024-02-02T10:37:21.073" v="16087" actId="167"/>
        <pc:sldMkLst>
          <pc:docMk/>
          <pc:sldMk cId="2137399364" sldId="2147470896"/>
        </pc:sldMkLst>
        <pc:spChg chg="mod ord">
          <ac:chgData name="Cyprien ARETHUSE" userId="abd46b16-7bf0-4c01-a850-92fb83f61f27" providerId="ADAL" clId="{067C7D3F-9573-4B1A-A9B0-3005DA5BAAAF}" dt="2024-02-02T10:37:21.073" v="16087" actId="167"/>
          <ac:spMkLst>
            <pc:docMk/>
            <pc:sldMk cId="2137399364" sldId="2147470896"/>
            <ac:spMk id="2" creationId="{92B3BA93-CDF9-BDD9-B6F3-9F45915F3D59}"/>
          </ac:spMkLst>
        </pc:spChg>
        <pc:spChg chg="del mod">
          <ac:chgData name="Cyprien ARETHUSE" userId="abd46b16-7bf0-4c01-a850-92fb83f61f27" providerId="ADAL" clId="{067C7D3F-9573-4B1A-A9B0-3005DA5BAAAF}" dt="2024-01-31T14:13:00.628" v="10253" actId="478"/>
          <ac:spMkLst>
            <pc:docMk/>
            <pc:sldMk cId="2137399364" sldId="2147470896"/>
            <ac:spMk id="9" creationId="{706B163F-7708-97E9-8212-076E697FE2FC}"/>
          </ac:spMkLst>
        </pc:spChg>
        <pc:spChg chg="mod">
          <ac:chgData name="Cyprien ARETHUSE" userId="abd46b16-7bf0-4c01-a850-92fb83f61f27" providerId="ADAL" clId="{067C7D3F-9573-4B1A-A9B0-3005DA5BAAAF}" dt="2024-02-01T17:20:36.983" v="15476" actId="20577"/>
          <ac:spMkLst>
            <pc:docMk/>
            <pc:sldMk cId="2137399364" sldId="2147470896"/>
            <ac:spMk id="19" creationId="{450CC1F5-34C8-9D47-E61E-4AA3E04E75C5}"/>
          </ac:spMkLst>
        </pc:spChg>
        <pc:spChg chg="add del mod">
          <ac:chgData name="Cyprien ARETHUSE" userId="abd46b16-7bf0-4c01-a850-92fb83f61f27" providerId="ADAL" clId="{067C7D3F-9573-4B1A-A9B0-3005DA5BAAAF}" dt="2024-01-31T14:14:40.499" v="10300" actId="478"/>
          <ac:spMkLst>
            <pc:docMk/>
            <pc:sldMk cId="2137399364" sldId="2147470896"/>
            <ac:spMk id="22" creationId="{5DC60D43-7DD0-762D-1438-088D459D9B17}"/>
          </ac:spMkLst>
        </pc:spChg>
        <pc:spChg chg="mod">
          <ac:chgData name="Cyprien ARETHUSE" userId="abd46b16-7bf0-4c01-a850-92fb83f61f27" providerId="ADAL" clId="{067C7D3F-9573-4B1A-A9B0-3005DA5BAAAF}" dt="2024-01-31T14:13:39.131" v="10283" actId="6549"/>
          <ac:spMkLst>
            <pc:docMk/>
            <pc:sldMk cId="2137399364" sldId="2147470896"/>
            <ac:spMk id="25" creationId="{B42F8D2A-9953-03C8-1E18-7D8DA53CCE45}"/>
          </ac:spMkLst>
        </pc:spChg>
        <pc:spChg chg="mod">
          <ac:chgData name="Cyprien ARETHUSE" userId="abd46b16-7bf0-4c01-a850-92fb83f61f27" providerId="ADAL" clId="{067C7D3F-9573-4B1A-A9B0-3005DA5BAAAF}" dt="2024-02-01T17:20:29.015" v="15453" actId="20577"/>
          <ac:spMkLst>
            <pc:docMk/>
            <pc:sldMk cId="2137399364" sldId="2147470896"/>
            <ac:spMk id="35" creationId="{6C2F0D4C-EB50-A7AC-DE5F-A2564E1FC3EA}"/>
          </ac:spMkLst>
        </pc:spChg>
        <pc:spChg chg="mod">
          <ac:chgData name="Cyprien ARETHUSE" userId="abd46b16-7bf0-4c01-a850-92fb83f61f27" providerId="ADAL" clId="{067C7D3F-9573-4B1A-A9B0-3005DA5BAAAF}" dt="2024-02-01T17:20:49.907" v="15494" actId="6549"/>
          <ac:spMkLst>
            <pc:docMk/>
            <pc:sldMk cId="2137399364" sldId="2147470896"/>
            <ac:spMk id="38" creationId="{03BC92C9-8904-71BC-377D-D5D242BE88C9}"/>
          </ac:spMkLst>
        </pc:spChg>
        <pc:spChg chg="mod">
          <ac:chgData name="Cyprien ARETHUSE" userId="abd46b16-7bf0-4c01-a850-92fb83f61f27" providerId="ADAL" clId="{067C7D3F-9573-4B1A-A9B0-3005DA5BAAAF}" dt="2024-02-01T17:20:18.357" v="15433" actId="20577"/>
          <ac:spMkLst>
            <pc:docMk/>
            <pc:sldMk cId="2137399364" sldId="2147470896"/>
            <ac:spMk id="39" creationId="{03FE1E16-D62B-422F-E590-61004572A4A7}"/>
          </ac:spMkLst>
        </pc:spChg>
      </pc:sldChg>
      <pc:sldChg chg="del">
        <pc:chgData name="Cyprien ARETHUSE" userId="abd46b16-7bf0-4c01-a850-92fb83f61f27" providerId="ADAL" clId="{067C7D3F-9573-4B1A-A9B0-3005DA5BAAAF}" dt="2024-01-29T13:28:26.746" v="8069" actId="47"/>
        <pc:sldMkLst>
          <pc:docMk/>
          <pc:sldMk cId="3452852227" sldId="2147470898"/>
        </pc:sldMkLst>
      </pc:sldChg>
      <pc:sldChg chg="del">
        <pc:chgData name="Cyprien ARETHUSE" userId="abd46b16-7bf0-4c01-a850-92fb83f61f27" providerId="ADAL" clId="{067C7D3F-9573-4B1A-A9B0-3005DA5BAAAF}" dt="2024-01-29T13:28:26.746" v="8069" actId="47"/>
        <pc:sldMkLst>
          <pc:docMk/>
          <pc:sldMk cId="2777760564" sldId="2147470899"/>
        </pc:sldMkLst>
      </pc:sldChg>
      <pc:sldChg chg="del ord">
        <pc:chgData name="Cyprien ARETHUSE" userId="abd46b16-7bf0-4c01-a850-92fb83f61f27" providerId="ADAL" clId="{067C7D3F-9573-4B1A-A9B0-3005DA5BAAAF}" dt="2024-01-18T13:48:51.532" v="348" actId="47"/>
        <pc:sldMkLst>
          <pc:docMk/>
          <pc:sldMk cId="2445093476" sldId="2147480282"/>
        </pc:sldMkLst>
      </pc:sldChg>
      <pc:sldChg chg="del">
        <pc:chgData name="Cyprien ARETHUSE" userId="abd46b16-7bf0-4c01-a850-92fb83f61f27" providerId="ADAL" clId="{067C7D3F-9573-4B1A-A9B0-3005DA5BAAAF}" dt="2024-02-02T17:02:42.816" v="19520" actId="47"/>
        <pc:sldMkLst>
          <pc:docMk/>
          <pc:sldMk cId="1702353009" sldId="2147480287"/>
        </pc:sldMkLst>
      </pc:sldChg>
      <pc:sldChg chg="addSp delSp modSp mod ord">
        <pc:chgData name="Cyprien ARETHUSE" userId="abd46b16-7bf0-4c01-a850-92fb83f61f27" providerId="ADAL" clId="{067C7D3F-9573-4B1A-A9B0-3005DA5BAAAF}" dt="2024-01-29T17:47:46.130" v="9633" actId="13926"/>
        <pc:sldMkLst>
          <pc:docMk/>
          <pc:sldMk cId="2163271625" sldId="2147480287"/>
        </pc:sldMkLst>
        <pc:spChg chg="mod">
          <ac:chgData name="Cyprien ARETHUSE" userId="abd46b16-7bf0-4c01-a850-92fb83f61f27" providerId="ADAL" clId="{067C7D3F-9573-4B1A-A9B0-3005DA5BAAAF}" dt="2024-01-29T17:37:51.090" v="9467"/>
          <ac:spMkLst>
            <pc:docMk/>
            <pc:sldMk cId="2163271625" sldId="2147480287"/>
            <ac:spMk id="3" creationId="{A1F640A5-A34D-1558-7EA4-8C07178926C3}"/>
          </ac:spMkLst>
        </pc:spChg>
        <pc:spChg chg="mod">
          <ac:chgData name="Cyprien ARETHUSE" userId="abd46b16-7bf0-4c01-a850-92fb83f61f27" providerId="ADAL" clId="{067C7D3F-9573-4B1A-A9B0-3005DA5BAAAF}" dt="2024-01-29T17:38:21.944" v="9472" actId="1076"/>
          <ac:spMkLst>
            <pc:docMk/>
            <pc:sldMk cId="2163271625" sldId="2147480287"/>
            <ac:spMk id="6" creationId="{C2AAE23C-5F9F-7991-50E3-6ED2C26155FE}"/>
          </ac:spMkLst>
        </pc:spChg>
        <pc:spChg chg="add mod">
          <ac:chgData name="Cyprien ARETHUSE" userId="abd46b16-7bf0-4c01-a850-92fb83f61f27" providerId="ADAL" clId="{067C7D3F-9573-4B1A-A9B0-3005DA5BAAAF}" dt="2024-01-29T17:37:22.646" v="9408"/>
          <ac:spMkLst>
            <pc:docMk/>
            <pc:sldMk cId="2163271625" sldId="2147480287"/>
            <ac:spMk id="7" creationId="{DE3DC30B-1B29-BFD4-41C6-3795C4951DF9}"/>
          </ac:spMkLst>
        </pc:spChg>
        <pc:spChg chg="mod">
          <ac:chgData name="Cyprien ARETHUSE" userId="abd46b16-7bf0-4c01-a850-92fb83f61f27" providerId="ADAL" clId="{067C7D3F-9573-4B1A-A9B0-3005DA5BAAAF}" dt="2024-01-29T15:35:29.824" v="8718" actId="1035"/>
          <ac:spMkLst>
            <pc:docMk/>
            <pc:sldMk cId="2163271625" sldId="2147480287"/>
            <ac:spMk id="9" creationId="{460B5401-3D89-A33C-68AE-6A93B1ACCCD3}"/>
          </ac:spMkLst>
        </pc:spChg>
        <pc:spChg chg="mod">
          <ac:chgData name="Cyprien ARETHUSE" userId="abd46b16-7bf0-4c01-a850-92fb83f61f27" providerId="ADAL" clId="{067C7D3F-9573-4B1A-A9B0-3005DA5BAAAF}" dt="2024-01-29T17:37:37.309" v="9434"/>
          <ac:spMkLst>
            <pc:docMk/>
            <pc:sldMk cId="2163271625" sldId="2147480287"/>
            <ac:spMk id="10" creationId="{4DEAEFA3-B2AC-3B06-7C53-E1B5A33F3F8E}"/>
          </ac:spMkLst>
        </pc:spChg>
        <pc:spChg chg="mod">
          <ac:chgData name="Cyprien ARETHUSE" userId="abd46b16-7bf0-4c01-a850-92fb83f61f27" providerId="ADAL" clId="{067C7D3F-9573-4B1A-A9B0-3005DA5BAAAF}" dt="2024-01-18T15:40:29.650" v="2946" actId="1076"/>
          <ac:spMkLst>
            <pc:docMk/>
            <pc:sldMk cId="2163271625" sldId="2147480287"/>
            <ac:spMk id="11" creationId="{358950F6-9D01-2B09-4174-BCA60D5FEC94}"/>
          </ac:spMkLst>
        </pc:spChg>
        <pc:spChg chg="del">
          <ac:chgData name="Cyprien ARETHUSE" userId="abd46b16-7bf0-4c01-a850-92fb83f61f27" providerId="ADAL" clId="{067C7D3F-9573-4B1A-A9B0-3005DA5BAAAF}" dt="2024-01-18T15:39:27.049" v="2833" actId="478"/>
          <ac:spMkLst>
            <pc:docMk/>
            <pc:sldMk cId="2163271625" sldId="2147480287"/>
            <ac:spMk id="13" creationId="{AC097AD5-7585-E783-9380-9E14ED914D75}"/>
          </ac:spMkLst>
        </pc:spChg>
        <pc:spChg chg="del mod">
          <ac:chgData name="Cyprien ARETHUSE" userId="abd46b16-7bf0-4c01-a850-92fb83f61f27" providerId="ADAL" clId="{067C7D3F-9573-4B1A-A9B0-3005DA5BAAAF}" dt="2024-01-18T15:39:10.841" v="2832" actId="478"/>
          <ac:spMkLst>
            <pc:docMk/>
            <pc:sldMk cId="2163271625" sldId="2147480287"/>
            <ac:spMk id="14" creationId="{FDBF9B54-A74B-0910-3261-F6A8CD790A84}"/>
          </ac:spMkLst>
        </pc:spChg>
        <pc:graphicFrameChg chg="mod modGraphic">
          <ac:chgData name="Cyprien ARETHUSE" userId="abd46b16-7bf0-4c01-a850-92fb83f61f27" providerId="ADAL" clId="{067C7D3F-9573-4B1A-A9B0-3005DA5BAAAF}" dt="2024-01-29T17:47:46.130" v="9633" actId="13926"/>
          <ac:graphicFrameMkLst>
            <pc:docMk/>
            <pc:sldMk cId="2163271625" sldId="2147480287"/>
            <ac:graphicFrameMk id="4" creationId="{0E2F88A0-CD37-77A7-8DC3-1C3ABDC6F35D}"/>
          </ac:graphicFrameMkLst>
        </pc:graphicFrameChg>
        <pc:graphicFrameChg chg="modGraphic">
          <ac:chgData name="Cyprien ARETHUSE" userId="abd46b16-7bf0-4c01-a850-92fb83f61f27" providerId="ADAL" clId="{067C7D3F-9573-4B1A-A9B0-3005DA5BAAAF}" dt="2024-01-29T15:38:17.495" v="8760" actId="6549"/>
          <ac:graphicFrameMkLst>
            <pc:docMk/>
            <pc:sldMk cId="2163271625" sldId="2147480287"/>
            <ac:graphicFrameMk id="5" creationId="{CA84C0C7-604A-D5FF-3D64-F2820D651A3E}"/>
          </ac:graphicFrameMkLst>
        </pc:graphicFrameChg>
      </pc:sldChg>
      <pc:sldChg chg="addSp delSp modSp mod ord">
        <pc:chgData name="Cyprien ARETHUSE" userId="abd46b16-7bf0-4c01-a850-92fb83f61f27" providerId="ADAL" clId="{067C7D3F-9573-4B1A-A9B0-3005DA5BAAAF}" dt="2024-01-29T17:12:33.325" v="9149" actId="1076"/>
        <pc:sldMkLst>
          <pc:docMk/>
          <pc:sldMk cId="1501828369" sldId="2147480290"/>
        </pc:sldMkLst>
        <pc:spChg chg="mod">
          <ac:chgData name="Cyprien ARETHUSE" userId="abd46b16-7bf0-4c01-a850-92fb83f61f27" providerId="ADAL" clId="{067C7D3F-9573-4B1A-A9B0-3005DA5BAAAF}" dt="2024-01-29T17:11:07.646" v="9133"/>
          <ac:spMkLst>
            <pc:docMk/>
            <pc:sldMk cId="1501828369" sldId="2147480290"/>
            <ac:spMk id="2" creationId="{5C91E337-74B9-4A35-882F-27BDB4F76934}"/>
          </ac:spMkLst>
        </pc:spChg>
        <pc:spChg chg="mod">
          <ac:chgData name="Cyprien ARETHUSE" userId="abd46b16-7bf0-4c01-a850-92fb83f61f27" providerId="ADAL" clId="{067C7D3F-9573-4B1A-A9B0-3005DA5BAAAF}" dt="2024-01-29T17:12:33.325" v="9149" actId="1076"/>
          <ac:spMkLst>
            <pc:docMk/>
            <pc:sldMk cId="1501828369" sldId="2147480290"/>
            <ac:spMk id="4" creationId="{E641CD1F-FC7E-6BBE-5948-37C517461613}"/>
          </ac:spMkLst>
        </pc:spChg>
        <pc:spChg chg="del mod">
          <ac:chgData name="Cyprien ARETHUSE" userId="abd46b16-7bf0-4c01-a850-92fb83f61f27" providerId="ADAL" clId="{067C7D3F-9573-4B1A-A9B0-3005DA5BAAAF}" dt="2024-01-18T13:48:46.164" v="347" actId="478"/>
          <ac:spMkLst>
            <pc:docMk/>
            <pc:sldMk cId="1501828369" sldId="2147480290"/>
            <ac:spMk id="19" creationId="{4809EE0B-94EB-9D9B-E44F-BAD94F5A2770}"/>
          </ac:spMkLst>
        </pc:spChg>
        <pc:spChg chg="add mod">
          <ac:chgData name="Cyprien ARETHUSE" userId="abd46b16-7bf0-4c01-a850-92fb83f61f27" providerId="ADAL" clId="{067C7D3F-9573-4B1A-A9B0-3005DA5BAAAF}" dt="2024-01-18T13:48:31.109" v="346" actId="1036"/>
          <ac:spMkLst>
            <pc:docMk/>
            <pc:sldMk cId="1501828369" sldId="2147480290"/>
            <ac:spMk id="28" creationId="{A64141C2-3113-8DE7-4526-573ECBF431DE}"/>
          </ac:spMkLst>
        </pc:spChg>
        <pc:spChg chg="add mod">
          <ac:chgData name="Cyprien ARETHUSE" userId="abd46b16-7bf0-4c01-a850-92fb83f61f27" providerId="ADAL" clId="{067C7D3F-9573-4B1A-A9B0-3005DA5BAAAF}" dt="2024-01-18T14:28:58.091" v="1114" actId="20577"/>
          <ac:spMkLst>
            <pc:docMk/>
            <pc:sldMk cId="1501828369" sldId="2147480290"/>
            <ac:spMk id="29" creationId="{1B44C68F-A00D-CB48-FB70-D9A5913B9958}"/>
          </ac:spMkLst>
        </pc:spChg>
        <pc:spChg chg="add mod">
          <ac:chgData name="Cyprien ARETHUSE" userId="abd46b16-7bf0-4c01-a850-92fb83f61f27" providerId="ADAL" clId="{067C7D3F-9573-4B1A-A9B0-3005DA5BAAAF}" dt="2024-01-18T14:29:22.284" v="1133" actId="1036"/>
          <ac:spMkLst>
            <pc:docMk/>
            <pc:sldMk cId="1501828369" sldId="2147480290"/>
            <ac:spMk id="31" creationId="{060BD229-24C8-8401-F3E3-DF588067CAAC}"/>
          </ac:spMkLst>
        </pc:spChg>
        <pc:spChg chg="add mod">
          <ac:chgData name="Cyprien ARETHUSE" userId="abd46b16-7bf0-4c01-a850-92fb83f61f27" providerId="ADAL" clId="{067C7D3F-9573-4B1A-A9B0-3005DA5BAAAF}" dt="2024-01-18T13:48:31.109" v="346" actId="1036"/>
          <ac:spMkLst>
            <pc:docMk/>
            <pc:sldMk cId="1501828369" sldId="2147480290"/>
            <ac:spMk id="32" creationId="{63094160-8112-776C-F4C7-95CFD41F0EBB}"/>
          </ac:spMkLst>
        </pc:spChg>
        <pc:spChg chg="add mod">
          <ac:chgData name="Cyprien ARETHUSE" userId="abd46b16-7bf0-4c01-a850-92fb83f61f27" providerId="ADAL" clId="{067C7D3F-9573-4B1A-A9B0-3005DA5BAAAF}" dt="2024-01-18T13:48:31.109" v="346" actId="1036"/>
          <ac:spMkLst>
            <pc:docMk/>
            <pc:sldMk cId="1501828369" sldId="2147480290"/>
            <ac:spMk id="35" creationId="{3E10EB17-EEEA-CCF4-8CB5-66887DD9E88D}"/>
          </ac:spMkLst>
        </pc:spChg>
        <pc:spChg chg="add mod">
          <ac:chgData name="Cyprien ARETHUSE" userId="abd46b16-7bf0-4c01-a850-92fb83f61f27" providerId="ADAL" clId="{067C7D3F-9573-4B1A-A9B0-3005DA5BAAAF}" dt="2024-01-18T13:48:31.109" v="346" actId="1036"/>
          <ac:spMkLst>
            <pc:docMk/>
            <pc:sldMk cId="1501828369" sldId="2147480290"/>
            <ac:spMk id="42" creationId="{5D8F32D1-C840-2AFD-EA24-5189C838EB61}"/>
          </ac:spMkLst>
        </pc:spChg>
        <pc:spChg chg="add mod">
          <ac:chgData name="Cyprien ARETHUSE" userId="abd46b16-7bf0-4c01-a850-92fb83f61f27" providerId="ADAL" clId="{067C7D3F-9573-4B1A-A9B0-3005DA5BAAAF}" dt="2024-01-18T13:48:31.109" v="346" actId="1036"/>
          <ac:spMkLst>
            <pc:docMk/>
            <pc:sldMk cId="1501828369" sldId="2147480290"/>
            <ac:spMk id="43" creationId="{35F27379-DDDF-5B3A-E3B3-898784F8D850}"/>
          </ac:spMkLst>
        </pc:spChg>
        <pc:spChg chg="add mod">
          <ac:chgData name="Cyprien ARETHUSE" userId="abd46b16-7bf0-4c01-a850-92fb83f61f27" providerId="ADAL" clId="{067C7D3F-9573-4B1A-A9B0-3005DA5BAAAF}" dt="2024-01-18T14:28:43.922" v="1103" actId="20577"/>
          <ac:spMkLst>
            <pc:docMk/>
            <pc:sldMk cId="1501828369" sldId="2147480290"/>
            <ac:spMk id="45" creationId="{342146C9-3AE2-24E5-54BA-901F52F86A95}"/>
          </ac:spMkLst>
        </pc:spChg>
        <pc:spChg chg="add mod">
          <ac:chgData name="Cyprien ARETHUSE" userId="abd46b16-7bf0-4c01-a850-92fb83f61f27" providerId="ADAL" clId="{067C7D3F-9573-4B1A-A9B0-3005DA5BAAAF}" dt="2024-01-29T17:12:05.149" v="9148" actId="20577"/>
          <ac:spMkLst>
            <pc:docMk/>
            <pc:sldMk cId="1501828369" sldId="2147480290"/>
            <ac:spMk id="47" creationId="{3E46A3BE-1601-00B1-6BCE-CAD6E55A08A6}"/>
          </ac:spMkLst>
        </pc:spChg>
        <pc:spChg chg="add mod">
          <ac:chgData name="Cyprien ARETHUSE" userId="abd46b16-7bf0-4c01-a850-92fb83f61f27" providerId="ADAL" clId="{067C7D3F-9573-4B1A-A9B0-3005DA5BAAAF}" dt="2024-01-18T13:48:31.109" v="346" actId="1036"/>
          <ac:spMkLst>
            <pc:docMk/>
            <pc:sldMk cId="1501828369" sldId="2147480290"/>
            <ac:spMk id="49" creationId="{C0380816-51B3-EEE3-8F57-A5C74F58BBC2}"/>
          </ac:spMkLst>
        </pc:spChg>
        <pc:spChg chg="mod">
          <ac:chgData name="Cyprien ARETHUSE" userId="abd46b16-7bf0-4c01-a850-92fb83f61f27" providerId="ADAL" clId="{067C7D3F-9573-4B1A-A9B0-3005DA5BAAAF}" dt="2024-01-18T13:48:31.109" v="346" actId="1036"/>
          <ac:spMkLst>
            <pc:docMk/>
            <pc:sldMk cId="1501828369" sldId="2147480290"/>
            <ac:spMk id="51" creationId="{B429B38F-DF09-604F-24D2-3685D4763F3D}"/>
          </ac:spMkLst>
        </pc:spChg>
        <pc:spChg chg="add mod">
          <ac:chgData name="Cyprien ARETHUSE" userId="abd46b16-7bf0-4c01-a850-92fb83f61f27" providerId="ADAL" clId="{067C7D3F-9573-4B1A-A9B0-3005DA5BAAAF}" dt="2024-01-18T13:48:31.109" v="346" actId="1036"/>
          <ac:spMkLst>
            <pc:docMk/>
            <pc:sldMk cId="1501828369" sldId="2147480290"/>
            <ac:spMk id="54" creationId="{FA1B747B-1A36-F63B-5058-228BAE2CC832}"/>
          </ac:spMkLst>
        </pc:spChg>
        <pc:spChg chg="add mod">
          <ac:chgData name="Cyprien ARETHUSE" userId="abd46b16-7bf0-4c01-a850-92fb83f61f27" providerId="ADAL" clId="{067C7D3F-9573-4B1A-A9B0-3005DA5BAAAF}" dt="2024-01-18T13:48:31.109" v="346" actId="1036"/>
          <ac:spMkLst>
            <pc:docMk/>
            <pc:sldMk cId="1501828369" sldId="2147480290"/>
            <ac:spMk id="55" creationId="{89781E96-E0DF-1F0A-2100-D52587006FE0}"/>
          </ac:spMkLst>
        </pc:spChg>
        <pc:spChg chg="add mod">
          <ac:chgData name="Cyprien ARETHUSE" userId="abd46b16-7bf0-4c01-a850-92fb83f61f27" providerId="ADAL" clId="{067C7D3F-9573-4B1A-A9B0-3005DA5BAAAF}" dt="2024-01-18T13:48:31.109" v="346" actId="1036"/>
          <ac:spMkLst>
            <pc:docMk/>
            <pc:sldMk cId="1501828369" sldId="2147480290"/>
            <ac:spMk id="56" creationId="{C2F4E1BA-F137-D5BB-7BA0-EC95BD5C6E05}"/>
          </ac:spMkLst>
        </pc:spChg>
        <pc:spChg chg="add mod">
          <ac:chgData name="Cyprien ARETHUSE" userId="abd46b16-7bf0-4c01-a850-92fb83f61f27" providerId="ADAL" clId="{067C7D3F-9573-4B1A-A9B0-3005DA5BAAAF}" dt="2024-01-18T13:48:31.109" v="346" actId="1036"/>
          <ac:spMkLst>
            <pc:docMk/>
            <pc:sldMk cId="1501828369" sldId="2147480290"/>
            <ac:spMk id="58" creationId="{C8E6C7F3-8386-E393-80C1-46BE824022F2}"/>
          </ac:spMkLst>
        </pc:spChg>
        <pc:spChg chg="add mod">
          <ac:chgData name="Cyprien ARETHUSE" userId="abd46b16-7bf0-4c01-a850-92fb83f61f27" providerId="ADAL" clId="{067C7D3F-9573-4B1A-A9B0-3005DA5BAAAF}" dt="2024-01-18T13:48:31.109" v="346" actId="1036"/>
          <ac:spMkLst>
            <pc:docMk/>
            <pc:sldMk cId="1501828369" sldId="2147480290"/>
            <ac:spMk id="59" creationId="{9ADEB93B-92F1-B934-5EE0-F824F01CB4AE}"/>
          </ac:spMkLst>
        </pc:spChg>
        <pc:spChg chg="add mod">
          <ac:chgData name="Cyprien ARETHUSE" userId="abd46b16-7bf0-4c01-a850-92fb83f61f27" providerId="ADAL" clId="{067C7D3F-9573-4B1A-A9B0-3005DA5BAAAF}" dt="2024-01-18T13:48:31.109" v="346" actId="1036"/>
          <ac:spMkLst>
            <pc:docMk/>
            <pc:sldMk cId="1501828369" sldId="2147480290"/>
            <ac:spMk id="61" creationId="{90908950-2625-6C0E-AED2-6370D2BB44F0}"/>
          </ac:spMkLst>
        </pc:spChg>
        <pc:spChg chg="add mod">
          <ac:chgData name="Cyprien ARETHUSE" userId="abd46b16-7bf0-4c01-a850-92fb83f61f27" providerId="ADAL" clId="{067C7D3F-9573-4B1A-A9B0-3005DA5BAAAF}" dt="2024-01-18T15:15:17.579" v="1536" actId="5793"/>
          <ac:spMkLst>
            <pc:docMk/>
            <pc:sldMk cId="1501828369" sldId="2147480290"/>
            <ac:spMk id="62" creationId="{FD861059-ED2E-6DA3-8655-29A3DC3162CE}"/>
          </ac:spMkLst>
        </pc:spChg>
        <pc:spChg chg="add mod">
          <ac:chgData name="Cyprien ARETHUSE" userId="abd46b16-7bf0-4c01-a850-92fb83f61f27" providerId="ADAL" clId="{067C7D3F-9573-4B1A-A9B0-3005DA5BAAAF}" dt="2024-01-18T13:48:31.109" v="346" actId="1036"/>
          <ac:spMkLst>
            <pc:docMk/>
            <pc:sldMk cId="1501828369" sldId="2147480290"/>
            <ac:spMk id="64" creationId="{B727713A-EBF8-01A7-BB9A-1E585F7FB3BB}"/>
          </ac:spMkLst>
        </pc:spChg>
        <pc:spChg chg="add mod">
          <ac:chgData name="Cyprien ARETHUSE" userId="abd46b16-7bf0-4c01-a850-92fb83f61f27" providerId="ADAL" clId="{067C7D3F-9573-4B1A-A9B0-3005DA5BAAAF}" dt="2024-01-18T13:48:31.109" v="346" actId="1036"/>
          <ac:spMkLst>
            <pc:docMk/>
            <pc:sldMk cId="1501828369" sldId="2147480290"/>
            <ac:spMk id="65" creationId="{7C1DBA7E-AF5C-D860-DA8F-27382A93C6E9}"/>
          </ac:spMkLst>
        </pc:spChg>
        <pc:spChg chg="add mod">
          <ac:chgData name="Cyprien ARETHUSE" userId="abd46b16-7bf0-4c01-a850-92fb83f61f27" providerId="ADAL" clId="{067C7D3F-9573-4B1A-A9B0-3005DA5BAAAF}" dt="2024-01-18T13:48:31.109" v="346" actId="1036"/>
          <ac:spMkLst>
            <pc:docMk/>
            <pc:sldMk cId="1501828369" sldId="2147480290"/>
            <ac:spMk id="67" creationId="{1F3201B3-4DD1-9B98-AAC1-E24B0DADC45E}"/>
          </ac:spMkLst>
        </pc:spChg>
        <pc:spChg chg="add mod">
          <ac:chgData name="Cyprien ARETHUSE" userId="abd46b16-7bf0-4c01-a850-92fb83f61f27" providerId="ADAL" clId="{067C7D3F-9573-4B1A-A9B0-3005DA5BAAAF}" dt="2024-01-18T13:48:31.109" v="346" actId="1036"/>
          <ac:spMkLst>
            <pc:docMk/>
            <pc:sldMk cId="1501828369" sldId="2147480290"/>
            <ac:spMk id="68" creationId="{DFBCA435-7E04-4C47-68F0-168E577F7C06}"/>
          </ac:spMkLst>
        </pc:spChg>
        <pc:spChg chg="add mod">
          <ac:chgData name="Cyprien ARETHUSE" userId="abd46b16-7bf0-4c01-a850-92fb83f61f27" providerId="ADAL" clId="{067C7D3F-9573-4B1A-A9B0-3005DA5BAAAF}" dt="2024-01-18T13:48:31.109" v="346" actId="1036"/>
          <ac:spMkLst>
            <pc:docMk/>
            <pc:sldMk cId="1501828369" sldId="2147480290"/>
            <ac:spMk id="70" creationId="{E957D463-F61E-965F-2AA3-2D3FA3AD6B7F}"/>
          </ac:spMkLst>
        </pc:spChg>
        <pc:spChg chg="add mod">
          <ac:chgData name="Cyprien ARETHUSE" userId="abd46b16-7bf0-4c01-a850-92fb83f61f27" providerId="ADAL" clId="{067C7D3F-9573-4B1A-A9B0-3005DA5BAAAF}" dt="2024-01-18T13:48:31.109" v="346" actId="1036"/>
          <ac:spMkLst>
            <pc:docMk/>
            <pc:sldMk cId="1501828369" sldId="2147480290"/>
            <ac:spMk id="71" creationId="{F43B1B3F-C72A-E054-4FA0-440E95810489}"/>
          </ac:spMkLst>
        </pc:spChg>
        <pc:spChg chg="add del mod">
          <ac:chgData name="Cyprien ARETHUSE" userId="abd46b16-7bf0-4c01-a850-92fb83f61f27" providerId="ADAL" clId="{067C7D3F-9573-4B1A-A9B0-3005DA5BAAAF}" dt="2024-01-29T17:11:47.736" v="9135" actId="478"/>
          <ac:spMkLst>
            <pc:docMk/>
            <pc:sldMk cId="1501828369" sldId="2147480290"/>
            <ac:spMk id="76" creationId="{681E225F-CEF4-3B8B-6657-1BA8DEF7F470}"/>
          </ac:spMkLst>
        </pc:spChg>
        <pc:graphicFrameChg chg="add mod">
          <ac:chgData name="Cyprien ARETHUSE" userId="abd46b16-7bf0-4c01-a850-92fb83f61f27" providerId="ADAL" clId="{067C7D3F-9573-4B1A-A9B0-3005DA5BAAAF}" dt="2024-01-18T13:48:31.109" v="346" actId="1036"/>
          <ac:graphicFrameMkLst>
            <pc:docMk/>
            <pc:sldMk cId="1501828369" sldId="2147480290"/>
            <ac:graphicFrameMk id="20" creationId="{57E2A505-721E-E48E-436B-FF4100794D61}"/>
          </ac:graphicFrameMkLst>
        </pc:graphicFrameChg>
        <pc:cxnChg chg="add mod">
          <ac:chgData name="Cyprien ARETHUSE" userId="abd46b16-7bf0-4c01-a850-92fb83f61f27" providerId="ADAL" clId="{067C7D3F-9573-4B1A-A9B0-3005DA5BAAAF}" dt="2024-01-18T13:48:31.109" v="346" actId="1036"/>
          <ac:cxnSpMkLst>
            <pc:docMk/>
            <pc:sldMk cId="1501828369" sldId="2147480290"/>
            <ac:cxnSpMk id="57" creationId="{C27D6171-3691-ABBD-E7E5-A3D58EB8771B}"/>
          </ac:cxnSpMkLst>
        </pc:cxnChg>
        <pc:cxnChg chg="add mod">
          <ac:chgData name="Cyprien ARETHUSE" userId="abd46b16-7bf0-4c01-a850-92fb83f61f27" providerId="ADAL" clId="{067C7D3F-9573-4B1A-A9B0-3005DA5BAAAF}" dt="2024-01-18T13:48:31.109" v="346" actId="1036"/>
          <ac:cxnSpMkLst>
            <pc:docMk/>
            <pc:sldMk cId="1501828369" sldId="2147480290"/>
            <ac:cxnSpMk id="60" creationId="{AA1A8815-2B5E-B3AB-B69F-F1B5C6B92FDF}"/>
          </ac:cxnSpMkLst>
        </pc:cxnChg>
        <pc:cxnChg chg="add mod">
          <ac:chgData name="Cyprien ARETHUSE" userId="abd46b16-7bf0-4c01-a850-92fb83f61f27" providerId="ADAL" clId="{067C7D3F-9573-4B1A-A9B0-3005DA5BAAAF}" dt="2024-01-18T13:48:31.109" v="346" actId="1036"/>
          <ac:cxnSpMkLst>
            <pc:docMk/>
            <pc:sldMk cId="1501828369" sldId="2147480290"/>
            <ac:cxnSpMk id="63" creationId="{89ECDFF0-B1A9-D3A2-8360-8D265B657254}"/>
          </ac:cxnSpMkLst>
        </pc:cxnChg>
        <pc:cxnChg chg="add mod">
          <ac:chgData name="Cyprien ARETHUSE" userId="abd46b16-7bf0-4c01-a850-92fb83f61f27" providerId="ADAL" clId="{067C7D3F-9573-4B1A-A9B0-3005DA5BAAAF}" dt="2024-01-18T13:48:31.109" v="346" actId="1036"/>
          <ac:cxnSpMkLst>
            <pc:docMk/>
            <pc:sldMk cId="1501828369" sldId="2147480290"/>
            <ac:cxnSpMk id="66" creationId="{7F1C1366-89F1-158E-CF4D-26C88B86EBEF}"/>
          </ac:cxnSpMkLst>
        </pc:cxnChg>
        <pc:cxnChg chg="add mod">
          <ac:chgData name="Cyprien ARETHUSE" userId="abd46b16-7bf0-4c01-a850-92fb83f61f27" providerId="ADAL" clId="{067C7D3F-9573-4B1A-A9B0-3005DA5BAAAF}" dt="2024-01-18T13:48:31.109" v="346" actId="1036"/>
          <ac:cxnSpMkLst>
            <pc:docMk/>
            <pc:sldMk cId="1501828369" sldId="2147480290"/>
            <ac:cxnSpMk id="69" creationId="{313C9BA5-6FE9-38E3-8045-C0C61124D188}"/>
          </ac:cxnSpMkLst>
        </pc:cxnChg>
      </pc:sldChg>
      <pc:sldChg chg="modSp mod">
        <pc:chgData name="Cyprien ARETHUSE" userId="abd46b16-7bf0-4c01-a850-92fb83f61f27" providerId="ADAL" clId="{067C7D3F-9573-4B1A-A9B0-3005DA5BAAAF}" dt="2024-02-02T10:39:22.823" v="16089" actId="20577"/>
        <pc:sldMkLst>
          <pc:docMk/>
          <pc:sldMk cId="3389911945" sldId="2147480290"/>
        </pc:sldMkLst>
        <pc:spChg chg="mod">
          <ac:chgData name="Cyprien ARETHUSE" userId="abd46b16-7bf0-4c01-a850-92fb83f61f27" providerId="ADAL" clId="{067C7D3F-9573-4B1A-A9B0-3005DA5BAAAF}" dt="2024-02-02T10:39:22.823" v="16089" actId="20577"/>
          <ac:spMkLst>
            <pc:docMk/>
            <pc:sldMk cId="3389911945" sldId="2147480290"/>
            <ac:spMk id="2" creationId="{5C91E337-74B9-4A35-882F-27BDB4F76934}"/>
          </ac:spMkLst>
        </pc:spChg>
        <pc:spChg chg="mod">
          <ac:chgData name="Cyprien ARETHUSE" userId="abd46b16-7bf0-4c01-a850-92fb83f61f27" providerId="ADAL" clId="{067C7D3F-9573-4B1A-A9B0-3005DA5BAAAF}" dt="2024-02-02T10:36:52.135" v="16085" actId="1037"/>
          <ac:spMkLst>
            <pc:docMk/>
            <pc:sldMk cId="3389911945" sldId="2147480290"/>
            <ac:spMk id="3" creationId="{47B465FB-301B-E616-F217-55DFB61789BD}"/>
          </ac:spMkLst>
        </pc:spChg>
      </pc:sldChg>
      <pc:sldChg chg="addSp delSp modSp del mod ord">
        <pc:chgData name="Cyprien ARETHUSE" userId="abd46b16-7bf0-4c01-a850-92fb83f61f27" providerId="ADAL" clId="{067C7D3F-9573-4B1A-A9B0-3005DA5BAAAF}" dt="2024-01-22T15:57:07.940" v="5495" actId="47"/>
        <pc:sldMkLst>
          <pc:docMk/>
          <pc:sldMk cId="1166187458" sldId="2147480291"/>
        </pc:sldMkLst>
        <pc:spChg chg="mod">
          <ac:chgData name="Cyprien ARETHUSE" userId="abd46b16-7bf0-4c01-a850-92fb83f61f27" providerId="ADAL" clId="{067C7D3F-9573-4B1A-A9B0-3005DA5BAAAF}" dt="2024-01-22T13:51:43.258" v="3052" actId="113"/>
          <ac:spMkLst>
            <pc:docMk/>
            <pc:sldMk cId="1166187458" sldId="2147480291"/>
            <ac:spMk id="6" creationId="{5EDEE347-0AA0-5A05-93DA-157ED78D782A}"/>
          </ac:spMkLst>
        </pc:spChg>
        <pc:spChg chg="mod">
          <ac:chgData name="Cyprien ARETHUSE" userId="abd46b16-7bf0-4c01-a850-92fb83f61f27" providerId="ADAL" clId="{067C7D3F-9573-4B1A-A9B0-3005DA5BAAAF}" dt="2024-01-18T14:43:48.718" v="1223" actId="404"/>
          <ac:spMkLst>
            <pc:docMk/>
            <pc:sldMk cId="1166187458" sldId="2147480291"/>
            <ac:spMk id="19" creationId="{4809EE0B-94EB-9D9B-E44F-BAD94F5A2770}"/>
          </ac:spMkLst>
        </pc:spChg>
        <pc:spChg chg="mod">
          <ac:chgData name="Cyprien ARETHUSE" userId="abd46b16-7bf0-4c01-a850-92fb83f61f27" providerId="ADAL" clId="{067C7D3F-9573-4B1A-A9B0-3005DA5BAAAF}" dt="2024-01-18T14:43:48.718" v="1223" actId="404"/>
          <ac:spMkLst>
            <pc:docMk/>
            <pc:sldMk cId="1166187458" sldId="2147480291"/>
            <ac:spMk id="51" creationId="{B429B38F-DF09-604F-24D2-3685D4763F3D}"/>
          </ac:spMkLst>
        </pc:spChg>
        <pc:spChg chg="mod">
          <ac:chgData name="Cyprien ARETHUSE" userId="abd46b16-7bf0-4c01-a850-92fb83f61f27" providerId="ADAL" clId="{067C7D3F-9573-4B1A-A9B0-3005DA5BAAAF}" dt="2024-01-18T14:52:08.780" v="1240" actId="1035"/>
          <ac:spMkLst>
            <pc:docMk/>
            <pc:sldMk cId="1166187458" sldId="2147480291"/>
            <ac:spMk id="55" creationId="{D47BC1CE-6DCC-8F52-517D-820434AA3E23}"/>
          </ac:spMkLst>
        </pc:spChg>
        <pc:spChg chg="mod">
          <ac:chgData name="Cyprien ARETHUSE" userId="abd46b16-7bf0-4c01-a850-92fb83f61f27" providerId="ADAL" clId="{067C7D3F-9573-4B1A-A9B0-3005DA5BAAAF}" dt="2024-01-18T14:52:08.780" v="1240" actId="1035"/>
          <ac:spMkLst>
            <pc:docMk/>
            <pc:sldMk cId="1166187458" sldId="2147480291"/>
            <ac:spMk id="56" creationId="{0E5CC194-AF09-A46A-398D-C593B46D1A6E}"/>
          </ac:spMkLst>
        </pc:spChg>
        <pc:spChg chg="mod">
          <ac:chgData name="Cyprien ARETHUSE" userId="abd46b16-7bf0-4c01-a850-92fb83f61f27" providerId="ADAL" clId="{067C7D3F-9573-4B1A-A9B0-3005DA5BAAAF}" dt="2024-01-18T14:52:08.780" v="1240" actId="1035"/>
          <ac:spMkLst>
            <pc:docMk/>
            <pc:sldMk cId="1166187458" sldId="2147480291"/>
            <ac:spMk id="57" creationId="{99C92116-6F6D-72E1-1593-415BDFA3142A}"/>
          </ac:spMkLst>
        </pc:spChg>
        <pc:spChg chg="mod">
          <ac:chgData name="Cyprien ARETHUSE" userId="abd46b16-7bf0-4c01-a850-92fb83f61f27" providerId="ADAL" clId="{067C7D3F-9573-4B1A-A9B0-3005DA5BAAAF}" dt="2024-01-18T14:52:08.780" v="1240" actId="1035"/>
          <ac:spMkLst>
            <pc:docMk/>
            <pc:sldMk cId="1166187458" sldId="2147480291"/>
            <ac:spMk id="58" creationId="{A3A7320F-E106-BA70-7867-22AF9738BF62}"/>
          </ac:spMkLst>
        </pc:spChg>
        <pc:spChg chg="mod">
          <ac:chgData name="Cyprien ARETHUSE" userId="abd46b16-7bf0-4c01-a850-92fb83f61f27" providerId="ADAL" clId="{067C7D3F-9573-4B1A-A9B0-3005DA5BAAAF}" dt="2024-01-18T14:52:08.780" v="1240" actId="1035"/>
          <ac:spMkLst>
            <pc:docMk/>
            <pc:sldMk cId="1166187458" sldId="2147480291"/>
            <ac:spMk id="59" creationId="{E998013C-E937-AEF7-B441-1DD56E9A352B}"/>
          </ac:spMkLst>
        </pc:spChg>
        <pc:spChg chg="mod">
          <ac:chgData name="Cyprien ARETHUSE" userId="abd46b16-7bf0-4c01-a850-92fb83f61f27" providerId="ADAL" clId="{067C7D3F-9573-4B1A-A9B0-3005DA5BAAAF}" dt="2024-01-18T14:52:08.780" v="1240" actId="1035"/>
          <ac:spMkLst>
            <pc:docMk/>
            <pc:sldMk cId="1166187458" sldId="2147480291"/>
            <ac:spMk id="60" creationId="{65199E11-309F-4751-0BF4-A0A561FF63D3}"/>
          </ac:spMkLst>
        </pc:spChg>
        <pc:spChg chg="add mod">
          <ac:chgData name="Cyprien ARETHUSE" userId="abd46b16-7bf0-4c01-a850-92fb83f61f27" providerId="ADAL" clId="{067C7D3F-9573-4B1A-A9B0-3005DA5BAAAF}" dt="2024-01-18T14:52:08.780" v="1240" actId="1035"/>
          <ac:spMkLst>
            <pc:docMk/>
            <pc:sldMk cId="1166187458" sldId="2147480291"/>
            <ac:spMk id="61" creationId="{A67EB9B9-DE11-722D-CA4F-B35C1B24FF6B}"/>
          </ac:spMkLst>
        </pc:spChg>
        <pc:spChg chg="mod">
          <ac:chgData name="Cyprien ARETHUSE" userId="abd46b16-7bf0-4c01-a850-92fb83f61f27" providerId="ADAL" clId="{067C7D3F-9573-4B1A-A9B0-3005DA5BAAAF}" dt="2024-01-18T14:51:44.415" v="1229"/>
          <ac:spMkLst>
            <pc:docMk/>
            <pc:sldMk cId="1166187458" sldId="2147480291"/>
            <ac:spMk id="63" creationId="{91F1DADD-FBA2-CDDD-6553-FD9EF706C391}"/>
          </ac:spMkLst>
        </pc:spChg>
        <pc:spChg chg="mod">
          <ac:chgData name="Cyprien ARETHUSE" userId="abd46b16-7bf0-4c01-a850-92fb83f61f27" providerId="ADAL" clId="{067C7D3F-9573-4B1A-A9B0-3005DA5BAAAF}" dt="2024-01-18T14:51:44.415" v="1229"/>
          <ac:spMkLst>
            <pc:docMk/>
            <pc:sldMk cId="1166187458" sldId="2147480291"/>
            <ac:spMk id="64" creationId="{8C9FFE73-5C4D-1CE0-9641-520B99447752}"/>
          </ac:spMkLst>
        </pc:spChg>
        <pc:spChg chg="mod">
          <ac:chgData name="Cyprien ARETHUSE" userId="abd46b16-7bf0-4c01-a850-92fb83f61f27" providerId="ADAL" clId="{067C7D3F-9573-4B1A-A9B0-3005DA5BAAAF}" dt="2024-01-18T14:51:44.415" v="1229"/>
          <ac:spMkLst>
            <pc:docMk/>
            <pc:sldMk cId="1166187458" sldId="2147480291"/>
            <ac:spMk id="65" creationId="{9F9FA1BE-D708-572C-BA61-838510AC4FAA}"/>
          </ac:spMkLst>
        </pc:spChg>
        <pc:spChg chg="mod">
          <ac:chgData name="Cyprien ARETHUSE" userId="abd46b16-7bf0-4c01-a850-92fb83f61f27" providerId="ADAL" clId="{067C7D3F-9573-4B1A-A9B0-3005DA5BAAAF}" dt="2024-01-18T14:51:44.415" v="1229"/>
          <ac:spMkLst>
            <pc:docMk/>
            <pc:sldMk cId="1166187458" sldId="2147480291"/>
            <ac:spMk id="66" creationId="{B900BE8A-FE12-5C9B-6B2E-FCEDB5BED75D}"/>
          </ac:spMkLst>
        </pc:spChg>
        <pc:spChg chg="mod">
          <ac:chgData name="Cyprien ARETHUSE" userId="abd46b16-7bf0-4c01-a850-92fb83f61f27" providerId="ADAL" clId="{067C7D3F-9573-4B1A-A9B0-3005DA5BAAAF}" dt="2024-01-18T14:51:44.415" v="1229"/>
          <ac:spMkLst>
            <pc:docMk/>
            <pc:sldMk cId="1166187458" sldId="2147480291"/>
            <ac:spMk id="67" creationId="{9293408C-3953-F64D-DCEE-31D1FE168FAA}"/>
          </ac:spMkLst>
        </pc:spChg>
        <pc:spChg chg="mod">
          <ac:chgData name="Cyprien ARETHUSE" userId="abd46b16-7bf0-4c01-a850-92fb83f61f27" providerId="ADAL" clId="{067C7D3F-9573-4B1A-A9B0-3005DA5BAAAF}" dt="2024-01-18T14:51:44.415" v="1229"/>
          <ac:spMkLst>
            <pc:docMk/>
            <pc:sldMk cId="1166187458" sldId="2147480291"/>
            <ac:spMk id="68" creationId="{52D454E3-458A-CF4B-26AD-179361C004D5}"/>
          </ac:spMkLst>
        </pc:spChg>
        <pc:spChg chg="mod">
          <ac:chgData name="Cyprien ARETHUSE" userId="abd46b16-7bf0-4c01-a850-92fb83f61f27" providerId="ADAL" clId="{067C7D3F-9573-4B1A-A9B0-3005DA5BAAAF}" dt="2024-01-18T14:51:44.415" v="1229"/>
          <ac:spMkLst>
            <pc:docMk/>
            <pc:sldMk cId="1166187458" sldId="2147480291"/>
            <ac:spMk id="69" creationId="{F5F873AB-2D77-79D2-BB97-8FBF1BB6801A}"/>
          </ac:spMkLst>
        </pc:spChg>
        <pc:spChg chg="mod">
          <ac:chgData name="Cyprien ARETHUSE" userId="abd46b16-7bf0-4c01-a850-92fb83f61f27" providerId="ADAL" clId="{067C7D3F-9573-4B1A-A9B0-3005DA5BAAAF}" dt="2024-01-18T14:51:44.415" v="1229"/>
          <ac:spMkLst>
            <pc:docMk/>
            <pc:sldMk cId="1166187458" sldId="2147480291"/>
            <ac:spMk id="70" creationId="{C7ED185D-609A-8254-6E4F-10FF4232F658}"/>
          </ac:spMkLst>
        </pc:spChg>
        <pc:spChg chg="mod">
          <ac:chgData name="Cyprien ARETHUSE" userId="abd46b16-7bf0-4c01-a850-92fb83f61f27" providerId="ADAL" clId="{067C7D3F-9573-4B1A-A9B0-3005DA5BAAAF}" dt="2024-01-18T14:51:44.415" v="1229"/>
          <ac:spMkLst>
            <pc:docMk/>
            <pc:sldMk cId="1166187458" sldId="2147480291"/>
            <ac:spMk id="71" creationId="{80E4448D-366C-9B60-2F61-B5B11C4767D2}"/>
          </ac:spMkLst>
        </pc:spChg>
        <pc:spChg chg="mod">
          <ac:chgData name="Cyprien ARETHUSE" userId="abd46b16-7bf0-4c01-a850-92fb83f61f27" providerId="ADAL" clId="{067C7D3F-9573-4B1A-A9B0-3005DA5BAAAF}" dt="2024-01-18T14:51:44.415" v="1229"/>
          <ac:spMkLst>
            <pc:docMk/>
            <pc:sldMk cId="1166187458" sldId="2147480291"/>
            <ac:spMk id="72" creationId="{59058E95-64DE-61D7-920D-4E4B02784633}"/>
          </ac:spMkLst>
        </pc:spChg>
        <pc:spChg chg="mod">
          <ac:chgData name="Cyprien ARETHUSE" userId="abd46b16-7bf0-4c01-a850-92fb83f61f27" providerId="ADAL" clId="{067C7D3F-9573-4B1A-A9B0-3005DA5BAAAF}" dt="2024-01-18T14:51:44.415" v="1229"/>
          <ac:spMkLst>
            <pc:docMk/>
            <pc:sldMk cId="1166187458" sldId="2147480291"/>
            <ac:spMk id="73" creationId="{2CEE280D-6363-0737-2F6A-5728D7A51922}"/>
          </ac:spMkLst>
        </pc:spChg>
        <pc:spChg chg="mod">
          <ac:chgData name="Cyprien ARETHUSE" userId="abd46b16-7bf0-4c01-a850-92fb83f61f27" providerId="ADAL" clId="{067C7D3F-9573-4B1A-A9B0-3005DA5BAAAF}" dt="2024-01-18T14:51:44.415" v="1229"/>
          <ac:spMkLst>
            <pc:docMk/>
            <pc:sldMk cId="1166187458" sldId="2147480291"/>
            <ac:spMk id="74" creationId="{0DCFCEF6-8A25-20D0-D876-803A721D0912}"/>
          </ac:spMkLst>
        </pc:spChg>
        <pc:spChg chg="mod">
          <ac:chgData name="Cyprien ARETHUSE" userId="abd46b16-7bf0-4c01-a850-92fb83f61f27" providerId="ADAL" clId="{067C7D3F-9573-4B1A-A9B0-3005DA5BAAAF}" dt="2024-01-18T14:51:44.415" v="1229"/>
          <ac:spMkLst>
            <pc:docMk/>
            <pc:sldMk cId="1166187458" sldId="2147480291"/>
            <ac:spMk id="75" creationId="{5B700DCC-A162-DD1C-3F67-A00D2F86572A}"/>
          </ac:spMkLst>
        </pc:spChg>
        <pc:spChg chg="mod">
          <ac:chgData name="Cyprien ARETHUSE" userId="abd46b16-7bf0-4c01-a850-92fb83f61f27" providerId="ADAL" clId="{067C7D3F-9573-4B1A-A9B0-3005DA5BAAAF}" dt="2024-01-18T14:51:44.415" v="1229"/>
          <ac:spMkLst>
            <pc:docMk/>
            <pc:sldMk cId="1166187458" sldId="2147480291"/>
            <ac:spMk id="76" creationId="{176F453C-82A4-AD0F-0DDB-9892C42DC470}"/>
          </ac:spMkLst>
        </pc:spChg>
        <pc:spChg chg="mod">
          <ac:chgData name="Cyprien ARETHUSE" userId="abd46b16-7bf0-4c01-a850-92fb83f61f27" providerId="ADAL" clId="{067C7D3F-9573-4B1A-A9B0-3005DA5BAAAF}" dt="2024-01-18T14:51:44.415" v="1229"/>
          <ac:spMkLst>
            <pc:docMk/>
            <pc:sldMk cId="1166187458" sldId="2147480291"/>
            <ac:spMk id="77" creationId="{74FD2061-2465-768F-C2C0-AD6EF1E29B48}"/>
          </ac:spMkLst>
        </pc:spChg>
        <pc:spChg chg="mod">
          <ac:chgData name="Cyprien ARETHUSE" userId="abd46b16-7bf0-4c01-a850-92fb83f61f27" providerId="ADAL" clId="{067C7D3F-9573-4B1A-A9B0-3005DA5BAAAF}" dt="2024-01-18T14:51:44.415" v="1229"/>
          <ac:spMkLst>
            <pc:docMk/>
            <pc:sldMk cId="1166187458" sldId="2147480291"/>
            <ac:spMk id="78" creationId="{769525D7-4BFF-2456-1351-1024DE84E4F4}"/>
          </ac:spMkLst>
        </pc:spChg>
        <pc:spChg chg="mod">
          <ac:chgData name="Cyprien ARETHUSE" userId="abd46b16-7bf0-4c01-a850-92fb83f61f27" providerId="ADAL" clId="{067C7D3F-9573-4B1A-A9B0-3005DA5BAAAF}" dt="2024-01-18T14:51:44.415" v="1229"/>
          <ac:spMkLst>
            <pc:docMk/>
            <pc:sldMk cId="1166187458" sldId="2147480291"/>
            <ac:spMk id="79" creationId="{396AA044-3687-9419-2397-71E34828C6D0}"/>
          </ac:spMkLst>
        </pc:spChg>
        <pc:spChg chg="mod">
          <ac:chgData name="Cyprien ARETHUSE" userId="abd46b16-7bf0-4c01-a850-92fb83f61f27" providerId="ADAL" clId="{067C7D3F-9573-4B1A-A9B0-3005DA5BAAAF}" dt="2024-01-18T14:51:44.415" v="1229"/>
          <ac:spMkLst>
            <pc:docMk/>
            <pc:sldMk cId="1166187458" sldId="2147480291"/>
            <ac:spMk id="80" creationId="{4E2AFAE1-7D80-E58B-7B4E-D0A7685148D0}"/>
          </ac:spMkLst>
        </pc:spChg>
        <pc:spChg chg="mod">
          <ac:chgData name="Cyprien ARETHUSE" userId="abd46b16-7bf0-4c01-a850-92fb83f61f27" providerId="ADAL" clId="{067C7D3F-9573-4B1A-A9B0-3005DA5BAAAF}" dt="2024-01-18T14:51:44.415" v="1229"/>
          <ac:spMkLst>
            <pc:docMk/>
            <pc:sldMk cId="1166187458" sldId="2147480291"/>
            <ac:spMk id="81" creationId="{C5C1937B-F82A-8F22-29DA-8C996919FBFE}"/>
          </ac:spMkLst>
        </pc:spChg>
        <pc:spChg chg="mod">
          <ac:chgData name="Cyprien ARETHUSE" userId="abd46b16-7bf0-4c01-a850-92fb83f61f27" providerId="ADAL" clId="{067C7D3F-9573-4B1A-A9B0-3005DA5BAAAF}" dt="2024-01-18T14:51:44.415" v="1229"/>
          <ac:spMkLst>
            <pc:docMk/>
            <pc:sldMk cId="1166187458" sldId="2147480291"/>
            <ac:spMk id="82" creationId="{50B0D0F5-3067-CFC7-14BD-5A5CAB0DB23C}"/>
          </ac:spMkLst>
        </pc:spChg>
        <pc:spChg chg="mod">
          <ac:chgData name="Cyprien ARETHUSE" userId="abd46b16-7bf0-4c01-a850-92fb83f61f27" providerId="ADAL" clId="{067C7D3F-9573-4B1A-A9B0-3005DA5BAAAF}" dt="2024-01-18T14:51:44.415" v="1229"/>
          <ac:spMkLst>
            <pc:docMk/>
            <pc:sldMk cId="1166187458" sldId="2147480291"/>
            <ac:spMk id="83" creationId="{5CB09B9D-117A-F290-7044-F35F49E2F2D9}"/>
          </ac:spMkLst>
        </pc:spChg>
        <pc:spChg chg="mod">
          <ac:chgData name="Cyprien ARETHUSE" userId="abd46b16-7bf0-4c01-a850-92fb83f61f27" providerId="ADAL" clId="{067C7D3F-9573-4B1A-A9B0-3005DA5BAAAF}" dt="2024-01-18T14:51:44.415" v="1229"/>
          <ac:spMkLst>
            <pc:docMk/>
            <pc:sldMk cId="1166187458" sldId="2147480291"/>
            <ac:spMk id="84" creationId="{AB794592-3C24-14B0-C701-FE6B0EBA443D}"/>
          </ac:spMkLst>
        </pc:spChg>
        <pc:spChg chg="mod">
          <ac:chgData name="Cyprien ARETHUSE" userId="abd46b16-7bf0-4c01-a850-92fb83f61f27" providerId="ADAL" clId="{067C7D3F-9573-4B1A-A9B0-3005DA5BAAAF}" dt="2024-01-18T14:51:44.415" v="1229"/>
          <ac:spMkLst>
            <pc:docMk/>
            <pc:sldMk cId="1166187458" sldId="2147480291"/>
            <ac:spMk id="85" creationId="{0B56F526-C3D0-D987-E795-2546B1CEFE99}"/>
          </ac:spMkLst>
        </pc:spChg>
        <pc:spChg chg="mod">
          <ac:chgData name="Cyprien ARETHUSE" userId="abd46b16-7bf0-4c01-a850-92fb83f61f27" providerId="ADAL" clId="{067C7D3F-9573-4B1A-A9B0-3005DA5BAAAF}" dt="2024-01-18T14:51:44.415" v="1229"/>
          <ac:spMkLst>
            <pc:docMk/>
            <pc:sldMk cId="1166187458" sldId="2147480291"/>
            <ac:spMk id="86" creationId="{5C4C03C0-C3E0-CCF5-1C68-DD776D2D588E}"/>
          </ac:spMkLst>
        </pc:spChg>
        <pc:spChg chg="mod">
          <ac:chgData name="Cyprien ARETHUSE" userId="abd46b16-7bf0-4c01-a850-92fb83f61f27" providerId="ADAL" clId="{067C7D3F-9573-4B1A-A9B0-3005DA5BAAAF}" dt="2024-01-18T14:51:44.415" v="1229"/>
          <ac:spMkLst>
            <pc:docMk/>
            <pc:sldMk cId="1166187458" sldId="2147480291"/>
            <ac:spMk id="87" creationId="{E5E09D52-76BA-A2E4-D087-95841CD64353}"/>
          </ac:spMkLst>
        </pc:spChg>
        <pc:spChg chg="mod">
          <ac:chgData name="Cyprien ARETHUSE" userId="abd46b16-7bf0-4c01-a850-92fb83f61f27" providerId="ADAL" clId="{067C7D3F-9573-4B1A-A9B0-3005DA5BAAAF}" dt="2024-01-18T14:51:44.415" v="1229"/>
          <ac:spMkLst>
            <pc:docMk/>
            <pc:sldMk cId="1166187458" sldId="2147480291"/>
            <ac:spMk id="88" creationId="{7FB1327D-6043-4A2B-2020-4F67AD625574}"/>
          </ac:spMkLst>
        </pc:spChg>
        <pc:spChg chg="mod">
          <ac:chgData name="Cyprien ARETHUSE" userId="abd46b16-7bf0-4c01-a850-92fb83f61f27" providerId="ADAL" clId="{067C7D3F-9573-4B1A-A9B0-3005DA5BAAAF}" dt="2024-01-18T14:51:44.415" v="1229"/>
          <ac:spMkLst>
            <pc:docMk/>
            <pc:sldMk cId="1166187458" sldId="2147480291"/>
            <ac:spMk id="89" creationId="{083730B8-9D9B-5A81-3FFB-3DD22FCD3A2A}"/>
          </ac:spMkLst>
        </pc:spChg>
        <pc:spChg chg="mod">
          <ac:chgData name="Cyprien ARETHUSE" userId="abd46b16-7bf0-4c01-a850-92fb83f61f27" providerId="ADAL" clId="{067C7D3F-9573-4B1A-A9B0-3005DA5BAAAF}" dt="2024-01-18T14:51:44.415" v="1229"/>
          <ac:spMkLst>
            <pc:docMk/>
            <pc:sldMk cId="1166187458" sldId="2147480291"/>
            <ac:spMk id="90" creationId="{A855B767-D6D5-7A85-ACBD-4CB9529A3596}"/>
          </ac:spMkLst>
        </pc:spChg>
        <pc:spChg chg="mod">
          <ac:chgData name="Cyprien ARETHUSE" userId="abd46b16-7bf0-4c01-a850-92fb83f61f27" providerId="ADAL" clId="{067C7D3F-9573-4B1A-A9B0-3005DA5BAAAF}" dt="2024-01-18T14:51:44.415" v="1229"/>
          <ac:spMkLst>
            <pc:docMk/>
            <pc:sldMk cId="1166187458" sldId="2147480291"/>
            <ac:spMk id="91" creationId="{BCDF4956-6210-BA65-6AAD-2EFCC153F392}"/>
          </ac:spMkLst>
        </pc:spChg>
        <pc:spChg chg="mod">
          <ac:chgData name="Cyprien ARETHUSE" userId="abd46b16-7bf0-4c01-a850-92fb83f61f27" providerId="ADAL" clId="{067C7D3F-9573-4B1A-A9B0-3005DA5BAAAF}" dt="2024-01-18T14:51:44.415" v="1229"/>
          <ac:spMkLst>
            <pc:docMk/>
            <pc:sldMk cId="1166187458" sldId="2147480291"/>
            <ac:spMk id="92" creationId="{2543E9A2-0595-5B3E-B975-88CD808F2F32}"/>
          </ac:spMkLst>
        </pc:spChg>
        <pc:spChg chg="mod">
          <ac:chgData name="Cyprien ARETHUSE" userId="abd46b16-7bf0-4c01-a850-92fb83f61f27" providerId="ADAL" clId="{067C7D3F-9573-4B1A-A9B0-3005DA5BAAAF}" dt="2024-01-18T14:51:44.415" v="1229"/>
          <ac:spMkLst>
            <pc:docMk/>
            <pc:sldMk cId="1166187458" sldId="2147480291"/>
            <ac:spMk id="93" creationId="{A2AE3574-1616-B750-17D5-F61D50C0E65B}"/>
          </ac:spMkLst>
        </pc:spChg>
        <pc:spChg chg="mod">
          <ac:chgData name="Cyprien ARETHUSE" userId="abd46b16-7bf0-4c01-a850-92fb83f61f27" providerId="ADAL" clId="{067C7D3F-9573-4B1A-A9B0-3005DA5BAAAF}" dt="2024-01-18T14:51:44.415" v="1229"/>
          <ac:spMkLst>
            <pc:docMk/>
            <pc:sldMk cId="1166187458" sldId="2147480291"/>
            <ac:spMk id="94" creationId="{D1FF1B3F-B1E6-16BD-BC11-EACFC5819F7E}"/>
          </ac:spMkLst>
        </pc:spChg>
        <pc:spChg chg="mod">
          <ac:chgData name="Cyprien ARETHUSE" userId="abd46b16-7bf0-4c01-a850-92fb83f61f27" providerId="ADAL" clId="{067C7D3F-9573-4B1A-A9B0-3005DA5BAAAF}" dt="2024-01-18T14:51:44.415" v="1229"/>
          <ac:spMkLst>
            <pc:docMk/>
            <pc:sldMk cId="1166187458" sldId="2147480291"/>
            <ac:spMk id="95" creationId="{CBD581A8-3256-791D-E08A-0E1A9CD6949D}"/>
          </ac:spMkLst>
        </pc:spChg>
        <pc:spChg chg="mod">
          <ac:chgData name="Cyprien ARETHUSE" userId="abd46b16-7bf0-4c01-a850-92fb83f61f27" providerId="ADAL" clId="{067C7D3F-9573-4B1A-A9B0-3005DA5BAAAF}" dt="2024-01-18T14:51:44.415" v="1229"/>
          <ac:spMkLst>
            <pc:docMk/>
            <pc:sldMk cId="1166187458" sldId="2147480291"/>
            <ac:spMk id="96" creationId="{4EBCA3AB-C548-377D-83E8-4203562C30E6}"/>
          </ac:spMkLst>
        </pc:spChg>
        <pc:spChg chg="mod">
          <ac:chgData name="Cyprien ARETHUSE" userId="abd46b16-7bf0-4c01-a850-92fb83f61f27" providerId="ADAL" clId="{067C7D3F-9573-4B1A-A9B0-3005DA5BAAAF}" dt="2024-01-18T14:51:44.415" v="1229"/>
          <ac:spMkLst>
            <pc:docMk/>
            <pc:sldMk cId="1166187458" sldId="2147480291"/>
            <ac:spMk id="97" creationId="{C426F925-B1AD-615D-DAD6-583A4DBDF598}"/>
          </ac:spMkLst>
        </pc:spChg>
        <pc:spChg chg="mod">
          <ac:chgData name="Cyprien ARETHUSE" userId="abd46b16-7bf0-4c01-a850-92fb83f61f27" providerId="ADAL" clId="{067C7D3F-9573-4B1A-A9B0-3005DA5BAAAF}" dt="2024-01-18T14:51:44.415" v="1229"/>
          <ac:spMkLst>
            <pc:docMk/>
            <pc:sldMk cId="1166187458" sldId="2147480291"/>
            <ac:spMk id="98" creationId="{F80969D1-3094-FAB7-98C0-CE7ADBB60BCD}"/>
          </ac:spMkLst>
        </pc:spChg>
        <pc:spChg chg="mod">
          <ac:chgData name="Cyprien ARETHUSE" userId="abd46b16-7bf0-4c01-a850-92fb83f61f27" providerId="ADAL" clId="{067C7D3F-9573-4B1A-A9B0-3005DA5BAAAF}" dt="2024-01-18T14:51:44.415" v="1229"/>
          <ac:spMkLst>
            <pc:docMk/>
            <pc:sldMk cId="1166187458" sldId="2147480291"/>
            <ac:spMk id="99" creationId="{19AF3ED9-CEA2-67A0-E780-07046DAEF6D4}"/>
          </ac:spMkLst>
        </pc:spChg>
        <pc:spChg chg="mod">
          <ac:chgData name="Cyprien ARETHUSE" userId="abd46b16-7bf0-4c01-a850-92fb83f61f27" providerId="ADAL" clId="{067C7D3F-9573-4B1A-A9B0-3005DA5BAAAF}" dt="2024-01-18T14:51:44.415" v="1229"/>
          <ac:spMkLst>
            <pc:docMk/>
            <pc:sldMk cId="1166187458" sldId="2147480291"/>
            <ac:spMk id="100" creationId="{C9C73795-9F61-6231-9C35-9759223C730F}"/>
          </ac:spMkLst>
        </pc:spChg>
        <pc:spChg chg="mod">
          <ac:chgData name="Cyprien ARETHUSE" userId="abd46b16-7bf0-4c01-a850-92fb83f61f27" providerId="ADAL" clId="{067C7D3F-9573-4B1A-A9B0-3005DA5BAAAF}" dt="2024-01-18T14:51:44.415" v="1229"/>
          <ac:spMkLst>
            <pc:docMk/>
            <pc:sldMk cId="1166187458" sldId="2147480291"/>
            <ac:spMk id="101" creationId="{998B0F28-A74E-6F05-9E77-C3C7261D283A}"/>
          </ac:spMkLst>
        </pc:spChg>
        <pc:spChg chg="mod">
          <ac:chgData name="Cyprien ARETHUSE" userId="abd46b16-7bf0-4c01-a850-92fb83f61f27" providerId="ADAL" clId="{067C7D3F-9573-4B1A-A9B0-3005DA5BAAAF}" dt="2024-01-18T14:51:44.415" v="1229"/>
          <ac:spMkLst>
            <pc:docMk/>
            <pc:sldMk cId="1166187458" sldId="2147480291"/>
            <ac:spMk id="102" creationId="{58E29472-2DA8-2847-6DC2-8B7C295862F2}"/>
          </ac:spMkLst>
        </pc:spChg>
        <pc:spChg chg="mod">
          <ac:chgData name="Cyprien ARETHUSE" userId="abd46b16-7bf0-4c01-a850-92fb83f61f27" providerId="ADAL" clId="{067C7D3F-9573-4B1A-A9B0-3005DA5BAAAF}" dt="2024-01-18T14:51:44.415" v="1229"/>
          <ac:spMkLst>
            <pc:docMk/>
            <pc:sldMk cId="1166187458" sldId="2147480291"/>
            <ac:spMk id="103" creationId="{A17AD076-4C6A-EE93-5A79-F2BAAD0BEFB5}"/>
          </ac:spMkLst>
        </pc:spChg>
        <pc:spChg chg="mod">
          <ac:chgData name="Cyprien ARETHUSE" userId="abd46b16-7bf0-4c01-a850-92fb83f61f27" providerId="ADAL" clId="{067C7D3F-9573-4B1A-A9B0-3005DA5BAAAF}" dt="2024-01-18T14:51:44.415" v="1229"/>
          <ac:spMkLst>
            <pc:docMk/>
            <pc:sldMk cId="1166187458" sldId="2147480291"/>
            <ac:spMk id="104" creationId="{5B177E9A-BB07-799B-7208-3EF35F94D059}"/>
          </ac:spMkLst>
        </pc:spChg>
        <pc:spChg chg="mod">
          <ac:chgData name="Cyprien ARETHUSE" userId="abd46b16-7bf0-4c01-a850-92fb83f61f27" providerId="ADAL" clId="{067C7D3F-9573-4B1A-A9B0-3005DA5BAAAF}" dt="2024-01-18T14:51:44.415" v="1229"/>
          <ac:spMkLst>
            <pc:docMk/>
            <pc:sldMk cId="1166187458" sldId="2147480291"/>
            <ac:spMk id="105" creationId="{E9794196-C27B-0802-4F80-685276F44B88}"/>
          </ac:spMkLst>
        </pc:spChg>
        <pc:spChg chg="mod">
          <ac:chgData name="Cyprien ARETHUSE" userId="abd46b16-7bf0-4c01-a850-92fb83f61f27" providerId="ADAL" clId="{067C7D3F-9573-4B1A-A9B0-3005DA5BAAAF}" dt="2024-01-18T14:51:44.415" v="1229"/>
          <ac:spMkLst>
            <pc:docMk/>
            <pc:sldMk cId="1166187458" sldId="2147480291"/>
            <ac:spMk id="106" creationId="{89CE2B47-ABB4-EFEB-4F31-74652360B53F}"/>
          </ac:spMkLst>
        </pc:spChg>
        <pc:spChg chg="mod">
          <ac:chgData name="Cyprien ARETHUSE" userId="abd46b16-7bf0-4c01-a850-92fb83f61f27" providerId="ADAL" clId="{067C7D3F-9573-4B1A-A9B0-3005DA5BAAAF}" dt="2024-01-18T14:51:44.415" v="1229"/>
          <ac:spMkLst>
            <pc:docMk/>
            <pc:sldMk cId="1166187458" sldId="2147480291"/>
            <ac:spMk id="107" creationId="{C9BD1005-7788-3F3B-03CC-8DF7E8615911}"/>
          </ac:spMkLst>
        </pc:spChg>
        <pc:spChg chg="mod">
          <ac:chgData name="Cyprien ARETHUSE" userId="abd46b16-7bf0-4c01-a850-92fb83f61f27" providerId="ADAL" clId="{067C7D3F-9573-4B1A-A9B0-3005DA5BAAAF}" dt="2024-01-18T14:51:46.190" v="1230"/>
          <ac:spMkLst>
            <pc:docMk/>
            <pc:sldMk cId="1166187458" sldId="2147480291"/>
            <ac:spMk id="109" creationId="{B952C2F0-34DD-A615-10A4-A05B09C903C3}"/>
          </ac:spMkLst>
        </pc:spChg>
        <pc:spChg chg="mod">
          <ac:chgData name="Cyprien ARETHUSE" userId="abd46b16-7bf0-4c01-a850-92fb83f61f27" providerId="ADAL" clId="{067C7D3F-9573-4B1A-A9B0-3005DA5BAAAF}" dt="2024-01-18T14:51:46.190" v="1230"/>
          <ac:spMkLst>
            <pc:docMk/>
            <pc:sldMk cId="1166187458" sldId="2147480291"/>
            <ac:spMk id="110" creationId="{63F9802A-0601-F5E3-DFCE-734129DED4BB}"/>
          </ac:spMkLst>
        </pc:spChg>
        <pc:spChg chg="mod">
          <ac:chgData name="Cyprien ARETHUSE" userId="abd46b16-7bf0-4c01-a850-92fb83f61f27" providerId="ADAL" clId="{067C7D3F-9573-4B1A-A9B0-3005DA5BAAAF}" dt="2024-01-18T14:51:46.190" v="1230"/>
          <ac:spMkLst>
            <pc:docMk/>
            <pc:sldMk cId="1166187458" sldId="2147480291"/>
            <ac:spMk id="111" creationId="{39489291-4028-011B-0090-048C746A7DDA}"/>
          </ac:spMkLst>
        </pc:spChg>
        <pc:spChg chg="mod">
          <ac:chgData name="Cyprien ARETHUSE" userId="abd46b16-7bf0-4c01-a850-92fb83f61f27" providerId="ADAL" clId="{067C7D3F-9573-4B1A-A9B0-3005DA5BAAAF}" dt="2024-01-18T14:51:46.190" v="1230"/>
          <ac:spMkLst>
            <pc:docMk/>
            <pc:sldMk cId="1166187458" sldId="2147480291"/>
            <ac:spMk id="112" creationId="{0DB5E3B4-19BE-CB63-F222-40953037D774}"/>
          </ac:spMkLst>
        </pc:spChg>
        <pc:spChg chg="mod">
          <ac:chgData name="Cyprien ARETHUSE" userId="abd46b16-7bf0-4c01-a850-92fb83f61f27" providerId="ADAL" clId="{067C7D3F-9573-4B1A-A9B0-3005DA5BAAAF}" dt="2024-01-18T14:51:46.190" v="1230"/>
          <ac:spMkLst>
            <pc:docMk/>
            <pc:sldMk cId="1166187458" sldId="2147480291"/>
            <ac:spMk id="113" creationId="{3E5A0C4A-3CBA-4DB5-C03E-7BA38232295A}"/>
          </ac:spMkLst>
        </pc:spChg>
        <pc:spChg chg="mod">
          <ac:chgData name="Cyprien ARETHUSE" userId="abd46b16-7bf0-4c01-a850-92fb83f61f27" providerId="ADAL" clId="{067C7D3F-9573-4B1A-A9B0-3005DA5BAAAF}" dt="2024-01-18T14:51:46.190" v="1230"/>
          <ac:spMkLst>
            <pc:docMk/>
            <pc:sldMk cId="1166187458" sldId="2147480291"/>
            <ac:spMk id="114" creationId="{91BAF023-1537-1E13-592D-7BC2173000F4}"/>
          </ac:spMkLst>
        </pc:spChg>
        <pc:spChg chg="mod">
          <ac:chgData name="Cyprien ARETHUSE" userId="abd46b16-7bf0-4c01-a850-92fb83f61f27" providerId="ADAL" clId="{067C7D3F-9573-4B1A-A9B0-3005DA5BAAAF}" dt="2024-01-18T14:51:46.190" v="1230"/>
          <ac:spMkLst>
            <pc:docMk/>
            <pc:sldMk cId="1166187458" sldId="2147480291"/>
            <ac:spMk id="115" creationId="{DB22881D-CC4E-13F1-AF07-6404549DAB44}"/>
          </ac:spMkLst>
        </pc:spChg>
        <pc:spChg chg="mod">
          <ac:chgData name="Cyprien ARETHUSE" userId="abd46b16-7bf0-4c01-a850-92fb83f61f27" providerId="ADAL" clId="{067C7D3F-9573-4B1A-A9B0-3005DA5BAAAF}" dt="2024-01-18T14:51:46.190" v="1230"/>
          <ac:spMkLst>
            <pc:docMk/>
            <pc:sldMk cId="1166187458" sldId="2147480291"/>
            <ac:spMk id="116" creationId="{0DAD667D-BD9A-F672-5FEC-81A9F3E7AF28}"/>
          </ac:spMkLst>
        </pc:spChg>
        <pc:spChg chg="mod">
          <ac:chgData name="Cyprien ARETHUSE" userId="abd46b16-7bf0-4c01-a850-92fb83f61f27" providerId="ADAL" clId="{067C7D3F-9573-4B1A-A9B0-3005DA5BAAAF}" dt="2024-01-18T14:51:46.190" v="1230"/>
          <ac:spMkLst>
            <pc:docMk/>
            <pc:sldMk cId="1166187458" sldId="2147480291"/>
            <ac:spMk id="117" creationId="{1571622B-C1C3-2B97-6B5B-D53A2F15ADBF}"/>
          </ac:spMkLst>
        </pc:spChg>
        <pc:spChg chg="mod">
          <ac:chgData name="Cyprien ARETHUSE" userId="abd46b16-7bf0-4c01-a850-92fb83f61f27" providerId="ADAL" clId="{067C7D3F-9573-4B1A-A9B0-3005DA5BAAAF}" dt="2024-01-18T14:51:46.190" v="1230"/>
          <ac:spMkLst>
            <pc:docMk/>
            <pc:sldMk cId="1166187458" sldId="2147480291"/>
            <ac:spMk id="118" creationId="{A49C5035-EB3E-EA60-2A45-C2C43E46F83D}"/>
          </ac:spMkLst>
        </pc:spChg>
        <pc:spChg chg="mod">
          <ac:chgData name="Cyprien ARETHUSE" userId="abd46b16-7bf0-4c01-a850-92fb83f61f27" providerId="ADAL" clId="{067C7D3F-9573-4B1A-A9B0-3005DA5BAAAF}" dt="2024-01-18T14:51:46.190" v="1230"/>
          <ac:spMkLst>
            <pc:docMk/>
            <pc:sldMk cId="1166187458" sldId="2147480291"/>
            <ac:spMk id="119" creationId="{08E6045D-182B-EB4B-796B-285803F62FBC}"/>
          </ac:spMkLst>
        </pc:spChg>
        <pc:spChg chg="mod">
          <ac:chgData name="Cyprien ARETHUSE" userId="abd46b16-7bf0-4c01-a850-92fb83f61f27" providerId="ADAL" clId="{067C7D3F-9573-4B1A-A9B0-3005DA5BAAAF}" dt="2024-01-18T14:51:46.190" v="1230"/>
          <ac:spMkLst>
            <pc:docMk/>
            <pc:sldMk cId="1166187458" sldId="2147480291"/>
            <ac:spMk id="120" creationId="{381C5D57-8622-810B-5CE9-09B469A9C897}"/>
          </ac:spMkLst>
        </pc:spChg>
        <pc:spChg chg="mod">
          <ac:chgData name="Cyprien ARETHUSE" userId="abd46b16-7bf0-4c01-a850-92fb83f61f27" providerId="ADAL" clId="{067C7D3F-9573-4B1A-A9B0-3005DA5BAAAF}" dt="2024-01-18T14:51:46.190" v="1230"/>
          <ac:spMkLst>
            <pc:docMk/>
            <pc:sldMk cId="1166187458" sldId="2147480291"/>
            <ac:spMk id="121" creationId="{403CF31D-18A2-B110-862A-4D145C167EBA}"/>
          </ac:spMkLst>
        </pc:spChg>
        <pc:spChg chg="mod">
          <ac:chgData name="Cyprien ARETHUSE" userId="abd46b16-7bf0-4c01-a850-92fb83f61f27" providerId="ADAL" clId="{067C7D3F-9573-4B1A-A9B0-3005DA5BAAAF}" dt="2024-01-18T14:51:46.190" v="1230"/>
          <ac:spMkLst>
            <pc:docMk/>
            <pc:sldMk cId="1166187458" sldId="2147480291"/>
            <ac:spMk id="122" creationId="{49290636-6731-19EF-935D-B111B4A0C8C3}"/>
          </ac:spMkLst>
        </pc:spChg>
        <pc:spChg chg="mod">
          <ac:chgData name="Cyprien ARETHUSE" userId="abd46b16-7bf0-4c01-a850-92fb83f61f27" providerId="ADAL" clId="{067C7D3F-9573-4B1A-A9B0-3005DA5BAAAF}" dt="2024-01-18T14:51:46.190" v="1230"/>
          <ac:spMkLst>
            <pc:docMk/>
            <pc:sldMk cId="1166187458" sldId="2147480291"/>
            <ac:spMk id="123" creationId="{E61493DD-169C-715E-90DB-C48BFCB61D52}"/>
          </ac:spMkLst>
        </pc:spChg>
        <pc:spChg chg="mod">
          <ac:chgData name="Cyprien ARETHUSE" userId="abd46b16-7bf0-4c01-a850-92fb83f61f27" providerId="ADAL" clId="{067C7D3F-9573-4B1A-A9B0-3005DA5BAAAF}" dt="2024-01-18T14:51:46.190" v="1230"/>
          <ac:spMkLst>
            <pc:docMk/>
            <pc:sldMk cId="1166187458" sldId="2147480291"/>
            <ac:spMk id="124" creationId="{92CEC26A-53BA-0004-ABEF-5D7F7998314C}"/>
          </ac:spMkLst>
        </pc:spChg>
        <pc:spChg chg="mod">
          <ac:chgData name="Cyprien ARETHUSE" userId="abd46b16-7bf0-4c01-a850-92fb83f61f27" providerId="ADAL" clId="{067C7D3F-9573-4B1A-A9B0-3005DA5BAAAF}" dt="2024-01-18T14:51:46.190" v="1230"/>
          <ac:spMkLst>
            <pc:docMk/>
            <pc:sldMk cId="1166187458" sldId="2147480291"/>
            <ac:spMk id="125" creationId="{6F23E8C6-A117-A61F-A240-23F4D1A640C5}"/>
          </ac:spMkLst>
        </pc:spChg>
        <pc:spChg chg="mod">
          <ac:chgData name="Cyprien ARETHUSE" userId="abd46b16-7bf0-4c01-a850-92fb83f61f27" providerId="ADAL" clId="{067C7D3F-9573-4B1A-A9B0-3005DA5BAAAF}" dt="2024-01-18T14:51:46.190" v="1230"/>
          <ac:spMkLst>
            <pc:docMk/>
            <pc:sldMk cId="1166187458" sldId="2147480291"/>
            <ac:spMk id="126" creationId="{5CCBF038-31FB-D09E-5CE0-59FB56FBBA60}"/>
          </ac:spMkLst>
        </pc:spChg>
        <pc:spChg chg="mod">
          <ac:chgData name="Cyprien ARETHUSE" userId="abd46b16-7bf0-4c01-a850-92fb83f61f27" providerId="ADAL" clId="{067C7D3F-9573-4B1A-A9B0-3005DA5BAAAF}" dt="2024-01-18T14:51:46.190" v="1230"/>
          <ac:spMkLst>
            <pc:docMk/>
            <pc:sldMk cId="1166187458" sldId="2147480291"/>
            <ac:spMk id="127" creationId="{B507C6C0-0F5F-915D-DAE9-E2FDD86ED2D5}"/>
          </ac:spMkLst>
        </pc:spChg>
        <pc:spChg chg="mod">
          <ac:chgData name="Cyprien ARETHUSE" userId="abd46b16-7bf0-4c01-a850-92fb83f61f27" providerId="ADAL" clId="{067C7D3F-9573-4B1A-A9B0-3005DA5BAAAF}" dt="2024-01-18T14:51:46.190" v="1230"/>
          <ac:spMkLst>
            <pc:docMk/>
            <pc:sldMk cId="1166187458" sldId="2147480291"/>
            <ac:spMk id="128" creationId="{AE4D0423-BB0C-15B6-2647-4335A7949408}"/>
          </ac:spMkLst>
        </pc:spChg>
        <pc:spChg chg="mod">
          <ac:chgData name="Cyprien ARETHUSE" userId="abd46b16-7bf0-4c01-a850-92fb83f61f27" providerId="ADAL" clId="{067C7D3F-9573-4B1A-A9B0-3005DA5BAAAF}" dt="2024-01-18T14:51:46.190" v="1230"/>
          <ac:spMkLst>
            <pc:docMk/>
            <pc:sldMk cId="1166187458" sldId="2147480291"/>
            <ac:spMk id="129" creationId="{3411BD39-01AC-7393-0970-8DC194C38681}"/>
          </ac:spMkLst>
        </pc:spChg>
        <pc:spChg chg="mod">
          <ac:chgData name="Cyprien ARETHUSE" userId="abd46b16-7bf0-4c01-a850-92fb83f61f27" providerId="ADAL" clId="{067C7D3F-9573-4B1A-A9B0-3005DA5BAAAF}" dt="2024-01-18T14:51:46.190" v="1230"/>
          <ac:spMkLst>
            <pc:docMk/>
            <pc:sldMk cId="1166187458" sldId="2147480291"/>
            <ac:spMk id="130" creationId="{0D3DC453-BE8C-343D-6A18-3E907C9311CB}"/>
          </ac:spMkLst>
        </pc:spChg>
        <pc:spChg chg="mod">
          <ac:chgData name="Cyprien ARETHUSE" userId="abd46b16-7bf0-4c01-a850-92fb83f61f27" providerId="ADAL" clId="{067C7D3F-9573-4B1A-A9B0-3005DA5BAAAF}" dt="2024-01-18T14:51:46.190" v="1230"/>
          <ac:spMkLst>
            <pc:docMk/>
            <pc:sldMk cId="1166187458" sldId="2147480291"/>
            <ac:spMk id="131" creationId="{8B8E2429-A615-1F24-9172-147975162BAE}"/>
          </ac:spMkLst>
        </pc:spChg>
        <pc:spChg chg="mod">
          <ac:chgData name="Cyprien ARETHUSE" userId="abd46b16-7bf0-4c01-a850-92fb83f61f27" providerId="ADAL" clId="{067C7D3F-9573-4B1A-A9B0-3005DA5BAAAF}" dt="2024-01-18T14:51:46.190" v="1230"/>
          <ac:spMkLst>
            <pc:docMk/>
            <pc:sldMk cId="1166187458" sldId="2147480291"/>
            <ac:spMk id="132" creationId="{D2E55C9E-9FFC-6978-FE9F-1D66A26FAE14}"/>
          </ac:spMkLst>
        </pc:spChg>
        <pc:spChg chg="mod">
          <ac:chgData name="Cyprien ARETHUSE" userId="abd46b16-7bf0-4c01-a850-92fb83f61f27" providerId="ADAL" clId="{067C7D3F-9573-4B1A-A9B0-3005DA5BAAAF}" dt="2024-01-18T14:51:46.190" v="1230"/>
          <ac:spMkLst>
            <pc:docMk/>
            <pc:sldMk cId="1166187458" sldId="2147480291"/>
            <ac:spMk id="133" creationId="{8BA87125-EF99-5632-B1A1-52FC2FBD9A1F}"/>
          </ac:spMkLst>
        </pc:spChg>
        <pc:spChg chg="mod">
          <ac:chgData name="Cyprien ARETHUSE" userId="abd46b16-7bf0-4c01-a850-92fb83f61f27" providerId="ADAL" clId="{067C7D3F-9573-4B1A-A9B0-3005DA5BAAAF}" dt="2024-01-18T14:51:46.190" v="1230"/>
          <ac:spMkLst>
            <pc:docMk/>
            <pc:sldMk cId="1166187458" sldId="2147480291"/>
            <ac:spMk id="134" creationId="{B614436B-988B-1D68-182F-0FD51A118799}"/>
          </ac:spMkLst>
        </pc:spChg>
        <pc:spChg chg="mod">
          <ac:chgData name="Cyprien ARETHUSE" userId="abd46b16-7bf0-4c01-a850-92fb83f61f27" providerId="ADAL" clId="{067C7D3F-9573-4B1A-A9B0-3005DA5BAAAF}" dt="2024-01-18T14:51:46.190" v="1230"/>
          <ac:spMkLst>
            <pc:docMk/>
            <pc:sldMk cId="1166187458" sldId="2147480291"/>
            <ac:spMk id="135" creationId="{9238AF42-0B2D-5F69-FC54-8941FD4780E7}"/>
          </ac:spMkLst>
        </pc:spChg>
        <pc:spChg chg="mod">
          <ac:chgData name="Cyprien ARETHUSE" userId="abd46b16-7bf0-4c01-a850-92fb83f61f27" providerId="ADAL" clId="{067C7D3F-9573-4B1A-A9B0-3005DA5BAAAF}" dt="2024-01-18T14:51:46.190" v="1230"/>
          <ac:spMkLst>
            <pc:docMk/>
            <pc:sldMk cId="1166187458" sldId="2147480291"/>
            <ac:spMk id="136" creationId="{BDC80849-CDE1-CA32-36F2-72762B99F4F4}"/>
          </ac:spMkLst>
        </pc:spChg>
        <pc:spChg chg="mod">
          <ac:chgData name="Cyprien ARETHUSE" userId="abd46b16-7bf0-4c01-a850-92fb83f61f27" providerId="ADAL" clId="{067C7D3F-9573-4B1A-A9B0-3005DA5BAAAF}" dt="2024-01-18T14:51:46.190" v="1230"/>
          <ac:spMkLst>
            <pc:docMk/>
            <pc:sldMk cId="1166187458" sldId="2147480291"/>
            <ac:spMk id="137" creationId="{F979A00F-3252-A96B-66BE-A593D30CD119}"/>
          </ac:spMkLst>
        </pc:spChg>
        <pc:spChg chg="mod">
          <ac:chgData name="Cyprien ARETHUSE" userId="abd46b16-7bf0-4c01-a850-92fb83f61f27" providerId="ADAL" clId="{067C7D3F-9573-4B1A-A9B0-3005DA5BAAAF}" dt="2024-01-18T14:51:46.190" v="1230"/>
          <ac:spMkLst>
            <pc:docMk/>
            <pc:sldMk cId="1166187458" sldId="2147480291"/>
            <ac:spMk id="138" creationId="{6171F326-F640-A795-3A85-206AD9F7AAEE}"/>
          </ac:spMkLst>
        </pc:spChg>
        <pc:spChg chg="mod">
          <ac:chgData name="Cyprien ARETHUSE" userId="abd46b16-7bf0-4c01-a850-92fb83f61f27" providerId="ADAL" clId="{067C7D3F-9573-4B1A-A9B0-3005DA5BAAAF}" dt="2024-01-18T14:51:46.190" v="1230"/>
          <ac:spMkLst>
            <pc:docMk/>
            <pc:sldMk cId="1166187458" sldId="2147480291"/>
            <ac:spMk id="139" creationId="{F9FE7948-9EC2-CD8A-CF44-FB1B9FD681D7}"/>
          </ac:spMkLst>
        </pc:spChg>
        <pc:spChg chg="mod">
          <ac:chgData name="Cyprien ARETHUSE" userId="abd46b16-7bf0-4c01-a850-92fb83f61f27" providerId="ADAL" clId="{067C7D3F-9573-4B1A-A9B0-3005DA5BAAAF}" dt="2024-01-18T14:51:46.190" v="1230"/>
          <ac:spMkLst>
            <pc:docMk/>
            <pc:sldMk cId="1166187458" sldId="2147480291"/>
            <ac:spMk id="140" creationId="{31C65DA7-3A56-56C6-30D3-ED83F9D4E153}"/>
          </ac:spMkLst>
        </pc:spChg>
        <pc:spChg chg="mod">
          <ac:chgData name="Cyprien ARETHUSE" userId="abd46b16-7bf0-4c01-a850-92fb83f61f27" providerId="ADAL" clId="{067C7D3F-9573-4B1A-A9B0-3005DA5BAAAF}" dt="2024-01-18T14:51:46.190" v="1230"/>
          <ac:spMkLst>
            <pc:docMk/>
            <pc:sldMk cId="1166187458" sldId="2147480291"/>
            <ac:spMk id="141" creationId="{E8911552-E952-3D9F-733B-74CCB5DCE3B8}"/>
          </ac:spMkLst>
        </pc:spChg>
        <pc:spChg chg="mod">
          <ac:chgData name="Cyprien ARETHUSE" userId="abd46b16-7bf0-4c01-a850-92fb83f61f27" providerId="ADAL" clId="{067C7D3F-9573-4B1A-A9B0-3005DA5BAAAF}" dt="2024-01-18T14:51:46.190" v="1230"/>
          <ac:spMkLst>
            <pc:docMk/>
            <pc:sldMk cId="1166187458" sldId="2147480291"/>
            <ac:spMk id="142" creationId="{DD120736-E8A0-DD84-0F51-DAF746878BF1}"/>
          </ac:spMkLst>
        </pc:spChg>
        <pc:spChg chg="mod">
          <ac:chgData name="Cyprien ARETHUSE" userId="abd46b16-7bf0-4c01-a850-92fb83f61f27" providerId="ADAL" clId="{067C7D3F-9573-4B1A-A9B0-3005DA5BAAAF}" dt="2024-01-18T14:51:46.190" v="1230"/>
          <ac:spMkLst>
            <pc:docMk/>
            <pc:sldMk cId="1166187458" sldId="2147480291"/>
            <ac:spMk id="143" creationId="{5DA2F52C-8F0D-F040-7F17-1DD965C2D157}"/>
          </ac:spMkLst>
        </pc:spChg>
        <pc:spChg chg="mod">
          <ac:chgData name="Cyprien ARETHUSE" userId="abd46b16-7bf0-4c01-a850-92fb83f61f27" providerId="ADAL" clId="{067C7D3F-9573-4B1A-A9B0-3005DA5BAAAF}" dt="2024-01-18T14:51:46.190" v="1230"/>
          <ac:spMkLst>
            <pc:docMk/>
            <pc:sldMk cId="1166187458" sldId="2147480291"/>
            <ac:spMk id="144" creationId="{FA674EC1-B0C9-380E-B4B2-5CE160FCC6A5}"/>
          </ac:spMkLst>
        </pc:spChg>
        <pc:spChg chg="mod">
          <ac:chgData name="Cyprien ARETHUSE" userId="abd46b16-7bf0-4c01-a850-92fb83f61f27" providerId="ADAL" clId="{067C7D3F-9573-4B1A-A9B0-3005DA5BAAAF}" dt="2024-01-18T14:51:46.190" v="1230"/>
          <ac:spMkLst>
            <pc:docMk/>
            <pc:sldMk cId="1166187458" sldId="2147480291"/>
            <ac:spMk id="145" creationId="{2AEFD532-71E3-8A05-EDEF-F7E9C027ADD1}"/>
          </ac:spMkLst>
        </pc:spChg>
        <pc:spChg chg="mod">
          <ac:chgData name="Cyprien ARETHUSE" userId="abd46b16-7bf0-4c01-a850-92fb83f61f27" providerId="ADAL" clId="{067C7D3F-9573-4B1A-A9B0-3005DA5BAAAF}" dt="2024-01-18T14:51:46.190" v="1230"/>
          <ac:spMkLst>
            <pc:docMk/>
            <pc:sldMk cId="1166187458" sldId="2147480291"/>
            <ac:spMk id="146" creationId="{8A0D6EA0-F9AD-1B47-6D18-380DC5988384}"/>
          </ac:spMkLst>
        </pc:spChg>
        <pc:spChg chg="mod">
          <ac:chgData name="Cyprien ARETHUSE" userId="abd46b16-7bf0-4c01-a850-92fb83f61f27" providerId="ADAL" clId="{067C7D3F-9573-4B1A-A9B0-3005DA5BAAAF}" dt="2024-01-18T14:51:46.190" v="1230"/>
          <ac:spMkLst>
            <pc:docMk/>
            <pc:sldMk cId="1166187458" sldId="2147480291"/>
            <ac:spMk id="147" creationId="{C0BFDEE9-3172-0748-231C-18A2278D7761}"/>
          </ac:spMkLst>
        </pc:spChg>
        <pc:spChg chg="mod">
          <ac:chgData name="Cyprien ARETHUSE" userId="abd46b16-7bf0-4c01-a850-92fb83f61f27" providerId="ADAL" clId="{067C7D3F-9573-4B1A-A9B0-3005DA5BAAAF}" dt="2024-01-18T14:51:46.190" v="1230"/>
          <ac:spMkLst>
            <pc:docMk/>
            <pc:sldMk cId="1166187458" sldId="2147480291"/>
            <ac:spMk id="148" creationId="{CC7A66A2-93FB-613D-ABC6-22F041A5D00B}"/>
          </ac:spMkLst>
        </pc:spChg>
        <pc:spChg chg="mod">
          <ac:chgData name="Cyprien ARETHUSE" userId="abd46b16-7bf0-4c01-a850-92fb83f61f27" providerId="ADAL" clId="{067C7D3F-9573-4B1A-A9B0-3005DA5BAAAF}" dt="2024-01-18T14:51:46.190" v="1230"/>
          <ac:spMkLst>
            <pc:docMk/>
            <pc:sldMk cId="1166187458" sldId="2147480291"/>
            <ac:spMk id="149" creationId="{0EF58834-2649-1807-0596-565AB77B9D69}"/>
          </ac:spMkLst>
        </pc:spChg>
        <pc:spChg chg="mod">
          <ac:chgData name="Cyprien ARETHUSE" userId="abd46b16-7bf0-4c01-a850-92fb83f61f27" providerId="ADAL" clId="{067C7D3F-9573-4B1A-A9B0-3005DA5BAAAF}" dt="2024-01-18T14:51:46.190" v="1230"/>
          <ac:spMkLst>
            <pc:docMk/>
            <pc:sldMk cId="1166187458" sldId="2147480291"/>
            <ac:spMk id="150" creationId="{DA437E66-6E5A-E8AA-C5E4-CEFBE99C1E33}"/>
          </ac:spMkLst>
        </pc:spChg>
        <pc:spChg chg="mod">
          <ac:chgData name="Cyprien ARETHUSE" userId="abd46b16-7bf0-4c01-a850-92fb83f61f27" providerId="ADAL" clId="{067C7D3F-9573-4B1A-A9B0-3005DA5BAAAF}" dt="2024-01-18T14:51:46.190" v="1230"/>
          <ac:spMkLst>
            <pc:docMk/>
            <pc:sldMk cId="1166187458" sldId="2147480291"/>
            <ac:spMk id="151" creationId="{17A6B562-C851-E3F9-FD72-8561FFA294E1}"/>
          </ac:spMkLst>
        </pc:spChg>
        <pc:spChg chg="mod">
          <ac:chgData name="Cyprien ARETHUSE" userId="abd46b16-7bf0-4c01-a850-92fb83f61f27" providerId="ADAL" clId="{067C7D3F-9573-4B1A-A9B0-3005DA5BAAAF}" dt="2024-01-18T14:51:46.190" v="1230"/>
          <ac:spMkLst>
            <pc:docMk/>
            <pc:sldMk cId="1166187458" sldId="2147480291"/>
            <ac:spMk id="152" creationId="{874A258B-48A6-6209-25A5-74C87B23B8EC}"/>
          </ac:spMkLst>
        </pc:spChg>
        <pc:spChg chg="mod">
          <ac:chgData name="Cyprien ARETHUSE" userId="abd46b16-7bf0-4c01-a850-92fb83f61f27" providerId="ADAL" clId="{067C7D3F-9573-4B1A-A9B0-3005DA5BAAAF}" dt="2024-01-18T14:51:46.190" v="1230"/>
          <ac:spMkLst>
            <pc:docMk/>
            <pc:sldMk cId="1166187458" sldId="2147480291"/>
            <ac:spMk id="153" creationId="{0347874B-F38E-651D-C1C4-31D86C8D042B}"/>
          </ac:spMkLst>
        </pc:spChg>
        <pc:grpChg chg="del">
          <ac:chgData name="Cyprien ARETHUSE" userId="abd46b16-7bf0-4c01-a850-92fb83f61f27" providerId="ADAL" clId="{067C7D3F-9573-4B1A-A9B0-3005DA5BAAAF}" dt="2024-01-18T14:51:36.611" v="1228" actId="478"/>
          <ac:grpSpMkLst>
            <pc:docMk/>
            <pc:sldMk cId="1166187458" sldId="2147480291"/>
            <ac:grpSpMk id="7" creationId="{E02A1925-6E8F-1273-0000-053D01A0C77C}"/>
          </ac:grpSpMkLst>
        </pc:grpChg>
        <pc:grpChg chg="add mod">
          <ac:chgData name="Cyprien ARETHUSE" userId="abd46b16-7bf0-4c01-a850-92fb83f61f27" providerId="ADAL" clId="{067C7D3F-9573-4B1A-A9B0-3005DA5BAAAF}" dt="2024-01-18T14:52:08.780" v="1240" actId="1035"/>
          <ac:grpSpMkLst>
            <pc:docMk/>
            <pc:sldMk cId="1166187458" sldId="2147480291"/>
            <ac:grpSpMk id="62" creationId="{BE9368E2-446A-68B4-DF42-0823EE2BC88C}"/>
          </ac:grpSpMkLst>
        </pc:grpChg>
        <pc:grpChg chg="add del mod">
          <ac:chgData name="Cyprien ARETHUSE" userId="abd46b16-7bf0-4c01-a850-92fb83f61f27" providerId="ADAL" clId="{067C7D3F-9573-4B1A-A9B0-3005DA5BAAAF}" dt="2024-01-18T14:51:48.373" v="1231" actId="478"/>
          <ac:grpSpMkLst>
            <pc:docMk/>
            <pc:sldMk cId="1166187458" sldId="2147480291"/>
            <ac:grpSpMk id="108" creationId="{4C6F4BF6-CB83-1E30-BD57-A570F2D4E987}"/>
          </ac:grpSpMkLst>
        </pc:grpChg>
      </pc:sldChg>
      <pc:sldChg chg="addSp delSp modSp add mod">
        <pc:chgData name="Cyprien ARETHUSE" userId="abd46b16-7bf0-4c01-a850-92fb83f61f27" providerId="ADAL" clId="{067C7D3F-9573-4B1A-A9B0-3005DA5BAAAF}" dt="2024-02-01T07:18:06.677" v="10963" actId="12"/>
        <pc:sldMkLst>
          <pc:docMk/>
          <pc:sldMk cId="596601236" sldId="2147480292"/>
        </pc:sldMkLst>
        <pc:spChg chg="mod">
          <ac:chgData name="Cyprien ARETHUSE" userId="abd46b16-7bf0-4c01-a850-92fb83f61f27" providerId="ADAL" clId="{067C7D3F-9573-4B1A-A9B0-3005DA5BAAAF}" dt="2024-02-01T07:17:48.736" v="10962"/>
          <ac:spMkLst>
            <pc:docMk/>
            <pc:sldMk cId="596601236" sldId="2147480292"/>
            <ac:spMk id="2" creationId="{5C91E337-74B9-4A35-882F-27BDB4F76934}"/>
          </ac:spMkLst>
        </pc:spChg>
        <pc:spChg chg="del mod ord">
          <ac:chgData name="Cyprien ARETHUSE" userId="abd46b16-7bf0-4c01-a850-92fb83f61f27" providerId="ADAL" clId="{067C7D3F-9573-4B1A-A9B0-3005DA5BAAAF}" dt="2024-01-22T15:11:44.151" v="3897" actId="478"/>
          <ac:spMkLst>
            <pc:docMk/>
            <pc:sldMk cId="596601236" sldId="2147480292"/>
            <ac:spMk id="3" creationId="{AD070416-6F0C-3F5C-1861-6004EBD4D695}"/>
          </ac:spMkLst>
        </pc:spChg>
        <pc:spChg chg="del">
          <ac:chgData name="Cyprien ARETHUSE" userId="abd46b16-7bf0-4c01-a850-92fb83f61f27" providerId="ADAL" clId="{067C7D3F-9573-4B1A-A9B0-3005DA5BAAAF}" dt="2024-01-29T14:56:48.340" v="8643" actId="478"/>
          <ac:spMkLst>
            <pc:docMk/>
            <pc:sldMk cId="596601236" sldId="2147480292"/>
            <ac:spMk id="3" creationId="{D12F086C-D57A-E5E1-D6B9-243FC6CF3E4A}"/>
          </ac:spMkLst>
        </pc:spChg>
        <pc:spChg chg="add mod">
          <ac:chgData name="Cyprien ARETHUSE" userId="abd46b16-7bf0-4c01-a850-92fb83f61f27" providerId="ADAL" clId="{067C7D3F-9573-4B1A-A9B0-3005DA5BAAAF}" dt="2024-02-01T07:18:06.677" v="10963" actId="12"/>
          <ac:spMkLst>
            <pc:docMk/>
            <pc:sldMk cId="596601236" sldId="2147480292"/>
            <ac:spMk id="4" creationId="{57894F96-70C8-2EF7-4474-546B825A05B8}"/>
          </ac:spMkLst>
        </pc:spChg>
        <pc:spChg chg="add mod">
          <ac:chgData name="Cyprien ARETHUSE" userId="abd46b16-7bf0-4c01-a850-92fb83f61f27" providerId="ADAL" clId="{067C7D3F-9573-4B1A-A9B0-3005DA5BAAAF}" dt="2024-01-22T14:26:20.832" v="3670" actId="1035"/>
          <ac:spMkLst>
            <pc:docMk/>
            <pc:sldMk cId="596601236" sldId="2147480292"/>
            <ac:spMk id="5" creationId="{DECE02C2-7970-9BDA-359B-CAFF5915B1ED}"/>
          </ac:spMkLst>
        </pc:spChg>
        <pc:spChg chg="add del mod">
          <ac:chgData name="Cyprien ARETHUSE" userId="abd46b16-7bf0-4c01-a850-92fb83f61f27" providerId="ADAL" clId="{067C7D3F-9573-4B1A-A9B0-3005DA5BAAAF}" dt="2024-01-18T14:17:43.918" v="915" actId="478"/>
          <ac:spMkLst>
            <pc:docMk/>
            <pc:sldMk cId="596601236" sldId="2147480292"/>
            <ac:spMk id="6" creationId="{44EBA35B-4039-0C2C-A381-F0D4C1083099}"/>
          </ac:spMkLst>
        </pc:spChg>
        <pc:spChg chg="add mod">
          <ac:chgData name="Cyprien ARETHUSE" userId="abd46b16-7bf0-4c01-a850-92fb83f61f27" providerId="ADAL" clId="{067C7D3F-9573-4B1A-A9B0-3005DA5BAAAF}" dt="2024-01-22T14:17:01.668" v="3177" actId="571"/>
          <ac:spMkLst>
            <pc:docMk/>
            <pc:sldMk cId="596601236" sldId="2147480292"/>
            <ac:spMk id="6" creationId="{FAA712ED-4DC6-70CB-5227-3C4D7597BD93}"/>
          </ac:spMkLst>
        </pc:spChg>
        <pc:spChg chg="add mod">
          <ac:chgData name="Cyprien ARETHUSE" userId="abd46b16-7bf0-4c01-a850-92fb83f61f27" providerId="ADAL" clId="{067C7D3F-9573-4B1A-A9B0-3005DA5BAAAF}" dt="2024-01-22T14:26:30.553" v="3671" actId="465"/>
          <ac:spMkLst>
            <pc:docMk/>
            <pc:sldMk cId="596601236" sldId="2147480292"/>
            <ac:spMk id="7" creationId="{C3923B5C-6BA9-8CEC-4B14-C4A04FA99815}"/>
          </ac:spMkLst>
        </pc:spChg>
        <pc:spChg chg="mod">
          <ac:chgData name="Cyprien ARETHUSE" userId="abd46b16-7bf0-4c01-a850-92fb83f61f27" providerId="ADAL" clId="{067C7D3F-9573-4B1A-A9B0-3005DA5BAAAF}" dt="2024-01-18T14:17:51.359" v="939" actId="1035"/>
          <ac:spMkLst>
            <pc:docMk/>
            <pc:sldMk cId="596601236" sldId="2147480292"/>
            <ac:spMk id="13" creationId="{96A04729-B700-9DCA-1F18-39A4A302DBE0}"/>
          </ac:spMkLst>
        </pc:spChg>
        <pc:spChg chg="add mod">
          <ac:chgData name="Cyprien ARETHUSE" userId="abd46b16-7bf0-4c01-a850-92fb83f61f27" providerId="ADAL" clId="{067C7D3F-9573-4B1A-A9B0-3005DA5BAAAF}" dt="2024-01-22T14:26:14.240" v="3661" actId="1035"/>
          <ac:spMkLst>
            <pc:docMk/>
            <pc:sldMk cId="596601236" sldId="2147480292"/>
            <ac:spMk id="14" creationId="{1FEF8A34-F03D-1D98-8CC0-90C92BD42FB2}"/>
          </ac:spMkLst>
        </pc:spChg>
        <pc:spChg chg="del">
          <ac:chgData name="Cyprien ARETHUSE" userId="abd46b16-7bf0-4c01-a850-92fb83f61f27" providerId="ADAL" clId="{067C7D3F-9573-4B1A-A9B0-3005DA5BAAAF}" dt="2024-01-18T14:17:41.085" v="914" actId="478"/>
          <ac:spMkLst>
            <pc:docMk/>
            <pc:sldMk cId="596601236" sldId="2147480292"/>
            <ac:spMk id="14" creationId="{A68FCD55-BDBC-D28E-7E8D-BD147084F91C}"/>
          </ac:spMkLst>
        </pc:spChg>
        <pc:spChg chg="mod">
          <ac:chgData name="Cyprien ARETHUSE" userId="abd46b16-7bf0-4c01-a850-92fb83f61f27" providerId="ADAL" clId="{067C7D3F-9573-4B1A-A9B0-3005DA5BAAAF}" dt="2024-01-18T14:17:51.359" v="939" actId="1035"/>
          <ac:spMkLst>
            <pc:docMk/>
            <pc:sldMk cId="596601236" sldId="2147480292"/>
            <ac:spMk id="15" creationId="{CDDDD91C-1EF8-97DC-8BBA-7CAE736DBB30}"/>
          </ac:spMkLst>
        </pc:spChg>
        <pc:spChg chg="mod">
          <ac:chgData name="Cyprien ARETHUSE" userId="abd46b16-7bf0-4c01-a850-92fb83f61f27" providerId="ADAL" clId="{067C7D3F-9573-4B1A-A9B0-3005DA5BAAAF}" dt="2024-01-18T14:17:51.359" v="939" actId="1035"/>
          <ac:spMkLst>
            <pc:docMk/>
            <pc:sldMk cId="596601236" sldId="2147480292"/>
            <ac:spMk id="16" creationId="{8E0AA8F9-0D56-3BC5-647C-3E8AA831CA73}"/>
          </ac:spMkLst>
        </pc:spChg>
        <pc:spChg chg="mod">
          <ac:chgData name="Cyprien ARETHUSE" userId="abd46b16-7bf0-4c01-a850-92fb83f61f27" providerId="ADAL" clId="{067C7D3F-9573-4B1A-A9B0-3005DA5BAAAF}" dt="2024-01-18T14:17:51.359" v="939" actId="1035"/>
          <ac:spMkLst>
            <pc:docMk/>
            <pc:sldMk cId="596601236" sldId="2147480292"/>
            <ac:spMk id="17" creationId="{4F4395B1-6368-0DD6-7B10-4FA6CA7D1E48}"/>
          </ac:spMkLst>
        </pc:spChg>
        <pc:spChg chg="mod">
          <ac:chgData name="Cyprien ARETHUSE" userId="abd46b16-7bf0-4c01-a850-92fb83f61f27" providerId="ADAL" clId="{067C7D3F-9573-4B1A-A9B0-3005DA5BAAAF}" dt="2024-01-18T14:17:51.359" v="939" actId="1035"/>
          <ac:spMkLst>
            <pc:docMk/>
            <pc:sldMk cId="596601236" sldId="2147480292"/>
            <ac:spMk id="19" creationId="{ED7D6AFD-3995-F77E-5277-190C7A8FC8AA}"/>
          </ac:spMkLst>
        </pc:spChg>
        <pc:spChg chg="mod">
          <ac:chgData name="Cyprien ARETHUSE" userId="abd46b16-7bf0-4c01-a850-92fb83f61f27" providerId="ADAL" clId="{067C7D3F-9573-4B1A-A9B0-3005DA5BAAAF}" dt="2024-01-18T14:17:51.359" v="939" actId="1035"/>
          <ac:spMkLst>
            <pc:docMk/>
            <pc:sldMk cId="596601236" sldId="2147480292"/>
            <ac:spMk id="20" creationId="{8BF45E37-B13E-B6E3-5A35-2228ADF1D012}"/>
          </ac:spMkLst>
        </pc:spChg>
        <pc:spChg chg="mod">
          <ac:chgData name="Cyprien ARETHUSE" userId="abd46b16-7bf0-4c01-a850-92fb83f61f27" providerId="ADAL" clId="{067C7D3F-9573-4B1A-A9B0-3005DA5BAAAF}" dt="2024-01-18T14:17:51.359" v="939" actId="1035"/>
          <ac:spMkLst>
            <pc:docMk/>
            <pc:sldMk cId="596601236" sldId="2147480292"/>
            <ac:spMk id="22" creationId="{3CF4B66D-40FE-FF7D-7D7E-64D1768BB3E7}"/>
          </ac:spMkLst>
        </pc:spChg>
        <pc:spChg chg="mod">
          <ac:chgData name="Cyprien ARETHUSE" userId="abd46b16-7bf0-4c01-a850-92fb83f61f27" providerId="ADAL" clId="{067C7D3F-9573-4B1A-A9B0-3005DA5BAAAF}" dt="2024-01-18T14:17:51.359" v="939" actId="1035"/>
          <ac:spMkLst>
            <pc:docMk/>
            <pc:sldMk cId="596601236" sldId="2147480292"/>
            <ac:spMk id="23" creationId="{C931F667-652A-4271-DC8A-AA5E09420D7A}"/>
          </ac:spMkLst>
        </pc:spChg>
        <pc:spChg chg="mod">
          <ac:chgData name="Cyprien ARETHUSE" userId="abd46b16-7bf0-4c01-a850-92fb83f61f27" providerId="ADAL" clId="{067C7D3F-9573-4B1A-A9B0-3005DA5BAAAF}" dt="2024-01-18T14:17:51.359" v="939" actId="1035"/>
          <ac:spMkLst>
            <pc:docMk/>
            <pc:sldMk cId="596601236" sldId="2147480292"/>
            <ac:spMk id="24" creationId="{C5438A53-7DD4-C2AE-0220-97D4A880199E}"/>
          </ac:spMkLst>
        </pc:spChg>
        <pc:spChg chg="mod">
          <ac:chgData name="Cyprien ARETHUSE" userId="abd46b16-7bf0-4c01-a850-92fb83f61f27" providerId="ADAL" clId="{067C7D3F-9573-4B1A-A9B0-3005DA5BAAAF}" dt="2024-01-18T14:17:51.359" v="939" actId="1035"/>
          <ac:spMkLst>
            <pc:docMk/>
            <pc:sldMk cId="596601236" sldId="2147480292"/>
            <ac:spMk id="25" creationId="{1C07FACB-84DC-4CC6-1B03-BF4D14A4EEAC}"/>
          </ac:spMkLst>
        </pc:spChg>
        <pc:spChg chg="mod">
          <ac:chgData name="Cyprien ARETHUSE" userId="abd46b16-7bf0-4c01-a850-92fb83f61f27" providerId="ADAL" clId="{067C7D3F-9573-4B1A-A9B0-3005DA5BAAAF}" dt="2024-01-18T14:17:51.359" v="939" actId="1035"/>
          <ac:spMkLst>
            <pc:docMk/>
            <pc:sldMk cId="596601236" sldId="2147480292"/>
            <ac:spMk id="26" creationId="{2DC6FE50-642F-305B-8AD0-241BC07E7E38}"/>
          </ac:spMkLst>
        </pc:spChg>
        <pc:spChg chg="mod">
          <ac:chgData name="Cyprien ARETHUSE" userId="abd46b16-7bf0-4c01-a850-92fb83f61f27" providerId="ADAL" clId="{067C7D3F-9573-4B1A-A9B0-3005DA5BAAAF}" dt="2024-01-18T14:17:51.359" v="939" actId="1035"/>
          <ac:spMkLst>
            <pc:docMk/>
            <pc:sldMk cId="596601236" sldId="2147480292"/>
            <ac:spMk id="27" creationId="{30CBCC22-8A50-5257-898C-F44364C1621D}"/>
          </ac:spMkLst>
        </pc:spChg>
        <pc:spChg chg="mod">
          <ac:chgData name="Cyprien ARETHUSE" userId="abd46b16-7bf0-4c01-a850-92fb83f61f27" providerId="ADAL" clId="{067C7D3F-9573-4B1A-A9B0-3005DA5BAAAF}" dt="2024-01-18T14:17:51.359" v="939" actId="1035"/>
          <ac:spMkLst>
            <pc:docMk/>
            <pc:sldMk cId="596601236" sldId="2147480292"/>
            <ac:spMk id="28" creationId="{422EC1E6-A7C2-0006-9184-9C1FE170F790}"/>
          </ac:spMkLst>
        </pc:spChg>
        <pc:spChg chg="mod">
          <ac:chgData name="Cyprien ARETHUSE" userId="abd46b16-7bf0-4c01-a850-92fb83f61f27" providerId="ADAL" clId="{067C7D3F-9573-4B1A-A9B0-3005DA5BAAAF}" dt="2024-01-18T14:17:51.359" v="939" actId="1035"/>
          <ac:spMkLst>
            <pc:docMk/>
            <pc:sldMk cId="596601236" sldId="2147480292"/>
            <ac:spMk id="29" creationId="{B9EAC224-175A-4297-4C0A-DFA36B751071}"/>
          </ac:spMkLst>
        </pc:spChg>
        <pc:spChg chg="add mod">
          <ac:chgData name="Cyprien ARETHUSE" userId="abd46b16-7bf0-4c01-a850-92fb83f61f27" providerId="ADAL" clId="{067C7D3F-9573-4B1A-A9B0-3005DA5BAAAF}" dt="2024-01-22T14:30:33.733" v="3680" actId="14100"/>
          <ac:spMkLst>
            <pc:docMk/>
            <pc:sldMk cId="596601236" sldId="2147480292"/>
            <ac:spMk id="30" creationId="{96F1C8A1-2962-BB7D-3BD3-A252955E641F}"/>
          </ac:spMkLst>
        </pc:spChg>
        <pc:spChg chg="add mod">
          <ac:chgData name="Cyprien ARETHUSE" userId="abd46b16-7bf0-4c01-a850-92fb83f61f27" providerId="ADAL" clId="{067C7D3F-9573-4B1A-A9B0-3005DA5BAAAF}" dt="2024-01-22T14:30:33.733" v="3680" actId="14100"/>
          <ac:spMkLst>
            <pc:docMk/>
            <pc:sldMk cId="596601236" sldId="2147480292"/>
            <ac:spMk id="31" creationId="{CFD54F2B-8D36-66D3-B6DB-B054E7B07C61}"/>
          </ac:spMkLst>
        </pc:spChg>
        <pc:spChg chg="add mod">
          <ac:chgData name="Cyprien ARETHUSE" userId="abd46b16-7bf0-4c01-a850-92fb83f61f27" providerId="ADAL" clId="{067C7D3F-9573-4B1A-A9B0-3005DA5BAAAF}" dt="2024-01-22T14:30:33.733" v="3680" actId="14100"/>
          <ac:spMkLst>
            <pc:docMk/>
            <pc:sldMk cId="596601236" sldId="2147480292"/>
            <ac:spMk id="32" creationId="{0B929C85-9D4B-E69C-4BCD-332DC53B8CEA}"/>
          </ac:spMkLst>
        </pc:spChg>
        <pc:spChg chg="add mod">
          <ac:chgData name="Cyprien ARETHUSE" userId="abd46b16-7bf0-4c01-a850-92fb83f61f27" providerId="ADAL" clId="{067C7D3F-9573-4B1A-A9B0-3005DA5BAAAF}" dt="2024-01-22T14:26:05.814" v="3646" actId="1038"/>
          <ac:spMkLst>
            <pc:docMk/>
            <pc:sldMk cId="596601236" sldId="2147480292"/>
            <ac:spMk id="33" creationId="{31497491-A6D2-98DE-A132-FA20A1178C54}"/>
          </ac:spMkLst>
        </pc:spChg>
        <pc:spChg chg="mod">
          <ac:chgData name="Cyprien ARETHUSE" userId="abd46b16-7bf0-4c01-a850-92fb83f61f27" providerId="ADAL" clId="{067C7D3F-9573-4B1A-A9B0-3005DA5BAAAF}" dt="2024-01-22T14:20:48.742" v="3332" actId="1035"/>
          <ac:spMkLst>
            <pc:docMk/>
            <pc:sldMk cId="596601236" sldId="2147480292"/>
            <ac:spMk id="34" creationId="{DA04F47B-DC2E-A0F5-7CE3-49965D4DB7AF}"/>
          </ac:spMkLst>
        </pc:spChg>
        <pc:spChg chg="add mod">
          <ac:chgData name="Cyprien ARETHUSE" userId="abd46b16-7bf0-4c01-a850-92fb83f61f27" providerId="ADAL" clId="{067C7D3F-9573-4B1A-A9B0-3005DA5BAAAF}" dt="2024-01-22T14:30:51.733" v="3682" actId="571"/>
          <ac:spMkLst>
            <pc:docMk/>
            <pc:sldMk cId="596601236" sldId="2147480292"/>
            <ac:spMk id="35" creationId="{D588A09F-09F3-90C2-AD3D-734EBB14770E}"/>
          </ac:spMkLst>
        </pc:spChg>
        <pc:spChg chg="add mod">
          <ac:chgData name="Cyprien ARETHUSE" userId="abd46b16-7bf0-4c01-a850-92fb83f61f27" providerId="ADAL" clId="{067C7D3F-9573-4B1A-A9B0-3005DA5BAAAF}" dt="2024-01-22T14:30:51.733" v="3682" actId="571"/>
          <ac:spMkLst>
            <pc:docMk/>
            <pc:sldMk cId="596601236" sldId="2147480292"/>
            <ac:spMk id="36" creationId="{5FD1712E-CC4F-6278-6158-5D21CBC49FED}"/>
          </ac:spMkLst>
        </pc:spChg>
        <pc:spChg chg="add mod">
          <ac:chgData name="Cyprien ARETHUSE" userId="abd46b16-7bf0-4c01-a850-92fb83f61f27" providerId="ADAL" clId="{067C7D3F-9573-4B1A-A9B0-3005DA5BAAAF}" dt="2024-01-22T14:30:51.733" v="3682" actId="571"/>
          <ac:spMkLst>
            <pc:docMk/>
            <pc:sldMk cId="596601236" sldId="2147480292"/>
            <ac:spMk id="37" creationId="{F5E42999-D48F-9A51-7B6F-AAABA45E6AE9}"/>
          </ac:spMkLst>
        </pc:spChg>
        <pc:spChg chg="add mod">
          <ac:chgData name="Cyprien ARETHUSE" userId="abd46b16-7bf0-4c01-a850-92fb83f61f27" providerId="ADAL" clId="{067C7D3F-9573-4B1A-A9B0-3005DA5BAAAF}" dt="2024-01-22T14:30:51.733" v="3682" actId="571"/>
          <ac:spMkLst>
            <pc:docMk/>
            <pc:sldMk cId="596601236" sldId="2147480292"/>
            <ac:spMk id="38" creationId="{519C2BC9-BDB3-0390-BCC0-C61F37EEF05C}"/>
          </ac:spMkLst>
        </pc:spChg>
        <pc:spChg chg="add mod">
          <ac:chgData name="Cyprien ARETHUSE" userId="abd46b16-7bf0-4c01-a850-92fb83f61f27" providerId="ADAL" clId="{067C7D3F-9573-4B1A-A9B0-3005DA5BAAAF}" dt="2024-01-23T15:44:11.860" v="5918" actId="1037"/>
          <ac:spMkLst>
            <pc:docMk/>
            <pc:sldMk cId="596601236" sldId="2147480292"/>
            <ac:spMk id="39" creationId="{BA12CC62-77CD-F9DB-5734-BF473D4CE7FD}"/>
          </ac:spMkLst>
        </pc:spChg>
        <pc:spChg chg="mod">
          <ac:chgData name="Cyprien ARETHUSE" userId="abd46b16-7bf0-4c01-a850-92fb83f61f27" providerId="ADAL" clId="{067C7D3F-9573-4B1A-A9B0-3005DA5BAAAF}" dt="2024-01-22T14:20:48.742" v="3332" actId="1035"/>
          <ac:spMkLst>
            <pc:docMk/>
            <pc:sldMk cId="596601236" sldId="2147480292"/>
            <ac:spMk id="40" creationId="{E8D2F53B-010B-0B84-FF4D-932E792DFCBE}"/>
          </ac:spMkLst>
        </pc:spChg>
        <pc:spChg chg="add del mod">
          <ac:chgData name="Cyprien ARETHUSE" userId="abd46b16-7bf0-4c01-a850-92fb83f61f27" providerId="ADAL" clId="{067C7D3F-9573-4B1A-A9B0-3005DA5BAAAF}" dt="2024-01-22T14:31:52.615" v="3688" actId="478"/>
          <ac:spMkLst>
            <pc:docMk/>
            <pc:sldMk cId="596601236" sldId="2147480292"/>
            <ac:spMk id="41" creationId="{4D87BB49-0779-AAEE-4F55-FFC12663314A}"/>
          </ac:spMkLst>
        </pc:spChg>
        <pc:spChg chg="add mod">
          <ac:chgData name="Cyprien ARETHUSE" userId="abd46b16-7bf0-4c01-a850-92fb83f61f27" providerId="ADAL" clId="{067C7D3F-9573-4B1A-A9B0-3005DA5BAAAF}" dt="2024-01-23T15:44:11.860" v="5918" actId="1037"/>
          <ac:spMkLst>
            <pc:docMk/>
            <pc:sldMk cId="596601236" sldId="2147480292"/>
            <ac:spMk id="42" creationId="{B3FF3078-66F1-8298-9AD9-698D52502DDE}"/>
          </ac:spMkLst>
        </pc:spChg>
        <pc:spChg chg="add del mod">
          <ac:chgData name="Cyprien ARETHUSE" userId="abd46b16-7bf0-4c01-a850-92fb83f61f27" providerId="ADAL" clId="{067C7D3F-9573-4B1A-A9B0-3005DA5BAAAF}" dt="2024-01-22T14:31:52.615" v="3688" actId="478"/>
          <ac:spMkLst>
            <pc:docMk/>
            <pc:sldMk cId="596601236" sldId="2147480292"/>
            <ac:spMk id="43" creationId="{36B14368-9CF4-26D6-BF1E-A78C02C05A88}"/>
          </ac:spMkLst>
        </pc:spChg>
        <pc:spChg chg="add mod">
          <ac:chgData name="Cyprien ARETHUSE" userId="abd46b16-7bf0-4c01-a850-92fb83f61f27" providerId="ADAL" clId="{067C7D3F-9573-4B1A-A9B0-3005DA5BAAAF}" dt="2024-01-23T15:44:11.860" v="5918" actId="1037"/>
          <ac:spMkLst>
            <pc:docMk/>
            <pc:sldMk cId="596601236" sldId="2147480292"/>
            <ac:spMk id="44" creationId="{06820649-6F8F-2F1E-6519-DC49313A27D4}"/>
          </ac:spMkLst>
        </pc:spChg>
        <pc:spChg chg="add del mod">
          <ac:chgData name="Cyprien ARETHUSE" userId="abd46b16-7bf0-4c01-a850-92fb83f61f27" providerId="ADAL" clId="{067C7D3F-9573-4B1A-A9B0-3005DA5BAAAF}" dt="2024-01-22T14:33:04.893" v="3741" actId="478"/>
          <ac:spMkLst>
            <pc:docMk/>
            <pc:sldMk cId="596601236" sldId="2147480292"/>
            <ac:spMk id="45" creationId="{940944C4-5271-AB3A-C981-753FFD777C9A}"/>
          </ac:spMkLst>
        </pc:spChg>
        <pc:spChg chg="add mod">
          <ac:chgData name="Cyprien ARETHUSE" userId="abd46b16-7bf0-4c01-a850-92fb83f61f27" providerId="ADAL" clId="{067C7D3F-9573-4B1A-A9B0-3005DA5BAAAF}" dt="2024-01-23T15:44:11.860" v="5918" actId="1037"/>
          <ac:spMkLst>
            <pc:docMk/>
            <pc:sldMk cId="596601236" sldId="2147480292"/>
            <ac:spMk id="46" creationId="{15E11043-5A0D-F04E-1437-BA1A351A4F12}"/>
          </ac:spMkLst>
        </pc:spChg>
        <pc:spChg chg="add del mod">
          <ac:chgData name="Cyprien ARETHUSE" userId="abd46b16-7bf0-4c01-a850-92fb83f61f27" providerId="ADAL" clId="{067C7D3F-9573-4B1A-A9B0-3005DA5BAAAF}" dt="2024-01-22T14:33:04.893" v="3741" actId="478"/>
          <ac:spMkLst>
            <pc:docMk/>
            <pc:sldMk cId="596601236" sldId="2147480292"/>
            <ac:spMk id="47" creationId="{524244DE-1E2C-14BA-85DB-E2F3D1B0575D}"/>
          </ac:spMkLst>
        </pc:spChg>
        <pc:spChg chg="add mod">
          <ac:chgData name="Cyprien ARETHUSE" userId="abd46b16-7bf0-4c01-a850-92fb83f61f27" providerId="ADAL" clId="{067C7D3F-9573-4B1A-A9B0-3005DA5BAAAF}" dt="2024-01-22T14:41:46.369" v="3783" actId="1038"/>
          <ac:spMkLst>
            <pc:docMk/>
            <pc:sldMk cId="596601236" sldId="2147480292"/>
            <ac:spMk id="48" creationId="{7FC0027D-CA65-DE88-12A3-0C69106385E0}"/>
          </ac:spMkLst>
        </pc:spChg>
        <pc:spChg chg="add mod">
          <ac:chgData name="Cyprien ARETHUSE" userId="abd46b16-7bf0-4c01-a850-92fb83f61f27" providerId="ADAL" clId="{067C7D3F-9573-4B1A-A9B0-3005DA5BAAAF}" dt="2024-01-22T14:41:46.369" v="3783" actId="1038"/>
          <ac:spMkLst>
            <pc:docMk/>
            <pc:sldMk cId="596601236" sldId="2147480292"/>
            <ac:spMk id="50" creationId="{403557D1-1088-1E0E-B86B-AA3A9B9FC349}"/>
          </ac:spMkLst>
        </pc:spChg>
        <pc:spChg chg="mod">
          <ac:chgData name="Cyprien ARETHUSE" userId="abd46b16-7bf0-4c01-a850-92fb83f61f27" providerId="ADAL" clId="{067C7D3F-9573-4B1A-A9B0-3005DA5BAAAF}" dt="2024-01-18T14:18:35.175" v="942" actId="555"/>
          <ac:spMkLst>
            <pc:docMk/>
            <pc:sldMk cId="596601236" sldId="2147480292"/>
            <ac:spMk id="51" creationId="{B429B38F-DF09-604F-24D2-3685D4763F3D}"/>
          </ac:spMkLst>
        </pc:spChg>
        <pc:spChg chg="mod">
          <ac:chgData name="Cyprien ARETHUSE" userId="abd46b16-7bf0-4c01-a850-92fb83f61f27" providerId="ADAL" clId="{067C7D3F-9573-4B1A-A9B0-3005DA5BAAAF}" dt="2024-01-18T14:18:51.150" v="944" actId="555"/>
          <ac:spMkLst>
            <pc:docMk/>
            <pc:sldMk cId="596601236" sldId="2147480292"/>
            <ac:spMk id="52" creationId="{7ABFBC85-064A-7847-5303-B7B945134DC5}"/>
          </ac:spMkLst>
        </pc:spChg>
        <pc:spChg chg="add mod">
          <ac:chgData name="Cyprien ARETHUSE" userId="abd46b16-7bf0-4c01-a850-92fb83f61f27" providerId="ADAL" clId="{067C7D3F-9573-4B1A-A9B0-3005DA5BAAAF}" dt="2024-01-22T14:41:46.369" v="3783" actId="1038"/>
          <ac:spMkLst>
            <pc:docMk/>
            <pc:sldMk cId="596601236" sldId="2147480292"/>
            <ac:spMk id="53" creationId="{D82BCEAA-8E4E-9620-8F44-435632332B56}"/>
          </ac:spMkLst>
        </pc:spChg>
        <pc:spChg chg="mod">
          <ac:chgData name="Cyprien ARETHUSE" userId="abd46b16-7bf0-4c01-a850-92fb83f61f27" providerId="ADAL" clId="{067C7D3F-9573-4B1A-A9B0-3005DA5BAAAF}" dt="2024-01-22T14:23:07.638" v="3438" actId="12788"/>
          <ac:spMkLst>
            <pc:docMk/>
            <pc:sldMk cId="596601236" sldId="2147480292"/>
            <ac:spMk id="56" creationId="{EAAA241A-F03F-4835-5BB9-E8D84BFEC3D7}"/>
          </ac:spMkLst>
        </pc:spChg>
        <pc:spChg chg="add mod">
          <ac:chgData name="Cyprien ARETHUSE" userId="abd46b16-7bf0-4c01-a850-92fb83f61f27" providerId="ADAL" clId="{067C7D3F-9573-4B1A-A9B0-3005DA5BAAAF}" dt="2024-01-22T14:41:46.369" v="3783" actId="1038"/>
          <ac:spMkLst>
            <pc:docMk/>
            <pc:sldMk cId="596601236" sldId="2147480292"/>
            <ac:spMk id="57" creationId="{01109496-096C-CA55-830D-1DD41E98639F}"/>
          </ac:spMkLst>
        </pc:spChg>
        <pc:spChg chg="mod">
          <ac:chgData name="Cyprien ARETHUSE" userId="abd46b16-7bf0-4c01-a850-92fb83f61f27" providerId="ADAL" clId="{067C7D3F-9573-4B1A-A9B0-3005DA5BAAAF}" dt="2024-01-22T14:17:28.788" v="3201" actId="1036"/>
          <ac:spMkLst>
            <pc:docMk/>
            <pc:sldMk cId="596601236" sldId="2147480292"/>
            <ac:spMk id="58" creationId="{33996D55-C7C3-BB18-A669-7040C2CF165F}"/>
          </ac:spMkLst>
        </pc:spChg>
        <pc:spChg chg="mod">
          <ac:chgData name="Cyprien ARETHUSE" userId="abd46b16-7bf0-4c01-a850-92fb83f61f27" providerId="ADAL" clId="{067C7D3F-9573-4B1A-A9B0-3005DA5BAAAF}" dt="2024-01-22T14:24:15.466" v="3476" actId="1038"/>
          <ac:spMkLst>
            <pc:docMk/>
            <pc:sldMk cId="596601236" sldId="2147480292"/>
            <ac:spMk id="59" creationId="{CBAF0517-238D-7149-785F-CB5E620BDA8F}"/>
          </ac:spMkLst>
        </pc:spChg>
        <pc:spChg chg="mod">
          <ac:chgData name="Cyprien ARETHUSE" userId="abd46b16-7bf0-4c01-a850-92fb83f61f27" providerId="ADAL" clId="{067C7D3F-9573-4B1A-A9B0-3005DA5BAAAF}" dt="2024-01-29T17:08:47.532" v="9050" actId="14100"/>
          <ac:spMkLst>
            <pc:docMk/>
            <pc:sldMk cId="596601236" sldId="2147480292"/>
            <ac:spMk id="60" creationId="{E37C64BC-55F1-E6FB-E64E-AF2B6F155CE7}"/>
          </ac:spMkLst>
        </pc:spChg>
        <pc:spChg chg="mod">
          <ac:chgData name="Cyprien ARETHUSE" userId="abd46b16-7bf0-4c01-a850-92fb83f61f27" providerId="ADAL" clId="{067C7D3F-9573-4B1A-A9B0-3005DA5BAAAF}" dt="2024-01-22T14:20:48.742" v="3332" actId="1035"/>
          <ac:spMkLst>
            <pc:docMk/>
            <pc:sldMk cId="596601236" sldId="2147480292"/>
            <ac:spMk id="61" creationId="{038141E5-5C7A-D441-7919-B2B11E58D492}"/>
          </ac:spMkLst>
        </pc:spChg>
        <pc:spChg chg="mod">
          <ac:chgData name="Cyprien ARETHUSE" userId="abd46b16-7bf0-4c01-a850-92fb83f61f27" providerId="ADAL" clId="{067C7D3F-9573-4B1A-A9B0-3005DA5BAAAF}" dt="2024-01-22T14:17:21.381" v="3193" actId="1036"/>
          <ac:spMkLst>
            <pc:docMk/>
            <pc:sldMk cId="596601236" sldId="2147480292"/>
            <ac:spMk id="62" creationId="{93472FFA-19B4-AF6D-55C6-2465D6DA8091}"/>
          </ac:spMkLst>
        </pc:spChg>
        <pc:spChg chg="add mod">
          <ac:chgData name="Cyprien ARETHUSE" userId="abd46b16-7bf0-4c01-a850-92fb83f61f27" providerId="ADAL" clId="{067C7D3F-9573-4B1A-A9B0-3005DA5BAAAF}" dt="2024-01-22T14:41:46.369" v="3783" actId="1038"/>
          <ac:spMkLst>
            <pc:docMk/>
            <pc:sldMk cId="596601236" sldId="2147480292"/>
            <ac:spMk id="63" creationId="{4CDBC6EE-5C4C-400D-413E-F92FB254474D}"/>
          </ac:spMkLst>
        </pc:spChg>
        <pc:spChg chg="mod">
          <ac:chgData name="Cyprien ARETHUSE" userId="abd46b16-7bf0-4c01-a850-92fb83f61f27" providerId="ADAL" clId="{067C7D3F-9573-4B1A-A9B0-3005DA5BAAAF}" dt="2024-01-22T14:20:48.742" v="3332" actId="1035"/>
          <ac:spMkLst>
            <pc:docMk/>
            <pc:sldMk cId="596601236" sldId="2147480292"/>
            <ac:spMk id="64" creationId="{63FAAAEC-26DD-FF05-D8AD-888DECB95D87}"/>
          </ac:spMkLst>
        </pc:spChg>
        <pc:spChg chg="add mod">
          <ac:chgData name="Cyprien ARETHUSE" userId="abd46b16-7bf0-4c01-a850-92fb83f61f27" providerId="ADAL" clId="{067C7D3F-9573-4B1A-A9B0-3005DA5BAAAF}" dt="2024-01-22T14:41:46.369" v="3783" actId="1038"/>
          <ac:spMkLst>
            <pc:docMk/>
            <pc:sldMk cId="596601236" sldId="2147480292"/>
            <ac:spMk id="65" creationId="{C63AD7A2-D30E-2F3F-C094-43A6AC3D0CBA}"/>
          </ac:spMkLst>
        </pc:spChg>
        <pc:spChg chg="add mod">
          <ac:chgData name="Cyprien ARETHUSE" userId="abd46b16-7bf0-4c01-a850-92fb83f61f27" providerId="ADAL" clId="{067C7D3F-9573-4B1A-A9B0-3005DA5BAAAF}" dt="2024-01-22T14:43:02.371" v="3887" actId="1036"/>
          <ac:spMkLst>
            <pc:docMk/>
            <pc:sldMk cId="596601236" sldId="2147480292"/>
            <ac:spMk id="66" creationId="{0D76B70D-B181-3C29-4BE9-309A11A735B1}"/>
          </ac:spMkLst>
        </pc:spChg>
        <pc:spChg chg="add mod">
          <ac:chgData name="Cyprien ARETHUSE" userId="abd46b16-7bf0-4c01-a850-92fb83f61f27" providerId="ADAL" clId="{067C7D3F-9573-4B1A-A9B0-3005DA5BAAAF}" dt="2024-01-22T14:42:48.662" v="3874" actId="1036"/>
          <ac:spMkLst>
            <pc:docMk/>
            <pc:sldMk cId="596601236" sldId="2147480292"/>
            <ac:spMk id="67" creationId="{3FCA3673-883C-929D-19AC-42607BAD038C}"/>
          </ac:spMkLst>
        </pc:spChg>
        <pc:spChg chg="mod">
          <ac:chgData name="Cyprien ARETHUSE" userId="abd46b16-7bf0-4c01-a850-92fb83f61f27" providerId="ADAL" clId="{067C7D3F-9573-4B1A-A9B0-3005DA5BAAAF}" dt="2024-01-18T14:18:46.303" v="943" actId="555"/>
          <ac:spMkLst>
            <pc:docMk/>
            <pc:sldMk cId="596601236" sldId="2147480292"/>
            <ac:spMk id="83" creationId="{230408EB-2317-D689-A2A8-45B9FC4971D5}"/>
          </ac:spMkLst>
        </pc:spChg>
        <pc:spChg chg="del mod">
          <ac:chgData name="Cyprien ARETHUSE" userId="abd46b16-7bf0-4c01-a850-92fb83f61f27" providerId="ADAL" clId="{067C7D3F-9573-4B1A-A9B0-3005DA5BAAAF}" dt="2024-01-23T09:41:13.591" v="5736" actId="478"/>
          <ac:spMkLst>
            <pc:docMk/>
            <pc:sldMk cId="596601236" sldId="2147480292"/>
            <ac:spMk id="94" creationId="{9D144084-BB17-FC27-BE49-24837E005D63}"/>
          </ac:spMkLst>
        </pc:spChg>
        <pc:spChg chg="del mod ord">
          <ac:chgData name="Cyprien ARETHUSE" userId="abd46b16-7bf0-4c01-a850-92fb83f61f27" providerId="ADAL" clId="{067C7D3F-9573-4B1A-A9B0-3005DA5BAAAF}" dt="2024-01-23T09:41:13.591" v="5736" actId="478"/>
          <ac:spMkLst>
            <pc:docMk/>
            <pc:sldMk cId="596601236" sldId="2147480292"/>
            <ac:spMk id="105" creationId="{2DD6FDA3-F2E4-BB2D-3A5E-435C9F08383E}"/>
          </ac:spMkLst>
        </pc:spChg>
        <pc:spChg chg="del">
          <ac:chgData name="Cyprien ARETHUSE" userId="abd46b16-7bf0-4c01-a850-92fb83f61f27" providerId="ADAL" clId="{067C7D3F-9573-4B1A-A9B0-3005DA5BAAAF}" dt="2024-01-18T13:41:43.691" v="52" actId="478"/>
          <ac:spMkLst>
            <pc:docMk/>
            <pc:sldMk cId="596601236" sldId="2147480292"/>
            <ac:spMk id="106" creationId="{866BEA5E-CC64-4497-1353-FDB0D47C8EB6}"/>
          </ac:spMkLst>
        </pc:spChg>
        <pc:spChg chg="mod">
          <ac:chgData name="Cyprien ARETHUSE" userId="abd46b16-7bf0-4c01-a850-92fb83f61f27" providerId="ADAL" clId="{067C7D3F-9573-4B1A-A9B0-3005DA5BAAAF}" dt="2024-01-18T14:17:51.359" v="939" actId="1035"/>
          <ac:spMkLst>
            <pc:docMk/>
            <pc:sldMk cId="596601236" sldId="2147480292"/>
            <ac:spMk id="107" creationId="{7D507D3E-AF4A-D99D-432E-8492E6C9EF1F}"/>
          </ac:spMkLst>
        </pc:spChg>
        <pc:spChg chg="mod">
          <ac:chgData name="Cyprien ARETHUSE" userId="abd46b16-7bf0-4c01-a850-92fb83f61f27" providerId="ADAL" clId="{067C7D3F-9573-4B1A-A9B0-3005DA5BAAAF}" dt="2024-01-18T14:18:46.303" v="943" actId="555"/>
          <ac:spMkLst>
            <pc:docMk/>
            <pc:sldMk cId="596601236" sldId="2147480292"/>
            <ac:spMk id="109" creationId="{0CB62A5A-3593-DCF0-128F-A6528451837D}"/>
          </ac:spMkLst>
        </pc:spChg>
        <pc:spChg chg="mod">
          <ac:chgData name="Cyprien ARETHUSE" userId="abd46b16-7bf0-4c01-a850-92fb83f61f27" providerId="ADAL" clId="{067C7D3F-9573-4B1A-A9B0-3005DA5BAAAF}" dt="2024-01-18T14:18:51.150" v="944" actId="555"/>
          <ac:spMkLst>
            <pc:docMk/>
            <pc:sldMk cId="596601236" sldId="2147480292"/>
            <ac:spMk id="110" creationId="{F0BD6880-3F76-7890-2570-A098D32C18B1}"/>
          </ac:spMkLst>
        </pc:spChg>
        <pc:spChg chg="mod">
          <ac:chgData name="Cyprien ARETHUSE" userId="abd46b16-7bf0-4c01-a850-92fb83f61f27" providerId="ADAL" clId="{067C7D3F-9573-4B1A-A9B0-3005DA5BAAAF}" dt="2024-01-22T14:23:07.638" v="3438" actId="12788"/>
          <ac:spMkLst>
            <pc:docMk/>
            <pc:sldMk cId="596601236" sldId="2147480292"/>
            <ac:spMk id="111" creationId="{23C27633-1515-836C-B5C7-FE7A16FC5703}"/>
          </ac:spMkLst>
        </pc:spChg>
        <pc:spChg chg="mod">
          <ac:chgData name="Cyprien ARETHUSE" userId="abd46b16-7bf0-4c01-a850-92fb83f61f27" providerId="ADAL" clId="{067C7D3F-9573-4B1A-A9B0-3005DA5BAAAF}" dt="2024-01-22T14:20:48.742" v="3332" actId="1035"/>
          <ac:spMkLst>
            <pc:docMk/>
            <pc:sldMk cId="596601236" sldId="2147480292"/>
            <ac:spMk id="119" creationId="{B6172B17-1CAD-D56C-B283-CABDDBC8A09F}"/>
          </ac:spMkLst>
        </pc:spChg>
        <pc:spChg chg="mod">
          <ac:chgData name="Cyprien ARETHUSE" userId="abd46b16-7bf0-4c01-a850-92fb83f61f27" providerId="ADAL" clId="{067C7D3F-9573-4B1A-A9B0-3005DA5BAAAF}" dt="2024-01-22T14:21:14.383" v="3381" actId="1035"/>
          <ac:spMkLst>
            <pc:docMk/>
            <pc:sldMk cId="596601236" sldId="2147480292"/>
            <ac:spMk id="122" creationId="{3926BFFB-A92B-4B54-DD47-2977D9B6D84C}"/>
          </ac:spMkLst>
        </pc:spChg>
        <pc:spChg chg="mod">
          <ac:chgData name="Cyprien ARETHUSE" userId="abd46b16-7bf0-4c01-a850-92fb83f61f27" providerId="ADAL" clId="{067C7D3F-9573-4B1A-A9B0-3005DA5BAAAF}" dt="2024-01-22T14:17:21.381" v="3193" actId="1036"/>
          <ac:spMkLst>
            <pc:docMk/>
            <pc:sldMk cId="596601236" sldId="2147480292"/>
            <ac:spMk id="123" creationId="{FF6209E0-599D-A29F-7740-1961D89FCDAD}"/>
          </ac:spMkLst>
        </pc:spChg>
        <pc:spChg chg="mod">
          <ac:chgData name="Cyprien ARETHUSE" userId="abd46b16-7bf0-4c01-a850-92fb83f61f27" providerId="ADAL" clId="{067C7D3F-9573-4B1A-A9B0-3005DA5BAAAF}" dt="2024-01-23T15:42:24.641" v="5874" actId="1037"/>
          <ac:spMkLst>
            <pc:docMk/>
            <pc:sldMk cId="596601236" sldId="2147480292"/>
            <ac:spMk id="124" creationId="{E25A8A1A-9060-8918-404F-DE4693C0C8B5}"/>
          </ac:spMkLst>
        </pc:spChg>
        <pc:spChg chg="mod">
          <ac:chgData name="Cyprien ARETHUSE" userId="abd46b16-7bf0-4c01-a850-92fb83f61f27" providerId="ADAL" clId="{067C7D3F-9573-4B1A-A9B0-3005DA5BAAAF}" dt="2024-01-22T14:21:25.345" v="3414" actId="1036"/>
          <ac:spMkLst>
            <pc:docMk/>
            <pc:sldMk cId="596601236" sldId="2147480292"/>
            <ac:spMk id="2048" creationId="{DD0C2D69-665C-977E-448B-2649C5B91ED9}"/>
          </ac:spMkLst>
        </pc:spChg>
        <pc:spChg chg="del">
          <ac:chgData name="Cyprien ARETHUSE" userId="abd46b16-7bf0-4c01-a850-92fb83f61f27" providerId="ADAL" clId="{067C7D3F-9573-4B1A-A9B0-3005DA5BAAAF}" dt="2024-01-18T13:41:43.691" v="52" actId="478"/>
          <ac:spMkLst>
            <pc:docMk/>
            <pc:sldMk cId="596601236" sldId="2147480292"/>
            <ac:spMk id="2049" creationId="{8A76F36C-81C1-8634-BF0F-772FC89B1937}"/>
          </ac:spMkLst>
        </pc:spChg>
        <pc:spChg chg="del">
          <ac:chgData name="Cyprien ARETHUSE" userId="abd46b16-7bf0-4c01-a850-92fb83f61f27" providerId="ADAL" clId="{067C7D3F-9573-4B1A-A9B0-3005DA5BAAAF}" dt="2024-01-18T13:41:43.691" v="52" actId="478"/>
          <ac:spMkLst>
            <pc:docMk/>
            <pc:sldMk cId="596601236" sldId="2147480292"/>
            <ac:spMk id="2051" creationId="{EFDA9836-1F29-0625-A794-0BE01247CF2A}"/>
          </ac:spMkLst>
        </pc:spChg>
        <pc:spChg chg="del">
          <ac:chgData name="Cyprien ARETHUSE" userId="abd46b16-7bf0-4c01-a850-92fb83f61f27" providerId="ADAL" clId="{067C7D3F-9573-4B1A-A9B0-3005DA5BAAAF}" dt="2024-01-18T13:41:43.691" v="52" actId="478"/>
          <ac:spMkLst>
            <pc:docMk/>
            <pc:sldMk cId="596601236" sldId="2147480292"/>
            <ac:spMk id="2053" creationId="{F09A478F-83E0-217F-D0FD-F280EF902192}"/>
          </ac:spMkLst>
        </pc:spChg>
        <pc:spChg chg="del">
          <ac:chgData name="Cyprien ARETHUSE" userId="abd46b16-7bf0-4c01-a850-92fb83f61f27" providerId="ADAL" clId="{067C7D3F-9573-4B1A-A9B0-3005DA5BAAAF}" dt="2024-01-18T13:41:43.691" v="52" actId="478"/>
          <ac:spMkLst>
            <pc:docMk/>
            <pc:sldMk cId="596601236" sldId="2147480292"/>
            <ac:spMk id="2054" creationId="{D9516592-2316-A511-A9BF-AB33023C04F4}"/>
          </ac:spMkLst>
        </pc:spChg>
        <pc:spChg chg="del">
          <ac:chgData name="Cyprien ARETHUSE" userId="abd46b16-7bf0-4c01-a850-92fb83f61f27" providerId="ADAL" clId="{067C7D3F-9573-4B1A-A9B0-3005DA5BAAAF}" dt="2024-01-18T13:41:43.691" v="52" actId="478"/>
          <ac:spMkLst>
            <pc:docMk/>
            <pc:sldMk cId="596601236" sldId="2147480292"/>
            <ac:spMk id="2055" creationId="{743A7617-4D5A-5946-1316-587429A537A3}"/>
          </ac:spMkLst>
        </pc:spChg>
        <pc:spChg chg="del">
          <ac:chgData name="Cyprien ARETHUSE" userId="abd46b16-7bf0-4c01-a850-92fb83f61f27" providerId="ADAL" clId="{067C7D3F-9573-4B1A-A9B0-3005DA5BAAAF}" dt="2024-01-18T13:41:43.691" v="52" actId="478"/>
          <ac:spMkLst>
            <pc:docMk/>
            <pc:sldMk cId="596601236" sldId="2147480292"/>
            <ac:spMk id="2057" creationId="{4E4D4B40-2582-01B0-CBDE-B0DE716EB2B5}"/>
          </ac:spMkLst>
        </pc:spChg>
        <pc:spChg chg="del">
          <ac:chgData name="Cyprien ARETHUSE" userId="abd46b16-7bf0-4c01-a850-92fb83f61f27" providerId="ADAL" clId="{067C7D3F-9573-4B1A-A9B0-3005DA5BAAAF}" dt="2024-01-18T13:41:43.691" v="52" actId="478"/>
          <ac:spMkLst>
            <pc:docMk/>
            <pc:sldMk cId="596601236" sldId="2147480292"/>
            <ac:spMk id="2058" creationId="{A69FC4AE-A60F-DD29-77B9-DAEB22FCC8D7}"/>
          </ac:spMkLst>
        </pc:spChg>
        <pc:spChg chg="del">
          <ac:chgData name="Cyprien ARETHUSE" userId="abd46b16-7bf0-4c01-a850-92fb83f61f27" providerId="ADAL" clId="{067C7D3F-9573-4B1A-A9B0-3005DA5BAAAF}" dt="2024-01-18T13:41:43.691" v="52" actId="478"/>
          <ac:spMkLst>
            <pc:docMk/>
            <pc:sldMk cId="596601236" sldId="2147480292"/>
            <ac:spMk id="2059" creationId="{06B00CB5-0557-8B79-6D53-CC7560F60FC1}"/>
          </ac:spMkLst>
        </pc:spChg>
        <pc:spChg chg="del">
          <ac:chgData name="Cyprien ARETHUSE" userId="abd46b16-7bf0-4c01-a850-92fb83f61f27" providerId="ADAL" clId="{067C7D3F-9573-4B1A-A9B0-3005DA5BAAAF}" dt="2024-01-18T13:41:43.691" v="52" actId="478"/>
          <ac:spMkLst>
            <pc:docMk/>
            <pc:sldMk cId="596601236" sldId="2147480292"/>
            <ac:spMk id="2060" creationId="{277A2D36-5781-037A-B245-B8D200B4EC64}"/>
          </ac:spMkLst>
        </pc:spChg>
        <pc:spChg chg="del">
          <ac:chgData name="Cyprien ARETHUSE" userId="abd46b16-7bf0-4c01-a850-92fb83f61f27" providerId="ADAL" clId="{067C7D3F-9573-4B1A-A9B0-3005DA5BAAAF}" dt="2024-01-18T13:41:43.691" v="52" actId="478"/>
          <ac:spMkLst>
            <pc:docMk/>
            <pc:sldMk cId="596601236" sldId="2147480292"/>
            <ac:spMk id="2061" creationId="{2E0EFA56-52DA-6654-CEE5-8FF28CCE47C5}"/>
          </ac:spMkLst>
        </pc:spChg>
        <pc:spChg chg="del">
          <ac:chgData name="Cyprien ARETHUSE" userId="abd46b16-7bf0-4c01-a850-92fb83f61f27" providerId="ADAL" clId="{067C7D3F-9573-4B1A-A9B0-3005DA5BAAAF}" dt="2024-01-18T13:41:43.691" v="52" actId="478"/>
          <ac:spMkLst>
            <pc:docMk/>
            <pc:sldMk cId="596601236" sldId="2147480292"/>
            <ac:spMk id="2062" creationId="{F0B65E63-C137-455D-0AC5-71159F119023}"/>
          </ac:spMkLst>
        </pc:spChg>
        <pc:spChg chg="del">
          <ac:chgData name="Cyprien ARETHUSE" userId="abd46b16-7bf0-4c01-a850-92fb83f61f27" providerId="ADAL" clId="{067C7D3F-9573-4B1A-A9B0-3005DA5BAAAF}" dt="2024-01-18T13:41:43.691" v="52" actId="478"/>
          <ac:spMkLst>
            <pc:docMk/>
            <pc:sldMk cId="596601236" sldId="2147480292"/>
            <ac:spMk id="2063" creationId="{D66E8F06-993C-174D-17DA-566EA92BBE4D}"/>
          </ac:spMkLst>
        </pc:spChg>
        <pc:grpChg chg="mod">
          <ac:chgData name="Cyprien ARETHUSE" userId="abd46b16-7bf0-4c01-a850-92fb83f61f27" providerId="ADAL" clId="{067C7D3F-9573-4B1A-A9B0-3005DA5BAAAF}" dt="2024-01-22T14:20:48.742" v="3332" actId="1035"/>
          <ac:grpSpMkLst>
            <pc:docMk/>
            <pc:sldMk cId="596601236" sldId="2147480292"/>
            <ac:grpSpMk id="12" creationId="{36714A37-EE90-4DA0-016C-D6FAD43770A7}"/>
          </ac:grpSpMkLst>
        </pc:grpChg>
        <pc:grpChg chg="mod">
          <ac:chgData name="Cyprien ARETHUSE" userId="abd46b16-7bf0-4c01-a850-92fb83f61f27" providerId="ADAL" clId="{067C7D3F-9573-4B1A-A9B0-3005DA5BAAAF}" dt="2024-01-22T14:20:48.742" v="3332" actId="1035"/>
          <ac:grpSpMkLst>
            <pc:docMk/>
            <pc:sldMk cId="596601236" sldId="2147480292"/>
            <ac:grpSpMk id="18" creationId="{B5BEC36E-DCD6-793C-1A37-360CED9A9E18}"/>
          </ac:grpSpMkLst>
        </pc:grpChg>
        <pc:grpChg chg="mod">
          <ac:chgData name="Cyprien ARETHUSE" userId="abd46b16-7bf0-4c01-a850-92fb83f61f27" providerId="ADAL" clId="{067C7D3F-9573-4B1A-A9B0-3005DA5BAAAF}" dt="2024-01-22T14:17:21.381" v="3193" actId="1036"/>
          <ac:grpSpMkLst>
            <pc:docMk/>
            <pc:sldMk cId="596601236" sldId="2147480292"/>
            <ac:grpSpMk id="21" creationId="{5C692242-3745-A15C-1BA8-6F3769A9C2E0}"/>
          </ac:grpSpMkLst>
        </pc:grpChg>
        <pc:picChg chg="mod">
          <ac:chgData name="Cyprien ARETHUSE" userId="abd46b16-7bf0-4c01-a850-92fb83f61f27" providerId="ADAL" clId="{067C7D3F-9573-4B1A-A9B0-3005DA5BAAAF}" dt="2024-01-23T15:43:16.996" v="5895" actId="12789"/>
          <ac:picMkLst>
            <pc:docMk/>
            <pc:sldMk cId="596601236" sldId="2147480292"/>
            <ac:picMk id="8" creationId="{327A1E60-4FEA-E2EB-90CD-5D9C5F8E12C1}"/>
          </ac:picMkLst>
        </pc:picChg>
        <pc:picChg chg="mod">
          <ac:chgData name="Cyprien ARETHUSE" userId="abd46b16-7bf0-4c01-a850-92fb83f61f27" providerId="ADAL" clId="{067C7D3F-9573-4B1A-A9B0-3005DA5BAAAF}" dt="2024-01-23T15:43:28.653" v="5896" actId="408"/>
          <ac:picMkLst>
            <pc:docMk/>
            <pc:sldMk cId="596601236" sldId="2147480292"/>
            <ac:picMk id="9" creationId="{F3FF6A12-3C94-5D56-5289-92D0AF6FA303}"/>
          </ac:picMkLst>
        </pc:picChg>
        <pc:picChg chg="del mod">
          <ac:chgData name="Cyprien ARETHUSE" userId="abd46b16-7bf0-4c01-a850-92fb83f61f27" providerId="ADAL" clId="{067C7D3F-9573-4B1A-A9B0-3005DA5BAAAF}" dt="2024-01-22T14:13:02.434" v="3145" actId="478"/>
          <ac:picMkLst>
            <pc:docMk/>
            <pc:sldMk cId="596601236" sldId="2147480292"/>
            <ac:picMk id="10" creationId="{E3C1C133-40C6-5969-ABA7-33DD4348B13C}"/>
          </ac:picMkLst>
        </pc:picChg>
        <pc:picChg chg="mod">
          <ac:chgData name="Cyprien ARETHUSE" userId="abd46b16-7bf0-4c01-a850-92fb83f61f27" providerId="ADAL" clId="{067C7D3F-9573-4B1A-A9B0-3005DA5BAAAF}" dt="2024-01-23T15:43:28.653" v="5896" actId="408"/>
          <ac:picMkLst>
            <pc:docMk/>
            <pc:sldMk cId="596601236" sldId="2147480292"/>
            <ac:picMk id="11" creationId="{CC62A1A3-A1A0-C606-F971-84217571F07F}"/>
          </ac:picMkLst>
        </pc:picChg>
        <pc:picChg chg="mod">
          <ac:chgData name="Cyprien ARETHUSE" userId="abd46b16-7bf0-4c01-a850-92fb83f61f27" providerId="ADAL" clId="{067C7D3F-9573-4B1A-A9B0-3005DA5BAAAF}" dt="2024-01-23T15:44:20.090" v="5920" actId="1037"/>
          <ac:picMkLst>
            <pc:docMk/>
            <pc:sldMk cId="596601236" sldId="2147480292"/>
            <ac:picMk id="35" creationId="{1CFEC578-5C84-F6E9-CA6C-9DA81390A27F}"/>
          </ac:picMkLst>
        </pc:picChg>
        <pc:picChg chg="mod">
          <ac:chgData name="Cyprien ARETHUSE" userId="abd46b16-7bf0-4c01-a850-92fb83f61f27" providerId="ADAL" clId="{067C7D3F-9573-4B1A-A9B0-3005DA5BAAAF}" dt="2024-01-22T14:38:00.062" v="3763" actId="408"/>
          <ac:picMkLst>
            <pc:docMk/>
            <pc:sldMk cId="596601236" sldId="2147480292"/>
            <ac:picMk id="49" creationId="{E0242875-B528-5BB0-E495-2D44183E0D50}"/>
          </ac:picMkLst>
        </pc:picChg>
        <pc:picChg chg="mod">
          <ac:chgData name="Cyprien ARETHUSE" userId="abd46b16-7bf0-4c01-a850-92fb83f61f27" providerId="ADAL" clId="{067C7D3F-9573-4B1A-A9B0-3005DA5BAAAF}" dt="2024-01-22T14:38:00.062" v="3763" actId="408"/>
          <ac:picMkLst>
            <pc:docMk/>
            <pc:sldMk cId="596601236" sldId="2147480292"/>
            <ac:picMk id="54" creationId="{0CC75377-D09C-6F04-2BA8-5EDA6D38EDAD}"/>
          </ac:picMkLst>
        </pc:picChg>
        <pc:picChg chg="mod">
          <ac:chgData name="Cyprien ARETHUSE" userId="abd46b16-7bf0-4c01-a850-92fb83f61f27" providerId="ADAL" clId="{067C7D3F-9573-4B1A-A9B0-3005DA5BAAAF}" dt="2024-01-22T14:38:00.062" v="3763" actId="408"/>
          <ac:picMkLst>
            <pc:docMk/>
            <pc:sldMk cId="596601236" sldId="2147480292"/>
            <ac:picMk id="55" creationId="{566F9760-B841-394D-7313-FF9F0600AEEE}"/>
          </ac:picMkLst>
        </pc:picChg>
        <pc:picChg chg="add mod">
          <ac:chgData name="Cyprien ARETHUSE" userId="abd46b16-7bf0-4c01-a850-92fb83f61f27" providerId="ADAL" clId="{067C7D3F-9573-4B1A-A9B0-3005DA5BAAAF}" dt="2024-01-29T17:08:57.177" v="9054" actId="1076"/>
          <ac:picMkLst>
            <pc:docMk/>
            <pc:sldMk cId="596601236" sldId="2147480292"/>
            <ac:picMk id="68" creationId="{8CDAFBA7-828F-8A59-A1DC-CF706B811E96}"/>
          </ac:picMkLst>
        </pc:picChg>
        <pc:picChg chg="del mod">
          <ac:chgData name="Cyprien ARETHUSE" userId="abd46b16-7bf0-4c01-a850-92fb83f61f27" providerId="ADAL" clId="{067C7D3F-9573-4B1A-A9B0-3005DA5BAAAF}" dt="2024-01-23T09:41:13.591" v="5736" actId="478"/>
          <ac:picMkLst>
            <pc:docMk/>
            <pc:sldMk cId="596601236" sldId="2147480292"/>
            <ac:picMk id="2065" creationId="{140A507A-8DCF-41BF-6186-51C33117FB9A}"/>
          </ac:picMkLst>
        </pc:picChg>
      </pc:sldChg>
      <pc:sldChg chg="addSp delSp modSp new mod">
        <pc:chgData name="Cyprien ARETHUSE" userId="abd46b16-7bf0-4c01-a850-92fb83f61f27" providerId="ADAL" clId="{067C7D3F-9573-4B1A-A9B0-3005DA5BAAAF}" dt="2024-01-24T14:00:05.458" v="7697" actId="20577"/>
        <pc:sldMkLst>
          <pc:docMk/>
          <pc:sldMk cId="4251555247" sldId="2147480293"/>
        </pc:sldMkLst>
        <pc:spChg chg="mod">
          <ac:chgData name="Cyprien ARETHUSE" userId="abd46b16-7bf0-4c01-a850-92fb83f61f27" providerId="ADAL" clId="{067C7D3F-9573-4B1A-A9B0-3005DA5BAAAF}" dt="2024-01-23T09:55:40.161" v="5842" actId="404"/>
          <ac:spMkLst>
            <pc:docMk/>
            <pc:sldMk cId="4251555247" sldId="2147480293"/>
            <ac:spMk id="2" creationId="{7E57833B-F9F8-3CAB-30A5-335812052FC8}"/>
          </ac:spMkLst>
        </pc:spChg>
        <pc:spChg chg="del">
          <ac:chgData name="Cyprien ARETHUSE" userId="abd46b16-7bf0-4c01-a850-92fb83f61f27" providerId="ADAL" clId="{067C7D3F-9573-4B1A-A9B0-3005DA5BAAAF}" dt="2024-01-22T13:59:55.709" v="3054" actId="478"/>
          <ac:spMkLst>
            <pc:docMk/>
            <pc:sldMk cId="4251555247" sldId="2147480293"/>
            <ac:spMk id="3" creationId="{C62711DA-0815-C89E-64B3-46AA2B65C96B}"/>
          </ac:spMkLst>
        </pc:spChg>
        <pc:spChg chg="mod topLvl">
          <ac:chgData name="Cyprien ARETHUSE" userId="abd46b16-7bf0-4c01-a850-92fb83f61f27" providerId="ADAL" clId="{067C7D3F-9573-4B1A-A9B0-3005DA5BAAAF}" dt="2024-01-23T09:55:51.466" v="5868" actId="1036"/>
          <ac:spMkLst>
            <pc:docMk/>
            <pc:sldMk cId="4251555247" sldId="2147480293"/>
            <ac:spMk id="5" creationId="{02A81392-860F-FA2E-1A23-F5B48A76F7F1}"/>
          </ac:spMkLst>
        </pc:spChg>
        <pc:spChg chg="mod topLvl">
          <ac:chgData name="Cyprien ARETHUSE" userId="abd46b16-7bf0-4c01-a850-92fb83f61f27" providerId="ADAL" clId="{067C7D3F-9573-4B1A-A9B0-3005DA5BAAAF}" dt="2024-01-23T09:55:51.466" v="5868" actId="1036"/>
          <ac:spMkLst>
            <pc:docMk/>
            <pc:sldMk cId="4251555247" sldId="2147480293"/>
            <ac:spMk id="6" creationId="{A1E41D64-FD95-50CC-8966-70D3F683CECA}"/>
          </ac:spMkLst>
        </pc:spChg>
        <pc:spChg chg="mod topLvl">
          <ac:chgData name="Cyprien ARETHUSE" userId="abd46b16-7bf0-4c01-a850-92fb83f61f27" providerId="ADAL" clId="{067C7D3F-9573-4B1A-A9B0-3005DA5BAAAF}" dt="2024-01-23T09:55:51.466" v="5868" actId="1036"/>
          <ac:spMkLst>
            <pc:docMk/>
            <pc:sldMk cId="4251555247" sldId="2147480293"/>
            <ac:spMk id="7" creationId="{213E6CC4-AD4D-F30E-91AB-24842EE07D5F}"/>
          </ac:spMkLst>
        </pc:spChg>
        <pc:spChg chg="mod topLvl">
          <ac:chgData name="Cyprien ARETHUSE" userId="abd46b16-7bf0-4c01-a850-92fb83f61f27" providerId="ADAL" clId="{067C7D3F-9573-4B1A-A9B0-3005DA5BAAAF}" dt="2024-01-23T09:55:51.466" v="5868" actId="1036"/>
          <ac:spMkLst>
            <pc:docMk/>
            <pc:sldMk cId="4251555247" sldId="2147480293"/>
            <ac:spMk id="8" creationId="{2ACD1FCA-7E7D-E323-E3E9-B5E5B7FEC84F}"/>
          </ac:spMkLst>
        </pc:spChg>
        <pc:spChg chg="mod topLvl">
          <ac:chgData name="Cyprien ARETHUSE" userId="abd46b16-7bf0-4c01-a850-92fb83f61f27" providerId="ADAL" clId="{067C7D3F-9573-4B1A-A9B0-3005DA5BAAAF}" dt="2024-01-23T09:55:51.466" v="5868" actId="1036"/>
          <ac:spMkLst>
            <pc:docMk/>
            <pc:sldMk cId="4251555247" sldId="2147480293"/>
            <ac:spMk id="9" creationId="{4EB9FAC3-686A-ADD1-E07E-DC7EC11628DB}"/>
          </ac:spMkLst>
        </pc:spChg>
        <pc:spChg chg="mod topLvl">
          <ac:chgData name="Cyprien ARETHUSE" userId="abd46b16-7bf0-4c01-a850-92fb83f61f27" providerId="ADAL" clId="{067C7D3F-9573-4B1A-A9B0-3005DA5BAAAF}" dt="2024-01-23T09:55:51.466" v="5868" actId="1036"/>
          <ac:spMkLst>
            <pc:docMk/>
            <pc:sldMk cId="4251555247" sldId="2147480293"/>
            <ac:spMk id="10" creationId="{F37F75AE-F663-658A-F793-F61B72503092}"/>
          </ac:spMkLst>
        </pc:spChg>
        <pc:spChg chg="mod topLvl">
          <ac:chgData name="Cyprien ARETHUSE" userId="abd46b16-7bf0-4c01-a850-92fb83f61f27" providerId="ADAL" clId="{067C7D3F-9573-4B1A-A9B0-3005DA5BAAAF}" dt="2024-01-23T09:55:51.466" v="5868" actId="1036"/>
          <ac:spMkLst>
            <pc:docMk/>
            <pc:sldMk cId="4251555247" sldId="2147480293"/>
            <ac:spMk id="11" creationId="{98D3BB83-F691-BA68-D86E-137FDA08C607}"/>
          </ac:spMkLst>
        </pc:spChg>
        <pc:spChg chg="mod topLvl">
          <ac:chgData name="Cyprien ARETHUSE" userId="abd46b16-7bf0-4c01-a850-92fb83f61f27" providerId="ADAL" clId="{067C7D3F-9573-4B1A-A9B0-3005DA5BAAAF}" dt="2024-01-23T09:55:51.466" v="5868" actId="1036"/>
          <ac:spMkLst>
            <pc:docMk/>
            <pc:sldMk cId="4251555247" sldId="2147480293"/>
            <ac:spMk id="12" creationId="{FC4AF209-C34C-5D0E-34CC-812F896D6519}"/>
          </ac:spMkLst>
        </pc:spChg>
        <pc:spChg chg="mod">
          <ac:chgData name="Cyprien ARETHUSE" userId="abd46b16-7bf0-4c01-a850-92fb83f61f27" providerId="ADAL" clId="{067C7D3F-9573-4B1A-A9B0-3005DA5BAAAF}" dt="2024-01-24T13:08:45.325" v="5972" actId="13926"/>
          <ac:spMkLst>
            <pc:docMk/>
            <pc:sldMk cId="4251555247" sldId="2147480293"/>
            <ac:spMk id="16" creationId="{C3BE18C4-450B-E519-00B8-BCA906F0626A}"/>
          </ac:spMkLst>
        </pc:spChg>
        <pc:spChg chg="mod">
          <ac:chgData name="Cyprien ARETHUSE" userId="abd46b16-7bf0-4c01-a850-92fb83f61f27" providerId="ADAL" clId="{067C7D3F-9573-4B1A-A9B0-3005DA5BAAAF}" dt="2024-01-24T13:26:25.577" v="6491" actId="20577"/>
          <ac:spMkLst>
            <pc:docMk/>
            <pc:sldMk cId="4251555247" sldId="2147480293"/>
            <ac:spMk id="17" creationId="{44D146EE-7B16-0FB2-7F71-69CEE9A564AE}"/>
          </ac:spMkLst>
        </pc:spChg>
        <pc:spChg chg="mod">
          <ac:chgData name="Cyprien ARETHUSE" userId="abd46b16-7bf0-4c01-a850-92fb83f61f27" providerId="ADAL" clId="{067C7D3F-9573-4B1A-A9B0-3005DA5BAAAF}" dt="2024-01-24T13:19:39.721" v="6392" actId="20577"/>
          <ac:spMkLst>
            <pc:docMk/>
            <pc:sldMk cId="4251555247" sldId="2147480293"/>
            <ac:spMk id="18" creationId="{7F7B1867-AC2B-5A41-29FB-3BE812CC8B3C}"/>
          </ac:spMkLst>
        </pc:spChg>
        <pc:spChg chg="mod">
          <ac:chgData name="Cyprien ARETHUSE" userId="abd46b16-7bf0-4c01-a850-92fb83f61f27" providerId="ADAL" clId="{067C7D3F-9573-4B1A-A9B0-3005DA5BAAAF}" dt="2024-01-24T13:26:32.794" v="6493" actId="5793"/>
          <ac:spMkLst>
            <pc:docMk/>
            <pc:sldMk cId="4251555247" sldId="2147480293"/>
            <ac:spMk id="19" creationId="{24D1E647-4177-1843-8400-A6621BE58909}"/>
          </ac:spMkLst>
        </pc:spChg>
        <pc:spChg chg="mod">
          <ac:chgData name="Cyprien ARETHUSE" userId="abd46b16-7bf0-4c01-a850-92fb83f61f27" providerId="ADAL" clId="{067C7D3F-9573-4B1A-A9B0-3005DA5BAAAF}" dt="2024-01-24T14:00:05.458" v="7697" actId="20577"/>
          <ac:spMkLst>
            <pc:docMk/>
            <pc:sldMk cId="4251555247" sldId="2147480293"/>
            <ac:spMk id="20" creationId="{53FFC4C0-4D44-3556-E52F-2239CFD5DF1C}"/>
          </ac:spMkLst>
        </pc:spChg>
        <pc:spChg chg="mod">
          <ac:chgData name="Cyprien ARETHUSE" userId="abd46b16-7bf0-4c01-a850-92fb83f61f27" providerId="ADAL" clId="{067C7D3F-9573-4B1A-A9B0-3005DA5BAAAF}" dt="2024-01-24T13:41:15.759" v="6952" actId="20577"/>
          <ac:spMkLst>
            <pc:docMk/>
            <pc:sldMk cId="4251555247" sldId="2147480293"/>
            <ac:spMk id="21" creationId="{37FBD1D1-2F94-3931-D590-88A8D4DF8381}"/>
          </ac:spMkLst>
        </pc:spChg>
        <pc:spChg chg="mod">
          <ac:chgData name="Cyprien ARETHUSE" userId="abd46b16-7bf0-4c01-a850-92fb83f61f27" providerId="ADAL" clId="{067C7D3F-9573-4B1A-A9B0-3005DA5BAAAF}" dt="2024-01-24T13:59:44.117" v="7651" actId="20577"/>
          <ac:spMkLst>
            <pc:docMk/>
            <pc:sldMk cId="4251555247" sldId="2147480293"/>
            <ac:spMk id="22" creationId="{E660E33B-564E-2E2D-77FF-C875888D853E}"/>
          </ac:spMkLst>
        </pc:spChg>
        <pc:spChg chg="mod">
          <ac:chgData name="Cyprien ARETHUSE" userId="abd46b16-7bf0-4c01-a850-92fb83f61f27" providerId="ADAL" clId="{067C7D3F-9573-4B1A-A9B0-3005DA5BAAAF}" dt="2024-01-24T13:59:12.262" v="7564" actId="20577"/>
          <ac:spMkLst>
            <pc:docMk/>
            <pc:sldMk cId="4251555247" sldId="2147480293"/>
            <ac:spMk id="23" creationId="{BC813C75-2773-035F-B17A-6E444E9022DD}"/>
          </ac:spMkLst>
        </pc:spChg>
        <pc:grpChg chg="add del mod">
          <ac:chgData name="Cyprien ARETHUSE" userId="abd46b16-7bf0-4c01-a850-92fb83f61f27" providerId="ADAL" clId="{067C7D3F-9573-4B1A-A9B0-3005DA5BAAAF}" dt="2024-01-22T16:03:14.591" v="5497" actId="165"/>
          <ac:grpSpMkLst>
            <pc:docMk/>
            <pc:sldMk cId="4251555247" sldId="2147480293"/>
            <ac:grpSpMk id="4" creationId="{8581BFC2-EE6E-6E17-5A77-F78AF2380179}"/>
          </ac:grpSpMkLst>
        </pc:grpChg>
        <pc:picChg chg="mod">
          <ac:chgData name="Cyprien ARETHUSE" userId="abd46b16-7bf0-4c01-a850-92fb83f61f27" providerId="ADAL" clId="{067C7D3F-9573-4B1A-A9B0-3005DA5BAAAF}" dt="2024-01-24T13:26:41.177" v="6494" actId="1076"/>
          <ac:picMkLst>
            <pc:docMk/>
            <pc:sldMk cId="4251555247" sldId="2147480293"/>
            <ac:picMk id="42" creationId="{73CDF0D3-E2C5-986A-327A-CD14C980C0F6}"/>
          </ac:picMkLst>
        </pc:picChg>
      </pc:sldChg>
      <pc:sldChg chg="del">
        <pc:chgData name="Cyprien ARETHUSE" userId="abd46b16-7bf0-4c01-a850-92fb83f61f27" providerId="ADAL" clId="{067C7D3F-9573-4B1A-A9B0-3005DA5BAAAF}" dt="2024-02-02T17:02:42.816" v="19520" actId="47"/>
        <pc:sldMkLst>
          <pc:docMk/>
          <pc:sldMk cId="813071202" sldId="2147480294"/>
        </pc:sldMkLst>
      </pc:sldChg>
      <pc:sldChg chg="addSp delSp modSp new mod">
        <pc:chgData name="Cyprien ARETHUSE" userId="abd46b16-7bf0-4c01-a850-92fb83f61f27" providerId="ADAL" clId="{067C7D3F-9573-4B1A-A9B0-3005DA5BAAAF}" dt="2024-01-29T17:15:34.427" v="9343" actId="20577"/>
        <pc:sldMkLst>
          <pc:docMk/>
          <pc:sldMk cId="936296583" sldId="2147480294"/>
        </pc:sldMkLst>
        <pc:spChg chg="mod">
          <ac:chgData name="Cyprien ARETHUSE" userId="abd46b16-7bf0-4c01-a850-92fb83f61f27" providerId="ADAL" clId="{067C7D3F-9573-4B1A-A9B0-3005DA5BAAAF}" dt="2024-01-29T17:15:04.283" v="9313" actId="14100"/>
          <ac:spMkLst>
            <pc:docMk/>
            <pc:sldMk cId="936296583" sldId="2147480294"/>
            <ac:spMk id="2" creationId="{9A749007-8D5F-CB95-FD64-648D2F144C95}"/>
          </ac:spMkLst>
        </pc:spChg>
        <pc:spChg chg="del">
          <ac:chgData name="Cyprien ARETHUSE" userId="abd46b16-7bf0-4c01-a850-92fb83f61f27" providerId="ADAL" clId="{067C7D3F-9573-4B1A-A9B0-3005DA5BAAAF}" dt="2024-01-22T15:11:19.254" v="3896" actId="478"/>
          <ac:spMkLst>
            <pc:docMk/>
            <pc:sldMk cId="936296583" sldId="2147480294"/>
            <ac:spMk id="3" creationId="{C7594C5D-2775-BBEB-2A90-03AC33337B53}"/>
          </ac:spMkLst>
        </pc:spChg>
        <pc:spChg chg="add del mod">
          <ac:chgData name="Cyprien ARETHUSE" userId="abd46b16-7bf0-4c01-a850-92fb83f61f27" providerId="ADAL" clId="{067C7D3F-9573-4B1A-A9B0-3005DA5BAAAF}" dt="2024-01-22T15:11:00.016" v="3892" actId="478"/>
          <ac:spMkLst>
            <pc:docMk/>
            <pc:sldMk cId="936296583" sldId="2147480294"/>
            <ac:spMk id="4" creationId="{B1C478A3-5610-C006-4DD9-0ED2AD175EF0}"/>
          </ac:spMkLst>
        </pc:spChg>
        <pc:spChg chg="add mod">
          <ac:chgData name="Cyprien ARETHUSE" userId="abd46b16-7bf0-4c01-a850-92fb83f61f27" providerId="ADAL" clId="{067C7D3F-9573-4B1A-A9B0-3005DA5BAAAF}" dt="2024-01-29T17:15:34.427" v="9343" actId="20577"/>
          <ac:spMkLst>
            <pc:docMk/>
            <pc:sldMk cId="936296583" sldId="2147480294"/>
            <ac:spMk id="4" creationId="{F3882722-D898-C39D-C918-35D7D0BA039A}"/>
          </ac:spMkLst>
        </pc:spChg>
        <pc:spChg chg="add mod">
          <ac:chgData name="Cyprien ARETHUSE" userId="abd46b16-7bf0-4c01-a850-92fb83f61f27" providerId="ADAL" clId="{067C7D3F-9573-4B1A-A9B0-3005DA5BAAAF}" dt="2024-01-23T09:21:29.387" v="5733" actId="20577"/>
          <ac:spMkLst>
            <pc:docMk/>
            <pc:sldMk cId="936296583" sldId="2147480294"/>
            <ac:spMk id="5" creationId="{55617DAA-EC35-FEFB-5EFD-29E815E418A5}"/>
          </ac:spMkLst>
        </pc:spChg>
        <pc:spChg chg="add mod">
          <ac:chgData name="Cyprien ARETHUSE" userId="abd46b16-7bf0-4c01-a850-92fb83f61f27" providerId="ADAL" clId="{067C7D3F-9573-4B1A-A9B0-3005DA5BAAAF}" dt="2024-01-22T15:16:33.287" v="3925" actId="207"/>
          <ac:spMkLst>
            <pc:docMk/>
            <pc:sldMk cId="936296583" sldId="2147480294"/>
            <ac:spMk id="6" creationId="{CD089C65-D69C-4213-19F6-6263101685B1}"/>
          </ac:spMkLst>
        </pc:spChg>
        <pc:spChg chg="mod">
          <ac:chgData name="Cyprien ARETHUSE" userId="abd46b16-7bf0-4c01-a850-92fb83f61f27" providerId="ADAL" clId="{067C7D3F-9573-4B1A-A9B0-3005DA5BAAAF}" dt="2024-01-22T15:22:33.934" v="4006" actId="207"/>
          <ac:spMkLst>
            <pc:docMk/>
            <pc:sldMk cId="936296583" sldId="2147480294"/>
            <ac:spMk id="11" creationId="{675FEFA8-ED6A-6CD0-5232-897446A22F2B}"/>
          </ac:spMkLst>
        </pc:spChg>
        <pc:spChg chg="mod">
          <ac:chgData name="Cyprien ARETHUSE" userId="abd46b16-7bf0-4c01-a850-92fb83f61f27" providerId="ADAL" clId="{067C7D3F-9573-4B1A-A9B0-3005DA5BAAAF}" dt="2024-01-22T15:22:33.934" v="4006" actId="207"/>
          <ac:spMkLst>
            <pc:docMk/>
            <pc:sldMk cId="936296583" sldId="2147480294"/>
            <ac:spMk id="12" creationId="{B030A0FD-4C1D-E723-21EE-6D766C0C2FB9}"/>
          </ac:spMkLst>
        </pc:spChg>
        <pc:spChg chg="mod">
          <ac:chgData name="Cyprien ARETHUSE" userId="abd46b16-7bf0-4c01-a850-92fb83f61f27" providerId="ADAL" clId="{067C7D3F-9573-4B1A-A9B0-3005DA5BAAAF}" dt="2024-01-22T15:22:33.934" v="4006" actId="207"/>
          <ac:spMkLst>
            <pc:docMk/>
            <pc:sldMk cId="936296583" sldId="2147480294"/>
            <ac:spMk id="13" creationId="{4692B8E8-7452-4EB6-67CA-E782F794D952}"/>
          </ac:spMkLst>
        </pc:spChg>
        <pc:spChg chg="mod">
          <ac:chgData name="Cyprien ARETHUSE" userId="abd46b16-7bf0-4c01-a850-92fb83f61f27" providerId="ADAL" clId="{067C7D3F-9573-4B1A-A9B0-3005DA5BAAAF}" dt="2024-01-22T15:22:33.934" v="4006" actId="207"/>
          <ac:spMkLst>
            <pc:docMk/>
            <pc:sldMk cId="936296583" sldId="2147480294"/>
            <ac:spMk id="14" creationId="{2F8FBB4C-9C8E-EA94-706B-499555A95863}"/>
          </ac:spMkLst>
        </pc:spChg>
        <pc:spChg chg="mod">
          <ac:chgData name="Cyprien ARETHUSE" userId="abd46b16-7bf0-4c01-a850-92fb83f61f27" providerId="ADAL" clId="{067C7D3F-9573-4B1A-A9B0-3005DA5BAAAF}" dt="2024-01-22T15:22:33.934" v="4006" actId="207"/>
          <ac:spMkLst>
            <pc:docMk/>
            <pc:sldMk cId="936296583" sldId="2147480294"/>
            <ac:spMk id="15" creationId="{8CD258C3-2216-4533-A18B-C4D479504C7F}"/>
          </ac:spMkLst>
        </pc:spChg>
        <pc:spChg chg="mod">
          <ac:chgData name="Cyprien ARETHUSE" userId="abd46b16-7bf0-4c01-a850-92fb83f61f27" providerId="ADAL" clId="{067C7D3F-9573-4B1A-A9B0-3005DA5BAAAF}" dt="2024-01-22T15:22:33.934" v="4006" actId="207"/>
          <ac:spMkLst>
            <pc:docMk/>
            <pc:sldMk cId="936296583" sldId="2147480294"/>
            <ac:spMk id="16" creationId="{87C8128F-0004-C65E-CC44-23C19B348699}"/>
          </ac:spMkLst>
        </pc:spChg>
        <pc:spChg chg="mod">
          <ac:chgData name="Cyprien ARETHUSE" userId="abd46b16-7bf0-4c01-a850-92fb83f61f27" providerId="ADAL" clId="{067C7D3F-9573-4B1A-A9B0-3005DA5BAAAF}" dt="2024-01-22T15:22:33.934" v="4006" actId="207"/>
          <ac:spMkLst>
            <pc:docMk/>
            <pc:sldMk cId="936296583" sldId="2147480294"/>
            <ac:spMk id="17" creationId="{A2E9C621-1C08-5072-6577-840B111C88AF}"/>
          </ac:spMkLst>
        </pc:spChg>
        <pc:spChg chg="mod">
          <ac:chgData name="Cyprien ARETHUSE" userId="abd46b16-7bf0-4c01-a850-92fb83f61f27" providerId="ADAL" clId="{067C7D3F-9573-4B1A-A9B0-3005DA5BAAAF}" dt="2024-01-22T15:22:33.934" v="4006" actId="207"/>
          <ac:spMkLst>
            <pc:docMk/>
            <pc:sldMk cId="936296583" sldId="2147480294"/>
            <ac:spMk id="18" creationId="{4FC2998A-D7F5-F580-96C9-377EBECB6B08}"/>
          </ac:spMkLst>
        </pc:spChg>
        <pc:spChg chg="del mod">
          <ac:chgData name="Cyprien ARETHUSE" userId="abd46b16-7bf0-4c01-a850-92fb83f61f27" providerId="ADAL" clId="{067C7D3F-9573-4B1A-A9B0-3005DA5BAAAF}" dt="2024-01-22T15:22:11.174" v="3998" actId="478"/>
          <ac:spMkLst>
            <pc:docMk/>
            <pc:sldMk cId="936296583" sldId="2147480294"/>
            <ac:spMk id="19" creationId="{B77EF891-CE60-D5CE-32EC-43F586D82913}"/>
          </ac:spMkLst>
        </pc:spChg>
        <pc:spChg chg="del mod">
          <ac:chgData name="Cyprien ARETHUSE" userId="abd46b16-7bf0-4c01-a850-92fb83f61f27" providerId="ADAL" clId="{067C7D3F-9573-4B1A-A9B0-3005DA5BAAAF}" dt="2024-01-22T15:22:11.174" v="3998" actId="478"/>
          <ac:spMkLst>
            <pc:docMk/>
            <pc:sldMk cId="936296583" sldId="2147480294"/>
            <ac:spMk id="20" creationId="{E2321A52-813E-E5DE-0740-27E42331F8CD}"/>
          </ac:spMkLst>
        </pc:spChg>
        <pc:spChg chg="mod">
          <ac:chgData name="Cyprien ARETHUSE" userId="abd46b16-7bf0-4c01-a850-92fb83f61f27" providerId="ADAL" clId="{067C7D3F-9573-4B1A-A9B0-3005DA5BAAAF}" dt="2024-01-22T15:22:39.742" v="4007"/>
          <ac:spMkLst>
            <pc:docMk/>
            <pc:sldMk cId="936296583" sldId="2147480294"/>
            <ac:spMk id="23" creationId="{FEAB44BF-ABB7-8F5B-1615-ED21E98D3035}"/>
          </ac:spMkLst>
        </pc:spChg>
        <pc:spChg chg="mod">
          <ac:chgData name="Cyprien ARETHUSE" userId="abd46b16-7bf0-4c01-a850-92fb83f61f27" providerId="ADAL" clId="{067C7D3F-9573-4B1A-A9B0-3005DA5BAAAF}" dt="2024-01-22T15:22:39.742" v="4007"/>
          <ac:spMkLst>
            <pc:docMk/>
            <pc:sldMk cId="936296583" sldId="2147480294"/>
            <ac:spMk id="24" creationId="{9099C660-9832-DC82-3661-65021CA174BC}"/>
          </ac:spMkLst>
        </pc:spChg>
        <pc:spChg chg="mod">
          <ac:chgData name="Cyprien ARETHUSE" userId="abd46b16-7bf0-4c01-a850-92fb83f61f27" providerId="ADAL" clId="{067C7D3F-9573-4B1A-A9B0-3005DA5BAAAF}" dt="2024-01-22T15:22:39.742" v="4007"/>
          <ac:spMkLst>
            <pc:docMk/>
            <pc:sldMk cId="936296583" sldId="2147480294"/>
            <ac:spMk id="25" creationId="{3C8166A6-280D-45AB-F131-74F2FD3489A4}"/>
          </ac:spMkLst>
        </pc:spChg>
        <pc:spChg chg="mod">
          <ac:chgData name="Cyprien ARETHUSE" userId="abd46b16-7bf0-4c01-a850-92fb83f61f27" providerId="ADAL" clId="{067C7D3F-9573-4B1A-A9B0-3005DA5BAAAF}" dt="2024-01-22T15:22:39.742" v="4007"/>
          <ac:spMkLst>
            <pc:docMk/>
            <pc:sldMk cId="936296583" sldId="2147480294"/>
            <ac:spMk id="26" creationId="{C52E48D0-DD2C-2E22-69E1-32EDECF6D050}"/>
          </ac:spMkLst>
        </pc:spChg>
        <pc:spChg chg="mod">
          <ac:chgData name="Cyprien ARETHUSE" userId="abd46b16-7bf0-4c01-a850-92fb83f61f27" providerId="ADAL" clId="{067C7D3F-9573-4B1A-A9B0-3005DA5BAAAF}" dt="2024-01-22T15:22:39.742" v="4007"/>
          <ac:spMkLst>
            <pc:docMk/>
            <pc:sldMk cId="936296583" sldId="2147480294"/>
            <ac:spMk id="27" creationId="{CB8D6CC3-15B8-784E-7866-DF5238F54691}"/>
          </ac:spMkLst>
        </pc:spChg>
        <pc:spChg chg="mod">
          <ac:chgData name="Cyprien ARETHUSE" userId="abd46b16-7bf0-4c01-a850-92fb83f61f27" providerId="ADAL" clId="{067C7D3F-9573-4B1A-A9B0-3005DA5BAAAF}" dt="2024-01-22T15:22:39.742" v="4007"/>
          <ac:spMkLst>
            <pc:docMk/>
            <pc:sldMk cId="936296583" sldId="2147480294"/>
            <ac:spMk id="28" creationId="{A2EFB26D-18B7-A07B-5EAC-408B726003D6}"/>
          </ac:spMkLst>
        </pc:spChg>
        <pc:spChg chg="mod">
          <ac:chgData name="Cyprien ARETHUSE" userId="abd46b16-7bf0-4c01-a850-92fb83f61f27" providerId="ADAL" clId="{067C7D3F-9573-4B1A-A9B0-3005DA5BAAAF}" dt="2024-01-22T15:22:39.742" v="4007"/>
          <ac:spMkLst>
            <pc:docMk/>
            <pc:sldMk cId="936296583" sldId="2147480294"/>
            <ac:spMk id="29" creationId="{F8F6A3A9-6897-B53F-3C6B-A8FCBD37A5AA}"/>
          </ac:spMkLst>
        </pc:spChg>
        <pc:spChg chg="mod">
          <ac:chgData name="Cyprien ARETHUSE" userId="abd46b16-7bf0-4c01-a850-92fb83f61f27" providerId="ADAL" clId="{067C7D3F-9573-4B1A-A9B0-3005DA5BAAAF}" dt="2024-01-22T15:22:39.742" v="4007"/>
          <ac:spMkLst>
            <pc:docMk/>
            <pc:sldMk cId="936296583" sldId="2147480294"/>
            <ac:spMk id="30" creationId="{A046FD65-0A6F-E46B-136D-E6703D98DC89}"/>
          </ac:spMkLst>
        </pc:spChg>
        <pc:spChg chg="mod">
          <ac:chgData name="Cyprien ARETHUSE" userId="abd46b16-7bf0-4c01-a850-92fb83f61f27" providerId="ADAL" clId="{067C7D3F-9573-4B1A-A9B0-3005DA5BAAAF}" dt="2024-01-22T15:22:39.742" v="4007"/>
          <ac:spMkLst>
            <pc:docMk/>
            <pc:sldMk cId="936296583" sldId="2147480294"/>
            <ac:spMk id="31" creationId="{4521B70B-E494-7C20-C321-4EE9F443A674}"/>
          </ac:spMkLst>
        </pc:spChg>
        <pc:spChg chg="mod">
          <ac:chgData name="Cyprien ARETHUSE" userId="abd46b16-7bf0-4c01-a850-92fb83f61f27" providerId="ADAL" clId="{067C7D3F-9573-4B1A-A9B0-3005DA5BAAAF}" dt="2024-01-22T15:22:39.742" v="4007"/>
          <ac:spMkLst>
            <pc:docMk/>
            <pc:sldMk cId="936296583" sldId="2147480294"/>
            <ac:spMk id="32" creationId="{368AE4CD-8C69-6348-2F8D-0EF349B01D5F}"/>
          </ac:spMkLst>
        </pc:spChg>
        <pc:spChg chg="mod">
          <ac:chgData name="Cyprien ARETHUSE" userId="abd46b16-7bf0-4c01-a850-92fb83f61f27" providerId="ADAL" clId="{067C7D3F-9573-4B1A-A9B0-3005DA5BAAAF}" dt="2024-01-22T15:22:39.742" v="4007"/>
          <ac:spMkLst>
            <pc:docMk/>
            <pc:sldMk cId="936296583" sldId="2147480294"/>
            <ac:spMk id="33" creationId="{8E37EEA2-7BD0-E06D-1DE8-367AB469BAFC}"/>
          </ac:spMkLst>
        </pc:spChg>
        <pc:spChg chg="mod">
          <ac:chgData name="Cyprien ARETHUSE" userId="abd46b16-7bf0-4c01-a850-92fb83f61f27" providerId="ADAL" clId="{067C7D3F-9573-4B1A-A9B0-3005DA5BAAAF}" dt="2024-01-22T15:22:39.742" v="4007"/>
          <ac:spMkLst>
            <pc:docMk/>
            <pc:sldMk cId="936296583" sldId="2147480294"/>
            <ac:spMk id="34" creationId="{29F3F3B9-EC50-8E5F-93CE-DCDED39F407C}"/>
          </ac:spMkLst>
        </pc:spChg>
        <pc:spChg chg="mod">
          <ac:chgData name="Cyprien ARETHUSE" userId="abd46b16-7bf0-4c01-a850-92fb83f61f27" providerId="ADAL" clId="{067C7D3F-9573-4B1A-A9B0-3005DA5BAAAF}" dt="2024-01-22T15:22:39.742" v="4007"/>
          <ac:spMkLst>
            <pc:docMk/>
            <pc:sldMk cId="936296583" sldId="2147480294"/>
            <ac:spMk id="35" creationId="{3835186C-2216-0223-1DCB-B2778D0D32F6}"/>
          </ac:spMkLst>
        </pc:spChg>
        <pc:spChg chg="mod">
          <ac:chgData name="Cyprien ARETHUSE" userId="abd46b16-7bf0-4c01-a850-92fb83f61f27" providerId="ADAL" clId="{067C7D3F-9573-4B1A-A9B0-3005DA5BAAAF}" dt="2024-01-22T15:22:39.742" v="4007"/>
          <ac:spMkLst>
            <pc:docMk/>
            <pc:sldMk cId="936296583" sldId="2147480294"/>
            <ac:spMk id="36" creationId="{C07DA054-2D70-805B-F0B5-53622D31F5E5}"/>
          </ac:spMkLst>
        </pc:spChg>
        <pc:spChg chg="mod">
          <ac:chgData name="Cyprien ARETHUSE" userId="abd46b16-7bf0-4c01-a850-92fb83f61f27" providerId="ADAL" clId="{067C7D3F-9573-4B1A-A9B0-3005DA5BAAAF}" dt="2024-01-22T15:22:39.742" v="4007"/>
          <ac:spMkLst>
            <pc:docMk/>
            <pc:sldMk cId="936296583" sldId="2147480294"/>
            <ac:spMk id="37" creationId="{49C6527F-588A-3F8C-02BE-584F1D47988C}"/>
          </ac:spMkLst>
        </pc:spChg>
        <pc:spChg chg="mod">
          <ac:chgData name="Cyprien ARETHUSE" userId="abd46b16-7bf0-4c01-a850-92fb83f61f27" providerId="ADAL" clId="{067C7D3F-9573-4B1A-A9B0-3005DA5BAAAF}" dt="2024-01-22T15:22:39.742" v="4007"/>
          <ac:spMkLst>
            <pc:docMk/>
            <pc:sldMk cId="936296583" sldId="2147480294"/>
            <ac:spMk id="38" creationId="{208886C2-6E9E-8E93-4275-E00165FF779D}"/>
          </ac:spMkLst>
        </pc:spChg>
        <pc:spChg chg="mod">
          <ac:chgData name="Cyprien ARETHUSE" userId="abd46b16-7bf0-4c01-a850-92fb83f61f27" providerId="ADAL" clId="{067C7D3F-9573-4B1A-A9B0-3005DA5BAAAF}" dt="2024-01-22T15:22:39.742" v="4007"/>
          <ac:spMkLst>
            <pc:docMk/>
            <pc:sldMk cId="936296583" sldId="2147480294"/>
            <ac:spMk id="39" creationId="{6BCF5D31-5B6C-69F1-6F34-6DF4F70A7496}"/>
          </ac:spMkLst>
        </pc:spChg>
        <pc:spChg chg="mod">
          <ac:chgData name="Cyprien ARETHUSE" userId="abd46b16-7bf0-4c01-a850-92fb83f61f27" providerId="ADAL" clId="{067C7D3F-9573-4B1A-A9B0-3005DA5BAAAF}" dt="2024-01-22T15:22:39.742" v="4007"/>
          <ac:spMkLst>
            <pc:docMk/>
            <pc:sldMk cId="936296583" sldId="2147480294"/>
            <ac:spMk id="40" creationId="{91CEF0AE-801E-1859-5BD8-FF79347E59EB}"/>
          </ac:spMkLst>
        </pc:spChg>
        <pc:spChg chg="mod">
          <ac:chgData name="Cyprien ARETHUSE" userId="abd46b16-7bf0-4c01-a850-92fb83f61f27" providerId="ADAL" clId="{067C7D3F-9573-4B1A-A9B0-3005DA5BAAAF}" dt="2024-01-22T15:22:39.742" v="4007"/>
          <ac:spMkLst>
            <pc:docMk/>
            <pc:sldMk cId="936296583" sldId="2147480294"/>
            <ac:spMk id="41" creationId="{8F0B6A0C-6064-9E16-4005-4CD1E000766E}"/>
          </ac:spMkLst>
        </pc:spChg>
        <pc:spChg chg="mod">
          <ac:chgData name="Cyprien ARETHUSE" userId="abd46b16-7bf0-4c01-a850-92fb83f61f27" providerId="ADAL" clId="{067C7D3F-9573-4B1A-A9B0-3005DA5BAAAF}" dt="2024-01-22T15:22:39.742" v="4007"/>
          <ac:spMkLst>
            <pc:docMk/>
            <pc:sldMk cId="936296583" sldId="2147480294"/>
            <ac:spMk id="42" creationId="{A8280F3B-3C30-061F-71B3-FEE58A19EF36}"/>
          </ac:spMkLst>
        </pc:spChg>
        <pc:spChg chg="mod">
          <ac:chgData name="Cyprien ARETHUSE" userId="abd46b16-7bf0-4c01-a850-92fb83f61f27" providerId="ADAL" clId="{067C7D3F-9573-4B1A-A9B0-3005DA5BAAAF}" dt="2024-01-22T15:22:39.742" v="4007"/>
          <ac:spMkLst>
            <pc:docMk/>
            <pc:sldMk cId="936296583" sldId="2147480294"/>
            <ac:spMk id="43" creationId="{339B10BC-4D45-0578-148C-1C746119C7FB}"/>
          </ac:spMkLst>
        </pc:spChg>
        <pc:spChg chg="mod">
          <ac:chgData name="Cyprien ARETHUSE" userId="abd46b16-7bf0-4c01-a850-92fb83f61f27" providerId="ADAL" clId="{067C7D3F-9573-4B1A-A9B0-3005DA5BAAAF}" dt="2024-01-22T15:22:39.742" v="4007"/>
          <ac:spMkLst>
            <pc:docMk/>
            <pc:sldMk cId="936296583" sldId="2147480294"/>
            <ac:spMk id="44" creationId="{AA9ABD42-ED18-3D9D-E2D8-DC792CCD9F86}"/>
          </ac:spMkLst>
        </pc:spChg>
        <pc:spChg chg="mod">
          <ac:chgData name="Cyprien ARETHUSE" userId="abd46b16-7bf0-4c01-a850-92fb83f61f27" providerId="ADAL" clId="{067C7D3F-9573-4B1A-A9B0-3005DA5BAAAF}" dt="2024-01-22T15:22:39.742" v="4007"/>
          <ac:spMkLst>
            <pc:docMk/>
            <pc:sldMk cId="936296583" sldId="2147480294"/>
            <ac:spMk id="45" creationId="{3AAD2014-7749-9E17-DACB-78F663476CF0}"/>
          </ac:spMkLst>
        </pc:spChg>
        <pc:spChg chg="mod">
          <ac:chgData name="Cyprien ARETHUSE" userId="abd46b16-7bf0-4c01-a850-92fb83f61f27" providerId="ADAL" clId="{067C7D3F-9573-4B1A-A9B0-3005DA5BAAAF}" dt="2024-01-22T15:22:39.742" v="4007"/>
          <ac:spMkLst>
            <pc:docMk/>
            <pc:sldMk cId="936296583" sldId="2147480294"/>
            <ac:spMk id="46" creationId="{15ADF3A4-4195-6976-BD1D-A7C4E1A7181E}"/>
          </ac:spMkLst>
        </pc:spChg>
        <pc:spChg chg="mod">
          <ac:chgData name="Cyprien ARETHUSE" userId="abd46b16-7bf0-4c01-a850-92fb83f61f27" providerId="ADAL" clId="{067C7D3F-9573-4B1A-A9B0-3005DA5BAAAF}" dt="2024-01-22T15:22:39.742" v="4007"/>
          <ac:spMkLst>
            <pc:docMk/>
            <pc:sldMk cId="936296583" sldId="2147480294"/>
            <ac:spMk id="47" creationId="{E1FD8105-55A9-4D12-46D0-70E4077934E6}"/>
          </ac:spMkLst>
        </pc:spChg>
        <pc:spChg chg="mod">
          <ac:chgData name="Cyprien ARETHUSE" userId="abd46b16-7bf0-4c01-a850-92fb83f61f27" providerId="ADAL" clId="{067C7D3F-9573-4B1A-A9B0-3005DA5BAAAF}" dt="2024-01-22T15:22:39.742" v="4007"/>
          <ac:spMkLst>
            <pc:docMk/>
            <pc:sldMk cId="936296583" sldId="2147480294"/>
            <ac:spMk id="48" creationId="{1953D723-DF54-7F85-C16A-A66967D2F4FA}"/>
          </ac:spMkLst>
        </pc:spChg>
        <pc:spChg chg="mod">
          <ac:chgData name="Cyprien ARETHUSE" userId="abd46b16-7bf0-4c01-a850-92fb83f61f27" providerId="ADAL" clId="{067C7D3F-9573-4B1A-A9B0-3005DA5BAAAF}" dt="2024-01-22T15:22:39.742" v="4007"/>
          <ac:spMkLst>
            <pc:docMk/>
            <pc:sldMk cId="936296583" sldId="2147480294"/>
            <ac:spMk id="49" creationId="{9029F15F-958C-581E-0359-D667E3002EED}"/>
          </ac:spMkLst>
        </pc:spChg>
        <pc:spChg chg="mod">
          <ac:chgData name="Cyprien ARETHUSE" userId="abd46b16-7bf0-4c01-a850-92fb83f61f27" providerId="ADAL" clId="{067C7D3F-9573-4B1A-A9B0-3005DA5BAAAF}" dt="2024-01-22T15:22:39.742" v="4007"/>
          <ac:spMkLst>
            <pc:docMk/>
            <pc:sldMk cId="936296583" sldId="2147480294"/>
            <ac:spMk id="50" creationId="{CC12773D-B652-AB42-5736-4F3688940CE1}"/>
          </ac:spMkLst>
        </pc:spChg>
        <pc:spChg chg="mod">
          <ac:chgData name="Cyprien ARETHUSE" userId="abd46b16-7bf0-4c01-a850-92fb83f61f27" providerId="ADAL" clId="{067C7D3F-9573-4B1A-A9B0-3005DA5BAAAF}" dt="2024-01-22T15:22:39.742" v="4007"/>
          <ac:spMkLst>
            <pc:docMk/>
            <pc:sldMk cId="936296583" sldId="2147480294"/>
            <ac:spMk id="51" creationId="{F5C7C418-F483-25BF-14D5-C3C75870E046}"/>
          </ac:spMkLst>
        </pc:spChg>
        <pc:spChg chg="mod">
          <ac:chgData name="Cyprien ARETHUSE" userId="abd46b16-7bf0-4c01-a850-92fb83f61f27" providerId="ADAL" clId="{067C7D3F-9573-4B1A-A9B0-3005DA5BAAAF}" dt="2024-01-22T15:22:39.742" v="4007"/>
          <ac:spMkLst>
            <pc:docMk/>
            <pc:sldMk cId="936296583" sldId="2147480294"/>
            <ac:spMk id="52" creationId="{C5E14AE4-2657-2B53-9790-BE52358AC881}"/>
          </ac:spMkLst>
        </pc:spChg>
        <pc:spChg chg="mod">
          <ac:chgData name="Cyprien ARETHUSE" userId="abd46b16-7bf0-4c01-a850-92fb83f61f27" providerId="ADAL" clId="{067C7D3F-9573-4B1A-A9B0-3005DA5BAAAF}" dt="2024-01-22T15:22:39.742" v="4007"/>
          <ac:spMkLst>
            <pc:docMk/>
            <pc:sldMk cId="936296583" sldId="2147480294"/>
            <ac:spMk id="53" creationId="{624D282A-166E-BECF-E67A-E181280AFFEE}"/>
          </ac:spMkLst>
        </pc:spChg>
        <pc:spChg chg="mod">
          <ac:chgData name="Cyprien ARETHUSE" userId="abd46b16-7bf0-4c01-a850-92fb83f61f27" providerId="ADAL" clId="{067C7D3F-9573-4B1A-A9B0-3005DA5BAAAF}" dt="2024-01-22T15:22:39.742" v="4007"/>
          <ac:spMkLst>
            <pc:docMk/>
            <pc:sldMk cId="936296583" sldId="2147480294"/>
            <ac:spMk id="54" creationId="{4D827019-E217-1047-B765-B1C13EFDFEB1}"/>
          </ac:spMkLst>
        </pc:spChg>
        <pc:spChg chg="mod">
          <ac:chgData name="Cyprien ARETHUSE" userId="abd46b16-7bf0-4c01-a850-92fb83f61f27" providerId="ADAL" clId="{067C7D3F-9573-4B1A-A9B0-3005DA5BAAAF}" dt="2024-01-22T15:22:39.742" v="4007"/>
          <ac:spMkLst>
            <pc:docMk/>
            <pc:sldMk cId="936296583" sldId="2147480294"/>
            <ac:spMk id="55" creationId="{35179029-5A84-DC48-15EE-A99C7912A369}"/>
          </ac:spMkLst>
        </pc:spChg>
        <pc:spChg chg="mod">
          <ac:chgData name="Cyprien ARETHUSE" userId="abd46b16-7bf0-4c01-a850-92fb83f61f27" providerId="ADAL" clId="{067C7D3F-9573-4B1A-A9B0-3005DA5BAAAF}" dt="2024-01-22T15:22:39.742" v="4007"/>
          <ac:spMkLst>
            <pc:docMk/>
            <pc:sldMk cId="936296583" sldId="2147480294"/>
            <ac:spMk id="56" creationId="{6D270992-1B03-FFBF-45B9-AD179CC6AAE8}"/>
          </ac:spMkLst>
        </pc:spChg>
        <pc:spChg chg="mod">
          <ac:chgData name="Cyprien ARETHUSE" userId="abd46b16-7bf0-4c01-a850-92fb83f61f27" providerId="ADAL" clId="{067C7D3F-9573-4B1A-A9B0-3005DA5BAAAF}" dt="2024-01-22T15:22:39.742" v="4007"/>
          <ac:spMkLst>
            <pc:docMk/>
            <pc:sldMk cId="936296583" sldId="2147480294"/>
            <ac:spMk id="57" creationId="{AA4EC897-A664-F7E6-3E8D-8EBADA9F17A5}"/>
          </ac:spMkLst>
        </pc:spChg>
        <pc:spChg chg="mod">
          <ac:chgData name="Cyprien ARETHUSE" userId="abd46b16-7bf0-4c01-a850-92fb83f61f27" providerId="ADAL" clId="{067C7D3F-9573-4B1A-A9B0-3005DA5BAAAF}" dt="2024-01-22T15:22:39.742" v="4007"/>
          <ac:spMkLst>
            <pc:docMk/>
            <pc:sldMk cId="936296583" sldId="2147480294"/>
            <ac:spMk id="58" creationId="{38B9A0C7-7DEB-595B-B3D4-8C2B1696352A}"/>
          </ac:spMkLst>
        </pc:spChg>
        <pc:spChg chg="mod">
          <ac:chgData name="Cyprien ARETHUSE" userId="abd46b16-7bf0-4c01-a850-92fb83f61f27" providerId="ADAL" clId="{067C7D3F-9573-4B1A-A9B0-3005DA5BAAAF}" dt="2024-01-22T15:22:39.742" v="4007"/>
          <ac:spMkLst>
            <pc:docMk/>
            <pc:sldMk cId="936296583" sldId="2147480294"/>
            <ac:spMk id="59" creationId="{E76A56F4-0D8D-7E37-90CF-828797DF8C4D}"/>
          </ac:spMkLst>
        </pc:spChg>
        <pc:spChg chg="mod">
          <ac:chgData name="Cyprien ARETHUSE" userId="abd46b16-7bf0-4c01-a850-92fb83f61f27" providerId="ADAL" clId="{067C7D3F-9573-4B1A-A9B0-3005DA5BAAAF}" dt="2024-01-22T15:22:39.742" v="4007"/>
          <ac:spMkLst>
            <pc:docMk/>
            <pc:sldMk cId="936296583" sldId="2147480294"/>
            <ac:spMk id="60" creationId="{B86544BF-1C98-D3CF-7C52-9FEEDC831849}"/>
          </ac:spMkLst>
        </pc:spChg>
        <pc:spChg chg="mod">
          <ac:chgData name="Cyprien ARETHUSE" userId="abd46b16-7bf0-4c01-a850-92fb83f61f27" providerId="ADAL" clId="{067C7D3F-9573-4B1A-A9B0-3005DA5BAAAF}" dt="2024-01-22T15:22:39.742" v="4007"/>
          <ac:spMkLst>
            <pc:docMk/>
            <pc:sldMk cId="936296583" sldId="2147480294"/>
            <ac:spMk id="61" creationId="{A7A59BC2-84FF-9746-037E-2BF5AE845C68}"/>
          </ac:spMkLst>
        </pc:spChg>
        <pc:spChg chg="mod">
          <ac:chgData name="Cyprien ARETHUSE" userId="abd46b16-7bf0-4c01-a850-92fb83f61f27" providerId="ADAL" clId="{067C7D3F-9573-4B1A-A9B0-3005DA5BAAAF}" dt="2024-01-22T15:22:39.742" v="4007"/>
          <ac:spMkLst>
            <pc:docMk/>
            <pc:sldMk cId="936296583" sldId="2147480294"/>
            <ac:spMk id="62" creationId="{296E3AFE-94C7-7767-CB37-8C9F91ABEBEB}"/>
          </ac:spMkLst>
        </pc:spChg>
        <pc:spChg chg="mod">
          <ac:chgData name="Cyprien ARETHUSE" userId="abd46b16-7bf0-4c01-a850-92fb83f61f27" providerId="ADAL" clId="{067C7D3F-9573-4B1A-A9B0-3005DA5BAAAF}" dt="2024-01-22T15:22:39.742" v="4007"/>
          <ac:spMkLst>
            <pc:docMk/>
            <pc:sldMk cId="936296583" sldId="2147480294"/>
            <ac:spMk id="63" creationId="{3DF3CFAD-FAEB-2BBF-D87D-1AC44A85AE03}"/>
          </ac:spMkLst>
        </pc:spChg>
        <pc:spChg chg="mod">
          <ac:chgData name="Cyprien ARETHUSE" userId="abd46b16-7bf0-4c01-a850-92fb83f61f27" providerId="ADAL" clId="{067C7D3F-9573-4B1A-A9B0-3005DA5BAAAF}" dt="2024-01-22T15:22:39.742" v="4007"/>
          <ac:spMkLst>
            <pc:docMk/>
            <pc:sldMk cId="936296583" sldId="2147480294"/>
            <ac:spMk id="64" creationId="{484EF196-AFDF-751E-384F-E7F272BE046A}"/>
          </ac:spMkLst>
        </pc:spChg>
        <pc:spChg chg="mod">
          <ac:chgData name="Cyprien ARETHUSE" userId="abd46b16-7bf0-4c01-a850-92fb83f61f27" providerId="ADAL" clId="{067C7D3F-9573-4B1A-A9B0-3005DA5BAAAF}" dt="2024-01-22T15:22:39.742" v="4007"/>
          <ac:spMkLst>
            <pc:docMk/>
            <pc:sldMk cId="936296583" sldId="2147480294"/>
            <ac:spMk id="65" creationId="{5664EA0F-A5AD-8931-2D88-5DD5121AD67D}"/>
          </ac:spMkLst>
        </pc:spChg>
        <pc:spChg chg="mod">
          <ac:chgData name="Cyprien ARETHUSE" userId="abd46b16-7bf0-4c01-a850-92fb83f61f27" providerId="ADAL" clId="{067C7D3F-9573-4B1A-A9B0-3005DA5BAAAF}" dt="2024-01-22T15:22:39.742" v="4007"/>
          <ac:spMkLst>
            <pc:docMk/>
            <pc:sldMk cId="936296583" sldId="2147480294"/>
            <ac:spMk id="66" creationId="{39D0CD12-995F-DB06-E842-42DD8D774DF6}"/>
          </ac:spMkLst>
        </pc:spChg>
        <pc:spChg chg="mod">
          <ac:chgData name="Cyprien ARETHUSE" userId="abd46b16-7bf0-4c01-a850-92fb83f61f27" providerId="ADAL" clId="{067C7D3F-9573-4B1A-A9B0-3005DA5BAAAF}" dt="2024-01-22T15:22:39.742" v="4007"/>
          <ac:spMkLst>
            <pc:docMk/>
            <pc:sldMk cId="936296583" sldId="2147480294"/>
            <ac:spMk id="67" creationId="{94C040EA-3292-27E8-61C0-DF9D0963AFEC}"/>
          </ac:spMkLst>
        </pc:spChg>
        <pc:spChg chg="add del mod">
          <ac:chgData name="Cyprien ARETHUSE" userId="abd46b16-7bf0-4c01-a850-92fb83f61f27" providerId="ADAL" clId="{067C7D3F-9573-4B1A-A9B0-3005DA5BAAAF}" dt="2024-01-22T15:47:12.136" v="5045" actId="478"/>
          <ac:spMkLst>
            <pc:docMk/>
            <pc:sldMk cId="936296583" sldId="2147480294"/>
            <ac:spMk id="68" creationId="{A364B833-94DF-9F56-4CC4-5D44ABB62601}"/>
          </ac:spMkLst>
        </pc:spChg>
        <pc:spChg chg="add del mod">
          <ac:chgData name="Cyprien ARETHUSE" userId="abd46b16-7bf0-4c01-a850-92fb83f61f27" providerId="ADAL" clId="{067C7D3F-9573-4B1A-A9B0-3005DA5BAAAF}" dt="2024-01-22T15:47:12.136" v="5045" actId="478"/>
          <ac:spMkLst>
            <pc:docMk/>
            <pc:sldMk cId="936296583" sldId="2147480294"/>
            <ac:spMk id="69" creationId="{3C1886E3-68FE-396B-9247-790A7F9501D5}"/>
          </ac:spMkLst>
        </pc:spChg>
        <pc:spChg chg="add del mod">
          <ac:chgData name="Cyprien ARETHUSE" userId="abd46b16-7bf0-4c01-a850-92fb83f61f27" providerId="ADAL" clId="{067C7D3F-9573-4B1A-A9B0-3005DA5BAAAF}" dt="2024-01-22T15:47:12.136" v="5045" actId="478"/>
          <ac:spMkLst>
            <pc:docMk/>
            <pc:sldMk cId="936296583" sldId="2147480294"/>
            <ac:spMk id="70" creationId="{20DA7C1D-4D89-5680-6C2C-C7BCD45FB226}"/>
          </ac:spMkLst>
        </pc:spChg>
        <pc:spChg chg="add del mod">
          <ac:chgData name="Cyprien ARETHUSE" userId="abd46b16-7bf0-4c01-a850-92fb83f61f27" providerId="ADAL" clId="{067C7D3F-9573-4B1A-A9B0-3005DA5BAAAF}" dt="2024-01-22T15:47:12.136" v="5045" actId="478"/>
          <ac:spMkLst>
            <pc:docMk/>
            <pc:sldMk cId="936296583" sldId="2147480294"/>
            <ac:spMk id="71" creationId="{4ACE9695-BC13-3420-334E-82E1F59BE98F}"/>
          </ac:spMkLst>
        </pc:spChg>
        <pc:spChg chg="add del mod">
          <ac:chgData name="Cyprien ARETHUSE" userId="abd46b16-7bf0-4c01-a850-92fb83f61f27" providerId="ADAL" clId="{067C7D3F-9573-4B1A-A9B0-3005DA5BAAAF}" dt="2024-01-22T15:47:12.136" v="5045" actId="478"/>
          <ac:spMkLst>
            <pc:docMk/>
            <pc:sldMk cId="936296583" sldId="2147480294"/>
            <ac:spMk id="72" creationId="{4A0B5D94-A3EA-3D5B-A669-00B26C00D807}"/>
          </ac:spMkLst>
        </pc:spChg>
        <pc:grpChg chg="del mod">
          <ac:chgData name="Cyprien ARETHUSE" userId="abd46b16-7bf0-4c01-a850-92fb83f61f27" providerId="ADAL" clId="{067C7D3F-9573-4B1A-A9B0-3005DA5BAAAF}" dt="2024-01-22T15:22:09.471" v="3997" actId="27803"/>
          <ac:grpSpMkLst>
            <pc:docMk/>
            <pc:sldMk cId="936296583" sldId="2147480294"/>
            <ac:grpSpMk id="10" creationId="{F529A8C3-93B6-7ABB-5A99-90B3480A43C9}"/>
          </ac:grpSpMkLst>
        </pc:grpChg>
        <pc:grpChg chg="add del mod">
          <ac:chgData name="Cyprien ARETHUSE" userId="abd46b16-7bf0-4c01-a850-92fb83f61f27" providerId="ADAL" clId="{067C7D3F-9573-4B1A-A9B0-3005DA5BAAAF}" dt="2024-01-22T15:22:47.463" v="4010" actId="478"/>
          <ac:grpSpMkLst>
            <pc:docMk/>
            <pc:sldMk cId="936296583" sldId="2147480294"/>
            <ac:grpSpMk id="21" creationId="{35154764-0BAC-A561-9DDB-FD7FB82088F3}"/>
          </ac:grpSpMkLst>
        </pc:grpChg>
        <pc:grpChg chg="add mod">
          <ac:chgData name="Cyprien ARETHUSE" userId="abd46b16-7bf0-4c01-a850-92fb83f61f27" providerId="ADAL" clId="{067C7D3F-9573-4B1A-A9B0-3005DA5BAAAF}" dt="2024-01-22T15:22:54.297" v="4011" actId="1076"/>
          <ac:grpSpMkLst>
            <pc:docMk/>
            <pc:sldMk cId="936296583" sldId="2147480294"/>
            <ac:grpSpMk id="22" creationId="{94ECA0DD-963C-DB66-2732-C2DD0A3A510A}"/>
          </ac:grpSpMkLst>
        </pc:grpChg>
        <pc:picChg chg="add del mod">
          <ac:chgData name="Cyprien ARETHUSE" userId="abd46b16-7bf0-4c01-a850-92fb83f61f27" providerId="ADAL" clId="{067C7D3F-9573-4B1A-A9B0-3005DA5BAAAF}" dt="2024-01-22T15:11:15.581" v="3895" actId="478"/>
          <ac:picMkLst>
            <pc:docMk/>
            <pc:sldMk cId="936296583" sldId="2147480294"/>
            <ac:picMk id="7" creationId="{605E3630-A553-C1BD-1041-195233EBC7EF}"/>
          </ac:picMkLst>
        </pc:picChg>
        <pc:picChg chg="add del mod">
          <ac:chgData name="Cyprien ARETHUSE" userId="abd46b16-7bf0-4c01-a850-92fb83f61f27" providerId="ADAL" clId="{067C7D3F-9573-4B1A-A9B0-3005DA5BAAAF}" dt="2024-01-22T15:22:09.471" v="3997" actId="27803"/>
          <ac:picMkLst>
            <pc:docMk/>
            <pc:sldMk cId="936296583" sldId="2147480294"/>
            <ac:picMk id="9" creationId="{C77C49CB-970C-2295-5F19-713CBDCE8D1A}"/>
          </ac:picMkLst>
        </pc:picChg>
      </pc:sldChg>
      <pc:sldChg chg="addSp delSp modSp new del mod modClrScheme chgLayout">
        <pc:chgData name="Cyprien ARETHUSE" userId="abd46b16-7bf0-4c01-a850-92fb83f61f27" providerId="ADAL" clId="{067C7D3F-9573-4B1A-A9B0-3005DA5BAAAF}" dt="2024-01-23T08:37:48.768" v="5670" actId="47"/>
        <pc:sldMkLst>
          <pc:docMk/>
          <pc:sldMk cId="147877798" sldId="2147480295"/>
        </pc:sldMkLst>
        <pc:spChg chg="del">
          <ac:chgData name="Cyprien ARETHUSE" userId="abd46b16-7bf0-4c01-a850-92fb83f61f27" providerId="ADAL" clId="{067C7D3F-9573-4B1A-A9B0-3005DA5BAAAF}" dt="2024-01-23T08:29:57.793" v="5664" actId="700"/>
          <ac:spMkLst>
            <pc:docMk/>
            <pc:sldMk cId="147877798" sldId="2147480295"/>
            <ac:spMk id="2" creationId="{1CBF08B6-671B-3821-961B-926ADD37B486}"/>
          </ac:spMkLst>
        </pc:spChg>
        <pc:spChg chg="mod ord">
          <ac:chgData name="Cyprien ARETHUSE" userId="abd46b16-7bf0-4c01-a850-92fb83f61f27" providerId="ADAL" clId="{067C7D3F-9573-4B1A-A9B0-3005DA5BAAAF}" dt="2024-01-23T08:29:57.793" v="5664" actId="700"/>
          <ac:spMkLst>
            <pc:docMk/>
            <pc:sldMk cId="147877798" sldId="2147480295"/>
            <ac:spMk id="3" creationId="{BBD8BAF9-B666-401B-A6C5-BA920897A8CD}"/>
          </ac:spMkLst>
        </pc:spChg>
        <pc:spChg chg="del mod ord">
          <ac:chgData name="Cyprien ARETHUSE" userId="abd46b16-7bf0-4c01-a850-92fb83f61f27" providerId="ADAL" clId="{067C7D3F-9573-4B1A-A9B0-3005DA5BAAAF}" dt="2024-01-23T08:29:57.793" v="5664" actId="700"/>
          <ac:spMkLst>
            <pc:docMk/>
            <pc:sldMk cId="147877798" sldId="2147480295"/>
            <ac:spMk id="4" creationId="{26CB9229-DB9D-63FF-9974-D5BF77F7783E}"/>
          </ac:spMkLst>
        </pc:spChg>
        <pc:spChg chg="add mod ord">
          <ac:chgData name="Cyprien ARETHUSE" userId="abd46b16-7bf0-4c01-a850-92fb83f61f27" providerId="ADAL" clId="{067C7D3F-9573-4B1A-A9B0-3005DA5BAAAF}" dt="2024-01-23T08:29:57.793" v="5664" actId="700"/>
          <ac:spMkLst>
            <pc:docMk/>
            <pc:sldMk cId="147877798" sldId="2147480295"/>
            <ac:spMk id="5" creationId="{56EA22F5-14C9-80A7-B919-1AA0437824AE}"/>
          </ac:spMkLst>
        </pc:spChg>
        <pc:spChg chg="add mod ord">
          <ac:chgData name="Cyprien ARETHUSE" userId="abd46b16-7bf0-4c01-a850-92fb83f61f27" providerId="ADAL" clId="{067C7D3F-9573-4B1A-A9B0-3005DA5BAAAF}" dt="2024-01-23T08:29:57.793" v="5664" actId="700"/>
          <ac:spMkLst>
            <pc:docMk/>
            <pc:sldMk cId="147877798" sldId="2147480295"/>
            <ac:spMk id="6" creationId="{422600C4-0E33-3871-2BE5-1A6354AB2548}"/>
          </ac:spMkLst>
        </pc:spChg>
      </pc:sldChg>
      <pc:sldChg chg="modSp del mod">
        <pc:chgData name="Cyprien ARETHUSE" userId="abd46b16-7bf0-4c01-a850-92fb83f61f27" providerId="ADAL" clId="{067C7D3F-9573-4B1A-A9B0-3005DA5BAAAF}" dt="2024-01-29T09:21:05.748" v="8034" actId="47"/>
        <pc:sldMkLst>
          <pc:docMk/>
          <pc:sldMk cId="2389986792" sldId="2147480295"/>
        </pc:sldMkLst>
        <pc:spChg chg="mod">
          <ac:chgData name="Cyprien ARETHUSE" userId="abd46b16-7bf0-4c01-a850-92fb83f61f27" providerId="ADAL" clId="{067C7D3F-9573-4B1A-A9B0-3005DA5BAAAF}" dt="2024-01-23T17:14:20.194" v="5970" actId="207"/>
          <ac:spMkLst>
            <pc:docMk/>
            <pc:sldMk cId="2389986792" sldId="2147480295"/>
            <ac:spMk id="6" creationId="{1BFF0450-A5DD-066F-50D7-173531D24D58}"/>
          </ac:spMkLst>
        </pc:spChg>
      </pc:sldChg>
      <pc:sldChg chg="modSp add del mod">
        <pc:chgData name="Cyprien ARETHUSE" userId="abd46b16-7bf0-4c01-a850-92fb83f61f27" providerId="ADAL" clId="{067C7D3F-9573-4B1A-A9B0-3005DA5BAAAF}" dt="2024-01-23T15:48:19.513" v="5950" actId="2890"/>
        <pc:sldMkLst>
          <pc:docMk/>
          <pc:sldMk cId="439515876" sldId="2147480296"/>
        </pc:sldMkLst>
        <pc:spChg chg="mod">
          <ac:chgData name="Cyprien ARETHUSE" userId="abd46b16-7bf0-4c01-a850-92fb83f61f27" providerId="ADAL" clId="{067C7D3F-9573-4B1A-A9B0-3005DA5BAAAF}" dt="2024-01-23T15:47:54.239" v="5945" actId="207"/>
          <ac:spMkLst>
            <pc:docMk/>
            <pc:sldMk cId="439515876" sldId="2147480296"/>
            <ac:spMk id="8" creationId="{81540782-9568-A02D-4346-F37386AB1C7C}"/>
          </ac:spMkLst>
        </pc:spChg>
        <pc:spChg chg="mod">
          <ac:chgData name="Cyprien ARETHUSE" userId="abd46b16-7bf0-4c01-a850-92fb83f61f27" providerId="ADAL" clId="{067C7D3F-9573-4B1A-A9B0-3005DA5BAAAF}" dt="2024-01-23T15:48:19.281" v="5949" actId="207"/>
          <ac:spMkLst>
            <pc:docMk/>
            <pc:sldMk cId="439515876" sldId="2147480296"/>
            <ac:spMk id="11" creationId="{B634D9C1-CF12-BDCB-E81B-079531792497}"/>
          </ac:spMkLst>
        </pc:spChg>
        <pc:spChg chg="mod">
          <ac:chgData name="Cyprien ARETHUSE" userId="abd46b16-7bf0-4c01-a850-92fb83f61f27" providerId="ADAL" clId="{067C7D3F-9573-4B1A-A9B0-3005DA5BAAAF}" dt="2024-01-23T15:48:18.680" v="5947" actId="207"/>
          <ac:spMkLst>
            <pc:docMk/>
            <pc:sldMk cId="439515876" sldId="2147480296"/>
            <ac:spMk id="35" creationId="{749B3CBF-1A40-A67E-6F63-A25B070E2E32}"/>
          </ac:spMkLst>
        </pc:spChg>
      </pc:sldChg>
      <pc:sldChg chg="del">
        <pc:chgData name="Cyprien ARETHUSE" userId="abd46b16-7bf0-4c01-a850-92fb83f61f27" providerId="ADAL" clId="{067C7D3F-9573-4B1A-A9B0-3005DA5BAAAF}" dt="2024-02-02T17:02:42.816" v="19520" actId="47"/>
        <pc:sldMkLst>
          <pc:docMk/>
          <pc:sldMk cId="1290375140" sldId="2147480296"/>
        </pc:sldMkLst>
      </pc:sldChg>
      <pc:sldChg chg="addSp delSp modSp add del mod ord">
        <pc:chgData name="Cyprien ARETHUSE" userId="abd46b16-7bf0-4c01-a850-92fb83f61f27" providerId="ADAL" clId="{067C7D3F-9573-4B1A-A9B0-3005DA5BAAAF}" dt="2024-01-23T08:47:15.834" v="5731" actId="47"/>
        <pc:sldMkLst>
          <pc:docMk/>
          <pc:sldMk cId="3013044271" sldId="2147480296"/>
        </pc:sldMkLst>
        <pc:spChg chg="del">
          <ac:chgData name="Cyprien ARETHUSE" userId="abd46b16-7bf0-4c01-a850-92fb83f61f27" providerId="ADAL" clId="{067C7D3F-9573-4B1A-A9B0-3005DA5BAAAF}" dt="2024-01-23T08:37:52.393" v="5671" actId="478"/>
          <ac:spMkLst>
            <pc:docMk/>
            <pc:sldMk cId="3013044271" sldId="2147480296"/>
            <ac:spMk id="2" creationId="{A2D57B31-7B0D-92C3-B33F-D94DC4725E53}"/>
          </ac:spMkLst>
        </pc:spChg>
        <pc:spChg chg="del">
          <ac:chgData name="Cyprien ARETHUSE" userId="abd46b16-7bf0-4c01-a850-92fb83f61f27" providerId="ADAL" clId="{067C7D3F-9573-4B1A-A9B0-3005DA5BAAAF}" dt="2024-01-23T08:37:52.393" v="5671" actId="478"/>
          <ac:spMkLst>
            <pc:docMk/>
            <pc:sldMk cId="3013044271" sldId="2147480296"/>
            <ac:spMk id="3" creationId="{A1F640A5-A34D-1558-7EA4-8C07178926C3}"/>
          </ac:spMkLst>
        </pc:spChg>
        <pc:spChg chg="add mod">
          <ac:chgData name="Cyprien ARETHUSE" userId="abd46b16-7bf0-4c01-a850-92fb83f61f27" providerId="ADAL" clId="{067C7D3F-9573-4B1A-A9B0-3005DA5BAAAF}" dt="2024-01-23T08:37:52.393" v="5671" actId="478"/>
          <ac:spMkLst>
            <pc:docMk/>
            <pc:sldMk cId="3013044271" sldId="2147480296"/>
            <ac:spMk id="7" creationId="{CFE963E6-B6C2-5462-C5AF-35A7DC9459D9}"/>
          </ac:spMkLst>
        </pc:spChg>
        <pc:spChg chg="del">
          <ac:chgData name="Cyprien ARETHUSE" userId="abd46b16-7bf0-4c01-a850-92fb83f61f27" providerId="ADAL" clId="{067C7D3F-9573-4B1A-A9B0-3005DA5BAAAF}" dt="2024-01-23T08:37:52.393" v="5671" actId="478"/>
          <ac:spMkLst>
            <pc:docMk/>
            <pc:sldMk cId="3013044271" sldId="2147480296"/>
            <ac:spMk id="9" creationId="{460B5401-3D89-A33C-68AE-6A93B1ACCCD3}"/>
          </ac:spMkLst>
        </pc:spChg>
        <pc:spChg chg="del">
          <ac:chgData name="Cyprien ARETHUSE" userId="abd46b16-7bf0-4c01-a850-92fb83f61f27" providerId="ADAL" clId="{067C7D3F-9573-4B1A-A9B0-3005DA5BAAAF}" dt="2024-01-23T08:37:52.393" v="5671" actId="478"/>
          <ac:spMkLst>
            <pc:docMk/>
            <pc:sldMk cId="3013044271" sldId="2147480296"/>
            <ac:spMk id="10" creationId="{4DEAEFA3-B2AC-3B06-7C53-E1B5A33F3F8E}"/>
          </ac:spMkLst>
        </pc:spChg>
        <pc:graphicFrameChg chg="del">
          <ac:chgData name="Cyprien ARETHUSE" userId="abd46b16-7bf0-4c01-a850-92fb83f61f27" providerId="ADAL" clId="{067C7D3F-9573-4B1A-A9B0-3005DA5BAAAF}" dt="2024-01-23T08:37:52.393" v="5671" actId="478"/>
          <ac:graphicFrameMkLst>
            <pc:docMk/>
            <pc:sldMk cId="3013044271" sldId="2147480296"/>
            <ac:graphicFrameMk id="4" creationId="{0E2F88A0-CD37-77A7-8DC3-1C3ABDC6F35D}"/>
          </ac:graphicFrameMkLst>
        </pc:graphicFrameChg>
        <pc:graphicFrameChg chg="del">
          <ac:chgData name="Cyprien ARETHUSE" userId="abd46b16-7bf0-4c01-a850-92fb83f61f27" providerId="ADAL" clId="{067C7D3F-9573-4B1A-A9B0-3005DA5BAAAF}" dt="2024-01-23T08:37:52.393" v="5671" actId="478"/>
          <ac:graphicFrameMkLst>
            <pc:docMk/>
            <pc:sldMk cId="3013044271" sldId="2147480296"/>
            <ac:graphicFrameMk id="5" creationId="{CA84C0C7-604A-D5FF-3D64-F2820D651A3E}"/>
          </ac:graphicFrameMkLst>
        </pc:graphicFrameChg>
      </pc:sldChg>
      <pc:sldChg chg="modSp mod modShow">
        <pc:chgData name="Cyprien ARETHUSE" userId="abd46b16-7bf0-4c01-a850-92fb83f61f27" providerId="ADAL" clId="{067C7D3F-9573-4B1A-A9B0-3005DA5BAAAF}" dt="2024-01-29T14:59:38.671" v="8650" actId="729"/>
        <pc:sldMkLst>
          <pc:docMk/>
          <pc:sldMk cId="3314057026" sldId="2147480296"/>
        </pc:sldMkLst>
        <pc:graphicFrameChg chg="modGraphic">
          <ac:chgData name="Cyprien ARETHUSE" userId="abd46b16-7bf0-4c01-a850-92fb83f61f27" providerId="ADAL" clId="{067C7D3F-9573-4B1A-A9B0-3005DA5BAAAF}" dt="2024-01-24T14:01:02.292" v="7699" actId="14734"/>
          <ac:graphicFrameMkLst>
            <pc:docMk/>
            <pc:sldMk cId="3314057026" sldId="2147480296"/>
            <ac:graphicFrameMk id="52" creationId="{7F86C2B7-5FAB-0233-E01B-D6D2A7C40DAC}"/>
          </ac:graphicFrameMkLst>
        </pc:graphicFrameChg>
      </pc:sldChg>
      <pc:sldChg chg="modSp del mod ord modShow">
        <pc:chgData name="Cyprien ARETHUSE" userId="abd46b16-7bf0-4c01-a850-92fb83f61f27" providerId="ADAL" clId="{067C7D3F-9573-4B1A-A9B0-3005DA5BAAAF}" dt="2024-02-02T17:02:42.816" v="19520" actId="47"/>
        <pc:sldMkLst>
          <pc:docMk/>
          <pc:sldMk cId="1871989762" sldId="2147480297"/>
        </pc:sldMkLst>
        <pc:spChg chg="mod">
          <ac:chgData name="Cyprien ARETHUSE" userId="abd46b16-7bf0-4c01-a850-92fb83f61f27" providerId="ADAL" clId="{067C7D3F-9573-4B1A-A9B0-3005DA5BAAAF}" dt="2024-01-31T15:03:05.254" v="10434" actId="20577"/>
          <ac:spMkLst>
            <pc:docMk/>
            <pc:sldMk cId="1871989762" sldId="2147480297"/>
            <ac:spMk id="90" creationId="{57627848-41DE-E72B-5D05-B2426B087524}"/>
          </ac:spMkLst>
        </pc:spChg>
      </pc:sldChg>
      <pc:sldChg chg="addSp delSp modSp new del mod modClrScheme chgLayout">
        <pc:chgData name="Cyprien ARETHUSE" userId="abd46b16-7bf0-4c01-a850-92fb83f61f27" providerId="ADAL" clId="{067C7D3F-9573-4B1A-A9B0-3005DA5BAAAF}" dt="2024-01-26T13:16:35.061" v="7759" actId="47"/>
        <pc:sldMkLst>
          <pc:docMk/>
          <pc:sldMk cId="2724971344" sldId="2147480298"/>
        </pc:sldMkLst>
        <pc:spChg chg="del">
          <ac:chgData name="Cyprien ARETHUSE" userId="abd46b16-7bf0-4c01-a850-92fb83f61f27" providerId="ADAL" clId="{067C7D3F-9573-4B1A-A9B0-3005DA5BAAAF}" dt="2024-01-26T13:15:41.007" v="7749" actId="700"/>
          <ac:spMkLst>
            <pc:docMk/>
            <pc:sldMk cId="2724971344" sldId="2147480298"/>
            <ac:spMk id="2" creationId="{090C1823-6C9F-D77B-975A-8C4E59647FF9}"/>
          </ac:spMkLst>
        </pc:spChg>
        <pc:spChg chg="del">
          <ac:chgData name="Cyprien ARETHUSE" userId="abd46b16-7bf0-4c01-a850-92fb83f61f27" providerId="ADAL" clId="{067C7D3F-9573-4B1A-A9B0-3005DA5BAAAF}" dt="2024-01-26T13:15:41.007" v="7749" actId="700"/>
          <ac:spMkLst>
            <pc:docMk/>
            <pc:sldMk cId="2724971344" sldId="2147480298"/>
            <ac:spMk id="3" creationId="{EA70797E-3577-D5B1-BCCE-245C2E2B751A}"/>
          </ac:spMkLst>
        </pc:spChg>
        <pc:spChg chg="del">
          <ac:chgData name="Cyprien ARETHUSE" userId="abd46b16-7bf0-4c01-a850-92fb83f61f27" providerId="ADAL" clId="{067C7D3F-9573-4B1A-A9B0-3005DA5BAAAF}" dt="2024-01-26T13:15:41.007" v="7749" actId="700"/>
          <ac:spMkLst>
            <pc:docMk/>
            <pc:sldMk cId="2724971344" sldId="2147480298"/>
            <ac:spMk id="4" creationId="{613F46F0-2632-457E-E3E1-3A84BEAA0537}"/>
          </ac:spMkLst>
        </pc:spChg>
        <pc:spChg chg="add mod">
          <ac:chgData name="Cyprien ARETHUSE" userId="abd46b16-7bf0-4c01-a850-92fb83f61f27" providerId="ADAL" clId="{067C7D3F-9573-4B1A-A9B0-3005DA5BAAAF}" dt="2024-01-26T13:16:08.256" v="7756" actId="403"/>
          <ac:spMkLst>
            <pc:docMk/>
            <pc:sldMk cId="2724971344" sldId="2147480298"/>
            <ac:spMk id="5" creationId="{964CA3C0-6E10-957F-92F6-96E50F345C48}"/>
          </ac:spMkLst>
        </pc:spChg>
        <pc:spChg chg="add mod">
          <ac:chgData name="Cyprien ARETHUSE" userId="abd46b16-7bf0-4c01-a850-92fb83f61f27" providerId="ADAL" clId="{067C7D3F-9573-4B1A-A9B0-3005DA5BAAAF}" dt="2024-01-26T13:15:49.069" v="7750"/>
          <ac:spMkLst>
            <pc:docMk/>
            <pc:sldMk cId="2724971344" sldId="2147480298"/>
            <ac:spMk id="6" creationId="{14762CE4-7961-0BBD-3D2F-6D69F7E8FF2B}"/>
          </ac:spMkLst>
        </pc:spChg>
        <pc:spChg chg="add mod">
          <ac:chgData name="Cyprien ARETHUSE" userId="abd46b16-7bf0-4c01-a850-92fb83f61f27" providerId="ADAL" clId="{067C7D3F-9573-4B1A-A9B0-3005DA5BAAAF}" dt="2024-01-26T13:15:49.069" v="7750"/>
          <ac:spMkLst>
            <pc:docMk/>
            <pc:sldMk cId="2724971344" sldId="2147480298"/>
            <ac:spMk id="7" creationId="{727DD091-226A-D30F-CEAA-850B0FD128C8}"/>
          </ac:spMkLst>
        </pc:spChg>
        <pc:spChg chg="add mod">
          <ac:chgData name="Cyprien ARETHUSE" userId="abd46b16-7bf0-4c01-a850-92fb83f61f27" providerId="ADAL" clId="{067C7D3F-9573-4B1A-A9B0-3005DA5BAAAF}" dt="2024-01-26T13:15:49.069" v="7750"/>
          <ac:spMkLst>
            <pc:docMk/>
            <pc:sldMk cId="2724971344" sldId="2147480298"/>
            <ac:spMk id="8" creationId="{5D556ED7-B2DD-8BFB-1F14-8B31EC0A3A6F}"/>
          </ac:spMkLst>
        </pc:spChg>
        <pc:spChg chg="add mod">
          <ac:chgData name="Cyprien ARETHUSE" userId="abd46b16-7bf0-4c01-a850-92fb83f61f27" providerId="ADAL" clId="{067C7D3F-9573-4B1A-A9B0-3005DA5BAAAF}" dt="2024-01-26T13:15:49.069" v="7750"/>
          <ac:spMkLst>
            <pc:docMk/>
            <pc:sldMk cId="2724971344" sldId="2147480298"/>
            <ac:spMk id="9" creationId="{A5664631-3887-A089-C85C-3311A18562EC}"/>
          </ac:spMkLst>
        </pc:spChg>
        <pc:spChg chg="add mod">
          <ac:chgData name="Cyprien ARETHUSE" userId="abd46b16-7bf0-4c01-a850-92fb83f61f27" providerId="ADAL" clId="{067C7D3F-9573-4B1A-A9B0-3005DA5BAAAF}" dt="2024-01-26T13:15:49.069" v="7750"/>
          <ac:spMkLst>
            <pc:docMk/>
            <pc:sldMk cId="2724971344" sldId="2147480298"/>
            <ac:spMk id="10" creationId="{E2F7E14F-526C-7816-4CD9-97ED52A6E4EA}"/>
          </ac:spMkLst>
        </pc:spChg>
        <pc:spChg chg="add mod">
          <ac:chgData name="Cyprien ARETHUSE" userId="abd46b16-7bf0-4c01-a850-92fb83f61f27" providerId="ADAL" clId="{067C7D3F-9573-4B1A-A9B0-3005DA5BAAAF}" dt="2024-01-26T13:15:49.069" v="7750"/>
          <ac:spMkLst>
            <pc:docMk/>
            <pc:sldMk cId="2724971344" sldId="2147480298"/>
            <ac:spMk id="11" creationId="{13511C2C-461E-D5F6-AEAC-BBEF0F3709A1}"/>
          </ac:spMkLst>
        </pc:spChg>
        <pc:spChg chg="add mod">
          <ac:chgData name="Cyprien ARETHUSE" userId="abd46b16-7bf0-4c01-a850-92fb83f61f27" providerId="ADAL" clId="{067C7D3F-9573-4B1A-A9B0-3005DA5BAAAF}" dt="2024-01-26T13:15:49.069" v="7750"/>
          <ac:spMkLst>
            <pc:docMk/>
            <pc:sldMk cId="2724971344" sldId="2147480298"/>
            <ac:spMk id="12" creationId="{F10F2F38-A78D-867B-5CE9-279D11BDF29E}"/>
          </ac:spMkLst>
        </pc:spChg>
        <pc:spChg chg="add mod">
          <ac:chgData name="Cyprien ARETHUSE" userId="abd46b16-7bf0-4c01-a850-92fb83f61f27" providerId="ADAL" clId="{067C7D3F-9573-4B1A-A9B0-3005DA5BAAAF}" dt="2024-01-26T13:15:49.069" v="7750"/>
          <ac:spMkLst>
            <pc:docMk/>
            <pc:sldMk cId="2724971344" sldId="2147480298"/>
            <ac:spMk id="13" creationId="{249D8CC4-1BD3-0CA6-0173-6E824C82B774}"/>
          </ac:spMkLst>
        </pc:spChg>
        <pc:spChg chg="add mod">
          <ac:chgData name="Cyprien ARETHUSE" userId="abd46b16-7bf0-4c01-a850-92fb83f61f27" providerId="ADAL" clId="{067C7D3F-9573-4B1A-A9B0-3005DA5BAAAF}" dt="2024-01-26T13:15:49.069" v="7750"/>
          <ac:spMkLst>
            <pc:docMk/>
            <pc:sldMk cId="2724971344" sldId="2147480298"/>
            <ac:spMk id="14" creationId="{B3EF3692-53FA-8910-A7EE-FC7EA57E6965}"/>
          </ac:spMkLst>
        </pc:spChg>
        <pc:spChg chg="add mod">
          <ac:chgData name="Cyprien ARETHUSE" userId="abd46b16-7bf0-4c01-a850-92fb83f61f27" providerId="ADAL" clId="{067C7D3F-9573-4B1A-A9B0-3005DA5BAAAF}" dt="2024-01-26T13:15:49.069" v="7750"/>
          <ac:spMkLst>
            <pc:docMk/>
            <pc:sldMk cId="2724971344" sldId="2147480298"/>
            <ac:spMk id="15" creationId="{9784C1E4-44A3-1B92-F94D-324AC9BF0F31}"/>
          </ac:spMkLst>
        </pc:spChg>
        <pc:spChg chg="add mod">
          <ac:chgData name="Cyprien ARETHUSE" userId="abd46b16-7bf0-4c01-a850-92fb83f61f27" providerId="ADAL" clId="{067C7D3F-9573-4B1A-A9B0-3005DA5BAAAF}" dt="2024-01-26T13:15:49.069" v="7750"/>
          <ac:spMkLst>
            <pc:docMk/>
            <pc:sldMk cId="2724971344" sldId="2147480298"/>
            <ac:spMk id="16" creationId="{47F0C225-72F9-F37B-6FA2-92B6E722B1BD}"/>
          </ac:spMkLst>
        </pc:spChg>
        <pc:spChg chg="add mod">
          <ac:chgData name="Cyprien ARETHUSE" userId="abd46b16-7bf0-4c01-a850-92fb83f61f27" providerId="ADAL" clId="{067C7D3F-9573-4B1A-A9B0-3005DA5BAAAF}" dt="2024-01-26T13:15:49.069" v="7750"/>
          <ac:spMkLst>
            <pc:docMk/>
            <pc:sldMk cId="2724971344" sldId="2147480298"/>
            <ac:spMk id="17" creationId="{235C5323-A81D-CFF8-4110-D874AFCBFACE}"/>
          </ac:spMkLst>
        </pc:spChg>
        <pc:spChg chg="add mod">
          <ac:chgData name="Cyprien ARETHUSE" userId="abd46b16-7bf0-4c01-a850-92fb83f61f27" providerId="ADAL" clId="{067C7D3F-9573-4B1A-A9B0-3005DA5BAAAF}" dt="2024-01-26T13:15:49.069" v="7750"/>
          <ac:spMkLst>
            <pc:docMk/>
            <pc:sldMk cId="2724971344" sldId="2147480298"/>
            <ac:spMk id="18" creationId="{20B417B9-6DBB-AB80-5982-8CF16F75CFF1}"/>
          </ac:spMkLst>
        </pc:spChg>
        <pc:spChg chg="add mod">
          <ac:chgData name="Cyprien ARETHUSE" userId="abd46b16-7bf0-4c01-a850-92fb83f61f27" providerId="ADAL" clId="{067C7D3F-9573-4B1A-A9B0-3005DA5BAAAF}" dt="2024-01-26T13:15:49.069" v="7750"/>
          <ac:spMkLst>
            <pc:docMk/>
            <pc:sldMk cId="2724971344" sldId="2147480298"/>
            <ac:spMk id="19" creationId="{E895BDD2-810C-0F6D-F945-5F62B7AEFEBB}"/>
          </ac:spMkLst>
        </pc:spChg>
        <pc:spChg chg="add mod">
          <ac:chgData name="Cyprien ARETHUSE" userId="abd46b16-7bf0-4c01-a850-92fb83f61f27" providerId="ADAL" clId="{067C7D3F-9573-4B1A-A9B0-3005DA5BAAAF}" dt="2024-01-26T13:15:49.069" v="7750"/>
          <ac:spMkLst>
            <pc:docMk/>
            <pc:sldMk cId="2724971344" sldId="2147480298"/>
            <ac:spMk id="20" creationId="{D0F2C023-933D-9CD4-B98A-15CAFDCD5E5E}"/>
          </ac:spMkLst>
        </pc:spChg>
        <pc:spChg chg="add mod">
          <ac:chgData name="Cyprien ARETHUSE" userId="abd46b16-7bf0-4c01-a850-92fb83f61f27" providerId="ADAL" clId="{067C7D3F-9573-4B1A-A9B0-3005DA5BAAAF}" dt="2024-01-26T13:15:49.069" v="7750"/>
          <ac:spMkLst>
            <pc:docMk/>
            <pc:sldMk cId="2724971344" sldId="2147480298"/>
            <ac:spMk id="21" creationId="{C5BEA018-ECA5-22AE-911C-810B02D354FA}"/>
          </ac:spMkLst>
        </pc:spChg>
        <pc:spChg chg="add mod">
          <ac:chgData name="Cyprien ARETHUSE" userId="abd46b16-7bf0-4c01-a850-92fb83f61f27" providerId="ADAL" clId="{067C7D3F-9573-4B1A-A9B0-3005DA5BAAAF}" dt="2024-01-26T13:15:49.069" v="7750"/>
          <ac:spMkLst>
            <pc:docMk/>
            <pc:sldMk cId="2724971344" sldId="2147480298"/>
            <ac:spMk id="22" creationId="{378A96F1-F530-75A8-0644-176FCC25D375}"/>
          </ac:spMkLst>
        </pc:spChg>
        <pc:spChg chg="add mod">
          <ac:chgData name="Cyprien ARETHUSE" userId="abd46b16-7bf0-4c01-a850-92fb83f61f27" providerId="ADAL" clId="{067C7D3F-9573-4B1A-A9B0-3005DA5BAAAF}" dt="2024-01-26T13:15:49.069" v="7750"/>
          <ac:spMkLst>
            <pc:docMk/>
            <pc:sldMk cId="2724971344" sldId="2147480298"/>
            <ac:spMk id="23" creationId="{51087AE7-58FD-DC9C-7FA9-843F75C40074}"/>
          </ac:spMkLst>
        </pc:spChg>
        <pc:spChg chg="add mod">
          <ac:chgData name="Cyprien ARETHUSE" userId="abd46b16-7bf0-4c01-a850-92fb83f61f27" providerId="ADAL" clId="{067C7D3F-9573-4B1A-A9B0-3005DA5BAAAF}" dt="2024-01-26T13:15:49.069" v="7750"/>
          <ac:spMkLst>
            <pc:docMk/>
            <pc:sldMk cId="2724971344" sldId="2147480298"/>
            <ac:spMk id="24" creationId="{2F5DDC16-A966-3910-1D1A-B2AFB8F36C01}"/>
          </ac:spMkLst>
        </pc:spChg>
      </pc:sldChg>
      <pc:sldChg chg="add del">
        <pc:chgData name="Cyprien ARETHUSE" userId="abd46b16-7bf0-4c01-a850-92fb83f61f27" providerId="ADAL" clId="{067C7D3F-9573-4B1A-A9B0-3005DA5BAAAF}" dt="2024-01-26T13:17:10.846" v="7769" actId="47"/>
        <pc:sldMkLst>
          <pc:docMk/>
          <pc:sldMk cId="4013760214" sldId="2147480299"/>
        </pc:sldMkLst>
      </pc:sldChg>
      <pc:sldChg chg="delSp new del mod modClrScheme chgLayout">
        <pc:chgData name="Cyprien ARETHUSE" userId="abd46b16-7bf0-4c01-a850-92fb83f61f27" providerId="ADAL" clId="{067C7D3F-9573-4B1A-A9B0-3005DA5BAAAF}" dt="2024-01-26T13:17:00.640" v="7766" actId="47"/>
        <pc:sldMkLst>
          <pc:docMk/>
          <pc:sldMk cId="2115513283" sldId="2147480300"/>
        </pc:sldMkLst>
        <pc:spChg chg="del">
          <ac:chgData name="Cyprien ARETHUSE" userId="abd46b16-7bf0-4c01-a850-92fb83f61f27" providerId="ADAL" clId="{067C7D3F-9573-4B1A-A9B0-3005DA5BAAAF}" dt="2024-01-26T13:16:42.699" v="7761" actId="700"/>
          <ac:spMkLst>
            <pc:docMk/>
            <pc:sldMk cId="2115513283" sldId="2147480300"/>
            <ac:spMk id="2" creationId="{0841C58A-7348-4F3D-20C5-050285D94F8E}"/>
          </ac:spMkLst>
        </pc:spChg>
        <pc:spChg chg="del">
          <ac:chgData name="Cyprien ARETHUSE" userId="abd46b16-7bf0-4c01-a850-92fb83f61f27" providerId="ADAL" clId="{067C7D3F-9573-4B1A-A9B0-3005DA5BAAAF}" dt="2024-01-26T13:16:42.699" v="7761" actId="700"/>
          <ac:spMkLst>
            <pc:docMk/>
            <pc:sldMk cId="2115513283" sldId="2147480300"/>
            <ac:spMk id="3" creationId="{B08A6532-54E1-4EFB-B5BB-BB887C3676B2}"/>
          </ac:spMkLst>
        </pc:spChg>
        <pc:spChg chg="del">
          <ac:chgData name="Cyprien ARETHUSE" userId="abd46b16-7bf0-4c01-a850-92fb83f61f27" providerId="ADAL" clId="{067C7D3F-9573-4B1A-A9B0-3005DA5BAAAF}" dt="2024-01-26T13:16:42.699" v="7761" actId="700"/>
          <ac:spMkLst>
            <pc:docMk/>
            <pc:sldMk cId="2115513283" sldId="2147480300"/>
            <ac:spMk id="4" creationId="{0B0079BA-E754-1C63-BAE9-811DAA6BCDD7}"/>
          </ac:spMkLst>
        </pc:spChg>
      </pc:sldChg>
      <pc:sldChg chg="addSp delSp modSp add del mod ord">
        <pc:chgData name="Cyprien ARETHUSE" userId="abd46b16-7bf0-4c01-a850-92fb83f61f27" providerId="ADAL" clId="{067C7D3F-9573-4B1A-A9B0-3005DA5BAAAF}" dt="2024-01-29T18:02:58.096" v="9716" actId="47"/>
        <pc:sldMkLst>
          <pc:docMk/>
          <pc:sldMk cId="3326717010" sldId="2147480301"/>
        </pc:sldMkLst>
        <pc:spChg chg="add del mod">
          <ac:chgData name="Cyprien ARETHUSE" userId="abd46b16-7bf0-4c01-a850-92fb83f61f27" providerId="ADAL" clId="{067C7D3F-9573-4B1A-A9B0-3005DA5BAAAF}" dt="2024-01-26T13:17:25.255" v="7772" actId="478"/>
          <ac:spMkLst>
            <pc:docMk/>
            <pc:sldMk cId="3326717010" sldId="2147480301"/>
            <ac:spMk id="2" creationId="{D84006B2-0918-7564-72A3-C634E9BE11AB}"/>
          </ac:spMkLst>
        </pc:spChg>
        <pc:spChg chg="add mod">
          <ac:chgData name="Cyprien ARETHUSE" userId="abd46b16-7bf0-4c01-a850-92fb83f61f27" providerId="ADAL" clId="{067C7D3F-9573-4B1A-A9B0-3005DA5BAAAF}" dt="2024-01-26T13:17:21.339" v="7771"/>
          <ac:spMkLst>
            <pc:docMk/>
            <pc:sldMk cId="3326717010" sldId="2147480301"/>
            <ac:spMk id="3" creationId="{9F4738E0-6D6E-E5FC-B23D-F4D70706EE5B}"/>
          </ac:spMkLst>
        </pc:spChg>
        <pc:spChg chg="del">
          <ac:chgData name="Cyprien ARETHUSE" userId="abd46b16-7bf0-4c01-a850-92fb83f61f27" providerId="ADAL" clId="{067C7D3F-9573-4B1A-A9B0-3005DA5BAAAF}" dt="2024-01-26T13:16:54.323" v="7765" actId="478"/>
          <ac:spMkLst>
            <pc:docMk/>
            <pc:sldMk cId="3326717010" sldId="2147480301"/>
            <ac:spMk id="4" creationId="{B05E0C10-3DBF-3786-63F1-8097BA6256B7}"/>
          </ac:spMkLst>
        </pc:spChg>
        <pc:spChg chg="add del mod">
          <ac:chgData name="Cyprien ARETHUSE" userId="abd46b16-7bf0-4c01-a850-92fb83f61f27" providerId="ADAL" clId="{067C7D3F-9573-4B1A-A9B0-3005DA5BAAAF}" dt="2024-01-26T13:17:58.846" v="7775" actId="478"/>
          <ac:spMkLst>
            <pc:docMk/>
            <pc:sldMk cId="3326717010" sldId="2147480301"/>
            <ac:spMk id="5" creationId="{CDA3B71F-B7BE-DF20-26D0-0DD694758026}"/>
          </ac:spMkLst>
        </pc:spChg>
        <pc:spChg chg="del">
          <ac:chgData name="Cyprien ARETHUSE" userId="abd46b16-7bf0-4c01-a850-92fb83f61f27" providerId="ADAL" clId="{067C7D3F-9573-4B1A-A9B0-3005DA5BAAAF}" dt="2024-01-26T13:16:54.323" v="7765" actId="478"/>
          <ac:spMkLst>
            <pc:docMk/>
            <pc:sldMk cId="3326717010" sldId="2147480301"/>
            <ac:spMk id="6" creationId="{FE5F7043-2A4B-9B4A-E8A6-FDAA34AA9FF6}"/>
          </ac:spMkLst>
        </pc:spChg>
        <pc:spChg chg="del">
          <ac:chgData name="Cyprien ARETHUSE" userId="abd46b16-7bf0-4c01-a850-92fb83f61f27" providerId="ADAL" clId="{067C7D3F-9573-4B1A-A9B0-3005DA5BAAAF}" dt="2024-01-26T13:16:54.323" v="7765" actId="478"/>
          <ac:spMkLst>
            <pc:docMk/>
            <pc:sldMk cId="3326717010" sldId="2147480301"/>
            <ac:spMk id="7" creationId="{FA3860DB-A1F5-1054-6152-3A693246BCF6}"/>
          </ac:spMkLst>
        </pc:spChg>
        <pc:spChg chg="del">
          <ac:chgData name="Cyprien ARETHUSE" userId="abd46b16-7bf0-4c01-a850-92fb83f61f27" providerId="ADAL" clId="{067C7D3F-9573-4B1A-A9B0-3005DA5BAAAF}" dt="2024-01-26T13:16:54.323" v="7765" actId="478"/>
          <ac:spMkLst>
            <pc:docMk/>
            <pc:sldMk cId="3326717010" sldId="2147480301"/>
            <ac:spMk id="9" creationId="{933A40FC-9865-1168-6B42-11FB2FA60C15}"/>
          </ac:spMkLst>
        </pc:spChg>
        <pc:spChg chg="del">
          <ac:chgData name="Cyprien ARETHUSE" userId="abd46b16-7bf0-4c01-a850-92fb83f61f27" providerId="ADAL" clId="{067C7D3F-9573-4B1A-A9B0-3005DA5BAAAF}" dt="2024-01-26T13:16:54.323" v="7765" actId="478"/>
          <ac:spMkLst>
            <pc:docMk/>
            <pc:sldMk cId="3326717010" sldId="2147480301"/>
            <ac:spMk id="18" creationId="{2F469A82-3CEB-D5FA-1EE4-06494EA6BCF9}"/>
          </ac:spMkLst>
        </pc:spChg>
        <pc:spChg chg="del">
          <ac:chgData name="Cyprien ARETHUSE" userId="abd46b16-7bf0-4c01-a850-92fb83f61f27" providerId="ADAL" clId="{067C7D3F-9573-4B1A-A9B0-3005DA5BAAAF}" dt="2024-01-26T13:16:54.323" v="7765" actId="478"/>
          <ac:spMkLst>
            <pc:docMk/>
            <pc:sldMk cId="3326717010" sldId="2147480301"/>
            <ac:spMk id="19" creationId="{F87C98FF-8EF3-7AD9-34F4-122390D29A0C}"/>
          </ac:spMkLst>
        </pc:spChg>
        <pc:spChg chg="del">
          <ac:chgData name="Cyprien ARETHUSE" userId="abd46b16-7bf0-4c01-a850-92fb83f61f27" providerId="ADAL" clId="{067C7D3F-9573-4B1A-A9B0-3005DA5BAAAF}" dt="2024-01-26T13:16:54.323" v="7765" actId="478"/>
          <ac:spMkLst>
            <pc:docMk/>
            <pc:sldMk cId="3326717010" sldId="2147480301"/>
            <ac:spMk id="20" creationId="{ED38A3F0-4E63-0EAB-1891-1CF3F0E0DE65}"/>
          </ac:spMkLst>
        </pc:spChg>
        <pc:spChg chg="del">
          <ac:chgData name="Cyprien ARETHUSE" userId="abd46b16-7bf0-4c01-a850-92fb83f61f27" providerId="ADAL" clId="{067C7D3F-9573-4B1A-A9B0-3005DA5BAAAF}" dt="2024-01-26T13:16:54.323" v="7765" actId="478"/>
          <ac:spMkLst>
            <pc:docMk/>
            <pc:sldMk cId="3326717010" sldId="2147480301"/>
            <ac:spMk id="27" creationId="{E59045EF-93D1-A4DC-092E-240914D50698}"/>
          </ac:spMkLst>
        </pc:spChg>
        <pc:spChg chg="del">
          <ac:chgData name="Cyprien ARETHUSE" userId="abd46b16-7bf0-4c01-a850-92fb83f61f27" providerId="ADAL" clId="{067C7D3F-9573-4B1A-A9B0-3005DA5BAAAF}" dt="2024-01-26T13:16:54.323" v="7765" actId="478"/>
          <ac:spMkLst>
            <pc:docMk/>
            <pc:sldMk cId="3326717010" sldId="2147480301"/>
            <ac:spMk id="34" creationId="{1C523097-C95A-396C-7018-90EA3EA48998}"/>
          </ac:spMkLst>
        </pc:spChg>
        <pc:spChg chg="del">
          <ac:chgData name="Cyprien ARETHUSE" userId="abd46b16-7bf0-4c01-a850-92fb83f61f27" providerId="ADAL" clId="{067C7D3F-9573-4B1A-A9B0-3005DA5BAAAF}" dt="2024-01-26T13:16:54.323" v="7765" actId="478"/>
          <ac:spMkLst>
            <pc:docMk/>
            <pc:sldMk cId="3326717010" sldId="2147480301"/>
            <ac:spMk id="45" creationId="{0382E2EF-4766-CE35-BBC5-E86FB4207DCB}"/>
          </ac:spMkLst>
        </pc:spChg>
        <pc:spChg chg="del">
          <ac:chgData name="Cyprien ARETHUSE" userId="abd46b16-7bf0-4c01-a850-92fb83f61f27" providerId="ADAL" clId="{067C7D3F-9573-4B1A-A9B0-3005DA5BAAAF}" dt="2024-01-26T13:16:54.323" v="7765" actId="478"/>
          <ac:spMkLst>
            <pc:docMk/>
            <pc:sldMk cId="3326717010" sldId="2147480301"/>
            <ac:spMk id="46" creationId="{D94449A5-78E2-59C4-9EF0-AB45261DF5BD}"/>
          </ac:spMkLst>
        </pc:spChg>
        <pc:spChg chg="add del mod">
          <ac:chgData name="Cyprien ARETHUSE" userId="abd46b16-7bf0-4c01-a850-92fb83f61f27" providerId="ADAL" clId="{067C7D3F-9573-4B1A-A9B0-3005DA5BAAAF}" dt="2024-01-26T13:19:20.082" v="7802" actId="478"/>
          <ac:spMkLst>
            <pc:docMk/>
            <pc:sldMk cId="3326717010" sldId="2147480301"/>
            <ac:spMk id="47" creationId="{422FD3EC-2D9D-ADC7-40CA-735DEEAE0CE5}"/>
          </ac:spMkLst>
        </pc:spChg>
        <pc:spChg chg="del">
          <ac:chgData name="Cyprien ARETHUSE" userId="abd46b16-7bf0-4c01-a850-92fb83f61f27" providerId="ADAL" clId="{067C7D3F-9573-4B1A-A9B0-3005DA5BAAAF}" dt="2024-01-26T13:16:54.323" v="7765" actId="478"/>
          <ac:spMkLst>
            <pc:docMk/>
            <pc:sldMk cId="3326717010" sldId="2147480301"/>
            <ac:spMk id="48" creationId="{03381FB0-C1C3-63CD-521A-6A4BD2A4D7FC}"/>
          </ac:spMkLst>
        </pc:spChg>
        <pc:spChg chg="mod">
          <ac:chgData name="Cyprien ARETHUSE" userId="abd46b16-7bf0-4c01-a850-92fb83f61f27" providerId="ADAL" clId="{067C7D3F-9573-4B1A-A9B0-3005DA5BAAAF}" dt="2024-01-26T13:17:52.471" v="7774"/>
          <ac:spMkLst>
            <pc:docMk/>
            <pc:sldMk cId="3326717010" sldId="2147480301"/>
            <ac:spMk id="50" creationId="{7103B9EC-9E2B-0AF3-BB06-B5956503449E}"/>
          </ac:spMkLst>
        </pc:spChg>
        <pc:spChg chg="mod">
          <ac:chgData name="Cyprien ARETHUSE" userId="abd46b16-7bf0-4c01-a850-92fb83f61f27" providerId="ADAL" clId="{067C7D3F-9573-4B1A-A9B0-3005DA5BAAAF}" dt="2024-01-26T13:18:10.924" v="7778" actId="20577"/>
          <ac:spMkLst>
            <pc:docMk/>
            <pc:sldMk cId="3326717010" sldId="2147480301"/>
            <ac:spMk id="51" creationId="{0F44AB08-209D-81A1-3FB0-5895C7D447EE}"/>
          </ac:spMkLst>
        </pc:spChg>
        <pc:spChg chg="mod">
          <ac:chgData name="Cyprien ARETHUSE" userId="abd46b16-7bf0-4c01-a850-92fb83f61f27" providerId="ADAL" clId="{067C7D3F-9573-4B1A-A9B0-3005DA5BAAAF}" dt="2024-01-26T13:17:52.471" v="7774"/>
          <ac:spMkLst>
            <pc:docMk/>
            <pc:sldMk cId="3326717010" sldId="2147480301"/>
            <ac:spMk id="53" creationId="{B8769AA2-125C-D9C0-B8C0-A5D6F40C42A4}"/>
          </ac:spMkLst>
        </pc:spChg>
        <pc:spChg chg="mod">
          <ac:chgData name="Cyprien ARETHUSE" userId="abd46b16-7bf0-4c01-a850-92fb83f61f27" providerId="ADAL" clId="{067C7D3F-9573-4B1A-A9B0-3005DA5BAAAF}" dt="2024-01-26T13:17:52.471" v="7774"/>
          <ac:spMkLst>
            <pc:docMk/>
            <pc:sldMk cId="3326717010" sldId="2147480301"/>
            <ac:spMk id="56" creationId="{89A95E53-1CAE-9811-D084-AB899A7C42AC}"/>
          </ac:spMkLst>
        </pc:spChg>
        <pc:spChg chg="mod">
          <ac:chgData name="Cyprien ARETHUSE" userId="abd46b16-7bf0-4c01-a850-92fb83f61f27" providerId="ADAL" clId="{067C7D3F-9573-4B1A-A9B0-3005DA5BAAAF}" dt="2024-01-26T13:18:14.785" v="7779" actId="20577"/>
          <ac:spMkLst>
            <pc:docMk/>
            <pc:sldMk cId="3326717010" sldId="2147480301"/>
            <ac:spMk id="57" creationId="{B68915F3-7056-0486-19D6-7387CD7ADBE9}"/>
          </ac:spMkLst>
        </pc:spChg>
        <pc:spChg chg="mod">
          <ac:chgData name="Cyprien ARETHUSE" userId="abd46b16-7bf0-4c01-a850-92fb83f61f27" providerId="ADAL" clId="{067C7D3F-9573-4B1A-A9B0-3005DA5BAAAF}" dt="2024-01-26T13:17:52.471" v="7774"/>
          <ac:spMkLst>
            <pc:docMk/>
            <pc:sldMk cId="3326717010" sldId="2147480301"/>
            <ac:spMk id="59" creationId="{F2B3A380-BD7F-8179-BEB9-BD774E01A767}"/>
          </ac:spMkLst>
        </pc:spChg>
        <pc:spChg chg="mod">
          <ac:chgData name="Cyprien ARETHUSE" userId="abd46b16-7bf0-4c01-a850-92fb83f61f27" providerId="ADAL" clId="{067C7D3F-9573-4B1A-A9B0-3005DA5BAAAF}" dt="2024-01-26T13:17:52.471" v="7774"/>
          <ac:spMkLst>
            <pc:docMk/>
            <pc:sldMk cId="3326717010" sldId="2147480301"/>
            <ac:spMk id="62" creationId="{3010711C-8929-22A4-FA1E-0A6CEC699F43}"/>
          </ac:spMkLst>
        </pc:spChg>
        <pc:spChg chg="mod">
          <ac:chgData name="Cyprien ARETHUSE" userId="abd46b16-7bf0-4c01-a850-92fb83f61f27" providerId="ADAL" clId="{067C7D3F-9573-4B1A-A9B0-3005DA5BAAAF}" dt="2024-01-26T13:18:18.794" v="7780" actId="20577"/>
          <ac:spMkLst>
            <pc:docMk/>
            <pc:sldMk cId="3326717010" sldId="2147480301"/>
            <ac:spMk id="63" creationId="{3D92EDFB-507A-03DA-A59A-1F3BC23D21E0}"/>
          </ac:spMkLst>
        </pc:spChg>
        <pc:spChg chg="mod">
          <ac:chgData name="Cyprien ARETHUSE" userId="abd46b16-7bf0-4c01-a850-92fb83f61f27" providerId="ADAL" clId="{067C7D3F-9573-4B1A-A9B0-3005DA5BAAAF}" dt="2024-01-26T13:17:52.471" v="7774"/>
          <ac:spMkLst>
            <pc:docMk/>
            <pc:sldMk cId="3326717010" sldId="2147480301"/>
            <ac:spMk id="2049" creationId="{F3C9DEE7-309D-8AFE-7FD4-138D3051A9A0}"/>
          </ac:spMkLst>
        </pc:spChg>
        <pc:spChg chg="mod">
          <ac:chgData name="Cyprien ARETHUSE" userId="abd46b16-7bf0-4c01-a850-92fb83f61f27" providerId="ADAL" clId="{067C7D3F-9573-4B1A-A9B0-3005DA5BAAAF}" dt="2024-01-26T13:17:52.471" v="7774"/>
          <ac:spMkLst>
            <pc:docMk/>
            <pc:sldMk cId="3326717010" sldId="2147480301"/>
            <ac:spMk id="2053" creationId="{584F3A6A-4BEA-BB1C-828F-1B373F4E93BA}"/>
          </ac:spMkLst>
        </pc:spChg>
        <pc:spChg chg="mod">
          <ac:chgData name="Cyprien ARETHUSE" userId="abd46b16-7bf0-4c01-a850-92fb83f61f27" providerId="ADAL" clId="{067C7D3F-9573-4B1A-A9B0-3005DA5BAAAF}" dt="2024-01-26T13:17:52.471" v="7774"/>
          <ac:spMkLst>
            <pc:docMk/>
            <pc:sldMk cId="3326717010" sldId="2147480301"/>
            <ac:spMk id="2054" creationId="{09478C74-0772-8585-A1EE-5021C0ADA960}"/>
          </ac:spMkLst>
        </pc:spChg>
        <pc:spChg chg="mod">
          <ac:chgData name="Cyprien ARETHUSE" userId="abd46b16-7bf0-4c01-a850-92fb83f61f27" providerId="ADAL" clId="{067C7D3F-9573-4B1A-A9B0-3005DA5BAAAF}" dt="2024-01-26T13:17:52.471" v="7774"/>
          <ac:spMkLst>
            <pc:docMk/>
            <pc:sldMk cId="3326717010" sldId="2147480301"/>
            <ac:spMk id="2056" creationId="{E4259352-C1A5-F2B7-F758-37551613FFCA}"/>
          </ac:spMkLst>
        </pc:spChg>
        <pc:spChg chg="add mod">
          <ac:chgData name="Cyprien ARETHUSE" userId="abd46b16-7bf0-4c01-a850-92fb83f61f27" providerId="ADAL" clId="{067C7D3F-9573-4B1A-A9B0-3005DA5BAAAF}" dt="2024-01-26T13:17:52.471" v="7774"/>
          <ac:spMkLst>
            <pc:docMk/>
            <pc:sldMk cId="3326717010" sldId="2147480301"/>
            <ac:spMk id="2058" creationId="{9A5357B6-A575-52D7-E25E-7706434B8098}"/>
          </ac:spMkLst>
        </pc:spChg>
        <pc:spChg chg="add mod">
          <ac:chgData name="Cyprien ARETHUSE" userId="abd46b16-7bf0-4c01-a850-92fb83f61f27" providerId="ADAL" clId="{067C7D3F-9573-4B1A-A9B0-3005DA5BAAAF}" dt="2024-01-26T13:18:38.687" v="7789" actId="1076"/>
          <ac:spMkLst>
            <pc:docMk/>
            <pc:sldMk cId="3326717010" sldId="2147480301"/>
            <ac:spMk id="2059" creationId="{0A6047AB-1747-F042-34C7-52147C1CE8CB}"/>
          </ac:spMkLst>
        </pc:spChg>
        <pc:spChg chg="add mod">
          <ac:chgData name="Cyprien ARETHUSE" userId="abd46b16-7bf0-4c01-a850-92fb83f61f27" providerId="ADAL" clId="{067C7D3F-9573-4B1A-A9B0-3005DA5BAAAF}" dt="2024-01-26T13:18:45.236" v="7791" actId="6549"/>
          <ac:spMkLst>
            <pc:docMk/>
            <pc:sldMk cId="3326717010" sldId="2147480301"/>
            <ac:spMk id="2060" creationId="{8754A664-7EAF-3004-6491-40F3CBD03510}"/>
          </ac:spMkLst>
        </pc:spChg>
        <pc:spChg chg="add mod">
          <ac:chgData name="Cyprien ARETHUSE" userId="abd46b16-7bf0-4c01-a850-92fb83f61f27" providerId="ADAL" clId="{067C7D3F-9573-4B1A-A9B0-3005DA5BAAAF}" dt="2024-01-26T13:18:34.679" v="7787" actId="20577"/>
          <ac:spMkLst>
            <pc:docMk/>
            <pc:sldMk cId="3326717010" sldId="2147480301"/>
            <ac:spMk id="2061" creationId="{0ECFEB7A-BFF5-16C9-9EC6-5A94C9AE0C4A}"/>
          </ac:spMkLst>
        </pc:spChg>
        <pc:spChg chg="add mod">
          <ac:chgData name="Cyprien ARETHUSE" userId="abd46b16-7bf0-4c01-a850-92fb83f61f27" providerId="ADAL" clId="{067C7D3F-9573-4B1A-A9B0-3005DA5BAAAF}" dt="2024-01-26T13:18:36.762" v="7788" actId="20577"/>
          <ac:spMkLst>
            <pc:docMk/>
            <pc:sldMk cId="3326717010" sldId="2147480301"/>
            <ac:spMk id="2062" creationId="{35C96985-0DF1-F151-6422-4D1236CDA9B0}"/>
          </ac:spMkLst>
        </pc:spChg>
        <pc:spChg chg="add mod">
          <ac:chgData name="Cyprien ARETHUSE" userId="abd46b16-7bf0-4c01-a850-92fb83f61f27" providerId="ADAL" clId="{067C7D3F-9573-4B1A-A9B0-3005DA5BAAAF}" dt="2024-01-26T13:18:32.246" v="7786" actId="20577"/>
          <ac:spMkLst>
            <pc:docMk/>
            <pc:sldMk cId="3326717010" sldId="2147480301"/>
            <ac:spMk id="2063" creationId="{4DF2ED52-D010-02E1-4792-9CB7442D768B}"/>
          </ac:spMkLst>
        </pc:spChg>
        <pc:spChg chg="add mod">
          <ac:chgData name="Cyprien ARETHUSE" userId="abd46b16-7bf0-4c01-a850-92fb83f61f27" providerId="ADAL" clId="{067C7D3F-9573-4B1A-A9B0-3005DA5BAAAF}" dt="2024-01-26T13:18:26.519" v="7785" actId="5793"/>
          <ac:spMkLst>
            <pc:docMk/>
            <pc:sldMk cId="3326717010" sldId="2147480301"/>
            <ac:spMk id="2064" creationId="{1FA5BFC5-7A5D-BA3A-215B-2A6DBA17FFD5}"/>
          </ac:spMkLst>
        </pc:spChg>
        <pc:spChg chg="add mod">
          <ac:chgData name="Cyprien ARETHUSE" userId="abd46b16-7bf0-4c01-a850-92fb83f61f27" providerId="ADAL" clId="{067C7D3F-9573-4B1A-A9B0-3005DA5BAAAF}" dt="2024-01-26T13:18:42.275" v="7790" actId="20577"/>
          <ac:spMkLst>
            <pc:docMk/>
            <pc:sldMk cId="3326717010" sldId="2147480301"/>
            <ac:spMk id="2065" creationId="{122201C5-14C3-89C7-009F-E9451B47DED5}"/>
          </ac:spMkLst>
        </pc:spChg>
        <pc:spChg chg="add mod">
          <ac:chgData name="Cyprien ARETHUSE" userId="abd46b16-7bf0-4c01-a850-92fb83f61f27" providerId="ADAL" clId="{067C7D3F-9573-4B1A-A9B0-3005DA5BAAAF}" dt="2024-01-26T13:18:47.859" v="7792" actId="20577"/>
          <ac:spMkLst>
            <pc:docMk/>
            <pc:sldMk cId="3326717010" sldId="2147480301"/>
            <ac:spMk id="2066" creationId="{B1F89A0C-AB81-7FB0-4A14-21B10A4B8DBE}"/>
          </ac:spMkLst>
        </pc:spChg>
        <pc:spChg chg="add mod">
          <ac:chgData name="Cyprien ARETHUSE" userId="abd46b16-7bf0-4c01-a850-92fb83f61f27" providerId="ADAL" clId="{067C7D3F-9573-4B1A-A9B0-3005DA5BAAAF}" dt="2024-01-26T13:18:52.303" v="7794" actId="6549"/>
          <ac:spMkLst>
            <pc:docMk/>
            <pc:sldMk cId="3326717010" sldId="2147480301"/>
            <ac:spMk id="2067" creationId="{86E69759-E6AF-2755-60E4-997A332228D2}"/>
          </ac:spMkLst>
        </pc:spChg>
        <pc:spChg chg="add mod">
          <ac:chgData name="Cyprien ARETHUSE" userId="abd46b16-7bf0-4c01-a850-92fb83f61f27" providerId="ADAL" clId="{067C7D3F-9573-4B1A-A9B0-3005DA5BAAAF}" dt="2024-01-26T13:17:52.471" v="7774"/>
          <ac:spMkLst>
            <pc:docMk/>
            <pc:sldMk cId="3326717010" sldId="2147480301"/>
            <ac:spMk id="2068" creationId="{842DF9EC-DF0B-4485-15AF-9ECD97FE6210}"/>
          </ac:spMkLst>
        </pc:spChg>
        <pc:spChg chg="add mod">
          <ac:chgData name="Cyprien ARETHUSE" userId="abd46b16-7bf0-4c01-a850-92fb83f61f27" providerId="ADAL" clId="{067C7D3F-9573-4B1A-A9B0-3005DA5BAAAF}" dt="2024-01-26T13:17:52.471" v="7774"/>
          <ac:spMkLst>
            <pc:docMk/>
            <pc:sldMk cId="3326717010" sldId="2147480301"/>
            <ac:spMk id="2069" creationId="{3FE6230F-8683-9AB7-F699-8B8D543521C6}"/>
          </ac:spMkLst>
        </pc:spChg>
        <pc:spChg chg="add del mod">
          <ac:chgData name="Cyprien ARETHUSE" userId="abd46b16-7bf0-4c01-a850-92fb83f61f27" providerId="ADAL" clId="{067C7D3F-9573-4B1A-A9B0-3005DA5BAAAF}" dt="2024-01-26T13:18:22.780" v="7781" actId="478"/>
          <ac:spMkLst>
            <pc:docMk/>
            <pc:sldMk cId="3326717010" sldId="2147480301"/>
            <ac:spMk id="2070" creationId="{622485D3-FB53-2DC6-0702-D5704A07DDF7}"/>
          </ac:spMkLst>
        </pc:spChg>
        <pc:spChg chg="add del mod">
          <ac:chgData name="Cyprien ARETHUSE" userId="abd46b16-7bf0-4c01-a850-92fb83f61f27" providerId="ADAL" clId="{067C7D3F-9573-4B1A-A9B0-3005DA5BAAAF}" dt="2024-01-26T13:18:22.780" v="7781" actId="478"/>
          <ac:spMkLst>
            <pc:docMk/>
            <pc:sldMk cId="3326717010" sldId="2147480301"/>
            <ac:spMk id="2071" creationId="{534FD89F-9C67-C803-CB9A-EC07C1361C5D}"/>
          </ac:spMkLst>
        </pc:spChg>
        <pc:spChg chg="add del mod">
          <ac:chgData name="Cyprien ARETHUSE" userId="abd46b16-7bf0-4c01-a850-92fb83f61f27" providerId="ADAL" clId="{067C7D3F-9573-4B1A-A9B0-3005DA5BAAAF}" dt="2024-01-26T13:18:02.095" v="7776" actId="478"/>
          <ac:spMkLst>
            <pc:docMk/>
            <pc:sldMk cId="3326717010" sldId="2147480301"/>
            <ac:spMk id="2073" creationId="{E81A772A-94C5-B4DD-E547-92CDBAD6AAEA}"/>
          </ac:spMkLst>
        </pc:spChg>
        <pc:spChg chg="add mod">
          <ac:chgData name="Cyprien ARETHUSE" userId="abd46b16-7bf0-4c01-a850-92fb83f61f27" providerId="ADAL" clId="{067C7D3F-9573-4B1A-A9B0-3005DA5BAAAF}" dt="2024-01-26T13:19:20.320" v="7803"/>
          <ac:spMkLst>
            <pc:docMk/>
            <pc:sldMk cId="3326717010" sldId="2147480301"/>
            <ac:spMk id="2074" creationId="{48DC254F-BB73-CC5B-7270-A18BCAB559AD}"/>
          </ac:spMkLst>
        </pc:spChg>
        <pc:grpChg chg="del">
          <ac:chgData name="Cyprien ARETHUSE" userId="abd46b16-7bf0-4c01-a850-92fb83f61f27" providerId="ADAL" clId="{067C7D3F-9573-4B1A-A9B0-3005DA5BAAAF}" dt="2024-01-26T13:16:54.323" v="7765" actId="478"/>
          <ac:grpSpMkLst>
            <pc:docMk/>
            <pc:sldMk cId="3326717010" sldId="2147480301"/>
            <ac:grpSpMk id="10" creationId="{66E1A525-C9F1-7F5F-EA81-7AFCEC4F1529}"/>
          </ac:grpSpMkLst>
        </pc:grpChg>
        <pc:grpChg chg="del">
          <ac:chgData name="Cyprien ARETHUSE" userId="abd46b16-7bf0-4c01-a850-92fb83f61f27" providerId="ADAL" clId="{067C7D3F-9573-4B1A-A9B0-3005DA5BAAAF}" dt="2024-01-26T13:16:54.323" v="7765" actId="478"/>
          <ac:grpSpMkLst>
            <pc:docMk/>
            <pc:sldMk cId="3326717010" sldId="2147480301"/>
            <ac:grpSpMk id="21" creationId="{D53D810F-9669-B73B-8B2C-76CE74145074}"/>
          </ac:grpSpMkLst>
        </pc:grpChg>
        <pc:grpChg chg="del">
          <ac:chgData name="Cyprien ARETHUSE" userId="abd46b16-7bf0-4c01-a850-92fb83f61f27" providerId="ADAL" clId="{067C7D3F-9573-4B1A-A9B0-3005DA5BAAAF}" dt="2024-01-26T13:16:54.323" v="7765" actId="478"/>
          <ac:grpSpMkLst>
            <pc:docMk/>
            <pc:sldMk cId="3326717010" sldId="2147480301"/>
            <ac:grpSpMk id="29" creationId="{3C061A72-0290-1558-235A-2F385797936D}"/>
          </ac:grpSpMkLst>
        </pc:grpChg>
        <pc:grpChg chg="del">
          <ac:chgData name="Cyprien ARETHUSE" userId="abd46b16-7bf0-4c01-a850-92fb83f61f27" providerId="ADAL" clId="{067C7D3F-9573-4B1A-A9B0-3005DA5BAAAF}" dt="2024-01-26T13:16:54.323" v="7765" actId="478"/>
          <ac:grpSpMkLst>
            <pc:docMk/>
            <pc:sldMk cId="3326717010" sldId="2147480301"/>
            <ac:grpSpMk id="35" creationId="{D8AF84BD-4B72-8DD7-F35D-71EEF837C8C5}"/>
          </ac:grpSpMkLst>
        </pc:grpChg>
        <pc:grpChg chg="add mod">
          <ac:chgData name="Cyprien ARETHUSE" userId="abd46b16-7bf0-4c01-a850-92fb83f61f27" providerId="ADAL" clId="{067C7D3F-9573-4B1A-A9B0-3005DA5BAAAF}" dt="2024-01-26T13:17:52.471" v="7774"/>
          <ac:grpSpMkLst>
            <pc:docMk/>
            <pc:sldMk cId="3326717010" sldId="2147480301"/>
            <ac:grpSpMk id="49" creationId="{67A81DF9-D8CF-AB40-4972-A0E69A5B1589}"/>
          </ac:grpSpMkLst>
        </pc:grpChg>
        <pc:grpChg chg="mod">
          <ac:chgData name="Cyprien ARETHUSE" userId="abd46b16-7bf0-4c01-a850-92fb83f61f27" providerId="ADAL" clId="{067C7D3F-9573-4B1A-A9B0-3005DA5BAAAF}" dt="2024-01-26T13:17:52.471" v="7774"/>
          <ac:grpSpMkLst>
            <pc:docMk/>
            <pc:sldMk cId="3326717010" sldId="2147480301"/>
            <ac:grpSpMk id="52" creationId="{18F1554E-2F82-CC10-EBF9-0045036F6CF7}"/>
          </ac:grpSpMkLst>
        </pc:grpChg>
        <pc:grpChg chg="add mod">
          <ac:chgData name="Cyprien ARETHUSE" userId="abd46b16-7bf0-4c01-a850-92fb83f61f27" providerId="ADAL" clId="{067C7D3F-9573-4B1A-A9B0-3005DA5BAAAF}" dt="2024-01-26T13:17:52.471" v="7774"/>
          <ac:grpSpMkLst>
            <pc:docMk/>
            <pc:sldMk cId="3326717010" sldId="2147480301"/>
            <ac:grpSpMk id="55" creationId="{9D793113-2D8D-48E7-A6FA-A184B6141EAE}"/>
          </ac:grpSpMkLst>
        </pc:grpChg>
        <pc:grpChg chg="mod">
          <ac:chgData name="Cyprien ARETHUSE" userId="abd46b16-7bf0-4c01-a850-92fb83f61f27" providerId="ADAL" clId="{067C7D3F-9573-4B1A-A9B0-3005DA5BAAAF}" dt="2024-01-26T13:17:52.471" v="7774"/>
          <ac:grpSpMkLst>
            <pc:docMk/>
            <pc:sldMk cId="3326717010" sldId="2147480301"/>
            <ac:grpSpMk id="58" creationId="{3A3C4FBC-3BD1-C485-1F13-2FA5E9A1588B}"/>
          </ac:grpSpMkLst>
        </pc:grpChg>
        <pc:grpChg chg="add mod">
          <ac:chgData name="Cyprien ARETHUSE" userId="abd46b16-7bf0-4c01-a850-92fb83f61f27" providerId="ADAL" clId="{067C7D3F-9573-4B1A-A9B0-3005DA5BAAAF}" dt="2024-01-26T13:17:52.471" v="7774"/>
          <ac:grpSpMkLst>
            <pc:docMk/>
            <pc:sldMk cId="3326717010" sldId="2147480301"/>
            <ac:grpSpMk id="61" creationId="{7E2C8FB5-8B20-1297-C5FE-8989DF506D41}"/>
          </ac:grpSpMkLst>
        </pc:grpChg>
        <pc:grpChg chg="mod">
          <ac:chgData name="Cyprien ARETHUSE" userId="abd46b16-7bf0-4c01-a850-92fb83f61f27" providerId="ADAL" clId="{067C7D3F-9573-4B1A-A9B0-3005DA5BAAAF}" dt="2024-01-26T13:17:52.471" v="7774"/>
          <ac:grpSpMkLst>
            <pc:docMk/>
            <pc:sldMk cId="3326717010" sldId="2147480301"/>
            <ac:grpSpMk id="2048" creationId="{34053FEE-7D7B-3265-459E-A098318CE751}"/>
          </ac:grpSpMkLst>
        </pc:grpChg>
        <pc:grpChg chg="add mod">
          <ac:chgData name="Cyprien ARETHUSE" userId="abd46b16-7bf0-4c01-a850-92fb83f61f27" providerId="ADAL" clId="{067C7D3F-9573-4B1A-A9B0-3005DA5BAAAF}" dt="2024-01-26T13:17:52.471" v="7774"/>
          <ac:grpSpMkLst>
            <pc:docMk/>
            <pc:sldMk cId="3326717010" sldId="2147480301"/>
            <ac:grpSpMk id="2052" creationId="{FFC1D5B2-6A37-B692-886C-7336B8FC9757}"/>
          </ac:grpSpMkLst>
        </pc:grpChg>
        <pc:grpChg chg="mod">
          <ac:chgData name="Cyprien ARETHUSE" userId="abd46b16-7bf0-4c01-a850-92fb83f61f27" providerId="ADAL" clId="{067C7D3F-9573-4B1A-A9B0-3005DA5BAAAF}" dt="2024-01-26T13:17:52.471" v="7774"/>
          <ac:grpSpMkLst>
            <pc:docMk/>
            <pc:sldMk cId="3326717010" sldId="2147480301"/>
            <ac:grpSpMk id="2055" creationId="{3175D364-C6A2-D977-7016-6C3255D4F9F4}"/>
          </ac:grpSpMkLst>
        </pc:grpChg>
        <pc:picChg chg="mod">
          <ac:chgData name="Cyprien ARETHUSE" userId="abd46b16-7bf0-4c01-a850-92fb83f61f27" providerId="ADAL" clId="{067C7D3F-9573-4B1A-A9B0-3005DA5BAAAF}" dt="2024-01-26T13:17:52.471" v="7774"/>
          <ac:picMkLst>
            <pc:docMk/>
            <pc:sldMk cId="3326717010" sldId="2147480301"/>
            <ac:picMk id="54" creationId="{AC35346B-D08D-5B3C-C135-6AD7154D8857}"/>
          </ac:picMkLst>
        </pc:picChg>
        <pc:picChg chg="mod">
          <ac:chgData name="Cyprien ARETHUSE" userId="abd46b16-7bf0-4c01-a850-92fb83f61f27" providerId="ADAL" clId="{067C7D3F-9573-4B1A-A9B0-3005DA5BAAAF}" dt="2024-01-26T13:17:52.471" v="7774"/>
          <ac:picMkLst>
            <pc:docMk/>
            <pc:sldMk cId="3326717010" sldId="2147480301"/>
            <ac:picMk id="60" creationId="{528D8B1C-716C-B765-255B-3092303C69AF}"/>
          </ac:picMkLst>
        </pc:picChg>
        <pc:picChg chg="del">
          <ac:chgData name="Cyprien ARETHUSE" userId="abd46b16-7bf0-4c01-a850-92fb83f61f27" providerId="ADAL" clId="{067C7D3F-9573-4B1A-A9B0-3005DA5BAAAF}" dt="2024-01-26T13:16:54.323" v="7765" actId="478"/>
          <ac:picMkLst>
            <pc:docMk/>
            <pc:sldMk cId="3326717010" sldId="2147480301"/>
            <ac:picMk id="2050" creationId="{2F236217-CD43-8683-3069-8BBDD41E8D9D}"/>
          </ac:picMkLst>
        </pc:picChg>
        <pc:picChg chg="mod">
          <ac:chgData name="Cyprien ARETHUSE" userId="abd46b16-7bf0-4c01-a850-92fb83f61f27" providerId="ADAL" clId="{067C7D3F-9573-4B1A-A9B0-3005DA5BAAAF}" dt="2024-01-26T13:17:52.471" v="7774"/>
          <ac:picMkLst>
            <pc:docMk/>
            <pc:sldMk cId="3326717010" sldId="2147480301"/>
            <ac:picMk id="2051" creationId="{3F7155F5-8625-603F-25A6-F3BD2A161012}"/>
          </ac:picMkLst>
        </pc:picChg>
        <pc:picChg chg="mod">
          <ac:chgData name="Cyprien ARETHUSE" userId="abd46b16-7bf0-4c01-a850-92fb83f61f27" providerId="ADAL" clId="{067C7D3F-9573-4B1A-A9B0-3005DA5BAAAF}" dt="2024-01-26T13:17:52.471" v="7774"/>
          <ac:picMkLst>
            <pc:docMk/>
            <pc:sldMk cId="3326717010" sldId="2147480301"/>
            <ac:picMk id="2057" creationId="{4C08647E-A60E-D5D8-0BCA-5056E6F65713}"/>
          </ac:picMkLst>
        </pc:picChg>
        <pc:cxnChg chg="del">
          <ac:chgData name="Cyprien ARETHUSE" userId="abd46b16-7bf0-4c01-a850-92fb83f61f27" providerId="ADAL" clId="{067C7D3F-9573-4B1A-A9B0-3005DA5BAAAF}" dt="2024-01-26T13:16:54.323" v="7765" actId="478"/>
          <ac:cxnSpMkLst>
            <pc:docMk/>
            <pc:sldMk cId="3326717010" sldId="2147480301"/>
            <ac:cxnSpMk id="8" creationId="{04EC9B46-C6B1-0942-DEB5-038EB4E856B0}"/>
          </ac:cxnSpMkLst>
        </pc:cxnChg>
        <pc:cxnChg chg="del">
          <ac:chgData name="Cyprien ARETHUSE" userId="abd46b16-7bf0-4c01-a850-92fb83f61f27" providerId="ADAL" clId="{067C7D3F-9573-4B1A-A9B0-3005DA5BAAAF}" dt="2024-01-26T13:16:54.323" v="7765" actId="478"/>
          <ac:cxnSpMkLst>
            <pc:docMk/>
            <pc:sldMk cId="3326717010" sldId="2147480301"/>
            <ac:cxnSpMk id="28" creationId="{37D3AFF1-8BCE-0BD2-7A8D-CB78C16A18A3}"/>
          </ac:cxnSpMkLst>
        </pc:cxnChg>
        <pc:cxnChg chg="del">
          <ac:chgData name="Cyprien ARETHUSE" userId="abd46b16-7bf0-4c01-a850-92fb83f61f27" providerId="ADAL" clId="{067C7D3F-9573-4B1A-A9B0-3005DA5BAAAF}" dt="2024-01-26T13:16:54.323" v="7765" actId="478"/>
          <ac:cxnSpMkLst>
            <pc:docMk/>
            <pc:sldMk cId="3326717010" sldId="2147480301"/>
            <ac:cxnSpMk id="43" creationId="{58C0784D-B077-CFD8-AD67-5DB2D7376E0C}"/>
          </ac:cxnSpMkLst>
        </pc:cxnChg>
        <pc:cxnChg chg="del">
          <ac:chgData name="Cyprien ARETHUSE" userId="abd46b16-7bf0-4c01-a850-92fb83f61f27" providerId="ADAL" clId="{067C7D3F-9573-4B1A-A9B0-3005DA5BAAAF}" dt="2024-01-26T13:16:54.323" v="7765" actId="478"/>
          <ac:cxnSpMkLst>
            <pc:docMk/>
            <pc:sldMk cId="3326717010" sldId="2147480301"/>
            <ac:cxnSpMk id="44" creationId="{801662C8-F1E9-CA4B-6B38-6275BABD8164}"/>
          </ac:cxnSpMkLst>
        </pc:cxnChg>
      </pc:sldChg>
      <pc:sldChg chg="addSp delSp modSp add mod">
        <pc:chgData name="Cyprien ARETHUSE" userId="abd46b16-7bf0-4c01-a850-92fb83f61f27" providerId="ADAL" clId="{067C7D3F-9573-4B1A-A9B0-3005DA5BAAAF}" dt="2024-02-01T17:13:23.558" v="15333" actId="478"/>
        <pc:sldMkLst>
          <pc:docMk/>
          <pc:sldMk cId="1688075584" sldId="2147480302"/>
        </pc:sldMkLst>
        <pc:spChg chg="del">
          <ac:chgData name="Cyprien ARETHUSE" userId="abd46b16-7bf0-4c01-a850-92fb83f61f27" providerId="ADAL" clId="{067C7D3F-9573-4B1A-A9B0-3005DA5BAAAF}" dt="2024-01-26T13:17:18.854" v="7770" actId="478"/>
          <ac:spMkLst>
            <pc:docMk/>
            <pc:sldMk cId="1688075584" sldId="2147480302"/>
            <ac:spMk id="2" creationId="{D84006B2-0918-7564-72A3-C634E9BE11AB}"/>
          </ac:spMkLst>
        </pc:spChg>
        <pc:spChg chg="add mod">
          <ac:chgData name="Cyprien ARETHUSE" userId="abd46b16-7bf0-4c01-a850-92fb83f61f27" providerId="ADAL" clId="{067C7D3F-9573-4B1A-A9B0-3005DA5BAAAF}" dt="2024-01-26T13:17:08.441" v="7768"/>
          <ac:spMkLst>
            <pc:docMk/>
            <pc:sldMk cId="1688075584" sldId="2147480302"/>
            <ac:spMk id="3" creationId="{1DD85468-970B-4013-D370-EA2A4D5D1BA1}"/>
          </ac:spMkLst>
        </pc:spChg>
        <pc:spChg chg="add mod">
          <ac:chgData name="Cyprien ARETHUSE" userId="abd46b16-7bf0-4c01-a850-92fb83f61f27" providerId="ADAL" clId="{067C7D3F-9573-4B1A-A9B0-3005DA5BAAAF}" dt="2024-01-26T13:19:13.030" v="7801" actId="5793"/>
          <ac:spMkLst>
            <pc:docMk/>
            <pc:sldMk cId="1688075584" sldId="2147480302"/>
            <ac:spMk id="4" creationId="{B45A4892-FF4B-57AE-B1BE-8B25B579B799}"/>
          </ac:spMkLst>
        </pc:spChg>
        <pc:spChg chg="add mod">
          <ac:chgData name="Cyprien ARETHUSE" userId="abd46b16-7bf0-4c01-a850-92fb83f61f27" providerId="ADAL" clId="{067C7D3F-9573-4B1A-A9B0-3005DA5BAAAF}" dt="2024-01-26T13:17:08.441" v="7768"/>
          <ac:spMkLst>
            <pc:docMk/>
            <pc:sldMk cId="1688075584" sldId="2147480302"/>
            <ac:spMk id="5" creationId="{A9805C1D-147B-B4B0-986F-E6803E8936D2}"/>
          </ac:spMkLst>
        </pc:spChg>
        <pc:spChg chg="add mod">
          <ac:chgData name="Cyprien ARETHUSE" userId="abd46b16-7bf0-4c01-a850-92fb83f61f27" providerId="ADAL" clId="{067C7D3F-9573-4B1A-A9B0-3005DA5BAAAF}" dt="2024-01-26T13:17:08.441" v="7768"/>
          <ac:spMkLst>
            <pc:docMk/>
            <pc:sldMk cId="1688075584" sldId="2147480302"/>
            <ac:spMk id="6" creationId="{22C78D11-37A1-CDCF-93E9-E62129580193}"/>
          </ac:spMkLst>
        </pc:spChg>
        <pc:spChg chg="add mod">
          <ac:chgData name="Cyprien ARETHUSE" userId="abd46b16-7bf0-4c01-a850-92fb83f61f27" providerId="ADAL" clId="{067C7D3F-9573-4B1A-A9B0-3005DA5BAAAF}" dt="2024-01-26T13:17:08.441" v="7768"/>
          <ac:spMkLst>
            <pc:docMk/>
            <pc:sldMk cId="1688075584" sldId="2147480302"/>
            <ac:spMk id="7" creationId="{A1F8B092-9CD0-5DD6-A0A1-297DEFEA9E4F}"/>
          </ac:spMkLst>
        </pc:spChg>
        <pc:spChg chg="add mod">
          <ac:chgData name="Cyprien ARETHUSE" userId="abd46b16-7bf0-4c01-a850-92fb83f61f27" providerId="ADAL" clId="{067C7D3F-9573-4B1A-A9B0-3005DA5BAAAF}" dt="2024-01-26T13:17:08.441" v="7768"/>
          <ac:spMkLst>
            <pc:docMk/>
            <pc:sldMk cId="1688075584" sldId="2147480302"/>
            <ac:spMk id="8" creationId="{4F4FFC49-FB2E-DCA5-2E6C-FDE496AEE99A}"/>
          </ac:spMkLst>
        </pc:spChg>
        <pc:spChg chg="add mod">
          <ac:chgData name="Cyprien ARETHUSE" userId="abd46b16-7bf0-4c01-a850-92fb83f61f27" providerId="ADAL" clId="{067C7D3F-9573-4B1A-A9B0-3005DA5BAAAF}" dt="2024-01-26T13:17:08.441" v="7768"/>
          <ac:spMkLst>
            <pc:docMk/>
            <pc:sldMk cId="1688075584" sldId="2147480302"/>
            <ac:spMk id="9" creationId="{66EB49D6-BB51-7D45-D375-8A151FDF5E56}"/>
          </ac:spMkLst>
        </pc:spChg>
        <pc:spChg chg="add mod">
          <ac:chgData name="Cyprien ARETHUSE" userId="abd46b16-7bf0-4c01-a850-92fb83f61f27" providerId="ADAL" clId="{067C7D3F-9573-4B1A-A9B0-3005DA5BAAAF}" dt="2024-01-26T13:17:08.441" v="7768"/>
          <ac:spMkLst>
            <pc:docMk/>
            <pc:sldMk cId="1688075584" sldId="2147480302"/>
            <ac:spMk id="10" creationId="{D14BB2B0-040E-3510-DFE5-855F08829352}"/>
          </ac:spMkLst>
        </pc:spChg>
        <pc:spChg chg="add mod">
          <ac:chgData name="Cyprien ARETHUSE" userId="abd46b16-7bf0-4c01-a850-92fb83f61f27" providerId="ADAL" clId="{067C7D3F-9573-4B1A-A9B0-3005DA5BAAAF}" dt="2024-01-26T13:17:08.441" v="7768"/>
          <ac:spMkLst>
            <pc:docMk/>
            <pc:sldMk cId="1688075584" sldId="2147480302"/>
            <ac:spMk id="11" creationId="{BAA3DDC7-5320-E950-E89D-4CD10B5E9099}"/>
          </ac:spMkLst>
        </pc:spChg>
        <pc:spChg chg="mod">
          <ac:chgData name="Cyprien ARETHUSE" userId="abd46b16-7bf0-4c01-a850-92fb83f61f27" providerId="ADAL" clId="{067C7D3F-9573-4B1A-A9B0-3005DA5BAAAF}" dt="2024-02-01T16:52:18.080" v="15076" actId="555"/>
          <ac:spMkLst>
            <pc:docMk/>
            <pc:sldMk cId="1688075584" sldId="2147480302"/>
            <ac:spMk id="12" creationId="{030457D7-116C-A092-F4E3-4C5F1D9BF5F5}"/>
          </ac:spMkLst>
        </pc:spChg>
        <pc:spChg chg="add mod">
          <ac:chgData name="Cyprien ARETHUSE" userId="abd46b16-7bf0-4c01-a850-92fb83f61f27" providerId="ADAL" clId="{067C7D3F-9573-4B1A-A9B0-3005DA5BAAAF}" dt="2024-01-26T13:17:08.441" v="7768"/>
          <ac:spMkLst>
            <pc:docMk/>
            <pc:sldMk cId="1688075584" sldId="2147480302"/>
            <ac:spMk id="12" creationId="{748E64C8-4429-B3A9-1B63-62F518C01507}"/>
          </ac:spMkLst>
        </pc:spChg>
        <pc:spChg chg="add mod">
          <ac:chgData name="Cyprien ARETHUSE" userId="abd46b16-7bf0-4c01-a850-92fb83f61f27" providerId="ADAL" clId="{067C7D3F-9573-4B1A-A9B0-3005DA5BAAAF}" dt="2024-01-26T13:17:08.441" v="7768"/>
          <ac:spMkLst>
            <pc:docMk/>
            <pc:sldMk cId="1688075584" sldId="2147480302"/>
            <ac:spMk id="13" creationId="{AD606E6B-2671-C8FD-D5F5-313B98829C5E}"/>
          </ac:spMkLst>
        </pc:spChg>
        <pc:spChg chg="add mod">
          <ac:chgData name="Cyprien ARETHUSE" userId="abd46b16-7bf0-4c01-a850-92fb83f61f27" providerId="ADAL" clId="{067C7D3F-9573-4B1A-A9B0-3005DA5BAAAF}" dt="2024-01-26T13:17:08.441" v="7768"/>
          <ac:spMkLst>
            <pc:docMk/>
            <pc:sldMk cId="1688075584" sldId="2147480302"/>
            <ac:spMk id="14" creationId="{6230212D-4CFD-1D53-6B05-4E1206D94A3F}"/>
          </ac:spMkLst>
        </pc:spChg>
        <pc:spChg chg="add mod">
          <ac:chgData name="Cyprien ARETHUSE" userId="abd46b16-7bf0-4c01-a850-92fb83f61f27" providerId="ADAL" clId="{067C7D3F-9573-4B1A-A9B0-3005DA5BAAAF}" dt="2024-01-26T13:17:08.441" v="7768"/>
          <ac:spMkLst>
            <pc:docMk/>
            <pc:sldMk cId="1688075584" sldId="2147480302"/>
            <ac:spMk id="15" creationId="{758E6134-039B-0297-664A-2087C54C2D7E}"/>
          </ac:spMkLst>
        </pc:spChg>
        <pc:spChg chg="add mod">
          <ac:chgData name="Cyprien ARETHUSE" userId="abd46b16-7bf0-4c01-a850-92fb83f61f27" providerId="ADAL" clId="{067C7D3F-9573-4B1A-A9B0-3005DA5BAAAF}" dt="2024-01-26T13:17:08.441" v="7768"/>
          <ac:spMkLst>
            <pc:docMk/>
            <pc:sldMk cId="1688075584" sldId="2147480302"/>
            <ac:spMk id="16" creationId="{16E62982-8123-09D1-FCC1-AC82D91BBB42}"/>
          </ac:spMkLst>
        </pc:spChg>
        <pc:spChg chg="add mod">
          <ac:chgData name="Cyprien ARETHUSE" userId="abd46b16-7bf0-4c01-a850-92fb83f61f27" providerId="ADAL" clId="{067C7D3F-9573-4B1A-A9B0-3005DA5BAAAF}" dt="2024-01-26T13:17:08.441" v="7768"/>
          <ac:spMkLst>
            <pc:docMk/>
            <pc:sldMk cId="1688075584" sldId="2147480302"/>
            <ac:spMk id="17" creationId="{1B52987F-16C6-94A2-FA64-00CBDF833CC2}"/>
          </ac:spMkLst>
        </pc:spChg>
        <pc:spChg chg="add mod">
          <ac:chgData name="Cyprien ARETHUSE" userId="abd46b16-7bf0-4c01-a850-92fb83f61f27" providerId="ADAL" clId="{067C7D3F-9573-4B1A-A9B0-3005DA5BAAAF}" dt="2024-01-26T13:17:08.441" v="7768"/>
          <ac:spMkLst>
            <pc:docMk/>
            <pc:sldMk cId="1688075584" sldId="2147480302"/>
            <ac:spMk id="18" creationId="{A2DB48AD-5169-A000-6CD4-6D9172055D1D}"/>
          </ac:spMkLst>
        </pc:spChg>
        <pc:spChg chg="add mod">
          <ac:chgData name="Cyprien ARETHUSE" userId="abd46b16-7bf0-4c01-a850-92fb83f61f27" providerId="ADAL" clId="{067C7D3F-9573-4B1A-A9B0-3005DA5BAAAF}" dt="2024-01-26T13:17:08.441" v="7768"/>
          <ac:spMkLst>
            <pc:docMk/>
            <pc:sldMk cId="1688075584" sldId="2147480302"/>
            <ac:spMk id="19" creationId="{ECCA6F3B-9E7D-EB6C-286A-FAC228A1064D}"/>
          </ac:spMkLst>
        </pc:spChg>
        <pc:spChg chg="add mod">
          <ac:chgData name="Cyprien ARETHUSE" userId="abd46b16-7bf0-4c01-a850-92fb83f61f27" providerId="ADAL" clId="{067C7D3F-9573-4B1A-A9B0-3005DA5BAAAF}" dt="2024-01-26T13:17:08.441" v="7768"/>
          <ac:spMkLst>
            <pc:docMk/>
            <pc:sldMk cId="1688075584" sldId="2147480302"/>
            <ac:spMk id="20" creationId="{3943277C-F67A-08B7-FF20-0733C8093222}"/>
          </ac:spMkLst>
        </pc:spChg>
        <pc:spChg chg="add mod">
          <ac:chgData name="Cyprien ARETHUSE" userId="abd46b16-7bf0-4c01-a850-92fb83f61f27" providerId="ADAL" clId="{067C7D3F-9573-4B1A-A9B0-3005DA5BAAAF}" dt="2024-01-26T13:17:08.441" v="7768"/>
          <ac:spMkLst>
            <pc:docMk/>
            <pc:sldMk cId="1688075584" sldId="2147480302"/>
            <ac:spMk id="21" creationId="{E9784446-C191-467E-0CEF-A3A1E20EE208}"/>
          </ac:spMkLst>
        </pc:spChg>
        <pc:spChg chg="add mod">
          <ac:chgData name="Cyprien ARETHUSE" userId="abd46b16-7bf0-4c01-a850-92fb83f61f27" providerId="ADAL" clId="{067C7D3F-9573-4B1A-A9B0-3005DA5BAAAF}" dt="2024-01-26T13:17:08.441" v="7768"/>
          <ac:spMkLst>
            <pc:docMk/>
            <pc:sldMk cId="1688075584" sldId="2147480302"/>
            <ac:spMk id="22" creationId="{DA6D0126-8232-B6F2-082B-A0947BC49EC4}"/>
          </ac:spMkLst>
        </pc:spChg>
        <pc:spChg chg="mod">
          <ac:chgData name="Cyprien ARETHUSE" userId="abd46b16-7bf0-4c01-a850-92fb83f61f27" providerId="ADAL" clId="{067C7D3F-9573-4B1A-A9B0-3005DA5BAAAF}" dt="2024-02-01T16:54:41.797" v="15143" actId="1037"/>
          <ac:spMkLst>
            <pc:docMk/>
            <pc:sldMk cId="1688075584" sldId="2147480302"/>
            <ac:spMk id="26" creationId="{061365BA-2672-7504-0BC8-FB571E4CD036}"/>
          </ac:spMkLst>
        </pc:spChg>
        <pc:spChg chg="mod">
          <ac:chgData name="Cyprien ARETHUSE" userId="abd46b16-7bf0-4c01-a850-92fb83f61f27" providerId="ADAL" clId="{067C7D3F-9573-4B1A-A9B0-3005DA5BAAAF}" dt="2024-02-01T16:53:22.490" v="15096" actId="555"/>
          <ac:spMkLst>
            <pc:docMk/>
            <pc:sldMk cId="1688075584" sldId="2147480302"/>
            <ac:spMk id="33" creationId="{A1654466-0E14-27E8-5018-2461CDD59461}"/>
          </ac:spMkLst>
        </pc:spChg>
        <pc:spChg chg="mod">
          <ac:chgData name="Cyprien ARETHUSE" userId="abd46b16-7bf0-4c01-a850-92fb83f61f27" providerId="ADAL" clId="{067C7D3F-9573-4B1A-A9B0-3005DA5BAAAF}" dt="2024-02-01T09:45:18.779" v="11046" actId="20577"/>
          <ac:spMkLst>
            <pc:docMk/>
            <pc:sldMk cId="1688075584" sldId="2147480302"/>
            <ac:spMk id="35" creationId="{0951FF4B-188B-7DEB-8131-71D2405ADD01}"/>
          </ac:spMkLst>
        </pc:spChg>
        <pc:spChg chg="mod">
          <ac:chgData name="Cyprien ARETHUSE" userId="abd46b16-7bf0-4c01-a850-92fb83f61f27" providerId="ADAL" clId="{067C7D3F-9573-4B1A-A9B0-3005DA5BAAAF}" dt="2024-02-01T16:49:57.575" v="15016" actId="554"/>
          <ac:spMkLst>
            <pc:docMk/>
            <pc:sldMk cId="1688075584" sldId="2147480302"/>
            <ac:spMk id="36" creationId="{E9E175A2-C73C-AABD-A739-04B1DE268FF2}"/>
          </ac:spMkLst>
        </pc:spChg>
        <pc:spChg chg="mod">
          <ac:chgData name="Cyprien ARETHUSE" userId="abd46b16-7bf0-4c01-a850-92fb83f61f27" providerId="ADAL" clId="{067C7D3F-9573-4B1A-A9B0-3005DA5BAAAF}" dt="2024-02-01T16:49:57.575" v="15016" actId="554"/>
          <ac:spMkLst>
            <pc:docMk/>
            <pc:sldMk cId="1688075584" sldId="2147480302"/>
            <ac:spMk id="37" creationId="{349CCB2E-84F0-3A8A-0FCB-9CA4F208CC61}"/>
          </ac:spMkLst>
        </pc:spChg>
        <pc:spChg chg="mod">
          <ac:chgData name="Cyprien ARETHUSE" userId="abd46b16-7bf0-4c01-a850-92fb83f61f27" providerId="ADAL" clId="{067C7D3F-9573-4B1A-A9B0-3005DA5BAAAF}" dt="2024-02-01T16:55:14.412" v="15166" actId="555"/>
          <ac:spMkLst>
            <pc:docMk/>
            <pc:sldMk cId="1688075584" sldId="2147480302"/>
            <ac:spMk id="39" creationId="{218867C9-B999-EF64-1414-3DF24F961137}"/>
          </ac:spMkLst>
        </pc:spChg>
        <pc:spChg chg="mod">
          <ac:chgData name="Cyprien ARETHUSE" userId="abd46b16-7bf0-4c01-a850-92fb83f61f27" providerId="ADAL" clId="{067C7D3F-9573-4B1A-A9B0-3005DA5BAAAF}" dt="2024-02-01T16:52:18.080" v="15076" actId="555"/>
          <ac:spMkLst>
            <pc:docMk/>
            <pc:sldMk cId="1688075584" sldId="2147480302"/>
            <ac:spMk id="40" creationId="{B8806870-0E59-80FC-B87E-840D4B353AA5}"/>
          </ac:spMkLst>
        </pc:spChg>
        <pc:spChg chg="mod">
          <ac:chgData name="Cyprien ARETHUSE" userId="abd46b16-7bf0-4c01-a850-92fb83f61f27" providerId="ADAL" clId="{067C7D3F-9573-4B1A-A9B0-3005DA5BAAAF}" dt="2024-02-01T16:55:14.412" v="15166" actId="555"/>
          <ac:spMkLst>
            <pc:docMk/>
            <pc:sldMk cId="1688075584" sldId="2147480302"/>
            <ac:spMk id="44" creationId="{37FAB019-EC7D-43F1-2256-7BB22DD16542}"/>
          </ac:spMkLst>
        </pc:spChg>
        <pc:spChg chg="mod">
          <ac:chgData name="Cyprien ARETHUSE" userId="abd46b16-7bf0-4c01-a850-92fb83f61f27" providerId="ADAL" clId="{067C7D3F-9573-4B1A-A9B0-3005DA5BAAAF}" dt="2024-02-01T16:53:33.536" v="15098" actId="555"/>
          <ac:spMkLst>
            <pc:docMk/>
            <pc:sldMk cId="1688075584" sldId="2147480302"/>
            <ac:spMk id="46" creationId="{4FE048C3-F106-C914-0163-03D57904C9A6}"/>
          </ac:spMkLst>
        </pc:spChg>
        <pc:spChg chg="mod">
          <ac:chgData name="Cyprien ARETHUSE" userId="abd46b16-7bf0-4c01-a850-92fb83f61f27" providerId="ADAL" clId="{067C7D3F-9573-4B1A-A9B0-3005DA5BAAAF}" dt="2024-02-01T16:54:41.797" v="15143" actId="1037"/>
          <ac:spMkLst>
            <pc:docMk/>
            <pc:sldMk cId="1688075584" sldId="2147480302"/>
            <ac:spMk id="47" creationId="{0B8E7557-7CB1-B5C6-18DC-20166E1E7291}"/>
          </ac:spMkLst>
        </pc:spChg>
        <pc:spChg chg="del mod">
          <ac:chgData name="Cyprien ARETHUSE" userId="abd46b16-7bf0-4c01-a850-92fb83f61f27" providerId="ADAL" clId="{067C7D3F-9573-4B1A-A9B0-3005DA5BAAAF}" dt="2024-02-01T16:48:17.093" v="14964" actId="478"/>
          <ac:spMkLst>
            <pc:docMk/>
            <pc:sldMk cId="1688075584" sldId="2147480302"/>
            <ac:spMk id="48" creationId="{CA330848-ED40-D5AD-4144-CB569E4FC14D}"/>
          </ac:spMkLst>
        </pc:spChg>
        <pc:spChg chg="mod">
          <ac:chgData name="Cyprien ARETHUSE" userId="abd46b16-7bf0-4c01-a850-92fb83f61f27" providerId="ADAL" clId="{067C7D3F-9573-4B1A-A9B0-3005DA5BAAAF}" dt="2024-02-01T16:53:33.536" v="15098" actId="555"/>
          <ac:spMkLst>
            <pc:docMk/>
            <pc:sldMk cId="1688075584" sldId="2147480302"/>
            <ac:spMk id="49" creationId="{2C1D346B-D042-826C-E008-BEB6A4340451}"/>
          </ac:spMkLst>
        </pc:spChg>
        <pc:spChg chg="mod">
          <ac:chgData name="Cyprien ARETHUSE" userId="abd46b16-7bf0-4c01-a850-92fb83f61f27" providerId="ADAL" clId="{067C7D3F-9573-4B1A-A9B0-3005DA5BAAAF}" dt="2024-02-01T16:56:05.222" v="15183" actId="1076"/>
          <ac:spMkLst>
            <pc:docMk/>
            <pc:sldMk cId="1688075584" sldId="2147480302"/>
            <ac:spMk id="50" creationId="{B1E85E31-A2B1-030D-19F8-950922AC070F}"/>
          </ac:spMkLst>
        </pc:spChg>
        <pc:spChg chg="mod">
          <ac:chgData name="Cyprien ARETHUSE" userId="abd46b16-7bf0-4c01-a850-92fb83f61f27" providerId="ADAL" clId="{067C7D3F-9573-4B1A-A9B0-3005DA5BAAAF}" dt="2024-02-01T16:55:57.157" v="15180" actId="1036"/>
          <ac:spMkLst>
            <pc:docMk/>
            <pc:sldMk cId="1688075584" sldId="2147480302"/>
            <ac:spMk id="57" creationId="{784650A3-D0C6-7E41-447C-10EAEAFB6060}"/>
          </ac:spMkLst>
        </pc:spChg>
        <pc:spChg chg="mod">
          <ac:chgData name="Cyprien ARETHUSE" userId="abd46b16-7bf0-4c01-a850-92fb83f61f27" providerId="ADAL" clId="{067C7D3F-9573-4B1A-A9B0-3005DA5BAAAF}" dt="2024-02-01T16:55:57.157" v="15180" actId="1036"/>
          <ac:spMkLst>
            <pc:docMk/>
            <pc:sldMk cId="1688075584" sldId="2147480302"/>
            <ac:spMk id="58" creationId="{70086247-BD41-27F2-CD08-8F9BB939D4A6}"/>
          </ac:spMkLst>
        </pc:spChg>
        <pc:spChg chg="del">
          <ac:chgData name="Cyprien ARETHUSE" userId="abd46b16-7bf0-4c01-a850-92fb83f61f27" providerId="ADAL" clId="{067C7D3F-9573-4B1A-A9B0-3005DA5BAAAF}" dt="2024-02-01T16:48:22.872" v="14965" actId="478"/>
          <ac:spMkLst>
            <pc:docMk/>
            <pc:sldMk cId="1688075584" sldId="2147480302"/>
            <ac:spMk id="59" creationId="{10CC8475-70D0-C097-F0E9-E14A75056703}"/>
          </ac:spMkLst>
        </pc:spChg>
        <pc:spChg chg="mod">
          <ac:chgData name="Cyprien ARETHUSE" userId="abd46b16-7bf0-4c01-a850-92fb83f61f27" providerId="ADAL" clId="{067C7D3F-9573-4B1A-A9B0-3005DA5BAAAF}" dt="2024-02-01T16:55:57.157" v="15180" actId="1036"/>
          <ac:spMkLst>
            <pc:docMk/>
            <pc:sldMk cId="1688075584" sldId="2147480302"/>
            <ac:spMk id="3073" creationId="{33C703C2-3AD3-32E4-5D04-E1416B32781B}"/>
          </ac:spMkLst>
        </pc:spChg>
        <pc:spChg chg="mod">
          <ac:chgData name="Cyprien ARETHUSE" userId="abd46b16-7bf0-4c01-a850-92fb83f61f27" providerId="ADAL" clId="{067C7D3F-9573-4B1A-A9B0-3005DA5BAAAF}" dt="2024-02-01T16:55:57.157" v="15180" actId="1036"/>
          <ac:spMkLst>
            <pc:docMk/>
            <pc:sldMk cId="1688075584" sldId="2147480302"/>
            <ac:spMk id="3077" creationId="{F66A105F-817F-A99F-578A-7018E04C97E6}"/>
          </ac:spMkLst>
        </pc:spChg>
        <pc:spChg chg="mod">
          <ac:chgData name="Cyprien ARETHUSE" userId="abd46b16-7bf0-4c01-a850-92fb83f61f27" providerId="ADAL" clId="{067C7D3F-9573-4B1A-A9B0-3005DA5BAAAF}" dt="2024-02-01T16:56:29.156" v="15190" actId="1038"/>
          <ac:spMkLst>
            <pc:docMk/>
            <pc:sldMk cId="1688075584" sldId="2147480302"/>
            <ac:spMk id="3080" creationId="{183C693B-60C3-33C9-8093-66F3FA8D943E}"/>
          </ac:spMkLst>
        </pc:spChg>
        <pc:spChg chg="mod">
          <ac:chgData name="Cyprien ARETHUSE" userId="abd46b16-7bf0-4c01-a850-92fb83f61f27" providerId="ADAL" clId="{067C7D3F-9573-4B1A-A9B0-3005DA5BAAAF}" dt="2024-02-01T16:53:46.702" v="15101" actId="1076"/>
          <ac:spMkLst>
            <pc:docMk/>
            <pc:sldMk cId="1688075584" sldId="2147480302"/>
            <ac:spMk id="3105" creationId="{4C00C1B2-BFF5-007E-6628-81ECBF184AD8}"/>
          </ac:spMkLst>
        </pc:spChg>
        <pc:spChg chg="mod">
          <ac:chgData name="Cyprien ARETHUSE" userId="abd46b16-7bf0-4c01-a850-92fb83f61f27" providerId="ADAL" clId="{067C7D3F-9573-4B1A-A9B0-3005DA5BAAAF}" dt="2024-02-01T16:56:01.070" v="15182" actId="1076"/>
          <ac:spMkLst>
            <pc:docMk/>
            <pc:sldMk cId="1688075584" sldId="2147480302"/>
            <ac:spMk id="3106" creationId="{8D4ADADB-587E-DDF2-60C8-474982841F62}"/>
          </ac:spMkLst>
        </pc:spChg>
        <pc:spChg chg="add mod">
          <ac:chgData name="Cyprien ARETHUSE" userId="abd46b16-7bf0-4c01-a850-92fb83f61f27" providerId="ADAL" clId="{067C7D3F-9573-4B1A-A9B0-3005DA5BAAAF}" dt="2024-02-01T16:48:13.101" v="14962" actId="20577"/>
          <ac:spMkLst>
            <pc:docMk/>
            <pc:sldMk cId="1688075584" sldId="2147480302"/>
            <ac:spMk id="3140" creationId="{4C27EEC7-1F5C-4C7A-9012-D2BF4A9DF235}"/>
          </ac:spMkLst>
        </pc:spChg>
        <pc:spChg chg="add mod">
          <ac:chgData name="Cyprien ARETHUSE" userId="abd46b16-7bf0-4c01-a850-92fb83f61f27" providerId="ADAL" clId="{067C7D3F-9573-4B1A-A9B0-3005DA5BAAAF}" dt="2024-02-01T16:48:31.302" v="14966" actId="571"/>
          <ac:spMkLst>
            <pc:docMk/>
            <pc:sldMk cId="1688075584" sldId="2147480302"/>
            <ac:spMk id="3142" creationId="{7AF735EA-CA5B-619F-BA35-A901279DF25D}"/>
          </ac:spMkLst>
        </pc:spChg>
        <pc:spChg chg="add mod">
          <ac:chgData name="Cyprien ARETHUSE" userId="abd46b16-7bf0-4c01-a850-92fb83f61f27" providerId="ADAL" clId="{067C7D3F-9573-4B1A-A9B0-3005DA5BAAAF}" dt="2024-02-01T16:56:12.441" v="15185" actId="1036"/>
          <ac:spMkLst>
            <pc:docMk/>
            <pc:sldMk cId="1688075584" sldId="2147480302"/>
            <ac:spMk id="3144" creationId="{4CA89C5F-71B4-85D8-3514-A6CA0D6CB0C6}"/>
          </ac:spMkLst>
        </pc:spChg>
        <pc:spChg chg="add mod">
          <ac:chgData name="Cyprien ARETHUSE" userId="abd46b16-7bf0-4c01-a850-92fb83f61f27" providerId="ADAL" clId="{067C7D3F-9573-4B1A-A9B0-3005DA5BAAAF}" dt="2024-02-01T16:56:12.441" v="15185" actId="1036"/>
          <ac:spMkLst>
            <pc:docMk/>
            <pc:sldMk cId="1688075584" sldId="2147480302"/>
            <ac:spMk id="3146" creationId="{88DCAD43-7380-9267-3E1E-997584430DF0}"/>
          </ac:spMkLst>
        </pc:spChg>
        <pc:spChg chg="del mod">
          <ac:chgData name="Cyprien ARETHUSE" userId="abd46b16-7bf0-4c01-a850-92fb83f61f27" providerId="ADAL" clId="{067C7D3F-9573-4B1A-A9B0-3005DA5BAAAF}" dt="2024-02-01T16:55:16.993" v="15167" actId="478"/>
          <ac:spMkLst>
            <pc:docMk/>
            <pc:sldMk cId="1688075584" sldId="2147480302"/>
            <ac:spMk id="3160" creationId="{DCB63890-06D0-B348-915F-0F66C4749F42}"/>
          </ac:spMkLst>
        </pc:spChg>
        <pc:spChg chg="mod">
          <ac:chgData name="Cyprien ARETHUSE" userId="abd46b16-7bf0-4c01-a850-92fb83f61f27" providerId="ADAL" clId="{067C7D3F-9573-4B1A-A9B0-3005DA5BAAAF}" dt="2024-02-01T16:52:12.769" v="15075" actId="1076"/>
          <ac:spMkLst>
            <pc:docMk/>
            <pc:sldMk cId="1688075584" sldId="2147480302"/>
            <ac:spMk id="3161" creationId="{9D7FB382-38EF-42FC-F5D0-CF9677C86893}"/>
          </ac:spMkLst>
        </pc:spChg>
        <pc:spChg chg="mod">
          <ac:chgData name="Cyprien ARETHUSE" userId="abd46b16-7bf0-4c01-a850-92fb83f61f27" providerId="ADAL" clId="{067C7D3F-9573-4B1A-A9B0-3005DA5BAAAF}" dt="2024-02-01T15:59:08.343" v="14096" actId="1076"/>
          <ac:spMkLst>
            <pc:docMk/>
            <pc:sldMk cId="1688075584" sldId="2147480302"/>
            <ac:spMk id="3165" creationId="{B36D89E9-18DD-18C3-02CE-225D0DEA7BB5}"/>
          </ac:spMkLst>
        </pc:spChg>
        <pc:spChg chg="add mod">
          <ac:chgData name="Cyprien ARETHUSE" userId="abd46b16-7bf0-4c01-a850-92fb83f61f27" providerId="ADAL" clId="{067C7D3F-9573-4B1A-A9B0-3005DA5BAAAF}" dt="2024-02-01T16:56:58.126" v="15211" actId="1038"/>
          <ac:spMkLst>
            <pc:docMk/>
            <pc:sldMk cId="1688075584" sldId="2147480302"/>
            <ac:spMk id="3168" creationId="{CECF6D88-0374-49F7-ACB3-FA62BA6A1408}"/>
          </ac:spMkLst>
        </pc:spChg>
        <pc:spChg chg="add mod">
          <ac:chgData name="Cyprien ARETHUSE" userId="abd46b16-7bf0-4c01-a850-92fb83f61f27" providerId="ADAL" clId="{067C7D3F-9573-4B1A-A9B0-3005DA5BAAAF}" dt="2024-02-01T16:56:42.811" v="15192" actId="1076"/>
          <ac:spMkLst>
            <pc:docMk/>
            <pc:sldMk cId="1688075584" sldId="2147480302"/>
            <ac:spMk id="3170" creationId="{F402BCF7-8EA7-DF10-7FFF-B390909540CD}"/>
          </ac:spMkLst>
        </pc:spChg>
        <pc:picChg chg="mod">
          <ac:chgData name="Cyprien ARETHUSE" userId="abd46b16-7bf0-4c01-a850-92fb83f61f27" providerId="ADAL" clId="{067C7D3F-9573-4B1A-A9B0-3005DA5BAAAF}" dt="2024-02-01T16:53:45.146" v="15100" actId="12788"/>
          <ac:picMkLst>
            <pc:docMk/>
            <pc:sldMk cId="1688075584" sldId="2147480302"/>
            <ac:picMk id="16" creationId="{1241DC60-2A4C-6D36-22E4-315259CC6606}"/>
          </ac:picMkLst>
        </pc:picChg>
        <pc:picChg chg="mod">
          <ac:chgData name="Cyprien ARETHUSE" userId="abd46b16-7bf0-4c01-a850-92fb83f61f27" providerId="ADAL" clId="{067C7D3F-9573-4B1A-A9B0-3005DA5BAAAF}" dt="2024-02-01T16:54:20.699" v="15122" actId="1037"/>
          <ac:picMkLst>
            <pc:docMk/>
            <pc:sldMk cId="1688075584" sldId="2147480302"/>
            <ac:picMk id="27" creationId="{80FDCE6F-F5CA-FA0E-45A3-9D8934862EA8}"/>
          </ac:picMkLst>
        </pc:picChg>
        <pc:picChg chg="mod">
          <ac:chgData name="Cyprien ARETHUSE" userId="abd46b16-7bf0-4c01-a850-92fb83f61f27" providerId="ADAL" clId="{067C7D3F-9573-4B1A-A9B0-3005DA5BAAAF}" dt="2024-02-01T16:52:56.679" v="15079" actId="14100"/>
          <ac:picMkLst>
            <pc:docMk/>
            <pc:sldMk cId="1688075584" sldId="2147480302"/>
            <ac:picMk id="28" creationId="{A9B22746-374E-B15F-07EE-BCFD9D104AC6}"/>
          </ac:picMkLst>
        </pc:picChg>
        <pc:picChg chg="mod">
          <ac:chgData name="Cyprien ARETHUSE" userId="abd46b16-7bf0-4c01-a850-92fb83f61f27" providerId="ADAL" clId="{067C7D3F-9573-4B1A-A9B0-3005DA5BAAAF}" dt="2024-02-01T16:53:45.146" v="15100" actId="12788"/>
          <ac:picMkLst>
            <pc:docMk/>
            <pc:sldMk cId="1688075584" sldId="2147480302"/>
            <ac:picMk id="34" creationId="{DF586CCA-7B0B-6774-12CA-12BF99924BE6}"/>
          </ac:picMkLst>
        </pc:picChg>
        <pc:picChg chg="mod">
          <ac:chgData name="Cyprien ARETHUSE" userId="abd46b16-7bf0-4c01-a850-92fb83f61f27" providerId="ADAL" clId="{067C7D3F-9573-4B1A-A9B0-3005DA5BAAAF}" dt="2024-02-01T16:52:56.679" v="15079" actId="14100"/>
          <ac:picMkLst>
            <pc:docMk/>
            <pc:sldMk cId="1688075584" sldId="2147480302"/>
            <ac:picMk id="41" creationId="{C87C92EF-FFF7-650A-E3CA-0B9C69BC2807}"/>
          </ac:picMkLst>
        </pc:picChg>
        <pc:picChg chg="mod">
          <ac:chgData name="Cyprien ARETHUSE" userId="abd46b16-7bf0-4c01-a850-92fb83f61f27" providerId="ADAL" clId="{067C7D3F-9573-4B1A-A9B0-3005DA5BAAAF}" dt="2024-02-01T16:53:27.267" v="15097" actId="555"/>
          <ac:picMkLst>
            <pc:docMk/>
            <pc:sldMk cId="1688075584" sldId="2147480302"/>
            <ac:picMk id="42" creationId="{D6754AFA-46D6-DECF-5583-3A01EEAFA441}"/>
          </ac:picMkLst>
        </pc:picChg>
        <pc:picChg chg="mod">
          <ac:chgData name="Cyprien ARETHUSE" userId="abd46b16-7bf0-4c01-a850-92fb83f61f27" providerId="ADAL" clId="{067C7D3F-9573-4B1A-A9B0-3005DA5BAAAF}" dt="2024-02-01T16:53:08.016" v="15080" actId="555"/>
          <ac:picMkLst>
            <pc:docMk/>
            <pc:sldMk cId="1688075584" sldId="2147480302"/>
            <ac:picMk id="43" creationId="{46811E38-21E5-76B0-579B-F3D9A049D455}"/>
          </ac:picMkLst>
        </pc:picChg>
        <pc:picChg chg="mod">
          <ac:chgData name="Cyprien ARETHUSE" userId="abd46b16-7bf0-4c01-a850-92fb83f61f27" providerId="ADAL" clId="{067C7D3F-9573-4B1A-A9B0-3005DA5BAAAF}" dt="2024-02-01T16:55:05.907" v="15165" actId="1037"/>
          <ac:picMkLst>
            <pc:docMk/>
            <pc:sldMk cId="1688075584" sldId="2147480302"/>
            <ac:picMk id="45" creationId="{8189CF34-4F44-DD8C-93F8-A8C8B519A925}"/>
          </ac:picMkLst>
        </pc:picChg>
        <pc:picChg chg="mod">
          <ac:chgData name="Cyprien ARETHUSE" userId="abd46b16-7bf0-4c01-a850-92fb83f61f27" providerId="ADAL" clId="{067C7D3F-9573-4B1A-A9B0-3005DA5BAAAF}" dt="2024-02-01T16:55:57.157" v="15180" actId="1036"/>
          <ac:picMkLst>
            <pc:docMk/>
            <pc:sldMk cId="1688075584" sldId="2147480302"/>
            <ac:picMk id="3072" creationId="{7628632D-02F4-A089-ECAE-1BE84F93A33F}"/>
          </ac:picMkLst>
        </pc:picChg>
        <pc:picChg chg="mod">
          <ac:chgData name="Cyprien ARETHUSE" userId="abd46b16-7bf0-4c01-a850-92fb83f61f27" providerId="ADAL" clId="{067C7D3F-9573-4B1A-A9B0-3005DA5BAAAF}" dt="2024-02-01T16:55:57.157" v="15180" actId="1036"/>
          <ac:picMkLst>
            <pc:docMk/>
            <pc:sldMk cId="1688075584" sldId="2147480302"/>
            <ac:picMk id="3074" creationId="{8A1EEE6C-7232-F814-BAB4-8E0D827AFE16}"/>
          </ac:picMkLst>
        </pc:picChg>
        <pc:picChg chg="mod">
          <ac:chgData name="Cyprien ARETHUSE" userId="abd46b16-7bf0-4c01-a850-92fb83f61f27" providerId="ADAL" clId="{067C7D3F-9573-4B1A-A9B0-3005DA5BAAAF}" dt="2024-02-01T16:55:57.157" v="15180" actId="1036"/>
          <ac:picMkLst>
            <pc:docMk/>
            <pc:sldMk cId="1688075584" sldId="2147480302"/>
            <ac:picMk id="3075" creationId="{3F3914D7-620F-76B8-2C8F-E0D0BFBB91BB}"/>
          </ac:picMkLst>
        </pc:picChg>
        <pc:picChg chg="mod">
          <ac:chgData name="Cyprien ARETHUSE" userId="abd46b16-7bf0-4c01-a850-92fb83f61f27" providerId="ADAL" clId="{067C7D3F-9573-4B1A-A9B0-3005DA5BAAAF}" dt="2024-02-01T16:55:57.157" v="15180" actId="1036"/>
          <ac:picMkLst>
            <pc:docMk/>
            <pc:sldMk cId="1688075584" sldId="2147480302"/>
            <ac:picMk id="3076" creationId="{06EF85DA-6355-293E-16F0-586A16D17671}"/>
          </ac:picMkLst>
        </pc:picChg>
        <pc:picChg chg="del">
          <ac:chgData name="Cyprien ARETHUSE" userId="abd46b16-7bf0-4c01-a850-92fb83f61f27" providerId="ADAL" clId="{067C7D3F-9573-4B1A-A9B0-3005DA5BAAAF}" dt="2024-02-01T16:48:22.872" v="14965" actId="478"/>
          <ac:picMkLst>
            <pc:docMk/>
            <pc:sldMk cId="1688075584" sldId="2147480302"/>
            <ac:picMk id="3078" creationId="{20026058-1223-6E97-D660-3FCC235CCE64}"/>
          </ac:picMkLst>
        </pc:picChg>
        <pc:picChg chg="mod">
          <ac:chgData name="Cyprien ARETHUSE" userId="abd46b16-7bf0-4c01-a850-92fb83f61f27" providerId="ADAL" clId="{067C7D3F-9573-4B1A-A9B0-3005DA5BAAAF}" dt="2024-02-01T16:56:29.156" v="15190" actId="1038"/>
          <ac:picMkLst>
            <pc:docMk/>
            <pc:sldMk cId="1688075584" sldId="2147480302"/>
            <ac:picMk id="3079" creationId="{53DA01D3-15B0-C6C0-AF8D-81EF69C349DF}"/>
          </ac:picMkLst>
        </pc:picChg>
        <pc:picChg chg="mod">
          <ac:chgData name="Cyprien ARETHUSE" userId="abd46b16-7bf0-4c01-a850-92fb83f61f27" providerId="ADAL" clId="{067C7D3F-9573-4B1A-A9B0-3005DA5BAAAF}" dt="2024-02-01T16:52:56.679" v="15079" actId="14100"/>
          <ac:picMkLst>
            <pc:docMk/>
            <pc:sldMk cId="1688075584" sldId="2147480302"/>
            <ac:picMk id="3136" creationId="{1649B587-0B7D-B125-3897-D498C4F2D7BF}"/>
          </ac:picMkLst>
        </pc:picChg>
        <pc:picChg chg="add mod">
          <ac:chgData name="Cyprien ARETHUSE" userId="abd46b16-7bf0-4c01-a850-92fb83f61f27" providerId="ADAL" clId="{067C7D3F-9573-4B1A-A9B0-3005DA5BAAAF}" dt="2024-02-01T16:52:56.679" v="15079" actId="14100"/>
          <ac:picMkLst>
            <pc:docMk/>
            <pc:sldMk cId="1688075584" sldId="2147480302"/>
            <ac:picMk id="3141" creationId="{ADB18010-6AF4-306D-4612-1FC1FEDEFECB}"/>
          </ac:picMkLst>
        </pc:picChg>
        <pc:picChg chg="add mod">
          <ac:chgData name="Cyprien ARETHUSE" userId="abd46b16-7bf0-4c01-a850-92fb83f61f27" providerId="ADAL" clId="{067C7D3F-9573-4B1A-A9B0-3005DA5BAAAF}" dt="2024-02-01T16:56:12.441" v="15185" actId="1036"/>
          <ac:picMkLst>
            <pc:docMk/>
            <pc:sldMk cId="1688075584" sldId="2147480302"/>
            <ac:picMk id="3143" creationId="{8AF053D9-FD4C-DDA6-F70E-F7FBE4432334}"/>
          </ac:picMkLst>
        </pc:picChg>
        <pc:picChg chg="add mod">
          <ac:chgData name="Cyprien ARETHUSE" userId="abd46b16-7bf0-4c01-a850-92fb83f61f27" providerId="ADAL" clId="{067C7D3F-9573-4B1A-A9B0-3005DA5BAAAF}" dt="2024-02-01T16:56:12.441" v="15185" actId="1036"/>
          <ac:picMkLst>
            <pc:docMk/>
            <pc:sldMk cId="1688075584" sldId="2147480302"/>
            <ac:picMk id="3145" creationId="{E1C92A26-1B79-C955-7F34-DF6FBA57A646}"/>
          </ac:picMkLst>
        </pc:picChg>
        <pc:picChg chg="add mod">
          <ac:chgData name="Cyprien ARETHUSE" userId="abd46b16-7bf0-4c01-a850-92fb83f61f27" providerId="ADAL" clId="{067C7D3F-9573-4B1A-A9B0-3005DA5BAAAF}" dt="2024-02-01T16:56:42.811" v="15192" actId="1076"/>
          <ac:picMkLst>
            <pc:docMk/>
            <pc:sldMk cId="1688075584" sldId="2147480302"/>
            <ac:picMk id="3169" creationId="{77F1796A-AE6D-F2D7-BBE3-6FC3BADEB7C6}"/>
          </ac:picMkLst>
        </pc:picChg>
        <pc:cxnChg chg="mod">
          <ac:chgData name="Cyprien ARETHUSE" userId="abd46b16-7bf0-4c01-a850-92fb83f61f27" providerId="ADAL" clId="{067C7D3F-9573-4B1A-A9B0-3005DA5BAAAF}" dt="2024-02-01T16:53:55.992" v="15102" actId="14100"/>
          <ac:cxnSpMkLst>
            <pc:docMk/>
            <pc:sldMk cId="1688075584" sldId="2147480302"/>
            <ac:cxnSpMk id="9" creationId="{BED71002-4696-8542-85FB-42657B618D85}"/>
          </ac:cxnSpMkLst>
        </pc:cxnChg>
        <pc:cxnChg chg="mod">
          <ac:chgData name="Cyprien ARETHUSE" userId="abd46b16-7bf0-4c01-a850-92fb83f61f27" providerId="ADAL" clId="{067C7D3F-9573-4B1A-A9B0-3005DA5BAAAF}" dt="2024-02-01T16:53:45.146" v="15100" actId="12788"/>
          <ac:cxnSpMkLst>
            <pc:docMk/>
            <pc:sldMk cId="1688075584" sldId="2147480302"/>
            <ac:cxnSpMk id="10" creationId="{9FBBBE8C-C113-F8BB-9EB5-0787B18515C4}"/>
          </ac:cxnSpMkLst>
        </pc:cxnChg>
        <pc:cxnChg chg="add mod">
          <ac:chgData name="Cyprien ARETHUSE" userId="abd46b16-7bf0-4c01-a850-92fb83f61f27" providerId="ADAL" clId="{067C7D3F-9573-4B1A-A9B0-3005DA5BAAAF}" dt="2024-02-01T16:52:56.679" v="15079" actId="14100"/>
          <ac:cxnSpMkLst>
            <pc:docMk/>
            <pc:sldMk cId="1688075584" sldId="2147480302"/>
            <ac:cxnSpMk id="51" creationId="{06F62BD7-0929-79D2-7607-F3BCD52C5855}"/>
          </ac:cxnSpMkLst>
        </pc:cxnChg>
        <pc:cxnChg chg="mod">
          <ac:chgData name="Cyprien ARETHUSE" userId="abd46b16-7bf0-4c01-a850-92fb83f61f27" providerId="ADAL" clId="{067C7D3F-9573-4B1A-A9B0-3005DA5BAAAF}" dt="2024-02-01T16:52:56.679" v="15079" actId="14100"/>
          <ac:cxnSpMkLst>
            <pc:docMk/>
            <pc:sldMk cId="1688075584" sldId="2147480302"/>
            <ac:cxnSpMk id="3086" creationId="{38C5C80F-3EFB-D38A-EAF7-902C5FCF8D6E}"/>
          </ac:cxnSpMkLst>
        </pc:cxnChg>
        <pc:cxnChg chg="del mod">
          <ac:chgData name="Cyprien ARETHUSE" userId="abd46b16-7bf0-4c01-a850-92fb83f61f27" providerId="ADAL" clId="{067C7D3F-9573-4B1A-A9B0-3005DA5BAAAF}" dt="2024-02-01T16:48:01.107" v="14951" actId="478"/>
          <ac:cxnSpMkLst>
            <pc:docMk/>
            <pc:sldMk cId="1688075584" sldId="2147480302"/>
            <ac:cxnSpMk id="3094" creationId="{D0C4D244-A74E-C167-F4AF-B94EC49ABA06}"/>
          </ac:cxnSpMkLst>
        </pc:cxnChg>
        <pc:cxnChg chg="del mod">
          <ac:chgData name="Cyprien ARETHUSE" userId="abd46b16-7bf0-4c01-a850-92fb83f61f27" providerId="ADAL" clId="{067C7D3F-9573-4B1A-A9B0-3005DA5BAAAF}" dt="2024-02-01T17:13:23.558" v="15333" actId="478"/>
          <ac:cxnSpMkLst>
            <pc:docMk/>
            <pc:sldMk cId="1688075584" sldId="2147480302"/>
            <ac:cxnSpMk id="3097" creationId="{71B78758-B5AD-48DC-1B64-990833AD920F}"/>
          </ac:cxnSpMkLst>
        </pc:cxnChg>
        <pc:cxnChg chg="del mod">
          <ac:chgData name="Cyprien ARETHUSE" userId="abd46b16-7bf0-4c01-a850-92fb83f61f27" providerId="ADAL" clId="{067C7D3F-9573-4B1A-A9B0-3005DA5BAAAF}" dt="2024-02-01T16:48:01.107" v="14951" actId="478"/>
          <ac:cxnSpMkLst>
            <pc:docMk/>
            <pc:sldMk cId="1688075584" sldId="2147480302"/>
            <ac:cxnSpMk id="3100" creationId="{21D040B4-2642-6E64-8E15-8E6D8BAC7C19}"/>
          </ac:cxnSpMkLst>
        </pc:cxnChg>
        <pc:cxnChg chg="mod">
          <ac:chgData name="Cyprien ARETHUSE" userId="abd46b16-7bf0-4c01-a850-92fb83f61f27" providerId="ADAL" clId="{067C7D3F-9573-4B1A-A9B0-3005DA5BAAAF}" dt="2024-02-01T16:54:41.797" v="15143" actId="1037"/>
          <ac:cxnSpMkLst>
            <pc:docMk/>
            <pc:sldMk cId="1688075584" sldId="2147480302"/>
            <ac:cxnSpMk id="3129" creationId="{2F347F9B-2676-F74F-C620-96FD15DEA0DB}"/>
          </ac:cxnSpMkLst>
        </pc:cxnChg>
        <pc:cxnChg chg="add mod">
          <ac:chgData name="Cyprien ARETHUSE" userId="abd46b16-7bf0-4c01-a850-92fb83f61f27" providerId="ADAL" clId="{067C7D3F-9573-4B1A-A9B0-3005DA5BAAAF}" dt="2024-02-01T16:54:20.699" v="15122" actId="1037"/>
          <ac:cxnSpMkLst>
            <pc:docMk/>
            <pc:sldMk cId="1688075584" sldId="2147480302"/>
            <ac:cxnSpMk id="3155" creationId="{ED0D96C0-6EF0-8DA4-BF6A-D0CF0E94DA6A}"/>
          </ac:cxnSpMkLst>
        </pc:cxnChg>
        <pc:cxnChg chg="add mod">
          <ac:chgData name="Cyprien ARETHUSE" userId="abd46b16-7bf0-4c01-a850-92fb83f61f27" providerId="ADAL" clId="{067C7D3F-9573-4B1A-A9B0-3005DA5BAAAF}" dt="2024-02-01T16:54:48.288" v="15146" actId="14100"/>
          <ac:cxnSpMkLst>
            <pc:docMk/>
            <pc:sldMk cId="1688075584" sldId="2147480302"/>
            <ac:cxnSpMk id="3159" creationId="{D15B4BB1-086F-4051-6738-A153BC76D87D}"/>
          </ac:cxnSpMkLst>
        </pc:cxnChg>
        <pc:cxnChg chg="add mod">
          <ac:chgData name="Cyprien ARETHUSE" userId="abd46b16-7bf0-4c01-a850-92fb83f61f27" providerId="ADAL" clId="{067C7D3F-9573-4B1A-A9B0-3005DA5BAAAF}" dt="2024-02-01T16:55:05.907" v="15165" actId="1037"/>
          <ac:cxnSpMkLst>
            <pc:docMk/>
            <pc:sldMk cId="1688075584" sldId="2147480302"/>
            <ac:cxnSpMk id="3164" creationId="{8D50DE36-9B06-6C7F-B968-ABC8173BDED5}"/>
          </ac:cxnSpMkLst>
        </pc:cxnChg>
      </pc:sldChg>
      <pc:sldChg chg="addSp delSp modSp add mod">
        <pc:chgData name="Cyprien ARETHUSE" userId="abd46b16-7bf0-4c01-a850-92fb83f61f27" providerId="ADAL" clId="{067C7D3F-9573-4B1A-A9B0-3005DA5BAAAF}" dt="2024-02-01T17:44:36.962" v="15904" actId="20577"/>
        <pc:sldMkLst>
          <pc:docMk/>
          <pc:sldMk cId="2459109621" sldId="2147480303"/>
        </pc:sldMkLst>
        <pc:spChg chg="add mod">
          <ac:chgData name="Cyprien ARETHUSE" userId="abd46b16-7bf0-4c01-a850-92fb83f61f27" providerId="ADAL" clId="{067C7D3F-9573-4B1A-A9B0-3005DA5BAAAF}" dt="2024-01-26T13:26:12.557" v="7860" actId="1036"/>
          <ac:spMkLst>
            <pc:docMk/>
            <pc:sldMk cId="2459109621" sldId="2147480303"/>
            <ac:spMk id="2" creationId="{4571CE98-744E-AA09-64CC-3BE397816DFC}"/>
          </ac:spMkLst>
        </pc:spChg>
        <pc:spChg chg="del">
          <ac:chgData name="Cyprien ARETHUSE" userId="abd46b16-7bf0-4c01-a850-92fb83f61f27" providerId="ADAL" clId="{067C7D3F-9573-4B1A-A9B0-3005DA5BAAAF}" dt="2024-01-26T13:25:24.054" v="7808" actId="478"/>
          <ac:spMkLst>
            <pc:docMk/>
            <pc:sldMk cId="2459109621" sldId="2147480303"/>
            <ac:spMk id="3" creationId="{1DD85468-970B-4013-D370-EA2A4D5D1BA1}"/>
          </ac:spMkLst>
        </pc:spChg>
        <pc:spChg chg="del">
          <ac:chgData name="Cyprien ARETHUSE" userId="abd46b16-7bf0-4c01-a850-92fb83f61f27" providerId="ADAL" clId="{067C7D3F-9573-4B1A-A9B0-3005DA5BAAAF}" dt="2024-01-26T13:25:24.054" v="7808" actId="478"/>
          <ac:spMkLst>
            <pc:docMk/>
            <pc:sldMk cId="2459109621" sldId="2147480303"/>
            <ac:spMk id="4" creationId="{B45A4892-FF4B-57AE-B1BE-8B25B579B799}"/>
          </ac:spMkLst>
        </pc:spChg>
        <pc:spChg chg="del">
          <ac:chgData name="Cyprien ARETHUSE" userId="abd46b16-7bf0-4c01-a850-92fb83f61f27" providerId="ADAL" clId="{067C7D3F-9573-4B1A-A9B0-3005DA5BAAAF}" dt="2024-01-26T13:25:24.054" v="7808" actId="478"/>
          <ac:spMkLst>
            <pc:docMk/>
            <pc:sldMk cId="2459109621" sldId="2147480303"/>
            <ac:spMk id="5" creationId="{A9805C1D-147B-B4B0-986F-E6803E8936D2}"/>
          </ac:spMkLst>
        </pc:spChg>
        <pc:spChg chg="del">
          <ac:chgData name="Cyprien ARETHUSE" userId="abd46b16-7bf0-4c01-a850-92fb83f61f27" providerId="ADAL" clId="{067C7D3F-9573-4B1A-A9B0-3005DA5BAAAF}" dt="2024-01-26T13:25:24.054" v="7808" actId="478"/>
          <ac:spMkLst>
            <pc:docMk/>
            <pc:sldMk cId="2459109621" sldId="2147480303"/>
            <ac:spMk id="6" creationId="{22C78D11-37A1-CDCF-93E9-E62129580193}"/>
          </ac:spMkLst>
        </pc:spChg>
        <pc:spChg chg="del">
          <ac:chgData name="Cyprien ARETHUSE" userId="abd46b16-7bf0-4c01-a850-92fb83f61f27" providerId="ADAL" clId="{067C7D3F-9573-4B1A-A9B0-3005DA5BAAAF}" dt="2024-01-26T13:25:24.054" v="7808" actId="478"/>
          <ac:spMkLst>
            <pc:docMk/>
            <pc:sldMk cId="2459109621" sldId="2147480303"/>
            <ac:spMk id="7" creationId="{A1F8B092-9CD0-5DD6-A0A1-297DEFEA9E4F}"/>
          </ac:spMkLst>
        </pc:spChg>
        <pc:spChg chg="del">
          <ac:chgData name="Cyprien ARETHUSE" userId="abd46b16-7bf0-4c01-a850-92fb83f61f27" providerId="ADAL" clId="{067C7D3F-9573-4B1A-A9B0-3005DA5BAAAF}" dt="2024-01-26T13:25:24.054" v="7808" actId="478"/>
          <ac:spMkLst>
            <pc:docMk/>
            <pc:sldMk cId="2459109621" sldId="2147480303"/>
            <ac:spMk id="8" creationId="{4F4FFC49-FB2E-DCA5-2E6C-FDE496AEE99A}"/>
          </ac:spMkLst>
        </pc:spChg>
        <pc:spChg chg="del">
          <ac:chgData name="Cyprien ARETHUSE" userId="abd46b16-7bf0-4c01-a850-92fb83f61f27" providerId="ADAL" clId="{067C7D3F-9573-4B1A-A9B0-3005DA5BAAAF}" dt="2024-01-26T13:25:24.054" v="7808" actId="478"/>
          <ac:spMkLst>
            <pc:docMk/>
            <pc:sldMk cId="2459109621" sldId="2147480303"/>
            <ac:spMk id="9" creationId="{66EB49D6-BB51-7D45-D375-8A151FDF5E56}"/>
          </ac:spMkLst>
        </pc:spChg>
        <pc:spChg chg="del">
          <ac:chgData name="Cyprien ARETHUSE" userId="abd46b16-7bf0-4c01-a850-92fb83f61f27" providerId="ADAL" clId="{067C7D3F-9573-4B1A-A9B0-3005DA5BAAAF}" dt="2024-01-26T13:25:24.054" v="7808" actId="478"/>
          <ac:spMkLst>
            <pc:docMk/>
            <pc:sldMk cId="2459109621" sldId="2147480303"/>
            <ac:spMk id="10" creationId="{D14BB2B0-040E-3510-DFE5-855F08829352}"/>
          </ac:spMkLst>
        </pc:spChg>
        <pc:spChg chg="del">
          <ac:chgData name="Cyprien ARETHUSE" userId="abd46b16-7bf0-4c01-a850-92fb83f61f27" providerId="ADAL" clId="{067C7D3F-9573-4B1A-A9B0-3005DA5BAAAF}" dt="2024-01-26T13:25:24.054" v="7808" actId="478"/>
          <ac:spMkLst>
            <pc:docMk/>
            <pc:sldMk cId="2459109621" sldId="2147480303"/>
            <ac:spMk id="11" creationId="{BAA3DDC7-5320-E950-E89D-4CD10B5E9099}"/>
          </ac:spMkLst>
        </pc:spChg>
        <pc:spChg chg="del">
          <ac:chgData name="Cyprien ARETHUSE" userId="abd46b16-7bf0-4c01-a850-92fb83f61f27" providerId="ADAL" clId="{067C7D3F-9573-4B1A-A9B0-3005DA5BAAAF}" dt="2024-01-26T13:25:24.054" v="7808" actId="478"/>
          <ac:spMkLst>
            <pc:docMk/>
            <pc:sldMk cId="2459109621" sldId="2147480303"/>
            <ac:spMk id="12" creationId="{748E64C8-4429-B3A9-1B63-62F518C01507}"/>
          </ac:spMkLst>
        </pc:spChg>
        <pc:spChg chg="del">
          <ac:chgData name="Cyprien ARETHUSE" userId="abd46b16-7bf0-4c01-a850-92fb83f61f27" providerId="ADAL" clId="{067C7D3F-9573-4B1A-A9B0-3005DA5BAAAF}" dt="2024-01-26T13:25:24.054" v="7808" actId="478"/>
          <ac:spMkLst>
            <pc:docMk/>
            <pc:sldMk cId="2459109621" sldId="2147480303"/>
            <ac:spMk id="13" creationId="{AD606E6B-2671-C8FD-D5F5-313B98829C5E}"/>
          </ac:spMkLst>
        </pc:spChg>
        <pc:spChg chg="del">
          <ac:chgData name="Cyprien ARETHUSE" userId="abd46b16-7bf0-4c01-a850-92fb83f61f27" providerId="ADAL" clId="{067C7D3F-9573-4B1A-A9B0-3005DA5BAAAF}" dt="2024-01-26T13:25:24.054" v="7808" actId="478"/>
          <ac:spMkLst>
            <pc:docMk/>
            <pc:sldMk cId="2459109621" sldId="2147480303"/>
            <ac:spMk id="14" creationId="{6230212D-4CFD-1D53-6B05-4E1206D94A3F}"/>
          </ac:spMkLst>
        </pc:spChg>
        <pc:spChg chg="del">
          <ac:chgData name="Cyprien ARETHUSE" userId="abd46b16-7bf0-4c01-a850-92fb83f61f27" providerId="ADAL" clId="{067C7D3F-9573-4B1A-A9B0-3005DA5BAAAF}" dt="2024-01-26T13:25:24.054" v="7808" actId="478"/>
          <ac:spMkLst>
            <pc:docMk/>
            <pc:sldMk cId="2459109621" sldId="2147480303"/>
            <ac:spMk id="15" creationId="{758E6134-039B-0297-664A-2087C54C2D7E}"/>
          </ac:spMkLst>
        </pc:spChg>
        <pc:spChg chg="del">
          <ac:chgData name="Cyprien ARETHUSE" userId="abd46b16-7bf0-4c01-a850-92fb83f61f27" providerId="ADAL" clId="{067C7D3F-9573-4B1A-A9B0-3005DA5BAAAF}" dt="2024-01-26T13:25:24.054" v="7808" actId="478"/>
          <ac:spMkLst>
            <pc:docMk/>
            <pc:sldMk cId="2459109621" sldId="2147480303"/>
            <ac:spMk id="16" creationId="{16E62982-8123-09D1-FCC1-AC82D91BBB42}"/>
          </ac:spMkLst>
        </pc:spChg>
        <pc:spChg chg="del">
          <ac:chgData name="Cyprien ARETHUSE" userId="abd46b16-7bf0-4c01-a850-92fb83f61f27" providerId="ADAL" clId="{067C7D3F-9573-4B1A-A9B0-3005DA5BAAAF}" dt="2024-01-26T13:25:24.054" v="7808" actId="478"/>
          <ac:spMkLst>
            <pc:docMk/>
            <pc:sldMk cId="2459109621" sldId="2147480303"/>
            <ac:spMk id="17" creationId="{1B52987F-16C6-94A2-FA64-00CBDF833CC2}"/>
          </ac:spMkLst>
        </pc:spChg>
        <pc:spChg chg="del">
          <ac:chgData name="Cyprien ARETHUSE" userId="abd46b16-7bf0-4c01-a850-92fb83f61f27" providerId="ADAL" clId="{067C7D3F-9573-4B1A-A9B0-3005DA5BAAAF}" dt="2024-01-26T13:25:24.054" v="7808" actId="478"/>
          <ac:spMkLst>
            <pc:docMk/>
            <pc:sldMk cId="2459109621" sldId="2147480303"/>
            <ac:spMk id="18" creationId="{A2DB48AD-5169-A000-6CD4-6D9172055D1D}"/>
          </ac:spMkLst>
        </pc:spChg>
        <pc:spChg chg="del">
          <ac:chgData name="Cyprien ARETHUSE" userId="abd46b16-7bf0-4c01-a850-92fb83f61f27" providerId="ADAL" clId="{067C7D3F-9573-4B1A-A9B0-3005DA5BAAAF}" dt="2024-01-26T13:25:24.054" v="7808" actId="478"/>
          <ac:spMkLst>
            <pc:docMk/>
            <pc:sldMk cId="2459109621" sldId="2147480303"/>
            <ac:spMk id="19" creationId="{ECCA6F3B-9E7D-EB6C-286A-FAC228A1064D}"/>
          </ac:spMkLst>
        </pc:spChg>
        <pc:spChg chg="del">
          <ac:chgData name="Cyprien ARETHUSE" userId="abd46b16-7bf0-4c01-a850-92fb83f61f27" providerId="ADAL" clId="{067C7D3F-9573-4B1A-A9B0-3005DA5BAAAF}" dt="2024-01-26T13:25:24.054" v="7808" actId="478"/>
          <ac:spMkLst>
            <pc:docMk/>
            <pc:sldMk cId="2459109621" sldId="2147480303"/>
            <ac:spMk id="20" creationId="{3943277C-F67A-08B7-FF20-0733C8093222}"/>
          </ac:spMkLst>
        </pc:spChg>
        <pc:spChg chg="del">
          <ac:chgData name="Cyprien ARETHUSE" userId="abd46b16-7bf0-4c01-a850-92fb83f61f27" providerId="ADAL" clId="{067C7D3F-9573-4B1A-A9B0-3005DA5BAAAF}" dt="2024-01-26T13:25:24.054" v="7808" actId="478"/>
          <ac:spMkLst>
            <pc:docMk/>
            <pc:sldMk cId="2459109621" sldId="2147480303"/>
            <ac:spMk id="21" creationId="{E9784446-C191-467E-0CEF-A3A1E20EE208}"/>
          </ac:spMkLst>
        </pc:spChg>
        <pc:spChg chg="del">
          <ac:chgData name="Cyprien ARETHUSE" userId="abd46b16-7bf0-4c01-a850-92fb83f61f27" providerId="ADAL" clId="{067C7D3F-9573-4B1A-A9B0-3005DA5BAAAF}" dt="2024-01-26T13:25:24.054" v="7808" actId="478"/>
          <ac:spMkLst>
            <pc:docMk/>
            <pc:sldMk cId="2459109621" sldId="2147480303"/>
            <ac:spMk id="22" creationId="{DA6D0126-8232-B6F2-082B-A0947BC49EC4}"/>
          </ac:spMkLst>
        </pc:spChg>
        <pc:spChg chg="add mod">
          <ac:chgData name="Cyprien ARETHUSE" userId="abd46b16-7bf0-4c01-a850-92fb83f61f27" providerId="ADAL" clId="{067C7D3F-9573-4B1A-A9B0-3005DA5BAAAF}" dt="2024-01-26T13:26:16.985" v="7865" actId="1035"/>
          <ac:spMkLst>
            <pc:docMk/>
            <pc:sldMk cId="2459109621" sldId="2147480303"/>
            <ac:spMk id="23" creationId="{D1FFB7E3-E1ED-C268-7CC9-C7A61C44A3A0}"/>
          </ac:spMkLst>
        </pc:spChg>
        <pc:spChg chg="mod">
          <ac:chgData name="Cyprien ARETHUSE" userId="abd46b16-7bf0-4c01-a850-92fb83f61f27" providerId="ADAL" clId="{067C7D3F-9573-4B1A-A9B0-3005DA5BAAAF}" dt="2024-02-01T17:44:36.962" v="15904" actId="20577"/>
          <ac:spMkLst>
            <pc:docMk/>
            <pc:sldMk cId="2459109621" sldId="2147480303"/>
            <ac:spMk id="24" creationId="{9D04B3E2-268E-5092-9AEC-F0AA3211E088}"/>
          </ac:spMkLst>
        </pc:spChg>
        <pc:spChg chg="add mod">
          <ac:chgData name="Cyprien ARETHUSE" userId="abd46b16-7bf0-4c01-a850-92fb83f61f27" providerId="ADAL" clId="{067C7D3F-9573-4B1A-A9B0-3005DA5BAAAF}" dt="2024-01-26T13:26:08.578" v="7842" actId="20577"/>
          <ac:spMkLst>
            <pc:docMk/>
            <pc:sldMk cId="2459109621" sldId="2147480303"/>
            <ac:spMk id="25" creationId="{F8CEBBC7-D764-0EBC-C71D-FCD6989F1589}"/>
          </ac:spMkLst>
        </pc:spChg>
        <pc:graphicFrameChg chg="add del mod">
          <ac:chgData name="Cyprien ARETHUSE" userId="abd46b16-7bf0-4c01-a850-92fb83f61f27" providerId="ADAL" clId="{067C7D3F-9573-4B1A-A9B0-3005DA5BAAAF}" dt="2024-01-26T13:25:33.909" v="7810" actId="478"/>
          <ac:graphicFrameMkLst>
            <pc:docMk/>
            <pc:sldMk cId="2459109621" sldId="2147480303"/>
            <ac:graphicFrameMk id="24" creationId="{67CDB71D-86A4-BC2F-8A98-B44370EB64A2}"/>
          </ac:graphicFrameMkLst>
        </pc:graphicFrameChg>
      </pc:sldChg>
      <pc:sldChg chg="addSp delSp modSp mod">
        <pc:chgData name="Cyprien ARETHUSE" userId="abd46b16-7bf0-4c01-a850-92fb83f61f27" providerId="ADAL" clId="{067C7D3F-9573-4B1A-A9B0-3005DA5BAAAF}" dt="2024-02-02T10:32:02.214" v="16043"/>
        <pc:sldMkLst>
          <pc:docMk/>
          <pc:sldMk cId="1464809953" sldId="2147480304"/>
        </pc:sldMkLst>
        <pc:spChg chg="mod">
          <ac:chgData name="Cyprien ARETHUSE" userId="abd46b16-7bf0-4c01-a850-92fb83f61f27" providerId="ADAL" clId="{067C7D3F-9573-4B1A-A9B0-3005DA5BAAAF}" dt="2024-02-02T10:32:02.214" v="16043"/>
          <ac:spMkLst>
            <pc:docMk/>
            <pc:sldMk cId="1464809953" sldId="2147480304"/>
            <ac:spMk id="2" creationId="{A2D57B31-7B0D-92C3-B33F-D94DC4725E53}"/>
          </ac:spMkLst>
        </pc:spChg>
        <pc:spChg chg="del">
          <ac:chgData name="Cyprien ARETHUSE" userId="abd46b16-7bf0-4c01-a850-92fb83f61f27" providerId="ADAL" clId="{067C7D3F-9573-4B1A-A9B0-3005DA5BAAAF}" dt="2024-02-01T10:18:12.428" v="11081" actId="478"/>
          <ac:spMkLst>
            <pc:docMk/>
            <pc:sldMk cId="1464809953" sldId="2147480304"/>
            <ac:spMk id="8" creationId="{F54C2E7E-F641-FC22-F4B8-8301E157DA08}"/>
          </ac:spMkLst>
        </pc:spChg>
        <pc:spChg chg="mod">
          <ac:chgData name="Cyprien ARETHUSE" userId="abd46b16-7bf0-4c01-a850-92fb83f61f27" providerId="ADAL" clId="{067C7D3F-9573-4B1A-A9B0-3005DA5BAAAF}" dt="2024-02-01T10:33:42.545" v="11458" actId="20577"/>
          <ac:spMkLst>
            <pc:docMk/>
            <pc:sldMk cId="1464809953" sldId="2147480304"/>
            <ac:spMk id="10" creationId="{5CC3FCF3-C9D6-2CC5-2FAB-EA87BAD383D4}"/>
          </ac:spMkLst>
        </pc:spChg>
        <pc:spChg chg="del">
          <ac:chgData name="Cyprien ARETHUSE" userId="abd46b16-7bf0-4c01-a850-92fb83f61f27" providerId="ADAL" clId="{067C7D3F-9573-4B1A-A9B0-3005DA5BAAAF}" dt="2024-02-01T10:18:12.428" v="11081" actId="478"/>
          <ac:spMkLst>
            <pc:docMk/>
            <pc:sldMk cId="1464809953" sldId="2147480304"/>
            <ac:spMk id="11" creationId="{037BC75C-4C0B-BB80-B9CB-70D64668BA94}"/>
          </ac:spMkLst>
        </pc:spChg>
        <pc:spChg chg="mod">
          <ac:chgData name="Cyprien ARETHUSE" userId="abd46b16-7bf0-4c01-a850-92fb83f61f27" providerId="ADAL" clId="{067C7D3F-9573-4B1A-A9B0-3005DA5BAAAF}" dt="2024-02-01T10:32:57.507" v="11454" actId="113"/>
          <ac:spMkLst>
            <pc:docMk/>
            <pc:sldMk cId="1464809953" sldId="2147480304"/>
            <ac:spMk id="13" creationId="{625BAB93-C0A5-CA04-C4E0-009F6402AE8E}"/>
          </ac:spMkLst>
        </pc:spChg>
        <pc:spChg chg="mod">
          <ac:chgData name="Cyprien ARETHUSE" userId="abd46b16-7bf0-4c01-a850-92fb83f61f27" providerId="ADAL" clId="{067C7D3F-9573-4B1A-A9B0-3005DA5BAAAF}" dt="2024-02-01T17:23:22.425" v="15560" actId="20577"/>
          <ac:spMkLst>
            <pc:docMk/>
            <pc:sldMk cId="1464809953" sldId="2147480304"/>
            <ac:spMk id="18" creationId="{8D0F6BD6-D28E-550F-11AF-797E613226B3}"/>
          </ac:spMkLst>
        </pc:spChg>
        <pc:spChg chg="mod">
          <ac:chgData name="Cyprien ARETHUSE" userId="abd46b16-7bf0-4c01-a850-92fb83f61f27" providerId="ADAL" clId="{067C7D3F-9573-4B1A-A9B0-3005DA5BAAAF}" dt="2024-02-01T10:36:54.544" v="11459" actId="20577"/>
          <ac:spMkLst>
            <pc:docMk/>
            <pc:sldMk cId="1464809953" sldId="2147480304"/>
            <ac:spMk id="26" creationId="{D28D840D-9040-2F96-E213-A4B4BBC84C14}"/>
          </ac:spMkLst>
        </pc:spChg>
        <pc:spChg chg="mod">
          <ac:chgData name="Cyprien ARETHUSE" userId="abd46b16-7bf0-4c01-a850-92fb83f61f27" providerId="ADAL" clId="{067C7D3F-9573-4B1A-A9B0-3005DA5BAAAF}" dt="2024-02-01T10:50:34.302" v="11587" actId="6549"/>
          <ac:spMkLst>
            <pc:docMk/>
            <pc:sldMk cId="1464809953" sldId="2147480304"/>
            <ac:spMk id="30" creationId="{F2DD44DF-9784-A594-7A03-6BEECA56F396}"/>
          </ac:spMkLst>
        </pc:spChg>
        <pc:spChg chg="del">
          <ac:chgData name="Cyprien ARETHUSE" userId="abd46b16-7bf0-4c01-a850-92fb83f61f27" providerId="ADAL" clId="{067C7D3F-9573-4B1A-A9B0-3005DA5BAAAF}" dt="2024-02-01T10:30:20.085" v="11367" actId="478"/>
          <ac:spMkLst>
            <pc:docMk/>
            <pc:sldMk cId="1464809953" sldId="2147480304"/>
            <ac:spMk id="56" creationId="{46AA2116-D9BA-8779-1087-35FD53085CB5}"/>
          </ac:spMkLst>
        </pc:spChg>
        <pc:spChg chg="del">
          <ac:chgData name="Cyprien ARETHUSE" userId="abd46b16-7bf0-4c01-a850-92fb83f61f27" providerId="ADAL" clId="{067C7D3F-9573-4B1A-A9B0-3005DA5BAAAF}" dt="2024-02-01T10:30:20.085" v="11367" actId="478"/>
          <ac:spMkLst>
            <pc:docMk/>
            <pc:sldMk cId="1464809953" sldId="2147480304"/>
            <ac:spMk id="59" creationId="{001AAFD9-536E-E2AD-6D91-9B681AE73FE6}"/>
          </ac:spMkLst>
        </pc:spChg>
        <pc:spChg chg="del">
          <ac:chgData name="Cyprien ARETHUSE" userId="abd46b16-7bf0-4c01-a850-92fb83f61f27" providerId="ADAL" clId="{067C7D3F-9573-4B1A-A9B0-3005DA5BAAAF}" dt="2024-02-01T10:30:20.085" v="11367" actId="478"/>
          <ac:spMkLst>
            <pc:docMk/>
            <pc:sldMk cId="1464809953" sldId="2147480304"/>
            <ac:spMk id="63" creationId="{F4246061-18F1-4933-AD23-60DCF48B4E37}"/>
          </ac:spMkLst>
        </pc:spChg>
        <pc:spChg chg="del">
          <ac:chgData name="Cyprien ARETHUSE" userId="abd46b16-7bf0-4c01-a850-92fb83f61f27" providerId="ADAL" clId="{067C7D3F-9573-4B1A-A9B0-3005DA5BAAAF}" dt="2024-02-01T10:30:20.085" v="11367" actId="478"/>
          <ac:spMkLst>
            <pc:docMk/>
            <pc:sldMk cId="1464809953" sldId="2147480304"/>
            <ac:spMk id="1024" creationId="{3D61EBA7-C6DB-0D72-4E11-9357BAB9F366}"/>
          </ac:spMkLst>
        </pc:spChg>
        <pc:spChg chg="add del mod">
          <ac:chgData name="Cyprien ARETHUSE" userId="abd46b16-7bf0-4c01-a850-92fb83f61f27" providerId="ADAL" clId="{067C7D3F-9573-4B1A-A9B0-3005DA5BAAAF}" dt="2024-02-01T10:52:55.041" v="11703" actId="478"/>
          <ac:spMkLst>
            <pc:docMk/>
            <pc:sldMk cId="1464809953" sldId="2147480304"/>
            <ac:spMk id="1041" creationId="{9405776B-1959-4274-CEB1-0C462BBA48F5}"/>
          </ac:spMkLst>
        </pc:spChg>
        <pc:spChg chg="add mod">
          <ac:chgData name="Cyprien ARETHUSE" userId="abd46b16-7bf0-4c01-a850-92fb83f61f27" providerId="ADAL" clId="{067C7D3F-9573-4B1A-A9B0-3005DA5BAAAF}" dt="2024-02-01T10:52:50.038" v="11702" actId="20577"/>
          <ac:spMkLst>
            <pc:docMk/>
            <pc:sldMk cId="1464809953" sldId="2147480304"/>
            <ac:spMk id="1042" creationId="{7DF79873-0EA5-1EE5-5B08-7AB3A8DAD319}"/>
          </ac:spMkLst>
        </pc:spChg>
        <pc:spChg chg="add mod">
          <ac:chgData name="Cyprien ARETHUSE" userId="abd46b16-7bf0-4c01-a850-92fb83f61f27" providerId="ADAL" clId="{067C7D3F-9573-4B1A-A9B0-3005DA5BAAAF}" dt="2024-02-01T10:30:40.156" v="11402" actId="1037"/>
          <ac:spMkLst>
            <pc:docMk/>
            <pc:sldMk cId="1464809953" sldId="2147480304"/>
            <ac:spMk id="1043" creationId="{1352E6E9-A61E-CE97-D6DE-8FFDDFAA64EA}"/>
          </ac:spMkLst>
        </pc:spChg>
        <pc:spChg chg="add mod">
          <ac:chgData name="Cyprien ARETHUSE" userId="abd46b16-7bf0-4c01-a850-92fb83f61f27" providerId="ADAL" clId="{067C7D3F-9573-4B1A-A9B0-3005DA5BAAAF}" dt="2024-02-01T10:30:40.156" v="11402" actId="1037"/>
          <ac:spMkLst>
            <pc:docMk/>
            <pc:sldMk cId="1464809953" sldId="2147480304"/>
            <ac:spMk id="1045" creationId="{4EADB92B-DD52-54F4-5387-B9C635A60758}"/>
          </ac:spMkLst>
        </pc:spChg>
        <pc:spChg chg="add mod">
          <ac:chgData name="Cyprien ARETHUSE" userId="abd46b16-7bf0-4c01-a850-92fb83f61f27" providerId="ADAL" clId="{067C7D3F-9573-4B1A-A9B0-3005DA5BAAAF}" dt="2024-02-01T10:31:09.916" v="11449" actId="1037"/>
          <ac:spMkLst>
            <pc:docMk/>
            <pc:sldMk cId="1464809953" sldId="2147480304"/>
            <ac:spMk id="1046" creationId="{B060E1DF-EF9C-70D7-0C30-15D6B681AAD5}"/>
          </ac:spMkLst>
        </pc:spChg>
        <pc:spChg chg="add mod">
          <ac:chgData name="Cyprien ARETHUSE" userId="abd46b16-7bf0-4c01-a850-92fb83f61f27" providerId="ADAL" clId="{067C7D3F-9573-4B1A-A9B0-3005DA5BAAAF}" dt="2024-02-01T10:31:09.916" v="11449" actId="1037"/>
          <ac:spMkLst>
            <pc:docMk/>
            <pc:sldMk cId="1464809953" sldId="2147480304"/>
            <ac:spMk id="1048" creationId="{3D396EE9-CE24-034A-E806-19F7B9DAE9A5}"/>
          </ac:spMkLst>
        </pc:spChg>
        <pc:grpChg chg="del mod">
          <ac:chgData name="Cyprien ARETHUSE" userId="abd46b16-7bf0-4c01-a850-92fb83f61f27" providerId="ADAL" clId="{067C7D3F-9573-4B1A-A9B0-3005DA5BAAAF}" dt="2024-02-01T10:52:21.810" v="11661" actId="478"/>
          <ac:grpSpMkLst>
            <pc:docMk/>
            <pc:sldMk cId="1464809953" sldId="2147480304"/>
            <ac:grpSpMk id="5" creationId="{379F06EA-E4EB-CC97-0791-76F113BCBD0D}"/>
          </ac:grpSpMkLst>
        </pc:grpChg>
        <pc:grpChg chg="mod">
          <ac:chgData name="Cyprien ARETHUSE" userId="abd46b16-7bf0-4c01-a850-92fb83f61f27" providerId="ADAL" clId="{067C7D3F-9573-4B1A-A9B0-3005DA5BAAAF}" dt="2024-02-01T10:19:53.448" v="11194" actId="1037"/>
          <ac:grpSpMkLst>
            <pc:docMk/>
            <pc:sldMk cId="1464809953" sldId="2147480304"/>
            <ac:grpSpMk id="45" creationId="{4B1BE460-FBB7-D4B9-E93A-CA4890D9C98D}"/>
          </ac:grpSpMkLst>
        </pc:grpChg>
        <pc:grpChg chg="mod">
          <ac:chgData name="Cyprien ARETHUSE" userId="abd46b16-7bf0-4c01-a850-92fb83f61f27" providerId="ADAL" clId="{067C7D3F-9573-4B1A-A9B0-3005DA5BAAAF}" dt="2024-02-01T10:19:53.448" v="11194" actId="1037"/>
          <ac:grpSpMkLst>
            <pc:docMk/>
            <pc:sldMk cId="1464809953" sldId="2147480304"/>
            <ac:grpSpMk id="46" creationId="{175CE625-4794-6C99-14D7-C57752997DAD}"/>
          </ac:grpSpMkLst>
        </pc:grpChg>
        <pc:grpChg chg="mod">
          <ac:chgData name="Cyprien ARETHUSE" userId="abd46b16-7bf0-4c01-a850-92fb83f61f27" providerId="ADAL" clId="{067C7D3F-9573-4B1A-A9B0-3005DA5BAAAF}" dt="2024-02-01T10:19:53.448" v="11194" actId="1037"/>
          <ac:grpSpMkLst>
            <pc:docMk/>
            <pc:sldMk cId="1464809953" sldId="2147480304"/>
            <ac:grpSpMk id="49" creationId="{B0A569CE-E6D1-499A-3269-0D5F517F5E5B}"/>
          </ac:grpSpMkLst>
        </pc:grpChg>
        <pc:grpChg chg="mod">
          <ac:chgData name="Cyprien ARETHUSE" userId="abd46b16-7bf0-4c01-a850-92fb83f61f27" providerId="ADAL" clId="{067C7D3F-9573-4B1A-A9B0-3005DA5BAAAF}" dt="2024-02-01T10:19:53.448" v="11194" actId="1037"/>
          <ac:grpSpMkLst>
            <pc:docMk/>
            <pc:sldMk cId="1464809953" sldId="2147480304"/>
            <ac:grpSpMk id="50" creationId="{8203805C-4018-1313-4E22-76C4D268D26A}"/>
          </ac:grpSpMkLst>
        </pc:grpChg>
        <pc:grpChg chg="mod">
          <ac:chgData name="Cyprien ARETHUSE" userId="abd46b16-7bf0-4c01-a850-92fb83f61f27" providerId="ADAL" clId="{067C7D3F-9573-4B1A-A9B0-3005DA5BAAAF}" dt="2024-02-01T10:19:53.448" v="11194" actId="1037"/>
          <ac:grpSpMkLst>
            <pc:docMk/>
            <pc:sldMk cId="1464809953" sldId="2147480304"/>
            <ac:grpSpMk id="51" creationId="{15AB5409-BA2B-9BC4-734E-0682893CB03A}"/>
          </ac:grpSpMkLst>
        </pc:grpChg>
        <pc:grpChg chg="del">
          <ac:chgData name="Cyprien ARETHUSE" userId="abd46b16-7bf0-4c01-a850-92fb83f61f27" providerId="ADAL" clId="{067C7D3F-9573-4B1A-A9B0-3005DA5BAAAF}" dt="2024-02-01T10:30:20.085" v="11367" actId="478"/>
          <ac:grpSpMkLst>
            <pc:docMk/>
            <pc:sldMk cId="1464809953" sldId="2147480304"/>
            <ac:grpSpMk id="58" creationId="{671E421C-688A-1A52-AD84-4653407DAF68}"/>
          </ac:grpSpMkLst>
        </pc:grpChg>
        <pc:grpChg chg="del">
          <ac:chgData name="Cyprien ARETHUSE" userId="abd46b16-7bf0-4c01-a850-92fb83f61f27" providerId="ADAL" clId="{067C7D3F-9573-4B1A-A9B0-3005DA5BAAAF}" dt="2024-02-01T10:30:20.085" v="11367" actId="478"/>
          <ac:grpSpMkLst>
            <pc:docMk/>
            <pc:sldMk cId="1464809953" sldId="2147480304"/>
            <ac:grpSpMk id="61" creationId="{BC5C2E5C-CCFC-8B7A-AE16-5FEA45C2F0D1}"/>
          </ac:grpSpMkLst>
        </pc:grpChg>
        <pc:grpChg chg="del">
          <ac:chgData name="Cyprien ARETHUSE" userId="abd46b16-7bf0-4c01-a850-92fb83f61f27" providerId="ADAL" clId="{067C7D3F-9573-4B1A-A9B0-3005DA5BAAAF}" dt="2024-02-01T10:30:20.085" v="11367" actId="478"/>
          <ac:grpSpMkLst>
            <pc:docMk/>
            <pc:sldMk cId="1464809953" sldId="2147480304"/>
            <ac:grpSpMk id="1029" creationId="{B1670744-99C4-F7F8-8217-0826897C3692}"/>
          </ac:grpSpMkLst>
        </pc:grpChg>
        <pc:grpChg chg="del">
          <ac:chgData name="Cyprien ARETHUSE" userId="abd46b16-7bf0-4c01-a850-92fb83f61f27" providerId="ADAL" clId="{067C7D3F-9573-4B1A-A9B0-3005DA5BAAAF}" dt="2024-02-01T10:30:20.085" v="11367" actId="478"/>
          <ac:grpSpMkLst>
            <pc:docMk/>
            <pc:sldMk cId="1464809953" sldId="2147480304"/>
            <ac:grpSpMk id="1031" creationId="{92BC3819-EDA8-450D-8881-6C78D5A79BF2}"/>
          </ac:grpSpMkLst>
        </pc:grpChg>
        <pc:grpChg chg="mod">
          <ac:chgData name="Cyprien ARETHUSE" userId="abd46b16-7bf0-4c01-a850-92fb83f61f27" providerId="ADAL" clId="{067C7D3F-9573-4B1A-A9B0-3005DA5BAAAF}" dt="2024-02-01T10:52:58.722" v="11704" actId="1038"/>
          <ac:grpSpMkLst>
            <pc:docMk/>
            <pc:sldMk cId="1464809953" sldId="2147480304"/>
            <ac:grpSpMk id="1034" creationId="{8A06EDAA-8AAF-42CF-BEE9-F9C309EF3E8C}"/>
          </ac:grpSpMkLst>
        </pc:grpChg>
        <pc:grpChg chg="mod">
          <ac:chgData name="Cyprien ARETHUSE" userId="abd46b16-7bf0-4c01-a850-92fb83f61f27" providerId="ADAL" clId="{067C7D3F-9573-4B1A-A9B0-3005DA5BAAAF}" dt="2024-02-01T10:52:58.722" v="11704" actId="1038"/>
          <ac:grpSpMkLst>
            <pc:docMk/>
            <pc:sldMk cId="1464809953" sldId="2147480304"/>
            <ac:grpSpMk id="1035" creationId="{9E237317-AF22-DDE6-4DCA-371DF6CB84BB}"/>
          </ac:grpSpMkLst>
        </pc:grpChg>
        <pc:picChg chg="mod">
          <ac:chgData name="Cyprien ARETHUSE" userId="abd46b16-7bf0-4c01-a850-92fb83f61f27" providerId="ADAL" clId="{067C7D3F-9573-4B1A-A9B0-3005DA5BAAAF}" dt="2024-01-31T15:00:51.177" v="10432" actId="1076"/>
          <ac:picMkLst>
            <pc:docMk/>
            <pc:sldMk cId="1464809953" sldId="2147480304"/>
            <ac:picMk id="32" creationId="{E2FAA58B-7ACD-AC5B-65B6-1BC323756D40}"/>
          </ac:picMkLst>
        </pc:picChg>
        <pc:picChg chg="mod">
          <ac:chgData name="Cyprien ARETHUSE" userId="abd46b16-7bf0-4c01-a850-92fb83f61f27" providerId="ADAL" clId="{067C7D3F-9573-4B1A-A9B0-3005DA5BAAAF}" dt="2024-01-31T15:00:55.352" v="10433" actId="1076"/>
          <ac:picMkLst>
            <pc:docMk/>
            <pc:sldMk cId="1464809953" sldId="2147480304"/>
            <ac:picMk id="37" creationId="{76A10D92-A756-2C10-69E5-68AEC9000666}"/>
          </ac:picMkLst>
        </pc:picChg>
        <pc:picChg chg="del">
          <ac:chgData name="Cyprien ARETHUSE" userId="abd46b16-7bf0-4c01-a850-92fb83f61f27" providerId="ADAL" clId="{067C7D3F-9573-4B1A-A9B0-3005DA5BAAAF}" dt="2024-02-01T10:30:20.085" v="11367" actId="478"/>
          <ac:picMkLst>
            <pc:docMk/>
            <pc:sldMk cId="1464809953" sldId="2147480304"/>
            <ac:picMk id="57" creationId="{709D2B88-AD30-9C07-AB0F-EB81F0E25DE7}"/>
          </ac:picMkLst>
        </pc:picChg>
        <pc:picChg chg="del">
          <ac:chgData name="Cyprien ARETHUSE" userId="abd46b16-7bf0-4c01-a850-92fb83f61f27" providerId="ADAL" clId="{067C7D3F-9573-4B1A-A9B0-3005DA5BAAAF}" dt="2024-02-01T10:30:20.085" v="11367" actId="478"/>
          <ac:picMkLst>
            <pc:docMk/>
            <pc:sldMk cId="1464809953" sldId="2147480304"/>
            <ac:picMk id="60" creationId="{431C6633-EFF7-51D9-93A2-DA115A8B35D8}"/>
          </ac:picMkLst>
        </pc:picChg>
        <pc:picChg chg="add mod">
          <ac:chgData name="Cyprien ARETHUSE" userId="abd46b16-7bf0-4c01-a850-92fb83f61f27" providerId="ADAL" clId="{067C7D3F-9573-4B1A-A9B0-3005DA5BAAAF}" dt="2024-02-01T10:30:40.156" v="11402" actId="1037"/>
          <ac:picMkLst>
            <pc:docMk/>
            <pc:sldMk cId="1464809953" sldId="2147480304"/>
            <ac:picMk id="1044" creationId="{BC85F3C9-5B14-6C7B-A8E3-9ECC813DCCBB}"/>
          </ac:picMkLst>
        </pc:picChg>
        <pc:picChg chg="add mod">
          <ac:chgData name="Cyprien ARETHUSE" userId="abd46b16-7bf0-4c01-a850-92fb83f61f27" providerId="ADAL" clId="{067C7D3F-9573-4B1A-A9B0-3005DA5BAAAF}" dt="2024-02-01T10:31:09.916" v="11449" actId="1037"/>
          <ac:picMkLst>
            <pc:docMk/>
            <pc:sldMk cId="1464809953" sldId="2147480304"/>
            <ac:picMk id="1047" creationId="{2AA747F6-2EF1-FC28-94AD-5B16EA864370}"/>
          </ac:picMkLst>
        </pc:picChg>
      </pc:sldChg>
      <pc:sldChg chg="delSp modSp add del mod">
        <pc:chgData name="Cyprien ARETHUSE" userId="abd46b16-7bf0-4c01-a850-92fb83f61f27" providerId="ADAL" clId="{067C7D3F-9573-4B1A-A9B0-3005DA5BAAAF}" dt="2024-01-29T09:23:05.939" v="8068" actId="47"/>
        <pc:sldMkLst>
          <pc:docMk/>
          <pc:sldMk cId="641419806" sldId="2147480305"/>
        </pc:sldMkLst>
        <pc:spChg chg="mod">
          <ac:chgData name="Cyprien ARETHUSE" userId="abd46b16-7bf0-4c01-a850-92fb83f61f27" providerId="ADAL" clId="{067C7D3F-9573-4B1A-A9B0-3005DA5BAAAF}" dt="2024-01-26T14:25:33.599" v="8010" actId="20577"/>
          <ac:spMkLst>
            <pc:docMk/>
            <pc:sldMk cId="641419806" sldId="2147480305"/>
            <ac:spMk id="2" creationId="{5C91E337-74B9-4A35-882F-27BDB4F76934}"/>
          </ac:spMkLst>
        </pc:spChg>
        <pc:spChg chg="mod">
          <ac:chgData name="Cyprien ARETHUSE" userId="abd46b16-7bf0-4c01-a850-92fb83f61f27" providerId="ADAL" clId="{067C7D3F-9573-4B1A-A9B0-3005DA5BAAAF}" dt="2024-01-26T14:35:02.331" v="8012" actId="6549"/>
          <ac:spMkLst>
            <pc:docMk/>
            <pc:sldMk cId="641419806" sldId="2147480305"/>
            <ac:spMk id="6" creationId="{5022F38F-36E5-40C5-963E-A28F9C1CE84C}"/>
          </ac:spMkLst>
        </pc:spChg>
        <pc:spChg chg="mod">
          <ac:chgData name="Cyprien ARETHUSE" userId="abd46b16-7bf0-4c01-a850-92fb83f61f27" providerId="ADAL" clId="{067C7D3F-9573-4B1A-A9B0-3005DA5BAAAF}" dt="2024-01-26T14:35:09.063" v="8014" actId="6549"/>
          <ac:spMkLst>
            <pc:docMk/>
            <pc:sldMk cId="641419806" sldId="2147480305"/>
            <ac:spMk id="7" creationId="{F2A13701-A9F4-469B-B139-537F1C2D028A}"/>
          </ac:spMkLst>
        </pc:spChg>
        <pc:spChg chg="del">
          <ac:chgData name="Cyprien ARETHUSE" userId="abd46b16-7bf0-4c01-a850-92fb83f61f27" providerId="ADAL" clId="{067C7D3F-9573-4B1A-A9B0-3005DA5BAAAF}" dt="2024-01-26T14:24:47.915" v="7947" actId="478"/>
          <ac:spMkLst>
            <pc:docMk/>
            <pc:sldMk cId="641419806" sldId="2147480305"/>
            <ac:spMk id="9" creationId="{BDB03FF0-8150-8124-8B75-2E8843114982}"/>
          </ac:spMkLst>
        </pc:spChg>
        <pc:spChg chg="mod">
          <ac:chgData name="Cyprien ARETHUSE" userId="abd46b16-7bf0-4c01-a850-92fb83f61f27" providerId="ADAL" clId="{067C7D3F-9573-4B1A-A9B0-3005DA5BAAAF}" dt="2024-01-26T14:35:06.467" v="8013" actId="6549"/>
          <ac:spMkLst>
            <pc:docMk/>
            <pc:sldMk cId="641419806" sldId="2147480305"/>
            <ac:spMk id="11" creationId="{3FD15B80-7FF0-49C6-AC20-75F104E61B24}"/>
          </ac:spMkLst>
        </pc:spChg>
        <pc:spChg chg="mod">
          <ac:chgData name="Cyprien ARETHUSE" userId="abd46b16-7bf0-4c01-a850-92fb83f61f27" providerId="ADAL" clId="{067C7D3F-9573-4B1A-A9B0-3005DA5BAAAF}" dt="2024-01-26T14:35:19.367" v="8017" actId="6549"/>
          <ac:spMkLst>
            <pc:docMk/>
            <pc:sldMk cId="641419806" sldId="2147480305"/>
            <ac:spMk id="13" creationId="{E0D93E0E-79AF-4BD3-B29A-0296ACCF9C47}"/>
          </ac:spMkLst>
        </pc:spChg>
        <pc:spChg chg="mod">
          <ac:chgData name="Cyprien ARETHUSE" userId="abd46b16-7bf0-4c01-a850-92fb83f61f27" providerId="ADAL" clId="{067C7D3F-9573-4B1A-A9B0-3005DA5BAAAF}" dt="2024-01-26T14:35:15.739" v="8016" actId="6549"/>
          <ac:spMkLst>
            <pc:docMk/>
            <pc:sldMk cId="641419806" sldId="2147480305"/>
            <ac:spMk id="15" creationId="{746C1E2C-1900-45CD-AE7E-B07DBA222000}"/>
          </ac:spMkLst>
        </pc:spChg>
        <pc:spChg chg="mod">
          <ac:chgData name="Cyprien ARETHUSE" userId="abd46b16-7bf0-4c01-a850-92fb83f61f27" providerId="ADAL" clId="{067C7D3F-9573-4B1A-A9B0-3005DA5BAAAF}" dt="2024-01-26T14:35:12.357" v="8015" actId="6549"/>
          <ac:spMkLst>
            <pc:docMk/>
            <pc:sldMk cId="641419806" sldId="2147480305"/>
            <ac:spMk id="34" creationId="{296D5CB2-8EC3-0F95-0D3D-DB01A60C6DF5}"/>
          </ac:spMkLst>
        </pc:spChg>
      </pc:sldChg>
      <pc:sldChg chg="delSp modSp add del mod">
        <pc:chgData name="Cyprien ARETHUSE" userId="abd46b16-7bf0-4c01-a850-92fb83f61f27" providerId="ADAL" clId="{067C7D3F-9573-4B1A-A9B0-3005DA5BAAAF}" dt="2024-01-29T09:23:05.939" v="8068" actId="47"/>
        <pc:sldMkLst>
          <pc:docMk/>
          <pc:sldMk cId="2034093646" sldId="2147480306"/>
        </pc:sldMkLst>
        <pc:spChg chg="mod">
          <ac:chgData name="Cyprien ARETHUSE" userId="abd46b16-7bf0-4c01-a850-92fb83f61f27" providerId="ADAL" clId="{067C7D3F-9573-4B1A-A9B0-3005DA5BAAAF}" dt="2024-01-26T14:25:03.536" v="7992" actId="20577"/>
          <ac:spMkLst>
            <pc:docMk/>
            <pc:sldMk cId="2034093646" sldId="2147480306"/>
            <ac:spMk id="2" creationId="{5C91E337-74B9-4A35-882F-27BDB4F76934}"/>
          </ac:spMkLst>
        </pc:spChg>
        <pc:spChg chg="mod">
          <ac:chgData name="Cyprien ARETHUSE" userId="abd46b16-7bf0-4c01-a850-92fb83f61f27" providerId="ADAL" clId="{067C7D3F-9573-4B1A-A9B0-3005DA5BAAAF}" dt="2024-01-26T14:35:34.045" v="8020" actId="6549"/>
          <ac:spMkLst>
            <pc:docMk/>
            <pc:sldMk cId="2034093646" sldId="2147480306"/>
            <ac:spMk id="6" creationId="{5022F38F-36E5-40C5-963E-A28F9C1CE84C}"/>
          </ac:spMkLst>
        </pc:spChg>
        <pc:spChg chg="mod">
          <ac:chgData name="Cyprien ARETHUSE" userId="abd46b16-7bf0-4c01-a850-92fb83f61f27" providerId="ADAL" clId="{067C7D3F-9573-4B1A-A9B0-3005DA5BAAAF}" dt="2024-01-26T14:35:23.825" v="8018" actId="6549"/>
          <ac:spMkLst>
            <pc:docMk/>
            <pc:sldMk cId="2034093646" sldId="2147480306"/>
            <ac:spMk id="7" creationId="{F2A13701-A9F4-469B-B139-537F1C2D028A}"/>
          </ac:spMkLst>
        </pc:spChg>
        <pc:spChg chg="del">
          <ac:chgData name="Cyprien ARETHUSE" userId="abd46b16-7bf0-4c01-a850-92fb83f61f27" providerId="ADAL" clId="{067C7D3F-9573-4B1A-A9B0-3005DA5BAAAF}" dt="2024-01-26T14:25:37.596" v="8011" actId="478"/>
          <ac:spMkLst>
            <pc:docMk/>
            <pc:sldMk cId="2034093646" sldId="2147480306"/>
            <ac:spMk id="9" creationId="{BDB03FF0-8150-8124-8B75-2E8843114982}"/>
          </ac:spMkLst>
        </pc:spChg>
        <pc:spChg chg="mod">
          <ac:chgData name="Cyprien ARETHUSE" userId="abd46b16-7bf0-4c01-a850-92fb83f61f27" providerId="ADAL" clId="{067C7D3F-9573-4B1A-A9B0-3005DA5BAAAF}" dt="2024-01-26T14:35:30.927" v="8019" actId="6549"/>
          <ac:spMkLst>
            <pc:docMk/>
            <pc:sldMk cId="2034093646" sldId="2147480306"/>
            <ac:spMk id="11" creationId="{3FD15B80-7FF0-49C6-AC20-75F104E61B24}"/>
          </ac:spMkLst>
        </pc:spChg>
        <pc:spChg chg="mod">
          <ac:chgData name="Cyprien ARETHUSE" userId="abd46b16-7bf0-4c01-a850-92fb83f61f27" providerId="ADAL" clId="{067C7D3F-9573-4B1A-A9B0-3005DA5BAAAF}" dt="2024-01-26T14:35:44.920" v="8022" actId="6549"/>
          <ac:spMkLst>
            <pc:docMk/>
            <pc:sldMk cId="2034093646" sldId="2147480306"/>
            <ac:spMk id="13" creationId="{E0D93E0E-79AF-4BD3-B29A-0296ACCF9C47}"/>
          </ac:spMkLst>
        </pc:spChg>
        <pc:spChg chg="mod">
          <ac:chgData name="Cyprien ARETHUSE" userId="abd46b16-7bf0-4c01-a850-92fb83f61f27" providerId="ADAL" clId="{067C7D3F-9573-4B1A-A9B0-3005DA5BAAAF}" dt="2024-01-26T14:35:48.852" v="8023" actId="6549"/>
          <ac:spMkLst>
            <pc:docMk/>
            <pc:sldMk cId="2034093646" sldId="2147480306"/>
            <ac:spMk id="15" creationId="{746C1E2C-1900-45CD-AE7E-B07DBA222000}"/>
          </ac:spMkLst>
        </pc:spChg>
        <pc:spChg chg="mod">
          <ac:chgData name="Cyprien ARETHUSE" userId="abd46b16-7bf0-4c01-a850-92fb83f61f27" providerId="ADAL" clId="{067C7D3F-9573-4B1A-A9B0-3005DA5BAAAF}" dt="2024-01-26T14:35:40.500" v="8021" actId="6549"/>
          <ac:spMkLst>
            <pc:docMk/>
            <pc:sldMk cId="2034093646" sldId="2147480306"/>
            <ac:spMk id="34" creationId="{296D5CB2-8EC3-0F95-0D3D-DB01A60C6DF5}"/>
          </ac:spMkLst>
        </pc:spChg>
      </pc:sldChg>
      <pc:sldChg chg="modSp mod">
        <pc:chgData name="Cyprien ARETHUSE" userId="abd46b16-7bf0-4c01-a850-92fb83f61f27" providerId="ADAL" clId="{067C7D3F-9573-4B1A-A9B0-3005DA5BAAAF}" dt="2024-02-01T17:34:20.447" v="15706" actId="20577"/>
        <pc:sldMkLst>
          <pc:docMk/>
          <pc:sldMk cId="1097620525" sldId="2147480307"/>
        </pc:sldMkLst>
        <pc:spChg chg="mod">
          <ac:chgData name="Cyprien ARETHUSE" userId="abd46b16-7bf0-4c01-a850-92fb83f61f27" providerId="ADAL" clId="{067C7D3F-9573-4B1A-A9B0-3005DA5BAAAF}" dt="2024-01-31T13:47:25.952" v="10072" actId="12"/>
          <ac:spMkLst>
            <pc:docMk/>
            <pc:sldMk cId="1097620525" sldId="2147480307"/>
            <ac:spMk id="3" creationId="{667C8A85-8CD5-181E-1B44-9BED4BC58ECF}"/>
          </ac:spMkLst>
        </pc:spChg>
        <pc:spChg chg="mod">
          <ac:chgData name="Cyprien ARETHUSE" userId="abd46b16-7bf0-4c01-a850-92fb83f61f27" providerId="ADAL" clId="{067C7D3F-9573-4B1A-A9B0-3005DA5BAAAF}" dt="2024-02-01T17:04:19.835" v="15233" actId="207"/>
          <ac:spMkLst>
            <pc:docMk/>
            <pc:sldMk cId="1097620525" sldId="2147480307"/>
            <ac:spMk id="5" creationId="{544069F3-8220-51EE-508A-1C07112F822D}"/>
          </ac:spMkLst>
        </pc:spChg>
        <pc:spChg chg="mod">
          <ac:chgData name="Cyprien ARETHUSE" userId="abd46b16-7bf0-4c01-a850-92fb83f61f27" providerId="ADAL" clId="{067C7D3F-9573-4B1A-A9B0-3005DA5BAAAF}" dt="2024-02-01T17:05:55.894" v="15245" actId="207"/>
          <ac:spMkLst>
            <pc:docMk/>
            <pc:sldMk cId="1097620525" sldId="2147480307"/>
            <ac:spMk id="7" creationId="{8079125D-CFC6-49E2-531A-B3BCD8992476}"/>
          </ac:spMkLst>
        </pc:spChg>
        <pc:spChg chg="mod">
          <ac:chgData name="Cyprien ARETHUSE" userId="abd46b16-7bf0-4c01-a850-92fb83f61f27" providerId="ADAL" clId="{067C7D3F-9573-4B1A-A9B0-3005DA5BAAAF}" dt="2024-02-01T17:04:26.461" v="15235" actId="207"/>
          <ac:spMkLst>
            <pc:docMk/>
            <pc:sldMk cId="1097620525" sldId="2147480307"/>
            <ac:spMk id="8" creationId="{DE545888-F0D1-9B72-F95E-9BE644FB71DD}"/>
          </ac:spMkLst>
        </pc:spChg>
        <pc:spChg chg="mod">
          <ac:chgData name="Cyprien ARETHUSE" userId="abd46b16-7bf0-4c01-a850-92fb83f61f27" providerId="ADAL" clId="{067C7D3F-9573-4B1A-A9B0-3005DA5BAAAF}" dt="2024-01-31T13:49:41.469" v="10083" actId="12"/>
          <ac:spMkLst>
            <pc:docMk/>
            <pc:sldMk cId="1097620525" sldId="2147480307"/>
            <ac:spMk id="18" creationId="{C8231268-C2B2-BE48-01AF-35E343770CEF}"/>
          </ac:spMkLst>
        </pc:spChg>
        <pc:spChg chg="mod">
          <ac:chgData name="Cyprien ARETHUSE" userId="abd46b16-7bf0-4c01-a850-92fb83f61f27" providerId="ADAL" clId="{067C7D3F-9573-4B1A-A9B0-3005DA5BAAAF}" dt="2024-02-01T17:04:31.868" v="15237" actId="207"/>
          <ac:spMkLst>
            <pc:docMk/>
            <pc:sldMk cId="1097620525" sldId="2147480307"/>
            <ac:spMk id="19" creationId="{2919C7B7-E893-CF95-29BA-9D5F3B7828C1}"/>
          </ac:spMkLst>
        </pc:spChg>
        <pc:spChg chg="mod">
          <ac:chgData name="Cyprien ARETHUSE" userId="abd46b16-7bf0-4c01-a850-92fb83f61f27" providerId="ADAL" clId="{067C7D3F-9573-4B1A-A9B0-3005DA5BAAAF}" dt="2024-01-31T13:47:13.552" v="10071" actId="12"/>
          <ac:spMkLst>
            <pc:docMk/>
            <pc:sldMk cId="1097620525" sldId="2147480307"/>
            <ac:spMk id="25" creationId="{1515E993-6069-6C0D-1BB2-F62EC1A5417F}"/>
          </ac:spMkLst>
        </pc:spChg>
        <pc:spChg chg="mod">
          <ac:chgData name="Cyprien ARETHUSE" userId="abd46b16-7bf0-4c01-a850-92fb83f61f27" providerId="ADAL" clId="{067C7D3F-9573-4B1A-A9B0-3005DA5BAAAF}" dt="2024-01-31T13:47:46.846" v="10074" actId="12"/>
          <ac:spMkLst>
            <pc:docMk/>
            <pc:sldMk cId="1097620525" sldId="2147480307"/>
            <ac:spMk id="32" creationId="{B3495833-9CC2-ED21-6E68-56E657DD98F8}"/>
          </ac:spMkLst>
        </pc:spChg>
        <pc:spChg chg="mod">
          <ac:chgData name="Cyprien ARETHUSE" userId="abd46b16-7bf0-4c01-a850-92fb83f61f27" providerId="ADAL" clId="{067C7D3F-9573-4B1A-A9B0-3005DA5BAAAF}" dt="2024-02-01T17:34:20.447" v="15706" actId="20577"/>
          <ac:spMkLst>
            <pc:docMk/>
            <pc:sldMk cId="1097620525" sldId="2147480307"/>
            <ac:spMk id="33" creationId="{7A064286-2ACC-8408-C2B8-83BB75643094}"/>
          </ac:spMkLst>
        </pc:spChg>
        <pc:spChg chg="mod">
          <ac:chgData name="Cyprien ARETHUSE" userId="abd46b16-7bf0-4c01-a850-92fb83f61f27" providerId="ADAL" clId="{067C7D3F-9573-4B1A-A9B0-3005DA5BAAAF}" dt="2024-01-31T13:49:31.498" v="10082" actId="12"/>
          <ac:spMkLst>
            <pc:docMk/>
            <pc:sldMk cId="1097620525" sldId="2147480307"/>
            <ac:spMk id="34" creationId="{9650F1C7-7C98-3C61-8C3C-2BBA81E3429C}"/>
          </ac:spMkLst>
        </pc:spChg>
        <pc:spChg chg="mod">
          <ac:chgData name="Cyprien ARETHUSE" userId="abd46b16-7bf0-4c01-a850-92fb83f61f27" providerId="ADAL" clId="{067C7D3F-9573-4B1A-A9B0-3005DA5BAAAF}" dt="2024-02-01T17:04:23.685" v="15234" actId="207"/>
          <ac:spMkLst>
            <pc:docMk/>
            <pc:sldMk cId="1097620525" sldId="2147480307"/>
            <ac:spMk id="38" creationId="{B39395E4-28F0-BDD2-0069-AD0984A16A96}"/>
          </ac:spMkLst>
        </pc:spChg>
      </pc:sldChg>
      <pc:sldChg chg="modSp mod">
        <pc:chgData name="Cyprien ARETHUSE" userId="abd46b16-7bf0-4c01-a850-92fb83f61f27" providerId="ADAL" clId="{067C7D3F-9573-4B1A-A9B0-3005DA5BAAAF}" dt="2024-02-01T17:05:34.340" v="15244" actId="20577"/>
        <pc:sldMkLst>
          <pc:docMk/>
          <pc:sldMk cId="1174410406" sldId="2147480308"/>
        </pc:sldMkLst>
        <pc:spChg chg="mod">
          <ac:chgData name="Cyprien ARETHUSE" userId="abd46b16-7bf0-4c01-a850-92fb83f61f27" providerId="ADAL" clId="{067C7D3F-9573-4B1A-A9B0-3005DA5BAAAF}" dt="2024-02-01T17:05:18.344" v="15239" actId="207"/>
          <ac:spMkLst>
            <pc:docMk/>
            <pc:sldMk cId="1174410406" sldId="2147480308"/>
            <ac:spMk id="5" creationId="{544069F3-8220-51EE-508A-1C07112F822D}"/>
          </ac:spMkLst>
        </pc:spChg>
        <pc:spChg chg="mod">
          <ac:chgData name="Cyprien ARETHUSE" userId="abd46b16-7bf0-4c01-a850-92fb83f61f27" providerId="ADAL" clId="{067C7D3F-9573-4B1A-A9B0-3005DA5BAAAF}" dt="2024-02-01T17:05:21.964" v="15240" actId="207"/>
          <ac:spMkLst>
            <pc:docMk/>
            <pc:sldMk cId="1174410406" sldId="2147480308"/>
            <ac:spMk id="7" creationId="{8079125D-CFC6-49E2-531A-B3BCD8992476}"/>
          </ac:spMkLst>
        </pc:spChg>
        <pc:spChg chg="mod">
          <ac:chgData name="Cyprien ARETHUSE" userId="abd46b16-7bf0-4c01-a850-92fb83f61f27" providerId="ADAL" clId="{067C7D3F-9573-4B1A-A9B0-3005DA5BAAAF}" dt="2024-01-31T13:50:53.650" v="10085" actId="12"/>
          <ac:spMkLst>
            <pc:docMk/>
            <pc:sldMk cId="1174410406" sldId="2147480308"/>
            <ac:spMk id="18" creationId="{C8231268-C2B2-BE48-01AF-35E343770CEF}"/>
          </ac:spMkLst>
        </pc:spChg>
        <pc:spChg chg="mod">
          <ac:chgData name="Cyprien ARETHUSE" userId="abd46b16-7bf0-4c01-a850-92fb83f61f27" providerId="ADAL" clId="{067C7D3F-9573-4B1A-A9B0-3005DA5BAAAF}" dt="2024-02-01T17:05:24.349" v="15241" actId="207"/>
          <ac:spMkLst>
            <pc:docMk/>
            <pc:sldMk cId="1174410406" sldId="2147480308"/>
            <ac:spMk id="19" creationId="{2919C7B7-E893-CF95-29BA-9D5F3B7828C1}"/>
          </ac:spMkLst>
        </pc:spChg>
        <pc:spChg chg="mod">
          <ac:chgData name="Cyprien ARETHUSE" userId="abd46b16-7bf0-4c01-a850-92fb83f61f27" providerId="ADAL" clId="{067C7D3F-9573-4B1A-A9B0-3005DA5BAAAF}" dt="2024-02-01T17:05:34.340" v="15244" actId="20577"/>
          <ac:spMkLst>
            <pc:docMk/>
            <pc:sldMk cId="1174410406" sldId="2147480308"/>
            <ac:spMk id="25" creationId="{1515E993-6069-6C0D-1BB2-F62EC1A5417F}"/>
          </ac:spMkLst>
        </pc:spChg>
        <pc:spChg chg="mod">
          <ac:chgData name="Cyprien ARETHUSE" userId="abd46b16-7bf0-4c01-a850-92fb83f61f27" providerId="ADAL" clId="{067C7D3F-9573-4B1A-A9B0-3005DA5BAAAF}" dt="2024-01-31T13:50:42.945" v="10084" actId="12"/>
          <ac:spMkLst>
            <pc:docMk/>
            <pc:sldMk cId="1174410406" sldId="2147480308"/>
            <ac:spMk id="32" creationId="{B3495833-9CC2-ED21-6E68-56E657DD98F8}"/>
          </ac:spMkLst>
        </pc:spChg>
        <pc:spChg chg="mod">
          <ac:chgData name="Cyprien ARETHUSE" userId="abd46b16-7bf0-4c01-a850-92fb83f61f27" providerId="ADAL" clId="{067C7D3F-9573-4B1A-A9B0-3005DA5BAAAF}" dt="2024-01-31T13:51:09.641" v="10086" actId="12"/>
          <ac:spMkLst>
            <pc:docMk/>
            <pc:sldMk cId="1174410406" sldId="2147480308"/>
            <ac:spMk id="34" creationId="{9650F1C7-7C98-3C61-8C3C-2BBA81E3429C}"/>
          </ac:spMkLst>
        </pc:spChg>
        <pc:spChg chg="mod">
          <ac:chgData name="Cyprien ARETHUSE" userId="abd46b16-7bf0-4c01-a850-92fb83f61f27" providerId="ADAL" clId="{067C7D3F-9573-4B1A-A9B0-3005DA5BAAAF}" dt="2024-02-01T17:05:26.846" v="15242" actId="207"/>
          <ac:spMkLst>
            <pc:docMk/>
            <pc:sldMk cId="1174410406" sldId="2147480308"/>
            <ac:spMk id="38" creationId="{B39395E4-28F0-BDD2-0069-AD0984A16A96}"/>
          </ac:spMkLst>
        </pc:spChg>
      </pc:sldChg>
      <pc:sldChg chg="addSp delSp modSp mod">
        <pc:chgData name="Cyprien ARETHUSE" userId="abd46b16-7bf0-4c01-a850-92fb83f61f27" providerId="ADAL" clId="{067C7D3F-9573-4B1A-A9B0-3005DA5BAAAF}" dt="2024-01-29T16:14:57.371" v="8784" actId="20577"/>
        <pc:sldMkLst>
          <pc:docMk/>
          <pc:sldMk cId="2065068344" sldId="2147480310"/>
        </pc:sldMkLst>
        <pc:spChg chg="add mod">
          <ac:chgData name="Cyprien ARETHUSE" userId="abd46b16-7bf0-4c01-a850-92fb83f61f27" providerId="ADAL" clId="{067C7D3F-9573-4B1A-A9B0-3005DA5BAAAF}" dt="2024-01-29T16:14:32.666" v="8762"/>
          <ac:spMkLst>
            <pc:docMk/>
            <pc:sldMk cId="2065068344" sldId="2147480310"/>
            <ac:spMk id="2" creationId="{BF857A13-9B21-9D08-5BCE-9F6F794662F3}"/>
          </ac:spMkLst>
        </pc:spChg>
        <pc:spChg chg="add mod">
          <ac:chgData name="Cyprien ARETHUSE" userId="abd46b16-7bf0-4c01-a850-92fb83f61f27" providerId="ADAL" clId="{067C7D3F-9573-4B1A-A9B0-3005DA5BAAAF}" dt="2024-01-29T16:14:32.666" v="8762"/>
          <ac:spMkLst>
            <pc:docMk/>
            <pc:sldMk cId="2065068344" sldId="2147480310"/>
            <ac:spMk id="3" creationId="{CD2C8806-76FD-0C48-E7CE-AAACEF057CA1}"/>
          </ac:spMkLst>
        </pc:spChg>
        <pc:spChg chg="add mod">
          <ac:chgData name="Cyprien ARETHUSE" userId="abd46b16-7bf0-4c01-a850-92fb83f61f27" providerId="ADAL" clId="{067C7D3F-9573-4B1A-A9B0-3005DA5BAAAF}" dt="2024-01-29T16:14:32.666" v="8762"/>
          <ac:spMkLst>
            <pc:docMk/>
            <pc:sldMk cId="2065068344" sldId="2147480310"/>
            <ac:spMk id="4" creationId="{2C16A74B-6324-D090-A7CB-C426DA64F2FC}"/>
          </ac:spMkLst>
        </pc:spChg>
        <pc:spChg chg="add mod">
          <ac:chgData name="Cyprien ARETHUSE" userId="abd46b16-7bf0-4c01-a850-92fb83f61f27" providerId="ADAL" clId="{067C7D3F-9573-4B1A-A9B0-3005DA5BAAAF}" dt="2024-01-29T16:14:32.666" v="8762"/>
          <ac:spMkLst>
            <pc:docMk/>
            <pc:sldMk cId="2065068344" sldId="2147480310"/>
            <ac:spMk id="5" creationId="{BB2F53DE-CA86-D804-EE23-B3CF4B0C5E76}"/>
          </ac:spMkLst>
        </pc:spChg>
        <pc:spChg chg="add mod">
          <ac:chgData name="Cyprien ARETHUSE" userId="abd46b16-7bf0-4c01-a850-92fb83f61f27" providerId="ADAL" clId="{067C7D3F-9573-4B1A-A9B0-3005DA5BAAAF}" dt="2024-01-29T16:14:32.666" v="8762"/>
          <ac:spMkLst>
            <pc:docMk/>
            <pc:sldMk cId="2065068344" sldId="2147480310"/>
            <ac:spMk id="7" creationId="{81245684-CB42-C707-9FDE-D172B55AFB51}"/>
          </ac:spMkLst>
        </pc:spChg>
        <pc:spChg chg="add mod">
          <ac:chgData name="Cyprien ARETHUSE" userId="abd46b16-7bf0-4c01-a850-92fb83f61f27" providerId="ADAL" clId="{067C7D3F-9573-4B1A-A9B0-3005DA5BAAAF}" dt="2024-01-29T16:14:32.666" v="8762"/>
          <ac:spMkLst>
            <pc:docMk/>
            <pc:sldMk cId="2065068344" sldId="2147480310"/>
            <ac:spMk id="8" creationId="{726EBE60-6DE4-5564-5AE0-ACBBA72D891C}"/>
          </ac:spMkLst>
        </pc:spChg>
        <pc:spChg chg="add mod">
          <ac:chgData name="Cyprien ARETHUSE" userId="abd46b16-7bf0-4c01-a850-92fb83f61f27" providerId="ADAL" clId="{067C7D3F-9573-4B1A-A9B0-3005DA5BAAAF}" dt="2024-01-29T16:14:32.666" v="8762"/>
          <ac:spMkLst>
            <pc:docMk/>
            <pc:sldMk cId="2065068344" sldId="2147480310"/>
            <ac:spMk id="11" creationId="{0D3969C1-1754-9C82-D6F6-EA2081A7C97C}"/>
          </ac:spMkLst>
        </pc:spChg>
        <pc:spChg chg="mod">
          <ac:chgData name="Cyprien ARETHUSE" userId="abd46b16-7bf0-4c01-a850-92fb83f61f27" providerId="ADAL" clId="{067C7D3F-9573-4B1A-A9B0-3005DA5BAAAF}" dt="2024-01-29T16:14:57.371" v="8784" actId="20577"/>
          <ac:spMkLst>
            <pc:docMk/>
            <pc:sldMk cId="2065068344" sldId="2147480310"/>
            <ac:spMk id="12" creationId="{A69472D7-2493-2CA6-688C-D454739D34D4}"/>
          </ac:spMkLst>
        </pc:spChg>
        <pc:spChg chg="add mod">
          <ac:chgData name="Cyprien ARETHUSE" userId="abd46b16-7bf0-4c01-a850-92fb83f61f27" providerId="ADAL" clId="{067C7D3F-9573-4B1A-A9B0-3005DA5BAAAF}" dt="2024-01-29T16:14:32.666" v="8762"/>
          <ac:spMkLst>
            <pc:docMk/>
            <pc:sldMk cId="2065068344" sldId="2147480310"/>
            <ac:spMk id="15" creationId="{0FBC5C26-9AFF-3C81-E825-1A9E300C8CE3}"/>
          </ac:spMkLst>
        </pc:spChg>
        <pc:spChg chg="add mod">
          <ac:chgData name="Cyprien ARETHUSE" userId="abd46b16-7bf0-4c01-a850-92fb83f61f27" providerId="ADAL" clId="{067C7D3F-9573-4B1A-A9B0-3005DA5BAAAF}" dt="2024-01-29T16:14:32.666" v="8762"/>
          <ac:spMkLst>
            <pc:docMk/>
            <pc:sldMk cId="2065068344" sldId="2147480310"/>
            <ac:spMk id="16" creationId="{987CCA58-6F77-73EE-D619-990A9747F4C6}"/>
          </ac:spMkLst>
        </pc:spChg>
        <pc:spChg chg="add mod">
          <ac:chgData name="Cyprien ARETHUSE" userId="abd46b16-7bf0-4c01-a850-92fb83f61f27" providerId="ADAL" clId="{067C7D3F-9573-4B1A-A9B0-3005DA5BAAAF}" dt="2024-01-29T16:14:32.666" v="8762"/>
          <ac:spMkLst>
            <pc:docMk/>
            <pc:sldMk cId="2065068344" sldId="2147480310"/>
            <ac:spMk id="18" creationId="{04A2156D-3519-BD73-95A4-651804F74F58}"/>
          </ac:spMkLst>
        </pc:spChg>
        <pc:spChg chg="add mod">
          <ac:chgData name="Cyprien ARETHUSE" userId="abd46b16-7bf0-4c01-a850-92fb83f61f27" providerId="ADAL" clId="{067C7D3F-9573-4B1A-A9B0-3005DA5BAAAF}" dt="2024-01-29T16:14:32.666" v="8762"/>
          <ac:spMkLst>
            <pc:docMk/>
            <pc:sldMk cId="2065068344" sldId="2147480310"/>
            <ac:spMk id="19" creationId="{7E21368D-4C55-A6A6-9BFD-F0DE40746AA3}"/>
          </ac:spMkLst>
        </pc:spChg>
        <pc:spChg chg="mod">
          <ac:chgData name="Cyprien ARETHUSE" userId="abd46b16-7bf0-4c01-a850-92fb83f61f27" providerId="ADAL" clId="{067C7D3F-9573-4B1A-A9B0-3005DA5BAAAF}" dt="2024-01-29T16:14:32.666" v="8762"/>
          <ac:spMkLst>
            <pc:docMk/>
            <pc:sldMk cId="2065068344" sldId="2147480310"/>
            <ac:spMk id="22" creationId="{7E6B49CC-E41C-F1BC-220A-375049216C4B}"/>
          </ac:spMkLst>
        </pc:spChg>
        <pc:spChg chg="mod">
          <ac:chgData name="Cyprien ARETHUSE" userId="abd46b16-7bf0-4c01-a850-92fb83f61f27" providerId="ADAL" clId="{067C7D3F-9573-4B1A-A9B0-3005DA5BAAAF}" dt="2024-01-29T16:14:32.666" v="8762"/>
          <ac:spMkLst>
            <pc:docMk/>
            <pc:sldMk cId="2065068344" sldId="2147480310"/>
            <ac:spMk id="25" creationId="{331553C3-66F1-E25B-9F96-7654657A17E0}"/>
          </ac:spMkLst>
        </pc:spChg>
        <pc:spChg chg="mod">
          <ac:chgData name="Cyprien ARETHUSE" userId="abd46b16-7bf0-4c01-a850-92fb83f61f27" providerId="ADAL" clId="{067C7D3F-9573-4B1A-A9B0-3005DA5BAAAF}" dt="2024-01-29T16:14:32.666" v="8762"/>
          <ac:spMkLst>
            <pc:docMk/>
            <pc:sldMk cId="2065068344" sldId="2147480310"/>
            <ac:spMk id="26" creationId="{F223CCD6-E1D8-FF87-E63E-40ED971B70BA}"/>
          </ac:spMkLst>
        </pc:spChg>
        <pc:spChg chg="mod">
          <ac:chgData name="Cyprien ARETHUSE" userId="abd46b16-7bf0-4c01-a850-92fb83f61f27" providerId="ADAL" clId="{067C7D3F-9573-4B1A-A9B0-3005DA5BAAAF}" dt="2024-01-29T16:14:32.666" v="8762"/>
          <ac:spMkLst>
            <pc:docMk/>
            <pc:sldMk cId="2065068344" sldId="2147480310"/>
            <ac:spMk id="28" creationId="{22012DBA-7592-2A46-F195-F17E48E30B43}"/>
          </ac:spMkLst>
        </pc:spChg>
        <pc:spChg chg="mod">
          <ac:chgData name="Cyprien ARETHUSE" userId="abd46b16-7bf0-4c01-a850-92fb83f61f27" providerId="ADAL" clId="{067C7D3F-9573-4B1A-A9B0-3005DA5BAAAF}" dt="2024-01-29T16:14:32.666" v="8762"/>
          <ac:spMkLst>
            <pc:docMk/>
            <pc:sldMk cId="2065068344" sldId="2147480310"/>
            <ac:spMk id="32" creationId="{A3D3A913-4D58-2940-DA59-87891A769FC9}"/>
          </ac:spMkLst>
        </pc:spChg>
        <pc:spChg chg="mod">
          <ac:chgData name="Cyprien ARETHUSE" userId="abd46b16-7bf0-4c01-a850-92fb83f61f27" providerId="ADAL" clId="{067C7D3F-9573-4B1A-A9B0-3005DA5BAAAF}" dt="2024-01-29T16:14:32.666" v="8762"/>
          <ac:spMkLst>
            <pc:docMk/>
            <pc:sldMk cId="2065068344" sldId="2147480310"/>
            <ac:spMk id="34" creationId="{12CF65C6-5AD5-C01D-2D51-949EC30458A6}"/>
          </ac:spMkLst>
        </pc:spChg>
        <pc:spChg chg="add del mod">
          <ac:chgData name="Cyprien ARETHUSE" userId="abd46b16-7bf0-4c01-a850-92fb83f61f27" providerId="ADAL" clId="{067C7D3F-9573-4B1A-A9B0-3005DA5BAAAF}" dt="2024-01-29T16:14:36" v="8763" actId="478"/>
          <ac:spMkLst>
            <pc:docMk/>
            <pc:sldMk cId="2065068344" sldId="2147480310"/>
            <ac:spMk id="39" creationId="{9A371C7F-312D-C87C-B946-9EDB85682BED}"/>
          </ac:spMkLst>
        </pc:spChg>
        <pc:grpChg chg="add mod">
          <ac:chgData name="Cyprien ARETHUSE" userId="abd46b16-7bf0-4c01-a850-92fb83f61f27" providerId="ADAL" clId="{067C7D3F-9573-4B1A-A9B0-3005DA5BAAAF}" dt="2024-01-29T16:14:32.666" v="8762"/>
          <ac:grpSpMkLst>
            <pc:docMk/>
            <pc:sldMk cId="2065068344" sldId="2147480310"/>
            <ac:grpSpMk id="21" creationId="{B178DBDD-9F7A-E298-03C5-4851235AACBC}"/>
          </ac:grpSpMkLst>
        </pc:grpChg>
        <pc:graphicFrameChg chg="add mod">
          <ac:chgData name="Cyprien ARETHUSE" userId="abd46b16-7bf0-4c01-a850-92fb83f61f27" providerId="ADAL" clId="{067C7D3F-9573-4B1A-A9B0-3005DA5BAAAF}" dt="2024-01-29T16:14:32.666" v="8762"/>
          <ac:graphicFrameMkLst>
            <pc:docMk/>
            <pc:sldMk cId="2065068344" sldId="2147480310"/>
            <ac:graphicFrameMk id="20" creationId="{22B2804A-82C6-1CDD-196B-E04860297200}"/>
          </ac:graphicFrameMkLst>
        </pc:graphicFrameChg>
        <pc:picChg chg="add mod">
          <ac:chgData name="Cyprien ARETHUSE" userId="abd46b16-7bf0-4c01-a850-92fb83f61f27" providerId="ADAL" clId="{067C7D3F-9573-4B1A-A9B0-3005DA5BAAAF}" dt="2024-01-29T16:14:32.666" v="8762"/>
          <ac:picMkLst>
            <pc:docMk/>
            <pc:sldMk cId="2065068344" sldId="2147480310"/>
            <ac:picMk id="6" creationId="{042CE5C4-7EE3-9845-EF71-0AED3AA53166}"/>
          </ac:picMkLst>
        </pc:picChg>
        <pc:picChg chg="add mod">
          <ac:chgData name="Cyprien ARETHUSE" userId="abd46b16-7bf0-4c01-a850-92fb83f61f27" providerId="ADAL" clId="{067C7D3F-9573-4B1A-A9B0-3005DA5BAAAF}" dt="2024-01-29T16:14:32.666" v="8762"/>
          <ac:picMkLst>
            <pc:docMk/>
            <pc:sldMk cId="2065068344" sldId="2147480310"/>
            <ac:picMk id="9" creationId="{A9DBFD4D-AEF1-DFBE-46AF-976036DF3530}"/>
          </ac:picMkLst>
        </pc:picChg>
        <pc:picChg chg="add mod">
          <ac:chgData name="Cyprien ARETHUSE" userId="abd46b16-7bf0-4c01-a850-92fb83f61f27" providerId="ADAL" clId="{067C7D3F-9573-4B1A-A9B0-3005DA5BAAAF}" dt="2024-01-29T16:14:32.666" v="8762"/>
          <ac:picMkLst>
            <pc:docMk/>
            <pc:sldMk cId="2065068344" sldId="2147480310"/>
            <ac:picMk id="10" creationId="{3DC76746-1427-8BE2-ED64-CECAFF8416D5}"/>
          </ac:picMkLst>
        </pc:picChg>
        <pc:picChg chg="add mod">
          <ac:chgData name="Cyprien ARETHUSE" userId="abd46b16-7bf0-4c01-a850-92fb83f61f27" providerId="ADAL" clId="{067C7D3F-9573-4B1A-A9B0-3005DA5BAAAF}" dt="2024-01-29T16:14:32.666" v="8762"/>
          <ac:picMkLst>
            <pc:docMk/>
            <pc:sldMk cId="2065068344" sldId="2147480310"/>
            <ac:picMk id="14" creationId="{1D02A0F8-B64F-2B2E-2B75-C80BD17D4583}"/>
          </ac:picMkLst>
        </pc:picChg>
        <pc:picChg chg="add mod">
          <ac:chgData name="Cyprien ARETHUSE" userId="abd46b16-7bf0-4c01-a850-92fb83f61f27" providerId="ADAL" clId="{067C7D3F-9573-4B1A-A9B0-3005DA5BAAAF}" dt="2024-01-29T16:14:32.666" v="8762"/>
          <ac:picMkLst>
            <pc:docMk/>
            <pc:sldMk cId="2065068344" sldId="2147480310"/>
            <ac:picMk id="17" creationId="{CCC1284C-1A3E-2789-E43E-E33D730481CF}"/>
          </ac:picMkLst>
        </pc:picChg>
        <pc:picChg chg="mod">
          <ac:chgData name="Cyprien ARETHUSE" userId="abd46b16-7bf0-4c01-a850-92fb83f61f27" providerId="ADAL" clId="{067C7D3F-9573-4B1A-A9B0-3005DA5BAAAF}" dt="2024-01-29T16:14:32.666" v="8762"/>
          <ac:picMkLst>
            <pc:docMk/>
            <pc:sldMk cId="2065068344" sldId="2147480310"/>
            <ac:picMk id="23" creationId="{51C0B081-8581-C4FE-8ACB-E45DA04D8D94}"/>
          </ac:picMkLst>
        </pc:picChg>
        <pc:picChg chg="mod">
          <ac:chgData name="Cyprien ARETHUSE" userId="abd46b16-7bf0-4c01-a850-92fb83f61f27" providerId="ADAL" clId="{067C7D3F-9573-4B1A-A9B0-3005DA5BAAAF}" dt="2024-01-29T16:14:32.666" v="8762"/>
          <ac:picMkLst>
            <pc:docMk/>
            <pc:sldMk cId="2065068344" sldId="2147480310"/>
            <ac:picMk id="24" creationId="{F938BF94-39E1-583D-F8DA-8B25D51FDA46}"/>
          </ac:picMkLst>
        </pc:picChg>
        <pc:picChg chg="mod">
          <ac:chgData name="Cyprien ARETHUSE" userId="abd46b16-7bf0-4c01-a850-92fb83f61f27" providerId="ADAL" clId="{067C7D3F-9573-4B1A-A9B0-3005DA5BAAAF}" dt="2024-01-29T16:14:32.666" v="8762"/>
          <ac:picMkLst>
            <pc:docMk/>
            <pc:sldMk cId="2065068344" sldId="2147480310"/>
            <ac:picMk id="27" creationId="{84FBCC65-4BDC-4753-81E9-366D75941E96}"/>
          </ac:picMkLst>
        </pc:picChg>
        <pc:picChg chg="mod">
          <ac:chgData name="Cyprien ARETHUSE" userId="abd46b16-7bf0-4c01-a850-92fb83f61f27" providerId="ADAL" clId="{067C7D3F-9573-4B1A-A9B0-3005DA5BAAAF}" dt="2024-01-29T16:14:32.666" v="8762"/>
          <ac:picMkLst>
            <pc:docMk/>
            <pc:sldMk cId="2065068344" sldId="2147480310"/>
            <ac:picMk id="29" creationId="{E259C474-C42F-D7AD-BCB3-09EF89D368B5}"/>
          </ac:picMkLst>
        </pc:picChg>
        <pc:picChg chg="mod">
          <ac:chgData name="Cyprien ARETHUSE" userId="abd46b16-7bf0-4c01-a850-92fb83f61f27" providerId="ADAL" clId="{067C7D3F-9573-4B1A-A9B0-3005DA5BAAAF}" dt="2024-01-29T16:14:32.666" v="8762"/>
          <ac:picMkLst>
            <pc:docMk/>
            <pc:sldMk cId="2065068344" sldId="2147480310"/>
            <ac:picMk id="33" creationId="{50D85CFD-9D01-2BC2-0857-14AA0865ACB0}"/>
          </ac:picMkLst>
        </pc:picChg>
        <pc:picChg chg="mod">
          <ac:chgData name="Cyprien ARETHUSE" userId="abd46b16-7bf0-4c01-a850-92fb83f61f27" providerId="ADAL" clId="{067C7D3F-9573-4B1A-A9B0-3005DA5BAAAF}" dt="2024-01-29T16:14:32.666" v="8762"/>
          <ac:picMkLst>
            <pc:docMk/>
            <pc:sldMk cId="2065068344" sldId="2147480310"/>
            <ac:picMk id="35" creationId="{A143C66B-AF2A-B709-BD84-663926C02FB5}"/>
          </ac:picMkLst>
        </pc:picChg>
        <pc:picChg chg="mod">
          <ac:chgData name="Cyprien ARETHUSE" userId="abd46b16-7bf0-4c01-a850-92fb83f61f27" providerId="ADAL" clId="{067C7D3F-9573-4B1A-A9B0-3005DA5BAAAF}" dt="2024-01-29T16:14:32.666" v="8762"/>
          <ac:picMkLst>
            <pc:docMk/>
            <pc:sldMk cId="2065068344" sldId="2147480310"/>
            <ac:picMk id="36" creationId="{BA44B6BC-A839-75B2-24CF-F615FB136347}"/>
          </ac:picMkLst>
        </pc:picChg>
        <pc:picChg chg="add mod">
          <ac:chgData name="Cyprien ARETHUSE" userId="abd46b16-7bf0-4c01-a850-92fb83f61f27" providerId="ADAL" clId="{067C7D3F-9573-4B1A-A9B0-3005DA5BAAAF}" dt="2024-01-29T16:14:32.666" v="8762"/>
          <ac:picMkLst>
            <pc:docMk/>
            <pc:sldMk cId="2065068344" sldId="2147480310"/>
            <ac:picMk id="37" creationId="{4AC3B667-83AB-AC08-C283-23E2B20A7A96}"/>
          </ac:picMkLst>
        </pc:picChg>
        <pc:picChg chg="add mod">
          <ac:chgData name="Cyprien ARETHUSE" userId="abd46b16-7bf0-4c01-a850-92fb83f61f27" providerId="ADAL" clId="{067C7D3F-9573-4B1A-A9B0-3005DA5BAAAF}" dt="2024-01-29T16:14:32.666" v="8762"/>
          <ac:picMkLst>
            <pc:docMk/>
            <pc:sldMk cId="2065068344" sldId="2147480310"/>
            <ac:picMk id="38" creationId="{F38A29F6-CA33-B4B8-C3C1-F70985486861}"/>
          </ac:picMkLst>
        </pc:picChg>
        <pc:picChg chg="add mod">
          <ac:chgData name="Cyprien ARETHUSE" userId="abd46b16-7bf0-4c01-a850-92fb83f61f27" providerId="ADAL" clId="{067C7D3F-9573-4B1A-A9B0-3005DA5BAAAF}" dt="2024-01-29T16:14:32.666" v="8762"/>
          <ac:picMkLst>
            <pc:docMk/>
            <pc:sldMk cId="2065068344" sldId="2147480310"/>
            <ac:picMk id="40" creationId="{F6C015B9-AB3D-564E-55C3-9E8F64C008E6}"/>
          </ac:picMkLst>
        </pc:picChg>
      </pc:sldChg>
      <pc:sldChg chg="addSp delSp modSp mod modClrScheme chgLayout">
        <pc:chgData name="Cyprien ARETHUSE" userId="abd46b16-7bf0-4c01-a850-92fb83f61f27" providerId="ADAL" clId="{067C7D3F-9573-4B1A-A9B0-3005DA5BAAAF}" dt="2024-01-29T09:19:16.296" v="8029" actId="700"/>
        <pc:sldMkLst>
          <pc:docMk/>
          <pc:sldMk cId="1160266745" sldId="2147480315"/>
        </pc:sldMkLst>
        <pc:spChg chg="mod ord">
          <ac:chgData name="Cyprien ARETHUSE" userId="abd46b16-7bf0-4c01-a850-92fb83f61f27" providerId="ADAL" clId="{067C7D3F-9573-4B1A-A9B0-3005DA5BAAAF}" dt="2024-01-29T09:19:16.296" v="8029" actId="700"/>
          <ac:spMkLst>
            <pc:docMk/>
            <pc:sldMk cId="1160266745" sldId="2147480315"/>
            <ac:spMk id="2" creationId="{130FE673-0678-95B6-C3B9-B1E6E8BF77E1}"/>
          </ac:spMkLst>
        </pc:spChg>
        <pc:spChg chg="mod ord">
          <ac:chgData name="Cyprien ARETHUSE" userId="abd46b16-7bf0-4c01-a850-92fb83f61f27" providerId="ADAL" clId="{067C7D3F-9573-4B1A-A9B0-3005DA5BAAAF}" dt="2024-01-29T09:19:16.296" v="8029" actId="700"/>
          <ac:spMkLst>
            <pc:docMk/>
            <pc:sldMk cId="1160266745" sldId="2147480315"/>
            <ac:spMk id="3" creationId="{9F010E3A-9898-4967-8E0E-189A53740B55}"/>
          </ac:spMkLst>
        </pc:spChg>
        <pc:spChg chg="add del mod ord">
          <ac:chgData name="Cyprien ARETHUSE" userId="abd46b16-7bf0-4c01-a850-92fb83f61f27" providerId="ADAL" clId="{067C7D3F-9573-4B1A-A9B0-3005DA5BAAAF}" dt="2024-01-29T09:19:16.296" v="8029" actId="700"/>
          <ac:spMkLst>
            <pc:docMk/>
            <pc:sldMk cId="1160266745" sldId="2147480315"/>
            <ac:spMk id="4" creationId="{281DDB46-88E0-762A-AFD9-18501BDA0D6D}"/>
          </ac:spMkLst>
        </pc:spChg>
        <pc:spChg chg="add del mod ord">
          <ac:chgData name="Cyprien ARETHUSE" userId="abd46b16-7bf0-4c01-a850-92fb83f61f27" providerId="ADAL" clId="{067C7D3F-9573-4B1A-A9B0-3005DA5BAAAF}" dt="2024-01-29T09:19:16.296" v="8029" actId="700"/>
          <ac:spMkLst>
            <pc:docMk/>
            <pc:sldMk cId="1160266745" sldId="2147480315"/>
            <ac:spMk id="5" creationId="{43B06AAE-6F1D-02B9-1109-D4A85DD6EB7C}"/>
          </ac:spMkLst>
        </pc:spChg>
        <pc:graphicFrameChg chg="mod">
          <ac:chgData name="Cyprien ARETHUSE" userId="abd46b16-7bf0-4c01-a850-92fb83f61f27" providerId="ADAL" clId="{067C7D3F-9573-4B1A-A9B0-3005DA5BAAAF}" dt="2024-01-29T09:18:33.007" v="8027" actId="1076"/>
          <ac:graphicFrameMkLst>
            <pc:docMk/>
            <pc:sldMk cId="1160266745" sldId="2147480315"/>
            <ac:graphicFrameMk id="6" creationId="{F49AD9D9-8EB9-40C8-817E-797AEF95B20C}"/>
          </ac:graphicFrameMkLst>
        </pc:graphicFrameChg>
      </pc:sldChg>
      <pc:sldChg chg="addSp delSp modSp add mod">
        <pc:chgData name="Cyprien ARETHUSE" userId="abd46b16-7bf0-4c01-a850-92fb83f61f27" providerId="ADAL" clId="{067C7D3F-9573-4B1A-A9B0-3005DA5BAAAF}" dt="2024-02-02T10:33:18.129" v="16054" actId="20577"/>
        <pc:sldMkLst>
          <pc:docMk/>
          <pc:sldMk cId="2099106951" sldId="2147480317"/>
        </pc:sldMkLst>
        <pc:spChg chg="mod">
          <ac:chgData name="Cyprien ARETHUSE" userId="abd46b16-7bf0-4c01-a850-92fb83f61f27" providerId="ADAL" clId="{067C7D3F-9573-4B1A-A9B0-3005DA5BAAAF}" dt="2024-01-29T14:50:26.034" v="8617" actId="13926"/>
          <ac:spMkLst>
            <pc:docMk/>
            <pc:sldMk cId="2099106951" sldId="2147480317"/>
            <ac:spMk id="2" creationId="{79BEB425-9E0E-5DC0-A086-FCE256816139}"/>
          </ac:spMkLst>
        </pc:spChg>
        <pc:spChg chg="add mod">
          <ac:chgData name="Cyprien ARETHUSE" userId="abd46b16-7bf0-4c01-a850-92fb83f61f27" providerId="ADAL" clId="{067C7D3F-9573-4B1A-A9B0-3005DA5BAAAF}" dt="2024-01-29T17:55:38.879" v="9696"/>
          <ac:spMkLst>
            <pc:docMk/>
            <pc:sldMk cId="2099106951" sldId="2147480317"/>
            <ac:spMk id="3" creationId="{D4E38D81-BD1B-CA7C-5594-3ABC758921A4}"/>
          </ac:spMkLst>
        </pc:spChg>
        <pc:spChg chg="add mod">
          <ac:chgData name="Cyprien ARETHUSE" userId="abd46b16-7bf0-4c01-a850-92fb83f61f27" providerId="ADAL" clId="{067C7D3F-9573-4B1A-A9B0-3005DA5BAAAF}" dt="2024-02-02T10:33:18.129" v="16054" actId="20577"/>
          <ac:spMkLst>
            <pc:docMk/>
            <pc:sldMk cId="2099106951" sldId="2147480317"/>
            <ac:spMk id="41" creationId="{7CAAACC4-3B3D-9B2F-87DF-8B270EB1CA14}"/>
          </ac:spMkLst>
        </pc:spChg>
        <pc:spChg chg="add mod">
          <ac:chgData name="Cyprien ARETHUSE" userId="abd46b16-7bf0-4c01-a850-92fb83f61f27" providerId="ADAL" clId="{067C7D3F-9573-4B1A-A9B0-3005DA5BAAAF}" dt="2024-01-29T14:50:46.492" v="8637" actId="1036"/>
          <ac:spMkLst>
            <pc:docMk/>
            <pc:sldMk cId="2099106951" sldId="2147480317"/>
            <ac:spMk id="42" creationId="{F2EA099A-43EF-C3CA-1F70-C35EA14758FC}"/>
          </ac:spMkLst>
        </pc:spChg>
        <pc:spChg chg="del">
          <ac:chgData name="Cyprien ARETHUSE" userId="abd46b16-7bf0-4c01-a850-92fb83f61f27" providerId="ADAL" clId="{067C7D3F-9573-4B1A-A9B0-3005DA5BAAAF}" dt="2024-01-29T14:50:16.397" v="8614" actId="478"/>
          <ac:spMkLst>
            <pc:docMk/>
            <pc:sldMk cId="2099106951" sldId="2147480317"/>
            <ac:spMk id="167" creationId="{0A80B953-9F5E-85C6-520D-7B69159DDE16}"/>
          </ac:spMkLst>
        </pc:spChg>
        <pc:spChg chg="add mod">
          <ac:chgData name="Cyprien ARETHUSE" userId="abd46b16-7bf0-4c01-a850-92fb83f61f27" providerId="ADAL" clId="{067C7D3F-9573-4B1A-A9B0-3005DA5BAAAF}" dt="2024-01-29T14:50:46.492" v="8637" actId="1036"/>
          <ac:spMkLst>
            <pc:docMk/>
            <pc:sldMk cId="2099106951" sldId="2147480317"/>
            <ac:spMk id="190" creationId="{7228D4CC-A5E2-CD94-0660-BB0FDA6CE920}"/>
          </ac:spMkLst>
        </pc:spChg>
        <pc:spChg chg="add mod">
          <ac:chgData name="Cyprien ARETHUSE" userId="abd46b16-7bf0-4c01-a850-92fb83f61f27" providerId="ADAL" clId="{067C7D3F-9573-4B1A-A9B0-3005DA5BAAAF}" dt="2024-01-29T14:50:46.492" v="8637" actId="1036"/>
          <ac:spMkLst>
            <pc:docMk/>
            <pc:sldMk cId="2099106951" sldId="2147480317"/>
            <ac:spMk id="191" creationId="{A53B28F2-8CAA-B9E9-D6D4-5094340CE54A}"/>
          </ac:spMkLst>
        </pc:spChg>
        <pc:spChg chg="add mod">
          <ac:chgData name="Cyprien ARETHUSE" userId="abd46b16-7bf0-4c01-a850-92fb83f61f27" providerId="ADAL" clId="{067C7D3F-9573-4B1A-A9B0-3005DA5BAAAF}" dt="2024-01-29T14:50:46.492" v="8637" actId="1036"/>
          <ac:spMkLst>
            <pc:docMk/>
            <pc:sldMk cId="2099106951" sldId="2147480317"/>
            <ac:spMk id="192" creationId="{3C5BAE56-434E-31E5-6186-0A238F2167B9}"/>
          </ac:spMkLst>
        </pc:spChg>
        <pc:spChg chg="add mod">
          <ac:chgData name="Cyprien ARETHUSE" userId="abd46b16-7bf0-4c01-a850-92fb83f61f27" providerId="ADAL" clId="{067C7D3F-9573-4B1A-A9B0-3005DA5BAAAF}" dt="2024-01-29T14:50:46.492" v="8637" actId="1036"/>
          <ac:spMkLst>
            <pc:docMk/>
            <pc:sldMk cId="2099106951" sldId="2147480317"/>
            <ac:spMk id="193" creationId="{B243D059-BB55-72C9-539A-458ABE8E5C7C}"/>
          </ac:spMkLst>
        </pc:spChg>
        <pc:spChg chg="add mod">
          <ac:chgData name="Cyprien ARETHUSE" userId="abd46b16-7bf0-4c01-a850-92fb83f61f27" providerId="ADAL" clId="{067C7D3F-9573-4B1A-A9B0-3005DA5BAAAF}" dt="2024-01-29T14:50:46.492" v="8637" actId="1036"/>
          <ac:spMkLst>
            <pc:docMk/>
            <pc:sldMk cId="2099106951" sldId="2147480317"/>
            <ac:spMk id="194" creationId="{513CC9D8-5360-46F8-77D1-0896F27F629B}"/>
          </ac:spMkLst>
        </pc:spChg>
        <pc:spChg chg="add mod">
          <ac:chgData name="Cyprien ARETHUSE" userId="abd46b16-7bf0-4c01-a850-92fb83f61f27" providerId="ADAL" clId="{067C7D3F-9573-4B1A-A9B0-3005DA5BAAAF}" dt="2024-01-29T14:51:10.770" v="8638" actId="208"/>
          <ac:spMkLst>
            <pc:docMk/>
            <pc:sldMk cId="2099106951" sldId="2147480317"/>
            <ac:spMk id="195" creationId="{A5C96D53-4498-1E79-FD27-B4AE172FC750}"/>
          </ac:spMkLst>
        </pc:spChg>
        <pc:spChg chg="mod">
          <ac:chgData name="Cyprien ARETHUSE" userId="abd46b16-7bf0-4c01-a850-92fb83f61f27" providerId="ADAL" clId="{067C7D3F-9573-4B1A-A9B0-3005DA5BAAAF}" dt="2024-01-29T14:50:46.492" v="8637" actId="1036"/>
          <ac:spMkLst>
            <pc:docMk/>
            <pc:sldMk cId="2099106951" sldId="2147480317"/>
            <ac:spMk id="197" creationId="{8911F646-94B3-C4B0-D98C-CA6072FEB69A}"/>
          </ac:spMkLst>
        </pc:spChg>
        <pc:spChg chg="mod">
          <ac:chgData name="Cyprien ARETHUSE" userId="abd46b16-7bf0-4c01-a850-92fb83f61f27" providerId="ADAL" clId="{067C7D3F-9573-4B1A-A9B0-3005DA5BAAAF}" dt="2024-01-29T14:50:46.492" v="8637" actId="1036"/>
          <ac:spMkLst>
            <pc:docMk/>
            <pc:sldMk cId="2099106951" sldId="2147480317"/>
            <ac:spMk id="198" creationId="{AC6D2876-1E3B-426A-73EB-AA08A886B732}"/>
          </ac:spMkLst>
        </pc:spChg>
        <pc:spChg chg="mod">
          <ac:chgData name="Cyprien ARETHUSE" userId="abd46b16-7bf0-4c01-a850-92fb83f61f27" providerId="ADAL" clId="{067C7D3F-9573-4B1A-A9B0-3005DA5BAAAF}" dt="2024-01-29T14:50:46.492" v="8637" actId="1036"/>
          <ac:spMkLst>
            <pc:docMk/>
            <pc:sldMk cId="2099106951" sldId="2147480317"/>
            <ac:spMk id="199" creationId="{5FAF2B20-9BC0-4B23-A921-2B7C715F7A14}"/>
          </ac:spMkLst>
        </pc:spChg>
        <pc:spChg chg="mod">
          <ac:chgData name="Cyprien ARETHUSE" userId="abd46b16-7bf0-4c01-a850-92fb83f61f27" providerId="ADAL" clId="{067C7D3F-9573-4B1A-A9B0-3005DA5BAAAF}" dt="2024-01-29T14:50:46.492" v="8637" actId="1036"/>
          <ac:spMkLst>
            <pc:docMk/>
            <pc:sldMk cId="2099106951" sldId="2147480317"/>
            <ac:spMk id="200" creationId="{C67A5394-9E58-8711-A1B0-8AF94AD3F0A1}"/>
          </ac:spMkLst>
        </pc:spChg>
        <pc:spChg chg="add mod">
          <ac:chgData name="Cyprien ARETHUSE" userId="abd46b16-7bf0-4c01-a850-92fb83f61f27" providerId="ADAL" clId="{067C7D3F-9573-4B1A-A9B0-3005DA5BAAAF}" dt="2024-01-29T14:50:46.492" v="8637" actId="1036"/>
          <ac:spMkLst>
            <pc:docMk/>
            <pc:sldMk cId="2099106951" sldId="2147480317"/>
            <ac:spMk id="201" creationId="{2C4ABB04-EA42-6EC1-0989-4DD327CA2799}"/>
          </ac:spMkLst>
        </pc:spChg>
        <pc:spChg chg="add mod">
          <ac:chgData name="Cyprien ARETHUSE" userId="abd46b16-7bf0-4c01-a850-92fb83f61f27" providerId="ADAL" clId="{067C7D3F-9573-4B1A-A9B0-3005DA5BAAAF}" dt="2024-01-29T14:50:46.492" v="8637" actId="1036"/>
          <ac:spMkLst>
            <pc:docMk/>
            <pc:sldMk cId="2099106951" sldId="2147480317"/>
            <ac:spMk id="202" creationId="{A8EB5BAF-E527-5ABC-1BD8-172C893635BB}"/>
          </ac:spMkLst>
        </pc:spChg>
        <pc:spChg chg="add mod">
          <ac:chgData name="Cyprien ARETHUSE" userId="abd46b16-7bf0-4c01-a850-92fb83f61f27" providerId="ADAL" clId="{067C7D3F-9573-4B1A-A9B0-3005DA5BAAAF}" dt="2024-01-29T14:50:46.492" v="8637" actId="1036"/>
          <ac:spMkLst>
            <pc:docMk/>
            <pc:sldMk cId="2099106951" sldId="2147480317"/>
            <ac:spMk id="203" creationId="{D113490F-A536-D20A-DBAC-FEFF8816594C}"/>
          </ac:spMkLst>
        </pc:spChg>
        <pc:spChg chg="add mod">
          <ac:chgData name="Cyprien ARETHUSE" userId="abd46b16-7bf0-4c01-a850-92fb83f61f27" providerId="ADAL" clId="{067C7D3F-9573-4B1A-A9B0-3005DA5BAAAF}" dt="2024-02-01T17:38:10.494" v="15791" actId="20577"/>
          <ac:spMkLst>
            <pc:docMk/>
            <pc:sldMk cId="2099106951" sldId="2147480317"/>
            <ac:spMk id="204" creationId="{44D66E35-4B7E-6762-ED34-1C832269F88C}"/>
          </ac:spMkLst>
        </pc:spChg>
        <pc:spChg chg="add mod">
          <ac:chgData name="Cyprien ARETHUSE" userId="abd46b16-7bf0-4c01-a850-92fb83f61f27" providerId="ADAL" clId="{067C7D3F-9573-4B1A-A9B0-3005DA5BAAAF}" dt="2024-01-29T14:50:46.492" v="8637" actId="1036"/>
          <ac:spMkLst>
            <pc:docMk/>
            <pc:sldMk cId="2099106951" sldId="2147480317"/>
            <ac:spMk id="205" creationId="{49B5DD33-35F0-212E-A8FA-A14AC96CC04E}"/>
          </ac:spMkLst>
        </pc:spChg>
        <pc:spChg chg="add mod">
          <ac:chgData name="Cyprien ARETHUSE" userId="abd46b16-7bf0-4c01-a850-92fb83f61f27" providerId="ADAL" clId="{067C7D3F-9573-4B1A-A9B0-3005DA5BAAAF}" dt="2024-01-29T17:54:45.533" v="9643" actId="1035"/>
          <ac:spMkLst>
            <pc:docMk/>
            <pc:sldMk cId="2099106951" sldId="2147480317"/>
            <ac:spMk id="206" creationId="{F70AA521-1831-FBF8-6FF2-CE0F00264508}"/>
          </ac:spMkLst>
        </pc:spChg>
        <pc:spChg chg="mod">
          <ac:chgData name="Cyprien ARETHUSE" userId="abd46b16-7bf0-4c01-a850-92fb83f61f27" providerId="ADAL" clId="{067C7D3F-9573-4B1A-A9B0-3005DA5BAAAF}" dt="2024-01-29T14:50:46.492" v="8637" actId="1036"/>
          <ac:spMkLst>
            <pc:docMk/>
            <pc:sldMk cId="2099106951" sldId="2147480317"/>
            <ac:spMk id="208" creationId="{9CA5CB4D-C73C-9959-AD96-592F5C05FAA4}"/>
          </ac:spMkLst>
        </pc:spChg>
        <pc:spChg chg="mod">
          <ac:chgData name="Cyprien ARETHUSE" userId="abd46b16-7bf0-4c01-a850-92fb83f61f27" providerId="ADAL" clId="{067C7D3F-9573-4B1A-A9B0-3005DA5BAAAF}" dt="2024-01-29T14:50:46.492" v="8637" actId="1036"/>
          <ac:spMkLst>
            <pc:docMk/>
            <pc:sldMk cId="2099106951" sldId="2147480317"/>
            <ac:spMk id="209" creationId="{EF88B07A-25EE-C667-F639-C75A9358B8A6}"/>
          </ac:spMkLst>
        </pc:spChg>
        <pc:spChg chg="mod">
          <ac:chgData name="Cyprien ARETHUSE" userId="abd46b16-7bf0-4c01-a850-92fb83f61f27" providerId="ADAL" clId="{067C7D3F-9573-4B1A-A9B0-3005DA5BAAAF}" dt="2024-01-29T14:50:46.492" v="8637" actId="1036"/>
          <ac:spMkLst>
            <pc:docMk/>
            <pc:sldMk cId="2099106951" sldId="2147480317"/>
            <ac:spMk id="210" creationId="{ABC5A150-B62C-E4D5-F1C3-08C118EF744F}"/>
          </ac:spMkLst>
        </pc:spChg>
        <pc:spChg chg="mod">
          <ac:chgData name="Cyprien ARETHUSE" userId="abd46b16-7bf0-4c01-a850-92fb83f61f27" providerId="ADAL" clId="{067C7D3F-9573-4B1A-A9B0-3005DA5BAAAF}" dt="2024-01-29T14:50:46.492" v="8637" actId="1036"/>
          <ac:spMkLst>
            <pc:docMk/>
            <pc:sldMk cId="2099106951" sldId="2147480317"/>
            <ac:spMk id="211" creationId="{0BEBDA52-72CC-B9EB-B28F-5EEF6094E749}"/>
          </ac:spMkLst>
        </pc:spChg>
        <pc:spChg chg="mod">
          <ac:chgData name="Cyprien ARETHUSE" userId="abd46b16-7bf0-4c01-a850-92fb83f61f27" providerId="ADAL" clId="{067C7D3F-9573-4B1A-A9B0-3005DA5BAAAF}" dt="2024-01-29T14:50:46.492" v="8637" actId="1036"/>
          <ac:spMkLst>
            <pc:docMk/>
            <pc:sldMk cId="2099106951" sldId="2147480317"/>
            <ac:spMk id="212" creationId="{AB84D593-6750-5AD5-0956-04F70AC0DB24}"/>
          </ac:spMkLst>
        </pc:spChg>
        <pc:spChg chg="mod">
          <ac:chgData name="Cyprien ARETHUSE" userId="abd46b16-7bf0-4c01-a850-92fb83f61f27" providerId="ADAL" clId="{067C7D3F-9573-4B1A-A9B0-3005DA5BAAAF}" dt="2024-01-29T14:50:46.492" v="8637" actId="1036"/>
          <ac:spMkLst>
            <pc:docMk/>
            <pc:sldMk cId="2099106951" sldId="2147480317"/>
            <ac:spMk id="213" creationId="{52E3314D-825E-EF40-0600-537230C1B3FA}"/>
          </ac:spMkLst>
        </pc:spChg>
        <pc:spChg chg="mod">
          <ac:chgData name="Cyprien ARETHUSE" userId="abd46b16-7bf0-4c01-a850-92fb83f61f27" providerId="ADAL" clId="{067C7D3F-9573-4B1A-A9B0-3005DA5BAAAF}" dt="2024-01-29T14:50:46.492" v="8637" actId="1036"/>
          <ac:spMkLst>
            <pc:docMk/>
            <pc:sldMk cId="2099106951" sldId="2147480317"/>
            <ac:spMk id="214" creationId="{2C6F3066-1B7B-D6FA-690F-C1D9D50F4A9A}"/>
          </ac:spMkLst>
        </pc:spChg>
        <pc:spChg chg="mod">
          <ac:chgData name="Cyprien ARETHUSE" userId="abd46b16-7bf0-4c01-a850-92fb83f61f27" providerId="ADAL" clId="{067C7D3F-9573-4B1A-A9B0-3005DA5BAAAF}" dt="2024-01-29T14:50:46.492" v="8637" actId="1036"/>
          <ac:spMkLst>
            <pc:docMk/>
            <pc:sldMk cId="2099106951" sldId="2147480317"/>
            <ac:spMk id="215" creationId="{5AE523B4-B2B7-11A5-C0FC-1924A23D648A}"/>
          </ac:spMkLst>
        </pc:spChg>
        <pc:spChg chg="add mod">
          <ac:chgData name="Cyprien ARETHUSE" userId="abd46b16-7bf0-4c01-a850-92fb83f61f27" providerId="ADAL" clId="{067C7D3F-9573-4B1A-A9B0-3005DA5BAAAF}" dt="2024-01-29T14:50:46.492" v="8637" actId="1036"/>
          <ac:spMkLst>
            <pc:docMk/>
            <pc:sldMk cId="2099106951" sldId="2147480317"/>
            <ac:spMk id="216" creationId="{6B560022-1C12-7564-CB0D-95B31F2FB167}"/>
          </ac:spMkLst>
        </pc:spChg>
        <pc:spChg chg="add mod">
          <ac:chgData name="Cyprien ARETHUSE" userId="abd46b16-7bf0-4c01-a850-92fb83f61f27" providerId="ADAL" clId="{067C7D3F-9573-4B1A-A9B0-3005DA5BAAAF}" dt="2024-01-29T14:50:46.492" v="8637" actId="1036"/>
          <ac:spMkLst>
            <pc:docMk/>
            <pc:sldMk cId="2099106951" sldId="2147480317"/>
            <ac:spMk id="217" creationId="{EA98F2A5-5A01-B78B-A5F4-5535377ED352}"/>
          </ac:spMkLst>
        </pc:spChg>
        <pc:grpChg chg="del">
          <ac:chgData name="Cyprien ARETHUSE" userId="abd46b16-7bf0-4c01-a850-92fb83f61f27" providerId="ADAL" clId="{067C7D3F-9573-4B1A-A9B0-3005DA5BAAAF}" dt="2024-01-29T14:50:18.233" v="8615" actId="478"/>
          <ac:grpSpMkLst>
            <pc:docMk/>
            <pc:sldMk cId="2099106951" sldId="2147480317"/>
            <ac:grpSpMk id="4" creationId="{4158089B-DB4C-04A1-1A09-A603F5128E3B}"/>
          </ac:grpSpMkLst>
        </pc:grpChg>
        <pc:grpChg chg="add mod">
          <ac:chgData name="Cyprien ARETHUSE" userId="abd46b16-7bf0-4c01-a850-92fb83f61f27" providerId="ADAL" clId="{067C7D3F-9573-4B1A-A9B0-3005DA5BAAAF}" dt="2024-01-29T14:50:46.492" v="8637" actId="1036"/>
          <ac:grpSpMkLst>
            <pc:docMk/>
            <pc:sldMk cId="2099106951" sldId="2147480317"/>
            <ac:grpSpMk id="196" creationId="{CF69D58A-C33B-BED9-D34F-50F107566AEB}"/>
          </ac:grpSpMkLst>
        </pc:grpChg>
        <pc:grpChg chg="add mod">
          <ac:chgData name="Cyprien ARETHUSE" userId="abd46b16-7bf0-4c01-a850-92fb83f61f27" providerId="ADAL" clId="{067C7D3F-9573-4B1A-A9B0-3005DA5BAAAF}" dt="2024-01-29T14:50:46.492" v="8637" actId="1036"/>
          <ac:grpSpMkLst>
            <pc:docMk/>
            <pc:sldMk cId="2099106951" sldId="2147480317"/>
            <ac:grpSpMk id="207" creationId="{9FD4CC37-6570-5D24-8504-B7639EDDC3AF}"/>
          </ac:grpSpMkLst>
        </pc:grpChg>
        <pc:picChg chg="add mod">
          <ac:chgData name="Cyprien ARETHUSE" userId="abd46b16-7bf0-4c01-a850-92fb83f61f27" providerId="ADAL" clId="{067C7D3F-9573-4B1A-A9B0-3005DA5BAAAF}" dt="2024-01-29T14:50:46.492" v="8637" actId="1036"/>
          <ac:picMkLst>
            <pc:docMk/>
            <pc:sldMk cId="2099106951" sldId="2147480317"/>
            <ac:picMk id="218" creationId="{BDE30285-BF5E-1991-D059-C683C814AE1E}"/>
          </ac:picMkLst>
        </pc:picChg>
      </pc:sldChg>
      <pc:sldChg chg="addSp delSp modSp add mod">
        <pc:chgData name="Cyprien ARETHUSE" userId="abd46b16-7bf0-4c01-a850-92fb83f61f27" providerId="ADAL" clId="{067C7D3F-9573-4B1A-A9B0-3005DA5BAAAF}" dt="2024-01-29T16:16:28.974" v="8873" actId="6549"/>
        <pc:sldMkLst>
          <pc:docMk/>
          <pc:sldMk cId="4077997474" sldId="2147480324"/>
        </pc:sldMkLst>
        <pc:spChg chg="del">
          <ac:chgData name="Cyprien ARETHUSE" userId="abd46b16-7bf0-4c01-a850-92fb83f61f27" providerId="ADAL" clId="{067C7D3F-9573-4B1A-A9B0-3005DA5BAAAF}" dt="2024-01-29T16:15:37.171" v="8787" actId="478"/>
          <ac:spMkLst>
            <pc:docMk/>
            <pc:sldMk cId="4077997474" sldId="2147480324"/>
            <ac:spMk id="2" creationId="{BF857A13-9B21-9D08-5BCE-9F6F794662F3}"/>
          </ac:spMkLst>
        </pc:spChg>
        <pc:spChg chg="del">
          <ac:chgData name="Cyprien ARETHUSE" userId="abd46b16-7bf0-4c01-a850-92fb83f61f27" providerId="ADAL" clId="{067C7D3F-9573-4B1A-A9B0-3005DA5BAAAF}" dt="2024-01-29T16:15:37.171" v="8787" actId="478"/>
          <ac:spMkLst>
            <pc:docMk/>
            <pc:sldMk cId="4077997474" sldId="2147480324"/>
            <ac:spMk id="3" creationId="{CD2C8806-76FD-0C48-E7CE-AAACEF057CA1}"/>
          </ac:spMkLst>
        </pc:spChg>
        <pc:spChg chg="del">
          <ac:chgData name="Cyprien ARETHUSE" userId="abd46b16-7bf0-4c01-a850-92fb83f61f27" providerId="ADAL" clId="{067C7D3F-9573-4B1A-A9B0-3005DA5BAAAF}" dt="2024-01-29T16:15:37.171" v="8787" actId="478"/>
          <ac:spMkLst>
            <pc:docMk/>
            <pc:sldMk cId="4077997474" sldId="2147480324"/>
            <ac:spMk id="4" creationId="{2C16A74B-6324-D090-A7CB-C426DA64F2FC}"/>
          </ac:spMkLst>
        </pc:spChg>
        <pc:spChg chg="del">
          <ac:chgData name="Cyprien ARETHUSE" userId="abd46b16-7bf0-4c01-a850-92fb83f61f27" providerId="ADAL" clId="{067C7D3F-9573-4B1A-A9B0-3005DA5BAAAF}" dt="2024-01-29T16:15:37.171" v="8787" actId="478"/>
          <ac:spMkLst>
            <pc:docMk/>
            <pc:sldMk cId="4077997474" sldId="2147480324"/>
            <ac:spMk id="5" creationId="{BB2F53DE-CA86-D804-EE23-B3CF4B0C5E76}"/>
          </ac:spMkLst>
        </pc:spChg>
        <pc:spChg chg="del">
          <ac:chgData name="Cyprien ARETHUSE" userId="abd46b16-7bf0-4c01-a850-92fb83f61f27" providerId="ADAL" clId="{067C7D3F-9573-4B1A-A9B0-3005DA5BAAAF}" dt="2024-01-29T16:15:37.171" v="8787" actId="478"/>
          <ac:spMkLst>
            <pc:docMk/>
            <pc:sldMk cId="4077997474" sldId="2147480324"/>
            <ac:spMk id="7" creationId="{81245684-CB42-C707-9FDE-D172B55AFB51}"/>
          </ac:spMkLst>
        </pc:spChg>
        <pc:spChg chg="del">
          <ac:chgData name="Cyprien ARETHUSE" userId="abd46b16-7bf0-4c01-a850-92fb83f61f27" providerId="ADAL" clId="{067C7D3F-9573-4B1A-A9B0-3005DA5BAAAF}" dt="2024-01-29T16:15:37.171" v="8787" actId="478"/>
          <ac:spMkLst>
            <pc:docMk/>
            <pc:sldMk cId="4077997474" sldId="2147480324"/>
            <ac:spMk id="8" creationId="{726EBE60-6DE4-5564-5AE0-ACBBA72D891C}"/>
          </ac:spMkLst>
        </pc:spChg>
        <pc:spChg chg="del">
          <ac:chgData name="Cyprien ARETHUSE" userId="abd46b16-7bf0-4c01-a850-92fb83f61f27" providerId="ADAL" clId="{067C7D3F-9573-4B1A-A9B0-3005DA5BAAAF}" dt="2024-01-29T16:15:37.171" v="8787" actId="478"/>
          <ac:spMkLst>
            <pc:docMk/>
            <pc:sldMk cId="4077997474" sldId="2147480324"/>
            <ac:spMk id="11" creationId="{0D3969C1-1754-9C82-D6F6-EA2081A7C97C}"/>
          </ac:spMkLst>
        </pc:spChg>
        <pc:spChg chg="mod">
          <ac:chgData name="Cyprien ARETHUSE" userId="abd46b16-7bf0-4c01-a850-92fb83f61f27" providerId="ADAL" clId="{067C7D3F-9573-4B1A-A9B0-3005DA5BAAAF}" dt="2024-01-29T16:15:46.666" v="8823" actId="20577"/>
          <ac:spMkLst>
            <pc:docMk/>
            <pc:sldMk cId="4077997474" sldId="2147480324"/>
            <ac:spMk id="12" creationId="{A69472D7-2493-2CA6-688C-D454739D34D4}"/>
          </ac:spMkLst>
        </pc:spChg>
        <pc:spChg chg="del">
          <ac:chgData name="Cyprien ARETHUSE" userId="abd46b16-7bf0-4c01-a850-92fb83f61f27" providerId="ADAL" clId="{067C7D3F-9573-4B1A-A9B0-3005DA5BAAAF}" dt="2024-01-29T16:15:37.171" v="8787" actId="478"/>
          <ac:spMkLst>
            <pc:docMk/>
            <pc:sldMk cId="4077997474" sldId="2147480324"/>
            <ac:spMk id="13" creationId="{60144A62-D7A0-7B1B-0A70-C0D515E9FA51}"/>
          </ac:spMkLst>
        </pc:spChg>
        <pc:spChg chg="del">
          <ac:chgData name="Cyprien ARETHUSE" userId="abd46b16-7bf0-4c01-a850-92fb83f61f27" providerId="ADAL" clId="{067C7D3F-9573-4B1A-A9B0-3005DA5BAAAF}" dt="2024-01-29T16:15:37.171" v="8787" actId="478"/>
          <ac:spMkLst>
            <pc:docMk/>
            <pc:sldMk cId="4077997474" sldId="2147480324"/>
            <ac:spMk id="15" creationId="{0FBC5C26-9AFF-3C81-E825-1A9E300C8CE3}"/>
          </ac:spMkLst>
        </pc:spChg>
        <pc:spChg chg="del">
          <ac:chgData name="Cyprien ARETHUSE" userId="abd46b16-7bf0-4c01-a850-92fb83f61f27" providerId="ADAL" clId="{067C7D3F-9573-4B1A-A9B0-3005DA5BAAAF}" dt="2024-01-29T16:15:37.171" v="8787" actId="478"/>
          <ac:spMkLst>
            <pc:docMk/>
            <pc:sldMk cId="4077997474" sldId="2147480324"/>
            <ac:spMk id="16" creationId="{987CCA58-6F77-73EE-D619-990A9747F4C6}"/>
          </ac:spMkLst>
        </pc:spChg>
        <pc:spChg chg="del">
          <ac:chgData name="Cyprien ARETHUSE" userId="abd46b16-7bf0-4c01-a850-92fb83f61f27" providerId="ADAL" clId="{067C7D3F-9573-4B1A-A9B0-3005DA5BAAAF}" dt="2024-01-29T16:15:37.171" v="8787" actId="478"/>
          <ac:spMkLst>
            <pc:docMk/>
            <pc:sldMk cId="4077997474" sldId="2147480324"/>
            <ac:spMk id="18" creationId="{04A2156D-3519-BD73-95A4-651804F74F58}"/>
          </ac:spMkLst>
        </pc:spChg>
        <pc:spChg chg="del">
          <ac:chgData name="Cyprien ARETHUSE" userId="abd46b16-7bf0-4c01-a850-92fb83f61f27" providerId="ADAL" clId="{067C7D3F-9573-4B1A-A9B0-3005DA5BAAAF}" dt="2024-01-29T16:15:37.171" v="8787" actId="478"/>
          <ac:spMkLst>
            <pc:docMk/>
            <pc:sldMk cId="4077997474" sldId="2147480324"/>
            <ac:spMk id="19" creationId="{7E21368D-4C55-A6A6-9BFD-F0DE40746AA3}"/>
          </ac:spMkLst>
        </pc:spChg>
        <pc:spChg chg="add mod">
          <ac:chgData name="Cyprien ARETHUSE" userId="abd46b16-7bf0-4c01-a850-92fb83f61f27" providerId="ADAL" clId="{067C7D3F-9573-4B1A-A9B0-3005DA5BAAAF}" dt="2024-01-29T16:16:05.485" v="8853"/>
          <ac:spMkLst>
            <pc:docMk/>
            <pc:sldMk cId="4077997474" sldId="2147480324"/>
            <ac:spMk id="41" creationId="{FCC8CA04-A669-EB00-CF2D-BF0B2CFAA0B2}"/>
          </ac:spMkLst>
        </pc:spChg>
        <pc:grpChg chg="del">
          <ac:chgData name="Cyprien ARETHUSE" userId="abd46b16-7bf0-4c01-a850-92fb83f61f27" providerId="ADAL" clId="{067C7D3F-9573-4B1A-A9B0-3005DA5BAAAF}" dt="2024-01-29T16:15:37.171" v="8787" actId="478"/>
          <ac:grpSpMkLst>
            <pc:docMk/>
            <pc:sldMk cId="4077997474" sldId="2147480324"/>
            <ac:grpSpMk id="21" creationId="{B178DBDD-9F7A-E298-03C5-4851235AACBC}"/>
          </ac:grpSpMkLst>
        </pc:grpChg>
        <pc:graphicFrameChg chg="del">
          <ac:chgData name="Cyprien ARETHUSE" userId="abd46b16-7bf0-4c01-a850-92fb83f61f27" providerId="ADAL" clId="{067C7D3F-9573-4B1A-A9B0-3005DA5BAAAF}" dt="2024-01-29T16:15:37.171" v="8787" actId="478"/>
          <ac:graphicFrameMkLst>
            <pc:docMk/>
            <pc:sldMk cId="4077997474" sldId="2147480324"/>
            <ac:graphicFrameMk id="20" creationId="{22B2804A-82C6-1CDD-196B-E04860297200}"/>
          </ac:graphicFrameMkLst>
        </pc:graphicFrameChg>
        <pc:graphicFrameChg chg="add mod modGraphic">
          <ac:chgData name="Cyprien ARETHUSE" userId="abd46b16-7bf0-4c01-a850-92fb83f61f27" providerId="ADAL" clId="{067C7D3F-9573-4B1A-A9B0-3005DA5BAAAF}" dt="2024-01-29T16:16:28.974" v="8873" actId="6549"/>
          <ac:graphicFrameMkLst>
            <pc:docMk/>
            <pc:sldMk cId="4077997474" sldId="2147480324"/>
            <ac:graphicFrameMk id="39" creationId="{7E822EDC-4BD1-514B-2869-A9AE2BC16F64}"/>
          </ac:graphicFrameMkLst>
        </pc:graphicFrameChg>
        <pc:picChg chg="del">
          <ac:chgData name="Cyprien ARETHUSE" userId="abd46b16-7bf0-4c01-a850-92fb83f61f27" providerId="ADAL" clId="{067C7D3F-9573-4B1A-A9B0-3005DA5BAAAF}" dt="2024-01-29T16:15:37.171" v="8787" actId="478"/>
          <ac:picMkLst>
            <pc:docMk/>
            <pc:sldMk cId="4077997474" sldId="2147480324"/>
            <ac:picMk id="6" creationId="{042CE5C4-7EE3-9845-EF71-0AED3AA53166}"/>
          </ac:picMkLst>
        </pc:picChg>
        <pc:picChg chg="del">
          <ac:chgData name="Cyprien ARETHUSE" userId="abd46b16-7bf0-4c01-a850-92fb83f61f27" providerId="ADAL" clId="{067C7D3F-9573-4B1A-A9B0-3005DA5BAAAF}" dt="2024-01-29T16:15:37.171" v="8787" actId="478"/>
          <ac:picMkLst>
            <pc:docMk/>
            <pc:sldMk cId="4077997474" sldId="2147480324"/>
            <ac:picMk id="9" creationId="{A9DBFD4D-AEF1-DFBE-46AF-976036DF3530}"/>
          </ac:picMkLst>
        </pc:picChg>
        <pc:picChg chg="del">
          <ac:chgData name="Cyprien ARETHUSE" userId="abd46b16-7bf0-4c01-a850-92fb83f61f27" providerId="ADAL" clId="{067C7D3F-9573-4B1A-A9B0-3005DA5BAAAF}" dt="2024-01-29T16:15:37.171" v="8787" actId="478"/>
          <ac:picMkLst>
            <pc:docMk/>
            <pc:sldMk cId="4077997474" sldId="2147480324"/>
            <ac:picMk id="10" creationId="{3DC76746-1427-8BE2-ED64-CECAFF8416D5}"/>
          </ac:picMkLst>
        </pc:picChg>
        <pc:picChg chg="del">
          <ac:chgData name="Cyprien ARETHUSE" userId="abd46b16-7bf0-4c01-a850-92fb83f61f27" providerId="ADAL" clId="{067C7D3F-9573-4B1A-A9B0-3005DA5BAAAF}" dt="2024-01-29T16:15:37.171" v="8787" actId="478"/>
          <ac:picMkLst>
            <pc:docMk/>
            <pc:sldMk cId="4077997474" sldId="2147480324"/>
            <ac:picMk id="14" creationId="{1D02A0F8-B64F-2B2E-2B75-C80BD17D4583}"/>
          </ac:picMkLst>
        </pc:picChg>
        <pc:picChg chg="del">
          <ac:chgData name="Cyprien ARETHUSE" userId="abd46b16-7bf0-4c01-a850-92fb83f61f27" providerId="ADAL" clId="{067C7D3F-9573-4B1A-A9B0-3005DA5BAAAF}" dt="2024-01-29T16:15:37.171" v="8787" actId="478"/>
          <ac:picMkLst>
            <pc:docMk/>
            <pc:sldMk cId="4077997474" sldId="2147480324"/>
            <ac:picMk id="17" creationId="{CCC1284C-1A3E-2789-E43E-E33D730481CF}"/>
          </ac:picMkLst>
        </pc:picChg>
        <pc:picChg chg="del">
          <ac:chgData name="Cyprien ARETHUSE" userId="abd46b16-7bf0-4c01-a850-92fb83f61f27" providerId="ADAL" clId="{067C7D3F-9573-4B1A-A9B0-3005DA5BAAAF}" dt="2024-01-29T16:15:37.171" v="8787" actId="478"/>
          <ac:picMkLst>
            <pc:docMk/>
            <pc:sldMk cId="4077997474" sldId="2147480324"/>
            <ac:picMk id="37" creationId="{4AC3B667-83AB-AC08-C283-23E2B20A7A96}"/>
          </ac:picMkLst>
        </pc:picChg>
        <pc:picChg chg="del">
          <ac:chgData name="Cyprien ARETHUSE" userId="abd46b16-7bf0-4c01-a850-92fb83f61f27" providerId="ADAL" clId="{067C7D3F-9573-4B1A-A9B0-3005DA5BAAAF}" dt="2024-01-29T16:15:37.171" v="8787" actId="478"/>
          <ac:picMkLst>
            <pc:docMk/>
            <pc:sldMk cId="4077997474" sldId="2147480324"/>
            <ac:picMk id="38" creationId="{F38A29F6-CA33-B4B8-C3C1-F70985486861}"/>
          </ac:picMkLst>
        </pc:picChg>
        <pc:picChg chg="del">
          <ac:chgData name="Cyprien ARETHUSE" userId="abd46b16-7bf0-4c01-a850-92fb83f61f27" providerId="ADAL" clId="{067C7D3F-9573-4B1A-A9B0-3005DA5BAAAF}" dt="2024-01-29T16:15:37.171" v="8787" actId="478"/>
          <ac:picMkLst>
            <pc:docMk/>
            <pc:sldMk cId="4077997474" sldId="2147480324"/>
            <ac:picMk id="40" creationId="{F6C015B9-AB3D-564E-55C3-9E8F64C008E6}"/>
          </ac:picMkLst>
        </pc:picChg>
      </pc:sldChg>
      <pc:sldChg chg="modSp mod">
        <pc:chgData name="Cyprien ARETHUSE" userId="abd46b16-7bf0-4c01-a850-92fb83f61f27" providerId="ADAL" clId="{067C7D3F-9573-4B1A-A9B0-3005DA5BAAAF}" dt="2024-02-02T10:39:37.569" v="16091" actId="1076"/>
        <pc:sldMkLst>
          <pc:docMk/>
          <pc:sldMk cId="3058333471" sldId="2147480328"/>
        </pc:sldMkLst>
        <pc:spChg chg="mod">
          <ac:chgData name="Cyprien ARETHUSE" userId="abd46b16-7bf0-4c01-a850-92fb83f61f27" providerId="ADAL" clId="{067C7D3F-9573-4B1A-A9B0-3005DA5BAAAF}" dt="2024-02-01T07:20:09.083" v="10966"/>
          <ac:spMkLst>
            <pc:docMk/>
            <pc:sldMk cId="3058333471" sldId="2147480328"/>
            <ac:spMk id="2" creationId="{7E57833B-F9F8-3CAB-30A5-335812052FC8}"/>
          </ac:spMkLst>
        </pc:spChg>
        <pc:spChg chg="mod">
          <ac:chgData name="Cyprien ARETHUSE" userId="abd46b16-7bf0-4c01-a850-92fb83f61f27" providerId="ADAL" clId="{067C7D3F-9573-4B1A-A9B0-3005DA5BAAAF}" dt="2024-02-01T17:22:44.421" v="15553" actId="1038"/>
          <ac:spMkLst>
            <pc:docMk/>
            <pc:sldMk cId="3058333471" sldId="2147480328"/>
            <ac:spMk id="75" creationId="{BC74EBA1-9E2E-CA18-C777-57BB3E586BF6}"/>
          </ac:spMkLst>
        </pc:spChg>
        <pc:spChg chg="mod">
          <ac:chgData name="Cyprien ARETHUSE" userId="abd46b16-7bf0-4c01-a850-92fb83f61f27" providerId="ADAL" clId="{067C7D3F-9573-4B1A-A9B0-3005DA5BAAAF}" dt="2024-02-02T10:39:37.569" v="16091" actId="1076"/>
          <ac:spMkLst>
            <pc:docMk/>
            <pc:sldMk cId="3058333471" sldId="2147480328"/>
            <ac:spMk id="83" creationId="{C239288C-3F8B-5FF8-45D9-EDB48F87E700}"/>
          </ac:spMkLst>
        </pc:spChg>
      </pc:sldChg>
      <pc:sldChg chg="addSp delSp modSp mod">
        <pc:chgData name="Cyprien ARETHUSE" userId="abd46b16-7bf0-4c01-a850-92fb83f61f27" providerId="ADAL" clId="{067C7D3F-9573-4B1A-A9B0-3005DA5BAAAF}" dt="2024-02-01T16:44:56.911" v="14914" actId="12788"/>
        <pc:sldMkLst>
          <pc:docMk/>
          <pc:sldMk cId="1296099944" sldId="2147480329"/>
        </pc:sldMkLst>
        <pc:spChg chg="add mod">
          <ac:chgData name="Cyprien ARETHUSE" userId="abd46b16-7bf0-4c01-a850-92fb83f61f27" providerId="ADAL" clId="{067C7D3F-9573-4B1A-A9B0-3005DA5BAAAF}" dt="2024-02-01T13:54:15.388" v="12220" actId="571"/>
          <ac:spMkLst>
            <pc:docMk/>
            <pc:sldMk cId="1296099944" sldId="2147480329"/>
            <ac:spMk id="2" creationId="{608D369B-F078-A577-DC6D-FAFD9C35B7BF}"/>
          </ac:spMkLst>
        </pc:spChg>
        <pc:spChg chg="mod">
          <ac:chgData name="Cyprien ARETHUSE" userId="abd46b16-7bf0-4c01-a850-92fb83f61f27" providerId="ADAL" clId="{067C7D3F-9573-4B1A-A9B0-3005DA5BAAAF}" dt="2024-02-01T14:26:31.050" v="12959" actId="1036"/>
          <ac:spMkLst>
            <pc:docMk/>
            <pc:sldMk cId="1296099944" sldId="2147480329"/>
            <ac:spMk id="5" creationId="{A9805C1D-147B-B4B0-986F-E6803E8936D2}"/>
          </ac:spMkLst>
        </pc:spChg>
        <pc:spChg chg="mod">
          <ac:chgData name="Cyprien ARETHUSE" userId="abd46b16-7bf0-4c01-a850-92fb83f61f27" providerId="ADAL" clId="{067C7D3F-9573-4B1A-A9B0-3005DA5BAAAF}" dt="2024-02-01T14:26:31.050" v="12959" actId="1036"/>
          <ac:spMkLst>
            <pc:docMk/>
            <pc:sldMk cId="1296099944" sldId="2147480329"/>
            <ac:spMk id="6" creationId="{22C78D11-37A1-CDCF-93E9-E62129580193}"/>
          </ac:spMkLst>
        </pc:spChg>
        <pc:spChg chg="mod">
          <ac:chgData name="Cyprien ARETHUSE" userId="abd46b16-7bf0-4c01-a850-92fb83f61f27" providerId="ADAL" clId="{067C7D3F-9573-4B1A-A9B0-3005DA5BAAAF}" dt="2024-02-01T14:01:21.887" v="12422" actId="14100"/>
          <ac:spMkLst>
            <pc:docMk/>
            <pc:sldMk cId="1296099944" sldId="2147480329"/>
            <ac:spMk id="8" creationId="{9273A8F3-E845-FA5A-EA6F-AB2926CB9117}"/>
          </ac:spMkLst>
        </pc:spChg>
        <pc:spChg chg="mod">
          <ac:chgData name="Cyprien ARETHUSE" userId="abd46b16-7bf0-4c01-a850-92fb83f61f27" providerId="ADAL" clId="{067C7D3F-9573-4B1A-A9B0-3005DA5BAAAF}" dt="2024-02-01T14:26:31.050" v="12959" actId="1036"/>
          <ac:spMkLst>
            <pc:docMk/>
            <pc:sldMk cId="1296099944" sldId="2147480329"/>
            <ac:spMk id="9" creationId="{66EB49D6-BB51-7D45-D375-8A151FDF5E56}"/>
          </ac:spMkLst>
        </pc:spChg>
        <pc:spChg chg="mod">
          <ac:chgData name="Cyprien ARETHUSE" userId="abd46b16-7bf0-4c01-a850-92fb83f61f27" providerId="ADAL" clId="{067C7D3F-9573-4B1A-A9B0-3005DA5BAAAF}" dt="2024-02-01T14:26:31.050" v="12959" actId="1036"/>
          <ac:spMkLst>
            <pc:docMk/>
            <pc:sldMk cId="1296099944" sldId="2147480329"/>
            <ac:spMk id="10" creationId="{D14BB2B0-040E-3510-DFE5-855F08829352}"/>
          </ac:spMkLst>
        </pc:spChg>
        <pc:spChg chg="del mod">
          <ac:chgData name="Cyprien ARETHUSE" userId="abd46b16-7bf0-4c01-a850-92fb83f61f27" providerId="ADAL" clId="{067C7D3F-9573-4B1A-A9B0-3005DA5BAAAF}" dt="2024-02-01T14:01:19" v="12421" actId="478"/>
          <ac:spMkLst>
            <pc:docMk/>
            <pc:sldMk cId="1296099944" sldId="2147480329"/>
            <ac:spMk id="11" creationId="{7CFB4294-4C86-813C-1CD8-856733A73AD3}"/>
          </ac:spMkLst>
        </pc:spChg>
        <pc:spChg chg="mod">
          <ac:chgData name="Cyprien ARETHUSE" userId="abd46b16-7bf0-4c01-a850-92fb83f61f27" providerId="ADAL" clId="{067C7D3F-9573-4B1A-A9B0-3005DA5BAAAF}" dt="2024-02-01T16:40:24.561" v="14785" actId="14100"/>
          <ac:spMkLst>
            <pc:docMk/>
            <pc:sldMk cId="1296099944" sldId="2147480329"/>
            <ac:spMk id="12" creationId="{748E64C8-4429-B3A9-1B63-62F518C01507}"/>
          </ac:spMkLst>
        </pc:spChg>
        <pc:spChg chg="mod">
          <ac:chgData name="Cyprien ARETHUSE" userId="abd46b16-7bf0-4c01-a850-92fb83f61f27" providerId="ADAL" clId="{067C7D3F-9573-4B1A-A9B0-3005DA5BAAAF}" dt="2024-02-01T16:39:35.945" v="14760" actId="12788"/>
          <ac:spMkLst>
            <pc:docMk/>
            <pc:sldMk cId="1296099944" sldId="2147480329"/>
            <ac:spMk id="13" creationId="{AD606E6B-2671-C8FD-D5F5-313B98829C5E}"/>
          </ac:spMkLst>
        </pc:spChg>
        <pc:spChg chg="mod">
          <ac:chgData name="Cyprien ARETHUSE" userId="abd46b16-7bf0-4c01-a850-92fb83f61f27" providerId="ADAL" clId="{067C7D3F-9573-4B1A-A9B0-3005DA5BAAAF}" dt="2024-02-01T14:26:31.050" v="12959" actId="1036"/>
          <ac:spMkLst>
            <pc:docMk/>
            <pc:sldMk cId="1296099944" sldId="2147480329"/>
            <ac:spMk id="14" creationId="{6230212D-4CFD-1D53-6B05-4E1206D94A3F}"/>
          </ac:spMkLst>
        </pc:spChg>
        <pc:spChg chg="mod">
          <ac:chgData name="Cyprien ARETHUSE" userId="abd46b16-7bf0-4c01-a850-92fb83f61f27" providerId="ADAL" clId="{067C7D3F-9573-4B1A-A9B0-3005DA5BAAAF}" dt="2024-02-01T14:26:31.050" v="12959" actId="1036"/>
          <ac:spMkLst>
            <pc:docMk/>
            <pc:sldMk cId="1296099944" sldId="2147480329"/>
            <ac:spMk id="15" creationId="{758E6134-039B-0297-664A-2087C54C2D7E}"/>
          </ac:spMkLst>
        </pc:spChg>
        <pc:spChg chg="mod">
          <ac:chgData name="Cyprien ARETHUSE" userId="abd46b16-7bf0-4c01-a850-92fb83f61f27" providerId="ADAL" clId="{067C7D3F-9573-4B1A-A9B0-3005DA5BAAAF}" dt="2024-02-01T14:26:31.050" v="12959" actId="1036"/>
          <ac:spMkLst>
            <pc:docMk/>
            <pc:sldMk cId="1296099944" sldId="2147480329"/>
            <ac:spMk id="16" creationId="{16E62982-8123-09D1-FCC1-AC82D91BBB42}"/>
          </ac:spMkLst>
        </pc:spChg>
        <pc:spChg chg="mod">
          <ac:chgData name="Cyprien ARETHUSE" userId="abd46b16-7bf0-4c01-a850-92fb83f61f27" providerId="ADAL" clId="{067C7D3F-9573-4B1A-A9B0-3005DA5BAAAF}" dt="2024-02-01T14:26:31.050" v="12959" actId="1036"/>
          <ac:spMkLst>
            <pc:docMk/>
            <pc:sldMk cId="1296099944" sldId="2147480329"/>
            <ac:spMk id="17" creationId="{1B52987F-16C6-94A2-FA64-00CBDF833CC2}"/>
          </ac:spMkLst>
        </pc:spChg>
        <pc:spChg chg="mod">
          <ac:chgData name="Cyprien ARETHUSE" userId="abd46b16-7bf0-4c01-a850-92fb83f61f27" providerId="ADAL" clId="{067C7D3F-9573-4B1A-A9B0-3005DA5BAAAF}" dt="2024-02-01T14:04:21.151" v="12522" actId="14100"/>
          <ac:spMkLst>
            <pc:docMk/>
            <pc:sldMk cId="1296099944" sldId="2147480329"/>
            <ac:spMk id="18" creationId="{A2DB48AD-5169-A000-6CD4-6D9172055D1D}"/>
          </ac:spMkLst>
        </pc:spChg>
        <pc:spChg chg="mod">
          <ac:chgData name="Cyprien ARETHUSE" userId="abd46b16-7bf0-4c01-a850-92fb83f61f27" providerId="ADAL" clId="{067C7D3F-9573-4B1A-A9B0-3005DA5BAAAF}" dt="2024-02-01T14:04:31.802" v="12554" actId="1036"/>
          <ac:spMkLst>
            <pc:docMk/>
            <pc:sldMk cId="1296099944" sldId="2147480329"/>
            <ac:spMk id="19" creationId="{ECCA6F3B-9E7D-EB6C-286A-FAC228A1064D}"/>
          </ac:spMkLst>
        </pc:spChg>
        <pc:spChg chg="add mod">
          <ac:chgData name="Cyprien ARETHUSE" userId="abd46b16-7bf0-4c01-a850-92fb83f61f27" providerId="ADAL" clId="{067C7D3F-9573-4B1A-A9B0-3005DA5BAAAF}" dt="2024-02-01T13:54:15.388" v="12220" actId="571"/>
          <ac:spMkLst>
            <pc:docMk/>
            <pc:sldMk cId="1296099944" sldId="2147480329"/>
            <ac:spMk id="20" creationId="{097A6A7B-E6FE-31E4-716C-0BADB35C12EC}"/>
          </ac:spMkLst>
        </pc:spChg>
        <pc:spChg chg="add mod">
          <ac:chgData name="Cyprien ARETHUSE" userId="abd46b16-7bf0-4c01-a850-92fb83f61f27" providerId="ADAL" clId="{067C7D3F-9573-4B1A-A9B0-3005DA5BAAAF}" dt="2024-02-01T13:54:15.388" v="12220" actId="571"/>
          <ac:spMkLst>
            <pc:docMk/>
            <pc:sldMk cId="1296099944" sldId="2147480329"/>
            <ac:spMk id="21" creationId="{0E2EDE02-07E7-8AB7-1B46-53AE6DE0D8D2}"/>
          </ac:spMkLst>
        </pc:spChg>
        <pc:spChg chg="mod">
          <ac:chgData name="Cyprien ARETHUSE" userId="abd46b16-7bf0-4c01-a850-92fb83f61f27" providerId="ADAL" clId="{067C7D3F-9573-4B1A-A9B0-3005DA5BAAAF}" dt="2024-02-01T14:04:14.072" v="12521" actId="1036"/>
          <ac:spMkLst>
            <pc:docMk/>
            <pc:sldMk cId="1296099944" sldId="2147480329"/>
            <ac:spMk id="22" creationId="{DA6D0126-8232-B6F2-082B-A0947BC49EC4}"/>
          </ac:spMkLst>
        </pc:spChg>
        <pc:spChg chg="mod">
          <ac:chgData name="Cyprien ARETHUSE" userId="abd46b16-7bf0-4c01-a850-92fb83f61f27" providerId="ADAL" clId="{067C7D3F-9573-4B1A-A9B0-3005DA5BAAAF}" dt="2024-02-01T14:26:31.050" v="12959" actId="1036"/>
          <ac:spMkLst>
            <pc:docMk/>
            <pc:sldMk cId="1296099944" sldId="2147480329"/>
            <ac:spMk id="25" creationId="{BAA3DDC7-5320-E950-E89D-4CD10B5E9099}"/>
          </ac:spMkLst>
        </pc:spChg>
        <pc:spChg chg="add mod">
          <ac:chgData name="Cyprien ARETHUSE" userId="abd46b16-7bf0-4c01-a850-92fb83f61f27" providerId="ADAL" clId="{067C7D3F-9573-4B1A-A9B0-3005DA5BAAAF}" dt="2024-02-01T13:59:32.688" v="12373" actId="1076"/>
          <ac:spMkLst>
            <pc:docMk/>
            <pc:sldMk cId="1296099944" sldId="2147480329"/>
            <ac:spMk id="26" creationId="{70964829-83D9-2FDB-3BC4-D13053039039}"/>
          </ac:spMkLst>
        </pc:spChg>
        <pc:spChg chg="add mod">
          <ac:chgData name="Cyprien ARETHUSE" userId="abd46b16-7bf0-4c01-a850-92fb83f61f27" providerId="ADAL" clId="{067C7D3F-9573-4B1A-A9B0-3005DA5BAAAF}" dt="2024-02-01T14:26:31.050" v="12959" actId="1036"/>
          <ac:spMkLst>
            <pc:docMk/>
            <pc:sldMk cId="1296099944" sldId="2147480329"/>
            <ac:spMk id="27" creationId="{38485C1D-91E1-0CA4-43E7-E08B66747D80}"/>
          </ac:spMkLst>
        </pc:spChg>
        <pc:spChg chg="add mod">
          <ac:chgData name="Cyprien ARETHUSE" userId="abd46b16-7bf0-4c01-a850-92fb83f61f27" providerId="ADAL" clId="{067C7D3F-9573-4B1A-A9B0-3005DA5BAAAF}" dt="2024-02-01T14:26:31.050" v="12959" actId="1036"/>
          <ac:spMkLst>
            <pc:docMk/>
            <pc:sldMk cId="1296099944" sldId="2147480329"/>
            <ac:spMk id="28" creationId="{04D19648-482F-7D00-B963-D41BD788660A}"/>
          </ac:spMkLst>
        </pc:spChg>
        <pc:spChg chg="add mod">
          <ac:chgData name="Cyprien ARETHUSE" userId="abd46b16-7bf0-4c01-a850-92fb83f61f27" providerId="ADAL" clId="{067C7D3F-9573-4B1A-A9B0-3005DA5BAAAF}" dt="2024-02-01T16:07:54.202" v="14138" actId="20577"/>
          <ac:spMkLst>
            <pc:docMk/>
            <pc:sldMk cId="1296099944" sldId="2147480329"/>
            <ac:spMk id="29" creationId="{9503236A-3AD6-8CFA-1D57-31B78BB90DA5}"/>
          </ac:spMkLst>
        </pc:spChg>
        <pc:spChg chg="add mod">
          <ac:chgData name="Cyprien ARETHUSE" userId="abd46b16-7bf0-4c01-a850-92fb83f61f27" providerId="ADAL" clId="{067C7D3F-9573-4B1A-A9B0-3005DA5BAAAF}" dt="2024-02-01T14:26:31.050" v="12959" actId="1036"/>
          <ac:spMkLst>
            <pc:docMk/>
            <pc:sldMk cId="1296099944" sldId="2147480329"/>
            <ac:spMk id="30" creationId="{B395E0C3-A2F0-5586-3D3E-8CD8E2A555E0}"/>
          </ac:spMkLst>
        </pc:spChg>
        <pc:spChg chg="add mod">
          <ac:chgData name="Cyprien ARETHUSE" userId="abd46b16-7bf0-4c01-a850-92fb83f61f27" providerId="ADAL" clId="{067C7D3F-9573-4B1A-A9B0-3005DA5BAAAF}" dt="2024-02-01T16:10:30.222" v="14208" actId="14100"/>
          <ac:spMkLst>
            <pc:docMk/>
            <pc:sldMk cId="1296099944" sldId="2147480329"/>
            <ac:spMk id="31" creationId="{46EC7D20-1B10-0923-D6E4-3DD88B00ABCA}"/>
          </ac:spMkLst>
        </pc:spChg>
        <pc:spChg chg="add mod">
          <ac:chgData name="Cyprien ARETHUSE" userId="abd46b16-7bf0-4c01-a850-92fb83f61f27" providerId="ADAL" clId="{067C7D3F-9573-4B1A-A9B0-3005DA5BAAAF}" dt="2024-02-01T16:39:45.351" v="14762" actId="12788"/>
          <ac:spMkLst>
            <pc:docMk/>
            <pc:sldMk cId="1296099944" sldId="2147480329"/>
            <ac:spMk id="32" creationId="{C0C644ED-172B-AF90-EFA8-E8662E71FE9D}"/>
          </ac:spMkLst>
        </pc:spChg>
        <pc:spChg chg="mod">
          <ac:chgData name="Cyprien ARETHUSE" userId="abd46b16-7bf0-4c01-a850-92fb83f61f27" providerId="ADAL" clId="{067C7D3F-9573-4B1A-A9B0-3005DA5BAAAF}" dt="2024-02-01T16:10:30.222" v="14208" actId="14100"/>
          <ac:spMkLst>
            <pc:docMk/>
            <pc:sldMk cId="1296099944" sldId="2147480329"/>
            <ac:spMk id="33" creationId="{429262C6-DEE6-9A95-EA01-31FB2E057A81}"/>
          </ac:spMkLst>
        </pc:spChg>
        <pc:spChg chg="mod">
          <ac:chgData name="Cyprien ARETHUSE" userId="abd46b16-7bf0-4c01-a850-92fb83f61f27" providerId="ADAL" clId="{067C7D3F-9573-4B1A-A9B0-3005DA5BAAAF}" dt="2024-02-01T16:40:24.561" v="14785" actId="14100"/>
          <ac:spMkLst>
            <pc:docMk/>
            <pc:sldMk cId="1296099944" sldId="2147480329"/>
            <ac:spMk id="34" creationId="{5B91CFBA-F415-07A6-A198-D027DDFB24B1}"/>
          </ac:spMkLst>
        </pc:spChg>
        <pc:spChg chg="mod">
          <ac:chgData name="Cyprien ARETHUSE" userId="abd46b16-7bf0-4c01-a850-92fb83f61f27" providerId="ADAL" clId="{067C7D3F-9573-4B1A-A9B0-3005DA5BAAAF}" dt="2024-02-01T14:01:25.140" v="12423" actId="14100"/>
          <ac:spMkLst>
            <pc:docMk/>
            <pc:sldMk cId="1296099944" sldId="2147480329"/>
            <ac:spMk id="35" creationId="{4A19F14C-3500-0CCD-162D-1BF317B26A8C}"/>
          </ac:spMkLst>
        </pc:spChg>
        <pc:spChg chg="mod">
          <ac:chgData name="Cyprien ARETHUSE" userId="abd46b16-7bf0-4c01-a850-92fb83f61f27" providerId="ADAL" clId="{067C7D3F-9573-4B1A-A9B0-3005DA5BAAAF}" dt="2024-02-01T14:26:31.050" v="12959" actId="1036"/>
          <ac:spMkLst>
            <pc:docMk/>
            <pc:sldMk cId="1296099944" sldId="2147480329"/>
            <ac:spMk id="41" creationId="{364C2FD4-D30A-DE3C-3EB6-B3B3BB2FC67D}"/>
          </ac:spMkLst>
        </pc:spChg>
        <pc:spChg chg="mod">
          <ac:chgData name="Cyprien ARETHUSE" userId="abd46b16-7bf0-4c01-a850-92fb83f61f27" providerId="ADAL" clId="{067C7D3F-9573-4B1A-A9B0-3005DA5BAAAF}" dt="2024-02-01T14:26:31.050" v="12959" actId="1036"/>
          <ac:spMkLst>
            <pc:docMk/>
            <pc:sldMk cId="1296099944" sldId="2147480329"/>
            <ac:spMk id="42" creationId="{B82881ED-E4C9-CECC-773A-BE8F5959AFB9}"/>
          </ac:spMkLst>
        </pc:spChg>
        <pc:spChg chg="mod">
          <ac:chgData name="Cyprien ARETHUSE" userId="abd46b16-7bf0-4c01-a850-92fb83f61f27" providerId="ADAL" clId="{067C7D3F-9573-4B1A-A9B0-3005DA5BAAAF}" dt="2024-02-01T14:26:31.050" v="12959" actId="1036"/>
          <ac:spMkLst>
            <pc:docMk/>
            <pc:sldMk cId="1296099944" sldId="2147480329"/>
            <ac:spMk id="43" creationId="{7F4F9A9F-F886-0090-A007-7FA732BDE9A9}"/>
          </ac:spMkLst>
        </pc:spChg>
        <pc:spChg chg="mod">
          <ac:chgData name="Cyprien ARETHUSE" userId="abd46b16-7bf0-4c01-a850-92fb83f61f27" providerId="ADAL" clId="{067C7D3F-9573-4B1A-A9B0-3005DA5BAAAF}" dt="2024-02-01T16:41:25.565" v="14830" actId="6549"/>
          <ac:spMkLst>
            <pc:docMk/>
            <pc:sldMk cId="1296099944" sldId="2147480329"/>
            <ac:spMk id="44" creationId="{2574D4F7-766F-87CF-7168-E5B6DF704C2A}"/>
          </ac:spMkLst>
        </pc:spChg>
        <pc:spChg chg="del mod">
          <ac:chgData name="Cyprien ARETHUSE" userId="abd46b16-7bf0-4c01-a850-92fb83f61f27" providerId="ADAL" clId="{067C7D3F-9573-4B1A-A9B0-3005DA5BAAAF}" dt="2024-02-01T13:59:26.882" v="12370" actId="478"/>
          <ac:spMkLst>
            <pc:docMk/>
            <pc:sldMk cId="1296099944" sldId="2147480329"/>
            <ac:spMk id="45" creationId="{376A256E-E806-2029-4F99-6A96F65A4D78}"/>
          </ac:spMkLst>
        </pc:spChg>
        <pc:spChg chg="mod">
          <ac:chgData name="Cyprien ARETHUSE" userId="abd46b16-7bf0-4c01-a850-92fb83f61f27" providerId="ADAL" clId="{067C7D3F-9573-4B1A-A9B0-3005DA5BAAAF}" dt="2024-02-01T14:26:31.050" v="12959" actId="1036"/>
          <ac:spMkLst>
            <pc:docMk/>
            <pc:sldMk cId="1296099944" sldId="2147480329"/>
            <ac:spMk id="47" creationId="{8DC4D8BC-2F8E-8979-5ECB-0A80B0E1848B}"/>
          </ac:spMkLst>
        </pc:spChg>
        <pc:spChg chg="mod">
          <ac:chgData name="Cyprien ARETHUSE" userId="abd46b16-7bf0-4c01-a850-92fb83f61f27" providerId="ADAL" clId="{067C7D3F-9573-4B1A-A9B0-3005DA5BAAAF}" dt="2024-02-01T14:04:14.072" v="12521" actId="1036"/>
          <ac:spMkLst>
            <pc:docMk/>
            <pc:sldMk cId="1296099944" sldId="2147480329"/>
            <ac:spMk id="48" creationId="{5328F06F-BEAF-D222-0EC6-922BE30DED0D}"/>
          </ac:spMkLst>
        </pc:spChg>
        <pc:spChg chg="del">
          <ac:chgData name="Cyprien ARETHUSE" userId="abd46b16-7bf0-4c01-a850-92fb83f61f27" providerId="ADAL" clId="{067C7D3F-9573-4B1A-A9B0-3005DA5BAAAF}" dt="2024-02-01T14:02:01.326" v="12468" actId="478"/>
          <ac:spMkLst>
            <pc:docMk/>
            <pc:sldMk cId="1296099944" sldId="2147480329"/>
            <ac:spMk id="49" creationId="{D5B36E30-B6E6-08D6-BF3C-33CF9019D86F}"/>
          </ac:spMkLst>
        </pc:spChg>
        <pc:picChg chg="del">
          <ac:chgData name="Cyprien ARETHUSE" userId="abd46b16-7bf0-4c01-a850-92fb83f61f27" providerId="ADAL" clId="{067C7D3F-9573-4B1A-A9B0-3005DA5BAAAF}" dt="2024-02-01T13:49:34.294" v="12071" actId="478"/>
          <ac:picMkLst>
            <pc:docMk/>
            <pc:sldMk cId="1296099944" sldId="2147480329"/>
            <ac:picMk id="23" creationId="{77FDF1C8-DD6C-7720-BD63-94DBC38947A4}"/>
          </ac:picMkLst>
        </pc:picChg>
        <pc:picChg chg="add del mod">
          <ac:chgData name="Cyprien ARETHUSE" userId="abd46b16-7bf0-4c01-a850-92fb83f61f27" providerId="ADAL" clId="{067C7D3F-9573-4B1A-A9B0-3005DA5BAAAF}" dt="2024-02-01T13:55:04.421" v="12239" actId="478"/>
          <ac:picMkLst>
            <pc:docMk/>
            <pc:sldMk cId="1296099944" sldId="2147480329"/>
            <ac:picMk id="24" creationId="{D9DF4421-B071-FB2F-887C-84B1DB52EF51}"/>
          </ac:picMkLst>
        </pc:picChg>
        <pc:picChg chg="add mod">
          <ac:chgData name="Cyprien ARETHUSE" userId="abd46b16-7bf0-4c01-a850-92fb83f61f27" providerId="ADAL" clId="{067C7D3F-9573-4B1A-A9B0-3005DA5BAAAF}" dt="2024-02-01T16:41:11.342" v="14825" actId="1037"/>
          <ac:picMkLst>
            <pc:docMk/>
            <pc:sldMk cId="1296099944" sldId="2147480329"/>
            <ac:picMk id="36" creationId="{726A1457-2DE3-E8CF-9DE6-BE93C5A66291}"/>
          </ac:picMkLst>
        </pc:picChg>
        <pc:picChg chg="mod">
          <ac:chgData name="Cyprien ARETHUSE" userId="abd46b16-7bf0-4c01-a850-92fb83f61f27" providerId="ADAL" clId="{067C7D3F-9573-4B1A-A9B0-3005DA5BAAAF}" dt="2024-02-01T14:26:31.050" v="12959" actId="1036"/>
          <ac:picMkLst>
            <pc:docMk/>
            <pc:sldMk cId="1296099944" sldId="2147480329"/>
            <ac:picMk id="37" creationId="{906F965C-FC2A-E2E5-BDD1-58F529427D45}"/>
          </ac:picMkLst>
        </pc:picChg>
        <pc:picChg chg="mod">
          <ac:chgData name="Cyprien ARETHUSE" userId="abd46b16-7bf0-4c01-a850-92fb83f61f27" providerId="ADAL" clId="{067C7D3F-9573-4B1A-A9B0-3005DA5BAAAF}" dt="2024-02-01T14:08:13.681" v="12661" actId="14100"/>
          <ac:picMkLst>
            <pc:docMk/>
            <pc:sldMk cId="1296099944" sldId="2147480329"/>
            <ac:picMk id="38" creationId="{48181FEC-8D95-C522-4CF1-3A39068126E9}"/>
          </ac:picMkLst>
        </pc:picChg>
        <pc:picChg chg="add mod">
          <ac:chgData name="Cyprien ARETHUSE" userId="abd46b16-7bf0-4c01-a850-92fb83f61f27" providerId="ADAL" clId="{067C7D3F-9573-4B1A-A9B0-3005DA5BAAAF}" dt="2024-02-01T16:41:11.342" v="14825" actId="1037"/>
          <ac:picMkLst>
            <pc:docMk/>
            <pc:sldMk cId="1296099944" sldId="2147480329"/>
            <ac:picMk id="39" creationId="{8729A8B4-AB7D-9CCC-C490-A7756AE9BB71}"/>
          </ac:picMkLst>
        </pc:picChg>
        <pc:picChg chg="add mod">
          <ac:chgData name="Cyprien ARETHUSE" userId="abd46b16-7bf0-4c01-a850-92fb83f61f27" providerId="ADAL" clId="{067C7D3F-9573-4B1A-A9B0-3005DA5BAAAF}" dt="2024-02-01T16:41:29.746" v="14831" actId="1076"/>
          <ac:picMkLst>
            <pc:docMk/>
            <pc:sldMk cId="1296099944" sldId="2147480329"/>
            <ac:picMk id="40" creationId="{04A7B10A-D7CE-489E-BA8E-8F54E48423BD}"/>
          </ac:picMkLst>
        </pc:picChg>
        <pc:picChg chg="mod">
          <ac:chgData name="Cyprien ARETHUSE" userId="abd46b16-7bf0-4c01-a850-92fb83f61f27" providerId="ADAL" clId="{067C7D3F-9573-4B1A-A9B0-3005DA5BAAAF}" dt="2024-02-01T16:44:37.648" v="14908" actId="553"/>
          <ac:picMkLst>
            <pc:docMk/>
            <pc:sldMk cId="1296099944" sldId="2147480329"/>
            <ac:picMk id="46" creationId="{FB4B717B-44BF-EFD4-DB4C-43E18024B358}"/>
          </ac:picMkLst>
        </pc:picChg>
        <pc:picChg chg="add mod">
          <ac:chgData name="Cyprien ARETHUSE" userId="abd46b16-7bf0-4c01-a850-92fb83f61f27" providerId="ADAL" clId="{067C7D3F-9573-4B1A-A9B0-3005DA5BAAAF}" dt="2024-02-01T16:41:11.342" v="14825" actId="1037"/>
          <ac:picMkLst>
            <pc:docMk/>
            <pc:sldMk cId="1296099944" sldId="2147480329"/>
            <ac:picMk id="50" creationId="{CE44BBB3-7603-22E0-79AA-A1B29D76A0F3}"/>
          </ac:picMkLst>
        </pc:picChg>
        <pc:picChg chg="add mod">
          <ac:chgData name="Cyprien ARETHUSE" userId="abd46b16-7bf0-4c01-a850-92fb83f61f27" providerId="ADAL" clId="{067C7D3F-9573-4B1A-A9B0-3005DA5BAAAF}" dt="2024-02-01T16:41:11.342" v="14825" actId="1037"/>
          <ac:picMkLst>
            <pc:docMk/>
            <pc:sldMk cId="1296099944" sldId="2147480329"/>
            <ac:picMk id="51" creationId="{B128F143-710B-68C9-35B1-9F89FC09E4C4}"/>
          </ac:picMkLst>
        </pc:picChg>
        <pc:picChg chg="add mod">
          <ac:chgData name="Cyprien ARETHUSE" userId="abd46b16-7bf0-4c01-a850-92fb83f61f27" providerId="ADAL" clId="{067C7D3F-9573-4B1A-A9B0-3005DA5BAAAF}" dt="2024-02-01T16:43:57.439" v="14901"/>
          <ac:picMkLst>
            <pc:docMk/>
            <pc:sldMk cId="1296099944" sldId="2147480329"/>
            <ac:picMk id="52" creationId="{67873CA7-3CF4-F502-666D-2D35BC4FC163}"/>
          </ac:picMkLst>
        </pc:picChg>
        <pc:picChg chg="add mod">
          <ac:chgData name="Cyprien ARETHUSE" userId="abd46b16-7bf0-4c01-a850-92fb83f61f27" providerId="ADAL" clId="{067C7D3F-9573-4B1A-A9B0-3005DA5BAAAF}" dt="2024-02-01T16:43:57.439" v="14901"/>
          <ac:picMkLst>
            <pc:docMk/>
            <pc:sldMk cId="1296099944" sldId="2147480329"/>
            <ac:picMk id="53" creationId="{7D29024E-3E48-CB16-CE5F-BFD84ACFD744}"/>
          </ac:picMkLst>
        </pc:picChg>
        <pc:picChg chg="add mod">
          <ac:chgData name="Cyprien ARETHUSE" userId="abd46b16-7bf0-4c01-a850-92fb83f61f27" providerId="ADAL" clId="{067C7D3F-9573-4B1A-A9B0-3005DA5BAAAF}" dt="2024-02-01T16:44:56.911" v="14914" actId="12788"/>
          <ac:picMkLst>
            <pc:docMk/>
            <pc:sldMk cId="1296099944" sldId="2147480329"/>
            <ac:picMk id="54" creationId="{F4673683-61AA-7BB2-5E4C-59784945FEF0}"/>
          </ac:picMkLst>
        </pc:picChg>
        <pc:picChg chg="add mod">
          <ac:chgData name="Cyprien ARETHUSE" userId="abd46b16-7bf0-4c01-a850-92fb83f61f27" providerId="ADAL" clId="{067C7D3F-9573-4B1A-A9B0-3005DA5BAAAF}" dt="2024-02-01T16:44:56.911" v="14914" actId="12788"/>
          <ac:picMkLst>
            <pc:docMk/>
            <pc:sldMk cId="1296099944" sldId="2147480329"/>
            <ac:picMk id="55" creationId="{7B7CC9E9-44AD-1527-E972-DDF245430550}"/>
          </ac:picMkLst>
        </pc:picChg>
      </pc:sldChg>
      <pc:sldChg chg="modSp mod">
        <pc:chgData name="Cyprien ARETHUSE" userId="abd46b16-7bf0-4c01-a850-92fb83f61f27" providerId="ADAL" clId="{067C7D3F-9573-4B1A-A9B0-3005DA5BAAAF}" dt="2024-02-01T17:05:07.532" v="15238" actId="207"/>
        <pc:sldMkLst>
          <pc:docMk/>
          <pc:sldMk cId="1704792734" sldId="2147480331"/>
        </pc:sldMkLst>
        <pc:spChg chg="mod">
          <ac:chgData name="Cyprien ARETHUSE" userId="abd46b16-7bf0-4c01-a850-92fb83f61f27" providerId="ADAL" clId="{067C7D3F-9573-4B1A-A9B0-3005DA5BAAAF}" dt="2024-01-31T14:45:32.397" v="10417" actId="20577"/>
          <ac:spMkLst>
            <pc:docMk/>
            <pc:sldMk cId="1704792734" sldId="2147480331"/>
            <ac:spMk id="17" creationId="{C78804CD-DE30-6511-DE0B-23188EA98E12}"/>
          </ac:spMkLst>
        </pc:spChg>
        <pc:spChg chg="mod">
          <ac:chgData name="Cyprien ARETHUSE" userId="abd46b16-7bf0-4c01-a850-92fb83f61f27" providerId="ADAL" clId="{067C7D3F-9573-4B1A-A9B0-3005DA5BAAAF}" dt="2024-02-01T17:03:14.977" v="15226" actId="207"/>
          <ac:spMkLst>
            <pc:docMk/>
            <pc:sldMk cId="1704792734" sldId="2147480331"/>
            <ac:spMk id="20" creationId="{A7144061-CC12-81C0-FA8B-9FA94C621A06}"/>
          </ac:spMkLst>
        </pc:spChg>
        <pc:spChg chg="mod">
          <ac:chgData name="Cyprien ARETHUSE" userId="abd46b16-7bf0-4c01-a850-92fb83f61f27" providerId="ADAL" clId="{067C7D3F-9573-4B1A-A9B0-3005DA5BAAAF}" dt="2024-02-01T17:05:07.532" v="15238" actId="207"/>
          <ac:spMkLst>
            <pc:docMk/>
            <pc:sldMk cId="1704792734" sldId="2147480331"/>
            <ac:spMk id="21" creationId="{7A36680B-6E77-1CAE-95FC-45CF4F49C36E}"/>
          </ac:spMkLst>
        </pc:spChg>
        <pc:spChg chg="mod">
          <ac:chgData name="Cyprien ARETHUSE" userId="abd46b16-7bf0-4c01-a850-92fb83f61f27" providerId="ADAL" clId="{067C7D3F-9573-4B1A-A9B0-3005DA5BAAAF}" dt="2024-02-01T17:04:13.151" v="15232" actId="207"/>
          <ac:spMkLst>
            <pc:docMk/>
            <pc:sldMk cId="1704792734" sldId="2147480331"/>
            <ac:spMk id="22" creationId="{DC347001-A07D-4C36-36D4-4F7C774F54EA}"/>
          </ac:spMkLst>
        </pc:spChg>
        <pc:spChg chg="mod">
          <ac:chgData name="Cyprien ARETHUSE" userId="abd46b16-7bf0-4c01-a850-92fb83f61f27" providerId="ADAL" clId="{067C7D3F-9573-4B1A-A9B0-3005DA5BAAAF}" dt="2024-02-01T10:14:50.977" v="11077" actId="207"/>
          <ac:spMkLst>
            <pc:docMk/>
            <pc:sldMk cId="1704792734" sldId="2147480331"/>
            <ac:spMk id="50" creationId="{38651494-DFF5-B3F1-401E-51DA230150F3}"/>
          </ac:spMkLst>
        </pc:spChg>
        <pc:spChg chg="mod">
          <ac:chgData name="Cyprien ARETHUSE" userId="abd46b16-7bf0-4c01-a850-92fb83f61f27" providerId="ADAL" clId="{067C7D3F-9573-4B1A-A9B0-3005DA5BAAAF}" dt="2024-01-31T14:48:51.461" v="10431" actId="1037"/>
          <ac:spMkLst>
            <pc:docMk/>
            <pc:sldMk cId="1704792734" sldId="2147480331"/>
            <ac:spMk id="58" creationId="{E3EBBDA7-C5AF-5C05-ABA7-F8FB0BEDB564}"/>
          </ac:spMkLst>
        </pc:spChg>
        <pc:spChg chg="mod">
          <ac:chgData name="Cyprien ARETHUSE" userId="abd46b16-7bf0-4c01-a850-92fb83f61f27" providerId="ADAL" clId="{067C7D3F-9573-4B1A-A9B0-3005DA5BAAAF}" dt="2024-01-31T14:48:12.744" v="10428" actId="1038"/>
          <ac:spMkLst>
            <pc:docMk/>
            <pc:sldMk cId="1704792734" sldId="2147480331"/>
            <ac:spMk id="60" creationId="{F15DF651-B75A-E7D7-1D82-932C2401351A}"/>
          </ac:spMkLst>
        </pc:spChg>
      </pc:sldChg>
      <pc:sldChg chg="del">
        <pc:chgData name="Cyprien ARETHUSE" userId="abd46b16-7bf0-4c01-a850-92fb83f61f27" providerId="ADAL" clId="{067C7D3F-9573-4B1A-A9B0-3005DA5BAAAF}" dt="2024-02-02T17:02:42.816" v="19520" actId="47"/>
        <pc:sldMkLst>
          <pc:docMk/>
          <pc:sldMk cId="3398763446" sldId="2147480332"/>
        </pc:sldMkLst>
      </pc:sldChg>
      <pc:sldChg chg="modSp mod modShow">
        <pc:chgData name="Cyprien ARETHUSE" userId="abd46b16-7bf0-4c01-a850-92fb83f61f27" providerId="ADAL" clId="{067C7D3F-9573-4B1A-A9B0-3005DA5BAAAF}" dt="2024-02-01T07:46:03.022" v="11032" actId="729"/>
        <pc:sldMkLst>
          <pc:docMk/>
          <pc:sldMk cId="560279385" sldId="2147480334"/>
        </pc:sldMkLst>
        <pc:spChg chg="mod">
          <ac:chgData name="Cyprien ARETHUSE" userId="abd46b16-7bf0-4c01-a850-92fb83f61f27" providerId="ADAL" clId="{067C7D3F-9573-4B1A-A9B0-3005DA5BAAAF}" dt="2024-02-01T07:20:22.353" v="10968"/>
          <ac:spMkLst>
            <pc:docMk/>
            <pc:sldMk cId="560279385" sldId="2147480334"/>
            <ac:spMk id="2" creationId="{A7A85104-0EAC-0BD9-6FB3-03CA67433DA5}"/>
          </ac:spMkLst>
        </pc:spChg>
      </pc:sldChg>
      <pc:sldChg chg="del">
        <pc:chgData name="Cyprien ARETHUSE" userId="abd46b16-7bf0-4c01-a850-92fb83f61f27" providerId="ADAL" clId="{067C7D3F-9573-4B1A-A9B0-3005DA5BAAAF}" dt="2024-02-02T17:02:42.816" v="19520" actId="47"/>
        <pc:sldMkLst>
          <pc:docMk/>
          <pc:sldMk cId="2708384163" sldId="2147480334"/>
        </pc:sldMkLst>
      </pc:sldChg>
      <pc:sldChg chg="addSp delSp modSp add mod ord">
        <pc:chgData name="Cyprien ARETHUSE" userId="abd46b16-7bf0-4c01-a850-92fb83f61f27" providerId="ADAL" clId="{067C7D3F-9573-4B1A-A9B0-3005DA5BAAAF}" dt="2024-01-31T13:06:17.135" v="9727" actId="20577"/>
        <pc:sldMkLst>
          <pc:docMk/>
          <pc:sldMk cId="2861464629" sldId="2147480335"/>
        </pc:sldMkLst>
        <pc:spChg chg="add mod">
          <ac:chgData name="Cyprien ARETHUSE" userId="abd46b16-7bf0-4c01-a850-92fb83f61f27" providerId="ADAL" clId="{067C7D3F-9573-4B1A-A9B0-3005DA5BAAAF}" dt="2024-01-31T13:06:04.531" v="9726"/>
          <ac:spMkLst>
            <pc:docMk/>
            <pc:sldMk cId="2861464629" sldId="2147480335"/>
            <ac:spMk id="3" creationId="{DE8875F4-96B0-73DD-AC00-F95D729132AD}"/>
          </ac:spMkLst>
        </pc:spChg>
        <pc:spChg chg="add mod">
          <ac:chgData name="Cyprien ARETHUSE" userId="abd46b16-7bf0-4c01-a850-92fb83f61f27" providerId="ADAL" clId="{067C7D3F-9573-4B1A-A9B0-3005DA5BAAAF}" dt="2024-01-31T13:06:04.531" v="9726"/>
          <ac:spMkLst>
            <pc:docMk/>
            <pc:sldMk cId="2861464629" sldId="2147480335"/>
            <ac:spMk id="8" creationId="{C138E386-DAC4-24C4-EAF3-9C73A32FBD41}"/>
          </ac:spMkLst>
        </pc:spChg>
        <pc:spChg chg="add mod">
          <ac:chgData name="Cyprien ARETHUSE" userId="abd46b16-7bf0-4c01-a850-92fb83f61f27" providerId="ADAL" clId="{067C7D3F-9573-4B1A-A9B0-3005DA5BAAAF}" dt="2024-01-31T13:06:04.531" v="9726"/>
          <ac:spMkLst>
            <pc:docMk/>
            <pc:sldMk cId="2861464629" sldId="2147480335"/>
            <ac:spMk id="13" creationId="{77848F7A-6BE1-9E46-DD2A-446479399FC9}"/>
          </ac:spMkLst>
        </pc:spChg>
        <pc:spChg chg="add mod">
          <ac:chgData name="Cyprien ARETHUSE" userId="abd46b16-7bf0-4c01-a850-92fb83f61f27" providerId="ADAL" clId="{067C7D3F-9573-4B1A-A9B0-3005DA5BAAAF}" dt="2024-01-31T13:06:04.531" v="9726"/>
          <ac:spMkLst>
            <pc:docMk/>
            <pc:sldMk cId="2861464629" sldId="2147480335"/>
            <ac:spMk id="21" creationId="{AA7660F1-A043-2CCC-C506-70AC57957A7A}"/>
          </ac:spMkLst>
        </pc:spChg>
        <pc:spChg chg="del">
          <ac:chgData name="Cyprien ARETHUSE" userId="abd46b16-7bf0-4c01-a850-92fb83f61f27" providerId="ADAL" clId="{067C7D3F-9573-4B1A-A9B0-3005DA5BAAAF}" dt="2024-01-31T13:05:54.973" v="9725" actId="478"/>
          <ac:spMkLst>
            <pc:docMk/>
            <pc:sldMk cId="2861464629" sldId="2147480335"/>
            <ac:spMk id="22" creationId="{0F5CC068-BEB6-75F0-2653-BF4C75B26F43}"/>
          </ac:spMkLst>
        </pc:spChg>
        <pc:spChg chg="del">
          <ac:chgData name="Cyprien ARETHUSE" userId="abd46b16-7bf0-4c01-a850-92fb83f61f27" providerId="ADAL" clId="{067C7D3F-9573-4B1A-A9B0-3005DA5BAAAF}" dt="2024-01-31T13:05:54.973" v="9725" actId="478"/>
          <ac:spMkLst>
            <pc:docMk/>
            <pc:sldMk cId="2861464629" sldId="2147480335"/>
            <ac:spMk id="24" creationId="{9D04B3E2-268E-5092-9AEC-F0AA3211E088}"/>
          </ac:spMkLst>
        </pc:spChg>
        <pc:spChg chg="del">
          <ac:chgData name="Cyprien ARETHUSE" userId="abd46b16-7bf0-4c01-a850-92fb83f61f27" providerId="ADAL" clId="{067C7D3F-9573-4B1A-A9B0-3005DA5BAAAF}" dt="2024-01-31T13:05:54.973" v="9725" actId="478"/>
          <ac:spMkLst>
            <pc:docMk/>
            <pc:sldMk cId="2861464629" sldId="2147480335"/>
            <ac:spMk id="25" creationId="{F8CEBBC7-D764-0EBC-C71D-FCD6989F1589}"/>
          </ac:spMkLst>
        </pc:spChg>
        <pc:spChg chg="del">
          <ac:chgData name="Cyprien ARETHUSE" userId="abd46b16-7bf0-4c01-a850-92fb83f61f27" providerId="ADAL" clId="{067C7D3F-9573-4B1A-A9B0-3005DA5BAAAF}" dt="2024-01-31T13:05:54.973" v="9725" actId="478"/>
          <ac:spMkLst>
            <pc:docMk/>
            <pc:sldMk cId="2861464629" sldId="2147480335"/>
            <ac:spMk id="31" creationId="{C525BBE0-9CFA-6ADC-0EDD-0D9341105740}"/>
          </ac:spMkLst>
        </pc:spChg>
        <pc:spChg chg="add mod">
          <ac:chgData name="Cyprien ARETHUSE" userId="abd46b16-7bf0-4c01-a850-92fb83f61f27" providerId="ADAL" clId="{067C7D3F-9573-4B1A-A9B0-3005DA5BAAAF}" dt="2024-01-31T13:06:04.531" v="9726"/>
          <ac:spMkLst>
            <pc:docMk/>
            <pc:sldMk cId="2861464629" sldId="2147480335"/>
            <ac:spMk id="33" creationId="{B2DFD433-E109-3FC9-AF6E-18CE5488BEC2}"/>
          </ac:spMkLst>
        </pc:spChg>
        <pc:spChg chg="add mod">
          <ac:chgData name="Cyprien ARETHUSE" userId="abd46b16-7bf0-4c01-a850-92fb83f61f27" providerId="ADAL" clId="{067C7D3F-9573-4B1A-A9B0-3005DA5BAAAF}" dt="2024-01-31T13:06:04.531" v="9726"/>
          <ac:spMkLst>
            <pc:docMk/>
            <pc:sldMk cId="2861464629" sldId="2147480335"/>
            <ac:spMk id="34" creationId="{7AD88BB1-7740-F01A-E587-E3481FEAF580}"/>
          </ac:spMkLst>
        </pc:spChg>
        <pc:spChg chg="add mod">
          <ac:chgData name="Cyprien ARETHUSE" userId="abd46b16-7bf0-4c01-a850-92fb83f61f27" providerId="ADAL" clId="{067C7D3F-9573-4B1A-A9B0-3005DA5BAAAF}" dt="2024-01-31T13:06:17.135" v="9727" actId="20577"/>
          <ac:spMkLst>
            <pc:docMk/>
            <pc:sldMk cId="2861464629" sldId="2147480335"/>
            <ac:spMk id="46" creationId="{7786E5F0-A746-A936-7EA8-222CE3D53AE4}"/>
          </ac:spMkLst>
        </pc:spChg>
        <pc:grpChg chg="del">
          <ac:chgData name="Cyprien ARETHUSE" userId="abd46b16-7bf0-4c01-a850-92fb83f61f27" providerId="ADAL" clId="{067C7D3F-9573-4B1A-A9B0-3005DA5BAAAF}" dt="2024-01-31T13:05:54.973" v="9725" actId="478"/>
          <ac:grpSpMkLst>
            <pc:docMk/>
            <pc:sldMk cId="2861464629" sldId="2147480335"/>
            <ac:grpSpMk id="30" creationId="{A84FE664-BC8F-287F-A3FC-F1D8DE491D20}"/>
          </ac:grpSpMkLst>
        </pc:grpChg>
        <pc:graphicFrameChg chg="add mod">
          <ac:chgData name="Cyprien ARETHUSE" userId="abd46b16-7bf0-4c01-a850-92fb83f61f27" providerId="ADAL" clId="{067C7D3F-9573-4B1A-A9B0-3005DA5BAAAF}" dt="2024-01-31T13:06:04.531" v="9726"/>
          <ac:graphicFrameMkLst>
            <pc:docMk/>
            <pc:sldMk cId="2861464629" sldId="2147480335"/>
            <ac:graphicFrameMk id="2" creationId="{BFB6AE9A-6788-6653-FA00-77106530C2E8}"/>
          </ac:graphicFrameMkLst>
        </pc:graphicFrameChg>
        <pc:graphicFrameChg chg="add mod">
          <ac:chgData name="Cyprien ARETHUSE" userId="abd46b16-7bf0-4c01-a850-92fb83f61f27" providerId="ADAL" clId="{067C7D3F-9573-4B1A-A9B0-3005DA5BAAAF}" dt="2024-01-31T13:06:04.531" v="9726"/>
          <ac:graphicFrameMkLst>
            <pc:docMk/>
            <pc:sldMk cId="2861464629" sldId="2147480335"/>
            <ac:graphicFrameMk id="5" creationId="{546F7672-E039-C5CE-62E3-B3AB1122B16F}"/>
          </ac:graphicFrameMkLst>
        </pc:graphicFrameChg>
        <pc:picChg chg="add mod">
          <ac:chgData name="Cyprien ARETHUSE" userId="abd46b16-7bf0-4c01-a850-92fb83f61f27" providerId="ADAL" clId="{067C7D3F-9573-4B1A-A9B0-3005DA5BAAAF}" dt="2024-01-31T13:06:04.531" v="9726"/>
          <ac:picMkLst>
            <pc:docMk/>
            <pc:sldMk cId="2861464629" sldId="2147480335"/>
            <ac:picMk id="23" creationId="{7BABE4FC-387D-EBD3-3CCC-3F44475509D0}"/>
          </ac:picMkLst>
        </pc:picChg>
        <pc:picChg chg="add mod">
          <ac:chgData name="Cyprien ARETHUSE" userId="abd46b16-7bf0-4c01-a850-92fb83f61f27" providerId="ADAL" clId="{067C7D3F-9573-4B1A-A9B0-3005DA5BAAAF}" dt="2024-01-31T13:06:04.531" v="9726"/>
          <ac:picMkLst>
            <pc:docMk/>
            <pc:sldMk cId="2861464629" sldId="2147480335"/>
            <ac:picMk id="26" creationId="{0DC0847B-FD45-0EB6-DB44-1EBE20238F1E}"/>
          </ac:picMkLst>
        </pc:picChg>
        <pc:picChg chg="add mod">
          <ac:chgData name="Cyprien ARETHUSE" userId="abd46b16-7bf0-4c01-a850-92fb83f61f27" providerId="ADAL" clId="{067C7D3F-9573-4B1A-A9B0-3005DA5BAAAF}" dt="2024-01-31T13:06:04.531" v="9726"/>
          <ac:picMkLst>
            <pc:docMk/>
            <pc:sldMk cId="2861464629" sldId="2147480335"/>
            <ac:picMk id="32" creationId="{DDD8AA67-0556-CBB5-07AF-F60E800F386C}"/>
          </ac:picMkLst>
        </pc:picChg>
        <pc:picChg chg="add mod">
          <ac:chgData name="Cyprien ARETHUSE" userId="abd46b16-7bf0-4c01-a850-92fb83f61f27" providerId="ADAL" clId="{067C7D3F-9573-4B1A-A9B0-3005DA5BAAAF}" dt="2024-01-31T13:06:04.531" v="9726"/>
          <ac:picMkLst>
            <pc:docMk/>
            <pc:sldMk cId="2861464629" sldId="2147480335"/>
            <ac:picMk id="35" creationId="{15622FE0-AC89-C444-EB20-F19267423A0B}"/>
          </ac:picMkLst>
        </pc:picChg>
        <pc:picChg chg="add mod">
          <ac:chgData name="Cyprien ARETHUSE" userId="abd46b16-7bf0-4c01-a850-92fb83f61f27" providerId="ADAL" clId="{067C7D3F-9573-4B1A-A9B0-3005DA5BAAAF}" dt="2024-01-31T13:06:04.531" v="9726"/>
          <ac:picMkLst>
            <pc:docMk/>
            <pc:sldMk cId="2861464629" sldId="2147480335"/>
            <ac:picMk id="36" creationId="{8CF904DF-82B3-1284-C08C-CEEA9099B524}"/>
          </ac:picMkLst>
        </pc:picChg>
        <pc:picChg chg="add mod">
          <ac:chgData name="Cyprien ARETHUSE" userId="abd46b16-7bf0-4c01-a850-92fb83f61f27" providerId="ADAL" clId="{067C7D3F-9573-4B1A-A9B0-3005DA5BAAAF}" dt="2024-01-31T13:06:04.531" v="9726"/>
          <ac:picMkLst>
            <pc:docMk/>
            <pc:sldMk cId="2861464629" sldId="2147480335"/>
            <ac:picMk id="37" creationId="{276E2871-CA2D-431A-30E9-6C8445B7EE43}"/>
          </ac:picMkLst>
        </pc:picChg>
        <pc:picChg chg="add mod">
          <ac:chgData name="Cyprien ARETHUSE" userId="abd46b16-7bf0-4c01-a850-92fb83f61f27" providerId="ADAL" clId="{067C7D3F-9573-4B1A-A9B0-3005DA5BAAAF}" dt="2024-01-31T13:06:04.531" v="9726"/>
          <ac:picMkLst>
            <pc:docMk/>
            <pc:sldMk cId="2861464629" sldId="2147480335"/>
            <ac:picMk id="38" creationId="{99EC4319-E923-0EA9-BE5A-F2DBECAB77AE}"/>
          </ac:picMkLst>
        </pc:picChg>
        <pc:picChg chg="add mod">
          <ac:chgData name="Cyprien ARETHUSE" userId="abd46b16-7bf0-4c01-a850-92fb83f61f27" providerId="ADAL" clId="{067C7D3F-9573-4B1A-A9B0-3005DA5BAAAF}" dt="2024-01-31T13:06:04.531" v="9726"/>
          <ac:picMkLst>
            <pc:docMk/>
            <pc:sldMk cId="2861464629" sldId="2147480335"/>
            <ac:picMk id="39" creationId="{A23098AC-43F3-5BA5-793E-9669B3B37521}"/>
          </ac:picMkLst>
        </pc:picChg>
        <pc:picChg chg="add mod">
          <ac:chgData name="Cyprien ARETHUSE" userId="abd46b16-7bf0-4c01-a850-92fb83f61f27" providerId="ADAL" clId="{067C7D3F-9573-4B1A-A9B0-3005DA5BAAAF}" dt="2024-01-31T13:06:04.531" v="9726"/>
          <ac:picMkLst>
            <pc:docMk/>
            <pc:sldMk cId="2861464629" sldId="2147480335"/>
            <ac:picMk id="40" creationId="{3790267D-CC54-B499-FCB4-F2CD4379EA22}"/>
          </ac:picMkLst>
        </pc:picChg>
        <pc:picChg chg="add mod">
          <ac:chgData name="Cyprien ARETHUSE" userId="abd46b16-7bf0-4c01-a850-92fb83f61f27" providerId="ADAL" clId="{067C7D3F-9573-4B1A-A9B0-3005DA5BAAAF}" dt="2024-01-31T13:06:04.531" v="9726"/>
          <ac:picMkLst>
            <pc:docMk/>
            <pc:sldMk cId="2861464629" sldId="2147480335"/>
            <ac:picMk id="41" creationId="{C78BA45C-1D9E-27BF-FB71-F8220767A786}"/>
          </ac:picMkLst>
        </pc:picChg>
        <pc:picChg chg="add mod">
          <ac:chgData name="Cyprien ARETHUSE" userId="abd46b16-7bf0-4c01-a850-92fb83f61f27" providerId="ADAL" clId="{067C7D3F-9573-4B1A-A9B0-3005DA5BAAAF}" dt="2024-01-31T13:06:04.531" v="9726"/>
          <ac:picMkLst>
            <pc:docMk/>
            <pc:sldMk cId="2861464629" sldId="2147480335"/>
            <ac:picMk id="42" creationId="{5A158D2B-4FED-6DF0-4205-EC93866EF07E}"/>
          </ac:picMkLst>
        </pc:picChg>
        <pc:picChg chg="add mod">
          <ac:chgData name="Cyprien ARETHUSE" userId="abd46b16-7bf0-4c01-a850-92fb83f61f27" providerId="ADAL" clId="{067C7D3F-9573-4B1A-A9B0-3005DA5BAAAF}" dt="2024-01-31T13:06:04.531" v="9726"/>
          <ac:picMkLst>
            <pc:docMk/>
            <pc:sldMk cId="2861464629" sldId="2147480335"/>
            <ac:picMk id="43" creationId="{27E9D892-4BDF-6FB2-7E95-66042BF5BEB3}"/>
          </ac:picMkLst>
        </pc:picChg>
        <pc:picChg chg="add mod">
          <ac:chgData name="Cyprien ARETHUSE" userId="abd46b16-7bf0-4c01-a850-92fb83f61f27" providerId="ADAL" clId="{067C7D3F-9573-4B1A-A9B0-3005DA5BAAAF}" dt="2024-01-31T13:06:04.531" v="9726"/>
          <ac:picMkLst>
            <pc:docMk/>
            <pc:sldMk cId="2861464629" sldId="2147480335"/>
            <ac:picMk id="44" creationId="{8AFBD4F2-0133-A3EA-45AF-B7683CB740D4}"/>
          </ac:picMkLst>
        </pc:picChg>
        <pc:picChg chg="add mod">
          <ac:chgData name="Cyprien ARETHUSE" userId="abd46b16-7bf0-4c01-a850-92fb83f61f27" providerId="ADAL" clId="{067C7D3F-9573-4B1A-A9B0-3005DA5BAAAF}" dt="2024-01-31T13:06:04.531" v="9726"/>
          <ac:picMkLst>
            <pc:docMk/>
            <pc:sldMk cId="2861464629" sldId="2147480335"/>
            <ac:picMk id="45" creationId="{9510282B-0E2B-087C-41DD-E1E4C10B023D}"/>
          </ac:picMkLst>
        </pc:picChg>
      </pc:sldChg>
      <pc:sldChg chg="addSp delSp modSp add mod">
        <pc:chgData name="Cyprien ARETHUSE" userId="abd46b16-7bf0-4c01-a850-92fb83f61f27" providerId="ADAL" clId="{067C7D3F-9573-4B1A-A9B0-3005DA5BAAAF}" dt="2024-02-02T16:58:47.208" v="19518" actId="478"/>
        <pc:sldMkLst>
          <pc:docMk/>
          <pc:sldMk cId="1475900930" sldId="2147480336"/>
        </pc:sldMkLst>
        <pc:spChg chg="del">
          <ac:chgData name="Cyprien ARETHUSE" userId="abd46b16-7bf0-4c01-a850-92fb83f61f27" providerId="ADAL" clId="{067C7D3F-9573-4B1A-A9B0-3005DA5BAAAF}" dt="2024-01-31T13:06:34.341" v="9730" actId="478"/>
          <ac:spMkLst>
            <pc:docMk/>
            <pc:sldMk cId="1475900930" sldId="2147480336"/>
            <ac:spMk id="3" creationId="{DE8875F4-96B0-73DD-AC00-F95D729132AD}"/>
          </ac:spMkLst>
        </pc:spChg>
        <pc:spChg chg="add del mod">
          <ac:chgData name="Cyprien ARETHUSE" userId="abd46b16-7bf0-4c01-a850-92fb83f61f27" providerId="ADAL" clId="{067C7D3F-9573-4B1A-A9B0-3005DA5BAAAF}" dt="2024-01-31T13:06:47.248" v="9735" actId="478"/>
          <ac:spMkLst>
            <pc:docMk/>
            <pc:sldMk cId="1475900930" sldId="2147480336"/>
            <ac:spMk id="4" creationId="{0024AF40-84EA-2DBA-E44A-9E37F6353276}"/>
          </ac:spMkLst>
        </pc:spChg>
        <pc:spChg chg="add mod">
          <ac:chgData name="Cyprien ARETHUSE" userId="abd46b16-7bf0-4c01-a850-92fb83f61f27" providerId="ADAL" clId="{067C7D3F-9573-4B1A-A9B0-3005DA5BAAAF}" dt="2024-02-02T15:06:33.928" v="18650" actId="404"/>
          <ac:spMkLst>
            <pc:docMk/>
            <pc:sldMk cId="1475900930" sldId="2147480336"/>
            <ac:spMk id="6" creationId="{B6E8369B-647E-2C0C-8E85-E1BD82307DA6}"/>
          </ac:spMkLst>
        </pc:spChg>
        <pc:spChg chg="del">
          <ac:chgData name="Cyprien ARETHUSE" userId="abd46b16-7bf0-4c01-a850-92fb83f61f27" providerId="ADAL" clId="{067C7D3F-9573-4B1A-A9B0-3005DA5BAAAF}" dt="2024-01-31T13:06:34.341" v="9730" actId="478"/>
          <ac:spMkLst>
            <pc:docMk/>
            <pc:sldMk cId="1475900930" sldId="2147480336"/>
            <ac:spMk id="8" creationId="{C138E386-DAC4-24C4-EAF3-9C73A32FBD41}"/>
          </ac:spMkLst>
        </pc:spChg>
        <pc:spChg chg="add mod">
          <ac:chgData name="Cyprien ARETHUSE" userId="abd46b16-7bf0-4c01-a850-92fb83f61f27" providerId="ADAL" clId="{067C7D3F-9573-4B1A-A9B0-3005DA5BAAAF}" dt="2024-01-31T13:06:43.606" v="9734"/>
          <ac:spMkLst>
            <pc:docMk/>
            <pc:sldMk cId="1475900930" sldId="2147480336"/>
            <ac:spMk id="9" creationId="{86CBB8EE-A58A-6E06-236D-B8B10259D9E4}"/>
          </ac:spMkLst>
        </pc:spChg>
        <pc:spChg chg="add mod">
          <ac:chgData name="Cyprien ARETHUSE" userId="abd46b16-7bf0-4c01-a850-92fb83f61f27" providerId="ADAL" clId="{067C7D3F-9573-4B1A-A9B0-3005DA5BAAAF}" dt="2024-01-31T13:06:43.606" v="9734"/>
          <ac:spMkLst>
            <pc:docMk/>
            <pc:sldMk cId="1475900930" sldId="2147480336"/>
            <ac:spMk id="10" creationId="{B9D7F59B-86C2-3611-B8B7-0262B14B33FC}"/>
          </ac:spMkLst>
        </pc:spChg>
        <pc:spChg chg="add mod">
          <ac:chgData name="Cyprien ARETHUSE" userId="abd46b16-7bf0-4c01-a850-92fb83f61f27" providerId="ADAL" clId="{067C7D3F-9573-4B1A-A9B0-3005DA5BAAAF}" dt="2024-01-31T13:06:43.606" v="9734"/>
          <ac:spMkLst>
            <pc:docMk/>
            <pc:sldMk cId="1475900930" sldId="2147480336"/>
            <ac:spMk id="11" creationId="{F45D948A-5B18-1EFD-DC12-A5BD7A71E9A6}"/>
          </ac:spMkLst>
        </pc:spChg>
        <pc:spChg chg="del">
          <ac:chgData name="Cyprien ARETHUSE" userId="abd46b16-7bf0-4c01-a850-92fb83f61f27" providerId="ADAL" clId="{067C7D3F-9573-4B1A-A9B0-3005DA5BAAAF}" dt="2024-01-31T13:06:34.341" v="9730" actId="478"/>
          <ac:spMkLst>
            <pc:docMk/>
            <pc:sldMk cId="1475900930" sldId="2147480336"/>
            <ac:spMk id="13" creationId="{77848F7A-6BE1-9E46-DD2A-446479399FC9}"/>
          </ac:spMkLst>
        </pc:spChg>
        <pc:spChg chg="add mod">
          <ac:chgData name="Cyprien ARETHUSE" userId="abd46b16-7bf0-4c01-a850-92fb83f61f27" providerId="ADAL" clId="{067C7D3F-9573-4B1A-A9B0-3005DA5BAAAF}" dt="2024-01-31T13:06:43.606" v="9734"/>
          <ac:spMkLst>
            <pc:docMk/>
            <pc:sldMk cId="1475900930" sldId="2147480336"/>
            <ac:spMk id="16" creationId="{26A7A17D-400B-A8E6-09CD-27989DBA92FF}"/>
          </ac:spMkLst>
        </pc:spChg>
        <pc:spChg chg="add mod">
          <ac:chgData name="Cyprien ARETHUSE" userId="abd46b16-7bf0-4c01-a850-92fb83f61f27" providerId="ADAL" clId="{067C7D3F-9573-4B1A-A9B0-3005DA5BAAAF}" dt="2024-01-31T13:11:55.774" v="9789" actId="20577"/>
          <ac:spMkLst>
            <pc:docMk/>
            <pc:sldMk cId="1475900930" sldId="2147480336"/>
            <ac:spMk id="17" creationId="{9AACC414-D660-4782-F463-D3741B50A405}"/>
          </ac:spMkLst>
        </pc:spChg>
        <pc:spChg chg="add mod">
          <ac:chgData name="Cyprien ARETHUSE" userId="abd46b16-7bf0-4c01-a850-92fb83f61f27" providerId="ADAL" clId="{067C7D3F-9573-4B1A-A9B0-3005DA5BAAAF}" dt="2024-01-31T13:06:43.606" v="9734"/>
          <ac:spMkLst>
            <pc:docMk/>
            <pc:sldMk cId="1475900930" sldId="2147480336"/>
            <ac:spMk id="18" creationId="{654422A6-6679-E841-3BB4-21C3368E0778}"/>
          </ac:spMkLst>
        </pc:spChg>
        <pc:spChg chg="del">
          <ac:chgData name="Cyprien ARETHUSE" userId="abd46b16-7bf0-4c01-a850-92fb83f61f27" providerId="ADAL" clId="{067C7D3F-9573-4B1A-A9B0-3005DA5BAAAF}" dt="2024-01-31T13:06:34.341" v="9730" actId="478"/>
          <ac:spMkLst>
            <pc:docMk/>
            <pc:sldMk cId="1475900930" sldId="2147480336"/>
            <ac:spMk id="21" creationId="{AA7660F1-A043-2CCC-C506-70AC57957A7A}"/>
          </ac:spMkLst>
        </pc:spChg>
        <pc:spChg chg="del">
          <ac:chgData name="Cyprien ARETHUSE" userId="abd46b16-7bf0-4c01-a850-92fb83f61f27" providerId="ADAL" clId="{067C7D3F-9573-4B1A-A9B0-3005DA5BAAAF}" dt="2024-02-02T16:58:47.208" v="19518" actId="478"/>
          <ac:spMkLst>
            <pc:docMk/>
            <pc:sldMk cId="1475900930" sldId="2147480336"/>
            <ac:spMk id="21" creationId="{FA11B2FF-4799-97FA-CA23-C36A5610C0F0}"/>
          </ac:spMkLst>
        </pc:spChg>
        <pc:spChg chg="del">
          <ac:chgData name="Cyprien ARETHUSE" userId="abd46b16-7bf0-4c01-a850-92fb83f61f27" providerId="ADAL" clId="{067C7D3F-9573-4B1A-A9B0-3005DA5BAAAF}" dt="2024-01-31T13:06:34.341" v="9730" actId="478"/>
          <ac:spMkLst>
            <pc:docMk/>
            <pc:sldMk cId="1475900930" sldId="2147480336"/>
            <ac:spMk id="33" creationId="{B2DFD433-E109-3FC9-AF6E-18CE5488BEC2}"/>
          </ac:spMkLst>
        </pc:spChg>
        <pc:spChg chg="del">
          <ac:chgData name="Cyprien ARETHUSE" userId="abd46b16-7bf0-4c01-a850-92fb83f61f27" providerId="ADAL" clId="{067C7D3F-9573-4B1A-A9B0-3005DA5BAAAF}" dt="2024-01-31T13:06:34.341" v="9730" actId="478"/>
          <ac:spMkLst>
            <pc:docMk/>
            <pc:sldMk cId="1475900930" sldId="2147480336"/>
            <ac:spMk id="34" creationId="{7AD88BB1-7740-F01A-E587-E3481FEAF580}"/>
          </ac:spMkLst>
        </pc:spChg>
        <pc:spChg chg="del">
          <ac:chgData name="Cyprien ARETHUSE" userId="abd46b16-7bf0-4c01-a850-92fb83f61f27" providerId="ADAL" clId="{067C7D3F-9573-4B1A-A9B0-3005DA5BAAAF}" dt="2024-01-31T13:06:34.341" v="9730" actId="478"/>
          <ac:spMkLst>
            <pc:docMk/>
            <pc:sldMk cId="1475900930" sldId="2147480336"/>
            <ac:spMk id="46" creationId="{7786E5F0-A746-A936-7EA8-222CE3D53AE4}"/>
          </ac:spMkLst>
        </pc:spChg>
        <pc:graphicFrameChg chg="del">
          <ac:chgData name="Cyprien ARETHUSE" userId="abd46b16-7bf0-4c01-a850-92fb83f61f27" providerId="ADAL" clId="{067C7D3F-9573-4B1A-A9B0-3005DA5BAAAF}" dt="2024-01-31T13:06:34.341" v="9730" actId="478"/>
          <ac:graphicFrameMkLst>
            <pc:docMk/>
            <pc:sldMk cId="1475900930" sldId="2147480336"/>
            <ac:graphicFrameMk id="2" creationId="{BFB6AE9A-6788-6653-FA00-77106530C2E8}"/>
          </ac:graphicFrameMkLst>
        </pc:graphicFrameChg>
        <pc:graphicFrameChg chg="del">
          <ac:chgData name="Cyprien ARETHUSE" userId="abd46b16-7bf0-4c01-a850-92fb83f61f27" providerId="ADAL" clId="{067C7D3F-9573-4B1A-A9B0-3005DA5BAAAF}" dt="2024-01-31T13:06:34.341" v="9730" actId="478"/>
          <ac:graphicFrameMkLst>
            <pc:docMk/>
            <pc:sldMk cId="1475900930" sldId="2147480336"/>
            <ac:graphicFrameMk id="5" creationId="{546F7672-E039-C5CE-62E3-B3AB1122B16F}"/>
          </ac:graphicFrameMkLst>
        </pc:graphicFrameChg>
        <pc:graphicFrameChg chg="add mod">
          <ac:chgData name="Cyprien ARETHUSE" userId="abd46b16-7bf0-4c01-a850-92fb83f61f27" providerId="ADAL" clId="{067C7D3F-9573-4B1A-A9B0-3005DA5BAAAF}" dt="2024-01-31T13:06:43.606" v="9734"/>
          <ac:graphicFrameMkLst>
            <pc:docMk/>
            <pc:sldMk cId="1475900930" sldId="2147480336"/>
            <ac:graphicFrameMk id="7" creationId="{EE227770-8007-9A90-2216-31041EE66659}"/>
          </ac:graphicFrameMkLst>
        </pc:graphicFrameChg>
        <pc:graphicFrameChg chg="add mod modGraphic">
          <ac:chgData name="Cyprien ARETHUSE" userId="abd46b16-7bf0-4c01-a850-92fb83f61f27" providerId="ADAL" clId="{067C7D3F-9573-4B1A-A9B0-3005DA5BAAAF}" dt="2024-02-02T15:09:29.092" v="18801" actId="207"/>
          <ac:graphicFrameMkLst>
            <pc:docMk/>
            <pc:sldMk cId="1475900930" sldId="2147480336"/>
            <ac:graphicFrameMk id="25" creationId="{A95ED58A-BBDE-43E3-F55F-0E8591C92D3A}"/>
          </ac:graphicFrameMkLst>
        </pc:graphicFrameChg>
        <pc:picChg chg="mod">
          <ac:chgData name="Cyprien ARETHUSE" userId="abd46b16-7bf0-4c01-a850-92fb83f61f27" providerId="ADAL" clId="{067C7D3F-9573-4B1A-A9B0-3005DA5BAAAF}" dt="2024-02-02T15:09:14.925" v="18788" actId="1035"/>
          <ac:picMkLst>
            <pc:docMk/>
            <pc:sldMk cId="1475900930" sldId="2147480336"/>
            <ac:picMk id="5" creationId="{5BAE5436-CB96-5537-A538-D87511561C9D}"/>
          </ac:picMkLst>
        </pc:picChg>
        <pc:picChg chg="mod">
          <ac:chgData name="Cyprien ARETHUSE" userId="abd46b16-7bf0-4c01-a850-92fb83f61f27" providerId="ADAL" clId="{067C7D3F-9573-4B1A-A9B0-3005DA5BAAAF}" dt="2024-02-02T15:09:18.386" v="18800" actId="1035"/>
          <ac:picMkLst>
            <pc:docMk/>
            <pc:sldMk cId="1475900930" sldId="2147480336"/>
            <ac:picMk id="8" creationId="{463FDEF0-DF0F-2D05-1A89-E52525F19D25}"/>
          </ac:picMkLst>
        </pc:picChg>
        <pc:picChg chg="add mod">
          <ac:chgData name="Cyprien ARETHUSE" userId="abd46b16-7bf0-4c01-a850-92fb83f61f27" providerId="ADAL" clId="{067C7D3F-9573-4B1A-A9B0-3005DA5BAAAF}" dt="2024-01-31T13:06:43.606" v="9734"/>
          <ac:picMkLst>
            <pc:docMk/>
            <pc:sldMk cId="1475900930" sldId="2147480336"/>
            <ac:picMk id="12" creationId="{9F11A87A-ED17-3B84-1AB3-678B61C51C05}"/>
          </ac:picMkLst>
        </pc:picChg>
        <pc:picChg chg="mod">
          <ac:chgData name="Cyprien ARETHUSE" userId="abd46b16-7bf0-4c01-a850-92fb83f61f27" providerId="ADAL" clId="{067C7D3F-9573-4B1A-A9B0-3005DA5BAAAF}" dt="2024-02-02T15:09:14.925" v="18788" actId="1035"/>
          <ac:picMkLst>
            <pc:docMk/>
            <pc:sldMk cId="1475900930" sldId="2147480336"/>
            <ac:picMk id="13" creationId="{02A621A4-62B9-3423-ECAD-D2EE3403CC13}"/>
          </ac:picMkLst>
        </pc:picChg>
        <pc:picChg chg="add mod">
          <ac:chgData name="Cyprien ARETHUSE" userId="abd46b16-7bf0-4c01-a850-92fb83f61f27" providerId="ADAL" clId="{067C7D3F-9573-4B1A-A9B0-3005DA5BAAAF}" dt="2024-02-02T15:09:18.386" v="18800" actId="1035"/>
          <ac:picMkLst>
            <pc:docMk/>
            <pc:sldMk cId="1475900930" sldId="2147480336"/>
            <ac:picMk id="14" creationId="{B104EED2-4D5A-6D29-8F0B-E310F900A4B9}"/>
          </ac:picMkLst>
        </pc:picChg>
        <pc:picChg chg="add mod">
          <ac:chgData name="Cyprien ARETHUSE" userId="abd46b16-7bf0-4c01-a850-92fb83f61f27" providerId="ADAL" clId="{067C7D3F-9573-4B1A-A9B0-3005DA5BAAAF}" dt="2024-01-31T13:06:43.606" v="9734"/>
          <ac:picMkLst>
            <pc:docMk/>
            <pc:sldMk cId="1475900930" sldId="2147480336"/>
            <ac:picMk id="15" creationId="{024C1C3B-C026-72C3-A0A9-87257A3F5E80}"/>
          </ac:picMkLst>
        </pc:picChg>
        <pc:picChg chg="add mod">
          <ac:chgData name="Cyprien ARETHUSE" userId="abd46b16-7bf0-4c01-a850-92fb83f61f27" providerId="ADAL" clId="{067C7D3F-9573-4B1A-A9B0-3005DA5BAAAF}" dt="2024-01-31T13:06:43.606" v="9734"/>
          <ac:picMkLst>
            <pc:docMk/>
            <pc:sldMk cId="1475900930" sldId="2147480336"/>
            <ac:picMk id="19" creationId="{FAEB17B4-8D78-4361-FCA9-2EBE7DDC2973}"/>
          </ac:picMkLst>
        </pc:picChg>
        <pc:picChg chg="add mod">
          <ac:chgData name="Cyprien ARETHUSE" userId="abd46b16-7bf0-4c01-a850-92fb83f61f27" providerId="ADAL" clId="{067C7D3F-9573-4B1A-A9B0-3005DA5BAAAF}" dt="2024-01-31T13:06:43.606" v="9734"/>
          <ac:picMkLst>
            <pc:docMk/>
            <pc:sldMk cId="1475900930" sldId="2147480336"/>
            <ac:picMk id="20" creationId="{DBB7364C-551A-F078-5E3F-345C79C23F0E}"/>
          </ac:picMkLst>
        </pc:picChg>
        <pc:picChg chg="add mod">
          <ac:chgData name="Cyprien ARETHUSE" userId="abd46b16-7bf0-4c01-a850-92fb83f61f27" providerId="ADAL" clId="{067C7D3F-9573-4B1A-A9B0-3005DA5BAAAF}" dt="2024-02-02T15:08:27.976" v="18737" actId="1035"/>
          <ac:picMkLst>
            <pc:docMk/>
            <pc:sldMk cId="1475900930" sldId="2147480336"/>
            <ac:picMk id="22" creationId="{759F4E6E-6EC2-9545-975B-0C1F6E32A02A}"/>
          </ac:picMkLst>
        </pc:picChg>
        <pc:picChg chg="del">
          <ac:chgData name="Cyprien ARETHUSE" userId="abd46b16-7bf0-4c01-a850-92fb83f61f27" providerId="ADAL" clId="{067C7D3F-9573-4B1A-A9B0-3005DA5BAAAF}" dt="2024-01-31T13:06:34.341" v="9730" actId="478"/>
          <ac:picMkLst>
            <pc:docMk/>
            <pc:sldMk cId="1475900930" sldId="2147480336"/>
            <ac:picMk id="23" creationId="{7BABE4FC-387D-EBD3-3CCC-3F44475509D0}"/>
          </ac:picMkLst>
        </pc:picChg>
        <pc:picChg chg="add mod">
          <ac:chgData name="Cyprien ARETHUSE" userId="abd46b16-7bf0-4c01-a850-92fb83f61f27" providerId="ADAL" clId="{067C7D3F-9573-4B1A-A9B0-3005DA5BAAAF}" dt="2024-01-31T13:06:43.606" v="9734"/>
          <ac:picMkLst>
            <pc:docMk/>
            <pc:sldMk cId="1475900930" sldId="2147480336"/>
            <ac:picMk id="24" creationId="{E80151D6-544B-5F73-8B19-58139D9AFAC0}"/>
          </ac:picMkLst>
        </pc:picChg>
        <pc:picChg chg="del">
          <ac:chgData name="Cyprien ARETHUSE" userId="abd46b16-7bf0-4c01-a850-92fb83f61f27" providerId="ADAL" clId="{067C7D3F-9573-4B1A-A9B0-3005DA5BAAAF}" dt="2024-01-31T13:06:34.341" v="9730" actId="478"/>
          <ac:picMkLst>
            <pc:docMk/>
            <pc:sldMk cId="1475900930" sldId="2147480336"/>
            <ac:picMk id="26" creationId="{0DC0847B-FD45-0EB6-DB44-1EBE20238F1E}"/>
          </ac:picMkLst>
        </pc:picChg>
        <pc:picChg chg="mod">
          <ac:chgData name="Cyprien ARETHUSE" userId="abd46b16-7bf0-4c01-a850-92fb83f61f27" providerId="ADAL" clId="{067C7D3F-9573-4B1A-A9B0-3005DA5BAAAF}" dt="2024-02-02T15:08:33.240" v="18754" actId="1036"/>
          <ac:picMkLst>
            <pc:docMk/>
            <pc:sldMk cId="1475900930" sldId="2147480336"/>
            <ac:picMk id="28" creationId="{24600E04-334E-B96C-BDBB-1EF8B584E5D0}"/>
          </ac:picMkLst>
        </pc:picChg>
        <pc:picChg chg="del">
          <ac:chgData name="Cyprien ARETHUSE" userId="abd46b16-7bf0-4c01-a850-92fb83f61f27" providerId="ADAL" clId="{067C7D3F-9573-4B1A-A9B0-3005DA5BAAAF}" dt="2024-01-31T13:06:34.341" v="9730" actId="478"/>
          <ac:picMkLst>
            <pc:docMk/>
            <pc:sldMk cId="1475900930" sldId="2147480336"/>
            <ac:picMk id="32" creationId="{DDD8AA67-0556-CBB5-07AF-F60E800F386C}"/>
          </ac:picMkLst>
        </pc:picChg>
        <pc:picChg chg="del">
          <ac:chgData name="Cyprien ARETHUSE" userId="abd46b16-7bf0-4c01-a850-92fb83f61f27" providerId="ADAL" clId="{067C7D3F-9573-4B1A-A9B0-3005DA5BAAAF}" dt="2024-01-31T13:06:34.341" v="9730" actId="478"/>
          <ac:picMkLst>
            <pc:docMk/>
            <pc:sldMk cId="1475900930" sldId="2147480336"/>
            <ac:picMk id="35" creationId="{15622FE0-AC89-C444-EB20-F19267423A0B}"/>
          </ac:picMkLst>
        </pc:picChg>
        <pc:picChg chg="del">
          <ac:chgData name="Cyprien ARETHUSE" userId="abd46b16-7bf0-4c01-a850-92fb83f61f27" providerId="ADAL" clId="{067C7D3F-9573-4B1A-A9B0-3005DA5BAAAF}" dt="2024-01-31T13:06:34.341" v="9730" actId="478"/>
          <ac:picMkLst>
            <pc:docMk/>
            <pc:sldMk cId="1475900930" sldId="2147480336"/>
            <ac:picMk id="36" creationId="{8CF904DF-82B3-1284-C08C-CEEA9099B524}"/>
          </ac:picMkLst>
        </pc:picChg>
        <pc:picChg chg="del">
          <ac:chgData name="Cyprien ARETHUSE" userId="abd46b16-7bf0-4c01-a850-92fb83f61f27" providerId="ADAL" clId="{067C7D3F-9573-4B1A-A9B0-3005DA5BAAAF}" dt="2024-01-31T13:06:34.341" v="9730" actId="478"/>
          <ac:picMkLst>
            <pc:docMk/>
            <pc:sldMk cId="1475900930" sldId="2147480336"/>
            <ac:picMk id="37" creationId="{276E2871-CA2D-431A-30E9-6C8445B7EE43}"/>
          </ac:picMkLst>
        </pc:picChg>
        <pc:picChg chg="del">
          <ac:chgData name="Cyprien ARETHUSE" userId="abd46b16-7bf0-4c01-a850-92fb83f61f27" providerId="ADAL" clId="{067C7D3F-9573-4B1A-A9B0-3005DA5BAAAF}" dt="2024-01-31T13:06:34.341" v="9730" actId="478"/>
          <ac:picMkLst>
            <pc:docMk/>
            <pc:sldMk cId="1475900930" sldId="2147480336"/>
            <ac:picMk id="38" creationId="{99EC4319-E923-0EA9-BE5A-F2DBECAB77AE}"/>
          </ac:picMkLst>
        </pc:picChg>
        <pc:picChg chg="del">
          <ac:chgData name="Cyprien ARETHUSE" userId="abd46b16-7bf0-4c01-a850-92fb83f61f27" providerId="ADAL" clId="{067C7D3F-9573-4B1A-A9B0-3005DA5BAAAF}" dt="2024-01-31T13:06:34.341" v="9730" actId="478"/>
          <ac:picMkLst>
            <pc:docMk/>
            <pc:sldMk cId="1475900930" sldId="2147480336"/>
            <ac:picMk id="39" creationId="{A23098AC-43F3-5BA5-793E-9669B3B37521}"/>
          </ac:picMkLst>
        </pc:picChg>
        <pc:picChg chg="del">
          <ac:chgData name="Cyprien ARETHUSE" userId="abd46b16-7bf0-4c01-a850-92fb83f61f27" providerId="ADAL" clId="{067C7D3F-9573-4B1A-A9B0-3005DA5BAAAF}" dt="2024-01-31T13:06:34.341" v="9730" actId="478"/>
          <ac:picMkLst>
            <pc:docMk/>
            <pc:sldMk cId="1475900930" sldId="2147480336"/>
            <ac:picMk id="40" creationId="{3790267D-CC54-B499-FCB4-F2CD4379EA22}"/>
          </ac:picMkLst>
        </pc:picChg>
        <pc:picChg chg="del">
          <ac:chgData name="Cyprien ARETHUSE" userId="abd46b16-7bf0-4c01-a850-92fb83f61f27" providerId="ADAL" clId="{067C7D3F-9573-4B1A-A9B0-3005DA5BAAAF}" dt="2024-01-31T13:06:34.341" v="9730" actId="478"/>
          <ac:picMkLst>
            <pc:docMk/>
            <pc:sldMk cId="1475900930" sldId="2147480336"/>
            <ac:picMk id="41" creationId="{C78BA45C-1D9E-27BF-FB71-F8220767A786}"/>
          </ac:picMkLst>
        </pc:picChg>
        <pc:picChg chg="del">
          <ac:chgData name="Cyprien ARETHUSE" userId="abd46b16-7bf0-4c01-a850-92fb83f61f27" providerId="ADAL" clId="{067C7D3F-9573-4B1A-A9B0-3005DA5BAAAF}" dt="2024-01-31T13:06:34.341" v="9730" actId="478"/>
          <ac:picMkLst>
            <pc:docMk/>
            <pc:sldMk cId="1475900930" sldId="2147480336"/>
            <ac:picMk id="42" creationId="{5A158D2B-4FED-6DF0-4205-EC93866EF07E}"/>
          </ac:picMkLst>
        </pc:picChg>
        <pc:picChg chg="del">
          <ac:chgData name="Cyprien ARETHUSE" userId="abd46b16-7bf0-4c01-a850-92fb83f61f27" providerId="ADAL" clId="{067C7D3F-9573-4B1A-A9B0-3005DA5BAAAF}" dt="2024-01-31T13:06:34.341" v="9730" actId="478"/>
          <ac:picMkLst>
            <pc:docMk/>
            <pc:sldMk cId="1475900930" sldId="2147480336"/>
            <ac:picMk id="43" creationId="{27E9D892-4BDF-6FB2-7E95-66042BF5BEB3}"/>
          </ac:picMkLst>
        </pc:picChg>
        <pc:picChg chg="del">
          <ac:chgData name="Cyprien ARETHUSE" userId="abd46b16-7bf0-4c01-a850-92fb83f61f27" providerId="ADAL" clId="{067C7D3F-9573-4B1A-A9B0-3005DA5BAAAF}" dt="2024-01-31T13:06:34.341" v="9730" actId="478"/>
          <ac:picMkLst>
            <pc:docMk/>
            <pc:sldMk cId="1475900930" sldId="2147480336"/>
            <ac:picMk id="44" creationId="{8AFBD4F2-0133-A3EA-45AF-B7683CB740D4}"/>
          </ac:picMkLst>
        </pc:picChg>
        <pc:picChg chg="del">
          <ac:chgData name="Cyprien ARETHUSE" userId="abd46b16-7bf0-4c01-a850-92fb83f61f27" providerId="ADAL" clId="{067C7D3F-9573-4B1A-A9B0-3005DA5BAAAF}" dt="2024-01-31T13:06:34.341" v="9730" actId="478"/>
          <ac:picMkLst>
            <pc:docMk/>
            <pc:sldMk cId="1475900930" sldId="2147480336"/>
            <ac:picMk id="45" creationId="{9510282B-0E2B-087C-41DD-E1E4C10B023D}"/>
          </ac:picMkLst>
        </pc:picChg>
      </pc:sldChg>
      <pc:sldChg chg="addSp delSp modSp add del mod">
        <pc:chgData name="Cyprien ARETHUSE" userId="abd46b16-7bf0-4c01-a850-92fb83f61f27" providerId="ADAL" clId="{067C7D3F-9573-4B1A-A9B0-3005DA5BAAAF}" dt="2024-02-02T16:58:49.549" v="19519" actId="478"/>
        <pc:sldMkLst>
          <pc:docMk/>
          <pc:sldMk cId="3124005727" sldId="2147480337"/>
        </pc:sldMkLst>
        <pc:spChg chg="add del mod">
          <ac:chgData name="Cyprien ARETHUSE" userId="abd46b16-7bf0-4c01-a850-92fb83f61f27" providerId="ADAL" clId="{067C7D3F-9573-4B1A-A9B0-3005DA5BAAAF}" dt="2024-02-02T14:49:21.634" v="18147" actId="404"/>
          <ac:spMkLst>
            <pc:docMk/>
            <pc:sldMk cId="3124005727" sldId="2147480337"/>
            <ac:spMk id="3" creationId="{D37069D9-5950-C26E-070A-850EF4F48DB9}"/>
          </ac:spMkLst>
        </pc:spChg>
        <pc:spChg chg="del">
          <ac:chgData name="Cyprien ARETHUSE" userId="abd46b16-7bf0-4c01-a850-92fb83f61f27" providerId="ADAL" clId="{067C7D3F-9573-4B1A-A9B0-3005DA5BAAAF}" dt="2024-01-31T13:07:35.139" v="9746" actId="478"/>
          <ac:spMkLst>
            <pc:docMk/>
            <pc:sldMk cId="3124005727" sldId="2147480337"/>
            <ac:spMk id="4" creationId="{0024AF40-84EA-2DBA-E44A-9E37F6353276}"/>
          </ac:spMkLst>
        </pc:spChg>
        <pc:spChg chg="add mod">
          <ac:chgData name="Cyprien ARETHUSE" userId="abd46b16-7bf0-4c01-a850-92fb83f61f27" providerId="ADAL" clId="{067C7D3F-9573-4B1A-A9B0-3005DA5BAAAF}" dt="2024-02-02T14:59:07.890" v="18238" actId="14100"/>
          <ac:spMkLst>
            <pc:docMk/>
            <pc:sldMk cId="3124005727" sldId="2147480337"/>
            <ac:spMk id="9" creationId="{461442E2-CF9D-3785-C6FD-F8ACB11B3DDA}"/>
          </ac:spMkLst>
        </pc:spChg>
        <pc:spChg chg="add del mod">
          <ac:chgData name="Cyprien ARETHUSE" userId="abd46b16-7bf0-4c01-a850-92fb83f61f27" providerId="ADAL" clId="{067C7D3F-9573-4B1A-A9B0-3005DA5BAAAF}" dt="2024-02-02T15:01:18.141" v="18298" actId="478"/>
          <ac:spMkLst>
            <pc:docMk/>
            <pc:sldMk cId="3124005727" sldId="2147480337"/>
            <ac:spMk id="15" creationId="{8A2F68A8-0F49-4C24-6063-9EAE773E0512}"/>
          </ac:spMkLst>
        </pc:spChg>
        <pc:spChg chg="add del mod">
          <ac:chgData name="Cyprien ARETHUSE" userId="abd46b16-7bf0-4c01-a850-92fb83f61f27" providerId="ADAL" clId="{067C7D3F-9573-4B1A-A9B0-3005DA5BAAAF}" dt="2024-02-02T15:01:18.141" v="18298" actId="478"/>
          <ac:spMkLst>
            <pc:docMk/>
            <pc:sldMk cId="3124005727" sldId="2147480337"/>
            <ac:spMk id="16" creationId="{9EA3D89C-4344-EE3B-1786-3BF582707082}"/>
          </ac:spMkLst>
        </pc:spChg>
        <pc:spChg chg="add del mod">
          <ac:chgData name="Cyprien ARETHUSE" userId="abd46b16-7bf0-4c01-a850-92fb83f61f27" providerId="ADAL" clId="{067C7D3F-9573-4B1A-A9B0-3005DA5BAAAF}" dt="2024-02-02T15:01:18.141" v="18298" actId="478"/>
          <ac:spMkLst>
            <pc:docMk/>
            <pc:sldMk cId="3124005727" sldId="2147480337"/>
            <ac:spMk id="17" creationId="{DE873E4F-902C-6ABA-2909-2CE4BBC88281}"/>
          </ac:spMkLst>
        </pc:spChg>
        <pc:spChg chg="add del mod">
          <ac:chgData name="Cyprien ARETHUSE" userId="abd46b16-7bf0-4c01-a850-92fb83f61f27" providerId="ADAL" clId="{067C7D3F-9573-4B1A-A9B0-3005DA5BAAAF}" dt="2024-02-02T15:01:18.141" v="18298" actId="478"/>
          <ac:spMkLst>
            <pc:docMk/>
            <pc:sldMk cId="3124005727" sldId="2147480337"/>
            <ac:spMk id="18" creationId="{64825884-95D7-7028-60EE-E1F486387493}"/>
          </ac:spMkLst>
        </pc:spChg>
        <pc:spChg chg="add del mod">
          <ac:chgData name="Cyprien ARETHUSE" userId="abd46b16-7bf0-4c01-a850-92fb83f61f27" providerId="ADAL" clId="{067C7D3F-9573-4B1A-A9B0-3005DA5BAAAF}" dt="2024-02-02T15:01:18.141" v="18298" actId="478"/>
          <ac:spMkLst>
            <pc:docMk/>
            <pc:sldMk cId="3124005727" sldId="2147480337"/>
            <ac:spMk id="19" creationId="{46C33C7C-5967-BBCC-ADFB-4F9C57A21D24}"/>
          </ac:spMkLst>
        </pc:spChg>
        <pc:spChg chg="del">
          <ac:chgData name="Cyprien ARETHUSE" userId="abd46b16-7bf0-4c01-a850-92fb83f61f27" providerId="ADAL" clId="{067C7D3F-9573-4B1A-A9B0-3005DA5BAAAF}" dt="2024-02-02T16:58:49.549" v="19519" actId="478"/>
          <ac:spMkLst>
            <pc:docMk/>
            <pc:sldMk cId="3124005727" sldId="2147480337"/>
            <ac:spMk id="31" creationId="{A425D287-0FBE-7ACA-C145-A6DB4F9A7A4E}"/>
          </ac:spMkLst>
        </pc:spChg>
        <pc:spChg chg="add mod">
          <ac:chgData name="Cyprien ARETHUSE" userId="abd46b16-7bf0-4c01-a850-92fb83f61f27" providerId="ADAL" clId="{067C7D3F-9573-4B1A-A9B0-3005DA5BAAAF}" dt="2024-02-02T15:04:43.149" v="18605" actId="14100"/>
          <ac:spMkLst>
            <pc:docMk/>
            <pc:sldMk cId="3124005727" sldId="2147480337"/>
            <ac:spMk id="34" creationId="{FD0162B6-4DA7-88A8-FEA1-92F3B4CCF521}"/>
          </ac:spMkLst>
        </pc:spChg>
        <pc:graphicFrameChg chg="add mod modGraphic">
          <ac:chgData name="Cyprien ARETHUSE" userId="abd46b16-7bf0-4c01-a850-92fb83f61f27" providerId="ADAL" clId="{067C7D3F-9573-4B1A-A9B0-3005DA5BAAAF}" dt="2024-02-02T15:06:05.388" v="18648" actId="404"/>
          <ac:graphicFrameMkLst>
            <pc:docMk/>
            <pc:sldMk cId="3124005727" sldId="2147480337"/>
            <ac:graphicFrameMk id="2" creationId="{E55B44E2-27DF-DA6A-53FD-6FD0202BC1ED}"/>
          </ac:graphicFrameMkLst>
        </pc:graphicFrameChg>
        <pc:graphicFrameChg chg="add mod modGraphic">
          <ac:chgData name="Cyprien ARETHUSE" userId="abd46b16-7bf0-4c01-a850-92fb83f61f27" providerId="ADAL" clId="{067C7D3F-9573-4B1A-A9B0-3005DA5BAAAF}" dt="2024-02-02T15:30:51.723" v="18843" actId="20577"/>
          <ac:graphicFrameMkLst>
            <pc:docMk/>
            <pc:sldMk cId="3124005727" sldId="2147480337"/>
            <ac:graphicFrameMk id="10" creationId="{7D4FD022-50BA-8700-32BF-3AD689096E20}"/>
          </ac:graphicFrameMkLst>
        </pc:graphicFrameChg>
        <pc:graphicFrameChg chg="mod ord modGraphic">
          <ac:chgData name="Cyprien ARETHUSE" userId="abd46b16-7bf0-4c01-a850-92fb83f61f27" providerId="ADAL" clId="{067C7D3F-9573-4B1A-A9B0-3005DA5BAAAF}" dt="2024-02-02T15:04:58.760" v="18621" actId="207"/>
          <ac:graphicFrameMkLst>
            <pc:docMk/>
            <pc:sldMk cId="3124005727" sldId="2147480337"/>
            <ac:graphicFrameMk id="33" creationId="{91875E06-53B1-9CF5-D89D-679A94E3C10C}"/>
          </ac:graphicFrameMkLst>
        </pc:graphicFrameChg>
        <pc:picChg chg="add mod">
          <ac:chgData name="Cyprien ARETHUSE" userId="abd46b16-7bf0-4c01-a850-92fb83f61f27" providerId="ADAL" clId="{067C7D3F-9573-4B1A-A9B0-3005DA5BAAAF}" dt="2024-01-31T13:07:21.015" v="9741"/>
          <ac:picMkLst>
            <pc:docMk/>
            <pc:sldMk cId="3124005727" sldId="2147480337"/>
            <ac:picMk id="5" creationId="{AC73B3E6-ECE1-E120-FE8D-2F5A54520263}"/>
          </ac:picMkLst>
        </pc:picChg>
        <pc:picChg chg="add mod">
          <ac:chgData name="Cyprien ARETHUSE" userId="abd46b16-7bf0-4c01-a850-92fb83f61f27" providerId="ADAL" clId="{067C7D3F-9573-4B1A-A9B0-3005DA5BAAAF}" dt="2024-01-31T13:07:21.015" v="9741"/>
          <ac:picMkLst>
            <pc:docMk/>
            <pc:sldMk cId="3124005727" sldId="2147480337"/>
            <ac:picMk id="6" creationId="{E44944FC-6181-EFB9-00D1-57A2B8AB466E}"/>
          </ac:picMkLst>
        </pc:picChg>
        <pc:picChg chg="add mod">
          <ac:chgData name="Cyprien ARETHUSE" userId="abd46b16-7bf0-4c01-a850-92fb83f61f27" providerId="ADAL" clId="{067C7D3F-9573-4B1A-A9B0-3005DA5BAAAF}" dt="2024-02-02T15:05:43.709" v="18643" actId="1036"/>
          <ac:picMkLst>
            <pc:docMk/>
            <pc:sldMk cId="3124005727" sldId="2147480337"/>
            <ac:picMk id="7" creationId="{5E071DF0-8943-4FB9-A73C-806C97AD51C1}"/>
          </ac:picMkLst>
        </pc:picChg>
        <pc:picChg chg="add mod">
          <ac:chgData name="Cyprien ARETHUSE" userId="abd46b16-7bf0-4c01-a850-92fb83f61f27" providerId="ADAL" clId="{067C7D3F-9573-4B1A-A9B0-3005DA5BAAAF}" dt="2024-02-02T15:05:43.709" v="18643" actId="1036"/>
          <ac:picMkLst>
            <pc:docMk/>
            <pc:sldMk cId="3124005727" sldId="2147480337"/>
            <ac:picMk id="8" creationId="{4F2A914F-8A56-5698-4816-FDD471C30BFA}"/>
          </ac:picMkLst>
        </pc:picChg>
        <pc:picChg chg="add mod">
          <ac:chgData name="Cyprien ARETHUSE" userId="abd46b16-7bf0-4c01-a850-92fb83f61f27" providerId="ADAL" clId="{067C7D3F-9573-4B1A-A9B0-3005DA5BAAAF}" dt="2024-02-02T15:05:18.411" v="18634" actId="1035"/>
          <ac:picMkLst>
            <pc:docMk/>
            <pc:sldMk cId="3124005727" sldId="2147480337"/>
            <ac:picMk id="11" creationId="{893AAA99-A0B9-0777-CC34-AA59D292C4B3}"/>
          </ac:picMkLst>
        </pc:picChg>
        <pc:picChg chg="add mod">
          <ac:chgData name="Cyprien ARETHUSE" userId="abd46b16-7bf0-4c01-a850-92fb83f61f27" providerId="ADAL" clId="{067C7D3F-9573-4B1A-A9B0-3005DA5BAAAF}" dt="2024-02-02T15:05:18.411" v="18634" actId="1035"/>
          <ac:picMkLst>
            <pc:docMk/>
            <pc:sldMk cId="3124005727" sldId="2147480337"/>
            <ac:picMk id="12" creationId="{30F0BBE0-57BA-E200-8655-7BC7BC9D43DF}"/>
          </ac:picMkLst>
        </pc:picChg>
        <pc:picChg chg="add mod">
          <ac:chgData name="Cyprien ARETHUSE" userId="abd46b16-7bf0-4c01-a850-92fb83f61f27" providerId="ADAL" clId="{067C7D3F-9573-4B1A-A9B0-3005DA5BAAAF}" dt="2024-01-31T13:07:21.015" v="9741"/>
          <ac:picMkLst>
            <pc:docMk/>
            <pc:sldMk cId="3124005727" sldId="2147480337"/>
            <ac:picMk id="13" creationId="{6E158409-2501-81C1-6ADD-C16D5C67269F}"/>
          </ac:picMkLst>
        </pc:picChg>
        <pc:picChg chg="add mod">
          <ac:chgData name="Cyprien ARETHUSE" userId="abd46b16-7bf0-4c01-a850-92fb83f61f27" providerId="ADAL" clId="{067C7D3F-9573-4B1A-A9B0-3005DA5BAAAF}" dt="2024-01-31T13:07:21.015" v="9741"/>
          <ac:picMkLst>
            <pc:docMk/>
            <pc:sldMk cId="3124005727" sldId="2147480337"/>
            <ac:picMk id="14" creationId="{3EC8A5BD-9EB6-D859-09BC-77D1F06712F1}"/>
          </ac:picMkLst>
        </pc:picChg>
        <pc:picChg chg="add mod">
          <ac:chgData name="Cyprien ARETHUSE" userId="abd46b16-7bf0-4c01-a850-92fb83f61f27" providerId="ADAL" clId="{067C7D3F-9573-4B1A-A9B0-3005DA5BAAAF}" dt="2024-01-31T13:07:21.015" v="9741"/>
          <ac:picMkLst>
            <pc:docMk/>
            <pc:sldMk cId="3124005727" sldId="2147480337"/>
            <ac:picMk id="20" creationId="{FF8197E0-4757-CB21-0563-A7A36168CE84}"/>
          </ac:picMkLst>
        </pc:picChg>
        <pc:picChg chg="add mod">
          <ac:chgData name="Cyprien ARETHUSE" userId="abd46b16-7bf0-4c01-a850-92fb83f61f27" providerId="ADAL" clId="{067C7D3F-9573-4B1A-A9B0-3005DA5BAAAF}" dt="2024-01-31T13:07:21.015" v="9741"/>
          <ac:picMkLst>
            <pc:docMk/>
            <pc:sldMk cId="3124005727" sldId="2147480337"/>
            <ac:picMk id="21" creationId="{36EAEA94-2D6A-EED8-12C2-1BF30968B8E3}"/>
          </ac:picMkLst>
        </pc:picChg>
        <pc:picChg chg="add mod">
          <ac:chgData name="Cyprien ARETHUSE" userId="abd46b16-7bf0-4c01-a850-92fb83f61f27" providerId="ADAL" clId="{067C7D3F-9573-4B1A-A9B0-3005DA5BAAAF}" dt="2024-01-31T13:07:21.015" v="9741"/>
          <ac:picMkLst>
            <pc:docMk/>
            <pc:sldMk cId="3124005727" sldId="2147480337"/>
            <ac:picMk id="22" creationId="{06C301F7-37C4-EDB0-FDA3-47A2F7155E69}"/>
          </ac:picMkLst>
        </pc:picChg>
        <pc:picChg chg="add mod">
          <ac:chgData name="Cyprien ARETHUSE" userId="abd46b16-7bf0-4c01-a850-92fb83f61f27" providerId="ADAL" clId="{067C7D3F-9573-4B1A-A9B0-3005DA5BAAAF}" dt="2024-01-31T13:07:21.015" v="9741"/>
          <ac:picMkLst>
            <pc:docMk/>
            <pc:sldMk cId="3124005727" sldId="2147480337"/>
            <ac:picMk id="23" creationId="{8D8C6200-4B97-D3D1-43E7-65DBAA1B6FAE}"/>
          </ac:picMkLst>
        </pc:picChg>
        <pc:picChg chg="add mod">
          <ac:chgData name="Cyprien ARETHUSE" userId="abd46b16-7bf0-4c01-a850-92fb83f61f27" providerId="ADAL" clId="{067C7D3F-9573-4B1A-A9B0-3005DA5BAAAF}" dt="2024-01-31T13:07:21.015" v="9741"/>
          <ac:picMkLst>
            <pc:docMk/>
            <pc:sldMk cId="3124005727" sldId="2147480337"/>
            <ac:picMk id="24" creationId="{AA73909D-0335-C0B0-3B67-B48CDC065A89}"/>
          </ac:picMkLst>
        </pc:picChg>
        <pc:picChg chg="add mod">
          <ac:chgData name="Cyprien ARETHUSE" userId="abd46b16-7bf0-4c01-a850-92fb83f61f27" providerId="ADAL" clId="{067C7D3F-9573-4B1A-A9B0-3005DA5BAAAF}" dt="2024-01-31T13:07:21.015" v="9741"/>
          <ac:picMkLst>
            <pc:docMk/>
            <pc:sldMk cId="3124005727" sldId="2147480337"/>
            <ac:picMk id="25" creationId="{202AD041-61A2-EF32-DBD1-01A64F82F841}"/>
          </ac:picMkLst>
        </pc:picChg>
        <pc:picChg chg="add mod">
          <ac:chgData name="Cyprien ARETHUSE" userId="abd46b16-7bf0-4c01-a850-92fb83f61f27" providerId="ADAL" clId="{067C7D3F-9573-4B1A-A9B0-3005DA5BAAAF}" dt="2024-01-31T13:07:21.015" v="9741"/>
          <ac:picMkLst>
            <pc:docMk/>
            <pc:sldMk cId="3124005727" sldId="2147480337"/>
            <ac:picMk id="26" creationId="{2DE8DEE6-9B17-0E2C-46E3-8EB93B3797A9}"/>
          </ac:picMkLst>
        </pc:picChg>
        <pc:picChg chg="add mod">
          <ac:chgData name="Cyprien ARETHUSE" userId="abd46b16-7bf0-4c01-a850-92fb83f61f27" providerId="ADAL" clId="{067C7D3F-9573-4B1A-A9B0-3005DA5BAAAF}" dt="2024-01-31T13:07:21.015" v="9741"/>
          <ac:picMkLst>
            <pc:docMk/>
            <pc:sldMk cId="3124005727" sldId="2147480337"/>
            <ac:picMk id="27" creationId="{054FE863-46A6-C65C-47D3-B70CC72CEBC4}"/>
          </ac:picMkLst>
        </pc:picChg>
        <pc:picChg chg="add mod">
          <ac:chgData name="Cyprien ARETHUSE" userId="abd46b16-7bf0-4c01-a850-92fb83f61f27" providerId="ADAL" clId="{067C7D3F-9573-4B1A-A9B0-3005DA5BAAAF}" dt="2024-01-31T13:07:21.015" v="9741"/>
          <ac:picMkLst>
            <pc:docMk/>
            <pc:sldMk cId="3124005727" sldId="2147480337"/>
            <ac:picMk id="28" creationId="{6D24893F-6284-59E7-3C93-FECB318EC873}"/>
          </ac:picMkLst>
        </pc:picChg>
        <pc:picChg chg="add mod">
          <ac:chgData name="Cyprien ARETHUSE" userId="abd46b16-7bf0-4c01-a850-92fb83f61f27" providerId="ADAL" clId="{067C7D3F-9573-4B1A-A9B0-3005DA5BAAAF}" dt="2024-01-31T13:07:21.015" v="9741"/>
          <ac:picMkLst>
            <pc:docMk/>
            <pc:sldMk cId="3124005727" sldId="2147480337"/>
            <ac:picMk id="29" creationId="{3773D5F7-EA88-485E-E6D4-0660B5210782}"/>
          </ac:picMkLst>
        </pc:picChg>
        <pc:picChg chg="add mod">
          <ac:chgData name="Cyprien ARETHUSE" userId="abd46b16-7bf0-4c01-a850-92fb83f61f27" providerId="ADAL" clId="{067C7D3F-9573-4B1A-A9B0-3005DA5BAAAF}" dt="2024-01-31T13:07:21.015" v="9741"/>
          <ac:picMkLst>
            <pc:docMk/>
            <pc:sldMk cId="3124005727" sldId="2147480337"/>
            <ac:picMk id="30" creationId="{931D95E7-22AD-A04A-55A3-B9C8AC023FCF}"/>
          </ac:picMkLst>
        </pc:picChg>
      </pc:sldChg>
      <pc:sldChg chg="addSp delSp modSp add mod">
        <pc:chgData name="Cyprien ARETHUSE" userId="abd46b16-7bf0-4c01-a850-92fb83f61f27" providerId="ADAL" clId="{067C7D3F-9573-4B1A-A9B0-3005DA5BAAAF}" dt="2024-02-02T15:03:06.773" v="18531" actId="207"/>
        <pc:sldMkLst>
          <pc:docMk/>
          <pc:sldMk cId="3879038634" sldId="2147480338"/>
        </pc:sldMkLst>
        <pc:spChg chg="add mod">
          <ac:chgData name="Cyprien ARETHUSE" userId="abd46b16-7bf0-4c01-a850-92fb83f61f27" providerId="ADAL" clId="{067C7D3F-9573-4B1A-A9B0-3005DA5BAAAF}" dt="2024-01-31T13:08:25.404" v="9754"/>
          <ac:spMkLst>
            <pc:docMk/>
            <pc:sldMk cId="3879038634" sldId="2147480338"/>
            <ac:spMk id="2" creationId="{9F703695-1EBD-0FC1-738C-CBB3A1508924}"/>
          </ac:spMkLst>
        </pc:spChg>
        <pc:spChg chg="del">
          <ac:chgData name="Cyprien ARETHUSE" userId="abd46b16-7bf0-4c01-a850-92fb83f61f27" providerId="ADAL" clId="{067C7D3F-9573-4B1A-A9B0-3005DA5BAAAF}" dt="2024-01-31T13:08:27.431" v="9755" actId="478"/>
          <ac:spMkLst>
            <pc:docMk/>
            <pc:sldMk cId="3879038634" sldId="2147480338"/>
            <ac:spMk id="4" creationId="{0024AF40-84EA-2DBA-E44A-9E37F6353276}"/>
          </ac:spMkLst>
        </pc:spChg>
        <pc:spChg chg="add mod">
          <ac:chgData name="Cyprien ARETHUSE" userId="abd46b16-7bf0-4c01-a850-92fb83f61f27" providerId="ADAL" clId="{067C7D3F-9573-4B1A-A9B0-3005DA5BAAAF}" dt="2024-02-02T14:28:33.573" v="17261" actId="1035"/>
          <ac:spMkLst>
            <pc:docMk/>
            <pc:sldMk cId="3879038634" sldId="2147480338"/>
            <ac:spMk id="4" creationId="{9F2A3E3E-CFF5-E8E5-7A39-D5DB0585C5DC}"/>
          </ac:spMkLst>
        </pc:spChg>
        <pc:spChg chg="add mod">
          <ac:chgData name="Cyprien ARETHUSE" userId="abd46b16-7bf0-4c01-a850-92fb83f61f27" providerId="ADAL" clId="{067C7D3F-9573-4B1A-A9B0-3005DA5BAAAF}" dt="2024-01-31T13:08:24.280" v="9753"/>
          <ac:spMkLst>
            <pc:docMk/>
            <pc:sldMk cId="3879038634" sldId="2147480338"/>
            <ac:spMk id="5" creationId="{23D4D0EC-E565-457A-966B-65CE6E35BE35}"/>
          </ac:spMkLst>
        </pc:spChg>
        <pc:spChg chg="add mod">
          <ac:chgData name="Cyprien ARETHUSE" userId="abd46b16-7bf0-4c01-a850-92fb83f61f27" providerId="ADAL" clId="{067C7D3F-9573-4B1A-A9B0-3005DA5BAAAF}" dt="2024-01-31T13:08:24.280" v="9753"/>
          <ac:spMkLst>
            <pc:docMk/>
            <pc:sldMk cId="3879038634" sldId="2147480338"/>
            <ac:spMk id="6" creationId="{6091D44A-95C0-C110-A86D-6EA19103501C}"/>
          </ac:spMkLst>
        </pc:spChg>
        <pc:spChg chg="add mod">
          <ac:chgData name="Cyprien ARETHUSE" userId="abd46b16-7bf0-4c01-a850-92fb83f61f27" providerId="ADAL" clId="{067C7D3F-9573-4B1A-A9B0-3005DA5BAAAF}" dt="2024-01-31T13:08:24.280" v="9753"/>
          <ac:spMkLst>
            <pc:docMk/>
            <pc:sldMk cId="3879038634" sldId="2147480338"/>
            <ac:spMk id="7" creationId="{8010DEFD-2739-EFFD-52C5-8FAA3E27489A}"/>
          </ac:spMkLst>
        </pc:spChg>
        <pc:spChg chg="add mod">
          <ac:chgData name="Cyprien ARETHUSE" userId="abd46b16-7bf0-4c01-a850-92fb83f61f27" providerId="ADAL" clId="{067C7D3F-9573-4B1A-A9B0-3005DA5BAAAF}" dt="2024-01-31T13:08:24.280" v="9753"/>
          <ac:spMkLst>
            <pc:docMk/>
            <pc:sldMk cId="3879038634" sldId="2147480338"/>
            <ac:spMk id="11" creationId="{BB3733E7-F776-7BAB-5B35-96BB1098327D}"/>
          </ac:spMkLst>
        </pc:spChg>
        <pc:spChg chg="add mod">
          <ac:chgData name="Cyprien ARETHUSE" userId="abd46b16-7bf0-4c01-a850-92fb83f61f27" providerId="ADAL" clId="{067C7D3F-9573-4B1A-A9B0-3005DA5BAAAF}" dt="2024-01-31T13:08:24.280" v="9753"/>
          <ac:spMkLst>
            <pc:docMk/>
            <pc:sldMk cId="3879038634" sldId="2147480338"/>
            <ac:spMk id="12" creationId="{D18A1DA5-E925-0991-D0AD-3CE5442D6D6F}"/>
          </ac:spMkLst>
        </pc:spChg>
        <pc:spChg chg="add mod">
          <ac:chgData name="Cyprien ARETHUSE" userId="abd46b16-7bf0-4c01-a850-92fb83f61f27" providerId="ADAL" clId="{067C7D3F-9573-4B1A-A9B0-3005DA5BAAAF}" dt="2024-01-31T13:08:24.280" v="9753"/>
          <ac:spMkLst>
            <pc:docMk/>
            <pc:sldMk cId="3879038634" sldId="2147480338"/>
            <ac:spMk id="13" creationId="{AD73A297-7EAA-FD22-E04E-9C395367887D}"/>
          </ac:spMkLst>
        </pc:spChg>
        <pc:spChg chg="add mod">
          <ac:chgData name="Cyprien ARETHUSE" userId="abd46b16-7bf0-4c01-a850-92fb83f61f27" providerId="ADAL" clId="{067C7D3F-9573-4B1A-A9B0-3005DA5BAAAF}" dt="2024-01-31T13:08:24.280" v="9753"/>
          <ac:spMkLst>
            <pc:docMk/>
            <pc:sldMk cId="3879038634" sldId="2147480338"/>
            <ac:spMk id="14" creationId="{6B098F5B-7604-05E3-3D2E-1D0B507120F0}"/>
          </ac:spMkLst>
        </pc:spChg>
        <pc:spChg chg="add mod">
          <ac:chgData name="Cyprien ARETHUSE" userId="abd46b16-7bf0-4c01-a850-92fb83f61f27" providerId="ADAL" clId="{067C7D3F-9573-4B1A-A9B0-3005DA5BAAAF}" dt="2024-01-31T13:08:24.280" v="9753"/>
          <ac:spMkLst>
            <pc:docMk/>
            <pc:sldMk cId="3879038634" sldId="2147480338"/>
            <ac:spMk id="15" creationId="{496015ED-C608-4B46-8A92-13F3D3BE86B4}"/>
          </ac:spMkLst>
        </pc:spChg>
        <pc:spChg chg="add mod">
          <ac:chgData name="Cyprien ARETHUSE" userId="abd46b16-7bf0-4c01-a850-92fb83f61f27" providerId="ADAL" clId="{067C7D3F-9573-4B1A-A9B0-3005DA5BAAAF}" dt="2024-01-31T13:08:27.882" v="9756"/>
          <ac:spMkLst>
            <pc:docMk/>
            <pc:sldMk cId="3879038634" sldId="2147480338"/>
            <ac:spMk id="22" creationId="{4A931B3A-B9E6-3531-94E0-6AE4EEE8303F}"/>
          </ac:spMkLst>
        </pc:spChg>
        <pc:spChg chg="add del mod">
          <ac:chgData name="Cyprien ARETHUSE" userId="abd46b16-7bf0-4c01-a850-92fb83f61f27" providerId="ADAL" clId="{067C7D3F-9573-4B1A-A9B0-3005DA5BAAAF}" dt="2024-02-02T14:23:52.116" v="16930" actId="478"/>
          <ac:spMkLst>
            <pc:docMk/>
            <pc:sldMk cId="3879038634" sldId="2147480338"/>
            <ac:spMk id="24" creationId="{A1F83AB4-AD5A-E07F-82DD-09AFE0E540F7}"/>
          </ac:spMkLst>
        </pc:spChg>
        <pc:spChg chg="add del mod">
          <ac:chgData name="Cyprien ARETHUSE" userId="abd46b16-7bf0-4c01-a850-92fb83f61f27" providerId="ADAL" clId="{067C7D3F-9573-4B1A-A9B0-3005DA5BAAAF}" dt="2024-02-02T14:23:52.116" v="16930" actId="478"/>
          <ac:spMkLst>
            <pc:docMk/>
            <pc:sldMk cId="3879038634" sldId="2147480338"/>
            <ac:spMk id="25" creationId="{01B3D649-FAE1-A520-0180-FF7007ED0B86}"/>
          </ac:spMkLst>
        </pc:spChg>
        <pc:spChg chg="add del mod">
          <ac:chgData name="Cyprien ARETHUSE" userId="abd46b16-7bf0-4c01-a850-92fb83f61f27" providerId="ADAL" clId="{067C7D3F-9573-4B1A-A9B0-3005DA5BAAAF}" dt="2024-02-02T14:23:52.116" v="16930" actId="478"/>
          <ac:spMkLst>
            <pc:docMk/>
            <pc:sldMk cId="3879038634" sldId="2147480338"/>
            <ac:spMk id="26" creationId="{041119EE-4A76-6464-1FBD-30384FB39FDC}"/>
          </ac:spMkLst>
        </pc:spChg>
        <pc:spChg chg="add del mod">
          <ac:chgData name="Cyprien ARETHUSE" userId="abd46b16-7bf0-4c01-a850-92fb83f61f27" providerId="ADAL" clId="{067C7D3F-9573-4B1A-A9B0-3005DA5BAAAF}" dt="2024-02-02T14:23:52.116" v="16930" actId="478"/>
          <ac:spMkLst>
            <pc:docMk/>
            <pc:sldMk cId="3879038634" sldId="2147480338"/>
            <ac:spMk id="30" creationId="{5353AF98-7E97-8A2B-3318-0D946E480469}"/>
          </ac:spMkLst>
        </pc:spChg>
        <pc:spChg chg="add del mod">
          <ac:chgData name="Cyprien ARETHUSE" userId="abd46b16-7bf0-4c01-a850-92fb83f61f27" providerId="ADAL" clId="{067C7D3F-9573-4B1A-A9B0-3005DA5BAAAF}" dt="2024-02-02T14:23:52.116" v="16930" actId="478"/>
          <ac:spMkLst>
            <pc:docMk/>
            <pc:sldMk cId="3879038634" sldId="2147480338"/>
            <ac:spMk id="31" creationId="{2A6EC734-12F4-9EA6-7A04-4E18E4E9EF87}"/>
          </ac:spMkLst>
        </pc:spChg>
        <pc:spChg chg="add del mod">
          <ac:chgData name="Cyprien ARETHUSE" userId="abd46b16-7bf0-4c01-a850-92fb83f61f27" providerId="ADAL" clId="{067C7D3F-9573-4B1A-A9B0-3005DA5BAAAF}" dt="2024-02-02T14:23:52.116" v="16930" actId="478"/>
          <ac:spMkLst>
            <pc:docMk/>
            <pc:sldMk cId="3879038634" sldId="2147480338"/>
            <ac:spMk id="32" creationId="{021F6CE7-1741-3C5C-8D38-6884631F28FB}"/>
          </ac:spMkLst>
        </pc:spChg>
        <pc:spChg chg="add mod">
          <ac:chgData name="Cyprien ARETHUSE" userId="abd46b16-7bf0-4c01-a850-92fb83f61f27" providerId="ADAL" clId="{067C7D3F-9573-4B1A-A9B0-3005DA5BAAAF}" dt="2024-02-02T14:23:16.755" v="16925" actId="404"/>
          <ac:spMkLst>
            <pc:docMk/>
            <pc:sldMk cId="3879038634" sldId="2147480338"/>
            <ac:spMk id="33" creationId="{D1492F5E-DBFB-C955-99AE-637B1C055A22}"/>
          </ac:spMkLst>
        </pc:spChg>
        <pc:spChg chg="add mod">
          <ac:chgData name="Cyprien ARETHUSE" userId="abd46b16-7bf0-4c01-a850-92fb83f61f27" providerId="ADAL" clId="{067C7D3F-9573-4B1A-A9B0-3005DA5BAAAF}" dt="2024-02-02T14:57:11.088" v="18196" actId="207"/>
          <ac:spMkLst>
            <pc:docMk/>
            <pc:sldMk cId="3879038634" sldId="2147480338"/>
            <ac:spMk id="34" creationId="{6B2D5DAA-6339-8521-C1ED-554473D0B0DA}"/>
          </ac:spMkLst>
        </pc:spChg>
        <pc:graphicFrameChg chg="add mod">
          <ac:chgData name="Cyprien ARETHUSE" userId="abd46b16-7bf0-4c01-a850-92fb83f61f27" providerId="ADAL" clId="{067C7D3F-9573-4B1A-A9B0-3005DA5BAAAF}" dt="2024-01-31T13:08:24.280" v="9753"/>
          <ac:graphicFrameMkLst>
            <pc:docMk/>
            <pc:sldMk cId="3879038634" sldId="2147480338"/>
            <ac:graphicFrameMk id="3" creationId="{AE7218D6-C447-6F32-2DD6-FB32936B3EF4}"/>
          </ac:graphicFrameMkLst>
        </pc:graphicFrameChg>
        <pc:graphicFrameChg chg="add mod">
          <ac:chgData name="Cyprien ARETHUSE" userId="abd46b16-7bf0-4c01-a850-92fb83f61f27" providerId="ADAL" clId="{067C7D3F-9573-4B1A-A9B0-3005DA5BAAAF}" dt="2024-01-31T13:08:24.280" v="9753"/>
          <ac:graphicFrameMkLst>
            <pc:docMk/>
            <pc:sldMk cId="3879038634" sldId="2147480338"/>
            <ac:graphicFrameMk id="8" creationId="{F9B61018-32BA-6452-359B-85099E2D9DE6}"/>
          </ac:graphicFrameMkLst>
        </pc:graphicFrameChg>
        <pc:graphicFrameChg chg="add mod modGraphic">
          <ac:chgData name="Cyprien ARETHUSE" userId="abd46b16-7bf0-4c01-a850-92fb83f61f27" providerId="ADAL" clId="{067C7D3F-9573-4B1A-A9B0-3005DA5BAAAF}" dt="2024-02-02T15:03:06.773" v="18531" actId="207"/>
          <ac:graphicFrameMkLst>
            <pc:docMk/>
            <pc:sldMk cId="3879038634" sldId="2147480338"/>
            <ac:graphicFrameMk id="23" creationId="{989208B1-D660-957C-E659-6BF91C8AF6D3}"/>
          </ac:graphicFrameMkLst>
        </pc:graphicFrameChg>
        <pc:graphicFrameChg chg="add mod modGraphic">
          <ac:chgData name="Cyprien ARETHUSE" userId="abd46b16-7bf0-4c01-a850-92fb83f61f27" providerId="ADAL" clId="{067C7D3F-9573-4B1A-A9B0-3005DA5BAAAF}" dt="2024-02-02T14:58:20.392" v="18216" actId="255"/>
          <ac:graphicFrameMkLst>
            <pc:docMk/>
            <pc:sldMk cId="3879038634" sldId="2147480338"/>
            <ac:graphicFrameMk id="27" creationId="{35AD4505-BAE6-2ABF-B886-5425BE4E18FE}"/>
          </ac:graphicFrameMkLst>
        </pc:graphicFrameChg>
        <pc:picChg chg="add mod">
          <ac:chgData name="Cyprien ARETHUSE" userId="abd46b16-7bf0-4c01-a850-92fb83f61f27" providerId="ADAL" clId="{067C7D3F-9573-4B1A-A9B0-3005DA5BAAAF}" dt="2024-01-31T13:08:24.280" v="9753"/>
          <ac:picMkLst>
            <pc:docMk/>
            <pc:sldMk cId="3879038634" sldId="2147480338"/>
            <ac:picMk id="9" creationId="{1279C7CA-AA19-6A3A-A87C-4243080DD2E1}"/>
          </ac:picMkLst>
        </pc:picChg>
        <pc:picChg chg="add mod">
          <ac:chgData name="Cyprien ARETHUSE" userId="abd46b16-7bf0-4c01-a850-92fb83f61f27" providerId="ADAL" clId="{067C7D3F-9573-4B1A-A9B0-3005DA5BAAAF}" dt="2024-01-31T13:08:24.280" v="9753"/>
          <ac:picMkLst>
            <pc:docMk/>
            <pc:sldMk cId="3879038634" sldId="2147480338"/>
            <ac:picMk id="10" creationId="{DBBC95A3-844B-F945-07E8-AB5A5954FEE2}"/>
          </ac:picMkLst>
        </pc:picChg>
        <pc:picChg chg="add mod">
          <ac:chgData name="Cyprien ARETHUSE" userId="abd46b16-7bf0-4c01-a850-92fb83f61f27" providerId="ADAL" clId="{067C7D3F-9573-4B1A-A9B0-3005DA5BAAAF}" dt="2024-01-31T13:08:24.280" v="9753"/>
          <ac:picMkLst>
            <pc:docMk/>
            <pc:sldMk cId="3879038634" sldId="2147480338"/>
            <ac:picMk id="16" creationId="{772AA288-1828-39A9-6A28-83B9B6C7EC34}"/>
          </ac:picMkLst>
        </pc:picChg>
        <pc:picChg chg="add mod">
          <ac:chgData name="Cyprien ARETHUSE" userId="abd46b16-7bf0-4c01-a850-92fb83f61f27" providerId="ADAL" clId="{067C7D3F-9573-4B1A-A9B0-3005DA5BAAAF}" dt="2024-01-31T13:08:24.280" v="9753"/>
          <ac:picMkLst>
            <pc:docMk/>
            <pc:sldMk cId="3879038634" sldId="2147480338"/>
            <ac:picMk id="17" creationId="{3C833836-79A5-D08B-0A5A-79EF2EB2F518}"/>
          </ac:picMkLst>
        </pc:picChg>
        <pc:picChg chg="add mod">
          <ac:chgData name="Cyprien ARETHUSE" userId="abd46b16-7bf0-4c01-a850-92fb83f61f27" providerId="ADAL" clId="{067C7D3F-9573-4B1A-A9B0-3005DA5BAAAF}" dt="2024-01-31T13:08:24.280" v="9753"/>
          <ac:picMkLst>
            <pc:docMk/>
            <pc:sldMk cId="3879038634" sldId="2147480338"/>
            <ac:picMk id="18" creationId="{07CEC70F-BE12-77F4-D395-3C2B7F1D294F}"/>
          </ac:picMkLst>
        </pc:picChg>
        <pc:picChg chg="add mod">
          <ac:chgData name="Cyprien ARETHUSE" userId="abd46b16-7bf0-4c01-a850-92fb83f61f27" providerId="ADAL" clId="{067C7D3F-9573-4B1A-A9B0-3005DA5BAAAF}" dt="2024-01-31T13:08:24.280" v="9753"/>
          <ac:picMkLst>
            <pc:docMk/>
            <pc:sldMk cId="3879038634" sldId="2147480338"/>
            <ac:picMk id="19" creationId="{37623178-2E08-91D1-5CE5-20A97D145565}"/>
          </ac:picMkLst>
        </pc:picChg>
        <pc:picChg chg="add mod">
          <ac:chgData name="Cyprien ARETHUSE" userId="abd46b16-7bf0-4c01-a850-92fb83f61f27" providerId="ADAL" clId="{067C7D3F-9573-4B1A-A9B0-3005DA5BAAAF}" dt="2024-01-31T13:08:24.280" v="9753"/>
          <ac:picMkLst>
            <pc:docMk/>
            <pc:sldMk cId="3879038634" sldId="2147480338"/>
            <ac:picMk id="20" creationId="{876DFB03-6560-C5E8-0167-8527CF674C2A}"/>
          </ac:picMkLst>
        </pc:picChg>
        <pc:picChg chg="add mod">
          <ac:chgData name="Cyprien ARETHUSE" userId="abd46b16-7bf0-4c01-a850-92fb83f61f27" providerId="ADAL" clId="{067C7D3F-9573-4B1A-A9B0-3005DA5BAAAF}" dt="2024-01-31T13:08:24.280" v="9753"/>
          <ac:picMkLst>
            <pc:docMk/>
            <pc:sldMk cId="3879038634" sldId="2147480338"/>
            <ac:picMk id="21" creationId="{16E23FD9-3AC6-679A-0089-7F44E6C76104}"/>
          </ac:picMkLst>
        </pc:picChg>
        <pc:picChg chg="add mod">
          <ac:chgData name="Cyprien ARETHUSE" userId="abd46b16-7bf0-4c01-a850-92fb83f61f27" providerId="ADAL" clId="{067C7D3F-9573-4B1A-A9B0-3005DA5BAAAF}" dt="2024-02-02T14:26:53.635" v="17236" actId="1036"/>
          <ac:picMkLst>
            <pc:docMk/>
            <pc:sldMk cId="3879038634" sldId="2147480338"/>
            <ac:picMk id="28" creationId="{81EC6255-C968-4402-A71E-00339367C0C0}"/>
          </ac:picMkLst>
        </pc:picChg>
        <pc:picChg chg="add mod">
          <ac:chgData name="Cyprien ARETHUSE" userId="abd46b16-7bf0-4c01-a850-92fb83f61f27" providerId="ADAL" clId="{067C7D3F-9573-4B1A-A9B0-3005DA5BAAAF}" dt="2024-02-02T14:26:53.635" v="17236" actId="1036"/>
          <ac:picMkLst>
            <pc:docMk/>
            <pc:sldMk cId="3879038634" sldId="2147480338"/>
            <ac:picMk id="29" creationId="{A36C766A-6D21-A363-C375-6BE23CBF189E}"/>
          </ac:picMkLst>
        </pc:picChg>
        <pc:picChg chg="add mod">
          <ac:chgData name="Cyprien ARETHUSE" userId="abd46b16-7bf0-4c01-a850-92fb83f61f27" providerId="ADAL" clId="{067C7D3F-9573-4B1A-A9B0-3005DA5BAAAF}" dt="2024-02-02T14:58:31.600" v="18232" actId="1035"/>
          <ac:picMkLst>
            <pc:docMk/>
            <pc:sldMk cId="3879038634" sldId="2147480338"/>
            <ac:picMk id="35" creationId="{8DF0ADA9-8223-034A-51C5-4821555CA6D3}"/>
          </ac:picMkLst>
        </pc:picChg>
        <pc:picChg chg="add mod">
          <ac:chgData name="Cyprien ARETHUSE" userId="abd46b16-7bf0-4c01-a850-92fb83f61f27" providerId="ADAL" clId="{067C7D3F-9573-4B1A-A9B0-3005DA5BAAAF}" dt="2024-02-02T14:58:31.600" v="18232" actId="1035"/>
          <ac:picMkLst>
            <pc:docMk/>
            <pc:sldMk cId="3879038634" sldId="2147480338"/>
            <ac:picMk id="36" creationId="{F94CBB77-951F-0126-4AE9-502E291953F2}"/>
          </ac:picMkLst>
        </pc:picChg>
        <pc:picChg chg="add mod">
          <ac:chgData name="Cyprien ARETHUSE" userId="abd46b16-7bf0-4c01-a850-92fb83f61f27" providerId="ADAL" clId="{067C7D3F-9573-4B1A-A9B0-3005DA5BAAAF}" dt="2024-01-31T13:08:27.882" v="9756"/>
          <ac:picMkLst>
            <pc:docMk/>
            <pc:sldMk cId="3879038634" sldId="2147480338"/>
            <ac:picMk id="37" creationId="{505A42B2-7882-75B7-97BA-C95788161945}"/>
          </ac:picMkLst>
        </pc:picChg>
        <pc:picChg chg="add mod">
          <ac:chgData name="Cyprien ARETHUSE" userId="abd46b16-7bf0-4c01-a850-92fb83f61f27" providerId="ADAL" clId="{067C7D3F-9573-4B1A-A9B0-3005DA5BAAAF}" dt="2024-01-31T13:08:27.882" v="9756"/>
          <ac:picMkLst>
            <pc:docMk/>
            <pc:sldMk cId="3879038634" sldId="2147480338"/>
            <ac:picMk id="38" creationId="{D403A6F0-225A-631C-D051-67B0B6D77EC3}"/>
          </ac:picMkLst>
        </pc:picChg>
        <pc:picChg chg="add mod">
          <ac:chgData name="Cyprien ARETHUSE" userId="abd46b16-7bf0-4c01-a850-92fb83f61f27" providerId="ADAL" clId="{067C7D3F-9573-4B1A-A9B0-3005DA5BAAAF}" dt="2024-01-31T13:08:27.882" v="9756"/>
          <ac:picMkLst>
            <pc:docMk/>
            <pc:sldMk cId="3879038634" sldId="2147480338"/>
            <ac:picMk id="39" creationId="{80BC82A3-89C4-4669-E2E2-BD3D9CA8C7DD}"/>
          </ac:picMkLst>
        </pc:picChg>
        <pc:picChg chg="add mod">
          <ac:chgData name="Cyprien ARETHUSE" userId="abd46b16-7bf0-4c01-a850-92fb83f61f27" providerId="ADAL" clId="{067C7D3F-9573-4B1A-A9B0-3005DA5BAAAF}" dt="2024-01-31T13:08:27.882" v="9756"/>
          <ac:picMkLst>
            <pc:docMk/>
            <pc:sldMk cId="3879038634" sldId="2147480338"/>
            <ac:picMk id="40" creationId="{E3CAABDA-0C28-09F9-8A3D-D457046466C7}"/>
          </ac:picMkLst>
        </pc:picChg>
      </pc:sldChg>
      <pc:sldChg chg="addSp delSp modSp add mod">
        <pc:chgData name="Cyprien ARETHUSE" userId="abd46b16-7bf0-4c01-a850-92fb83f61f27" providerId="ADAL" clId="{067C7D3F-9573-4B1A-A9B0-3005DA5BAAAF}" dt="2024-02-02T15:32:22.616" v="18845" actId="12788"/>
        <pc:sldMkLst>
          <pc:docMk/>
          <pc:sldMk cId="3848348873" sldId="2147480339"/>
        </pc:sldMkLst>
        <pc:spChg chg="add mod">
          <ac:chgData name="Cyprien ARETHUSE" userId="abd46b16-7bf0-4c01-a850-92fb83f61f27" providerId="ADAL" clId="{067C7D3F-9573-4B1A-A9B0-3005DA5BAAAF}" dt="2024-02-02T14:17:00.029" v="16615" actId="404"/>
          <ac:spMkLst>
            <pc:docMk/>
            <pc:sldMk cId="3848348873" sldId="2147480339"/>
            <ac:spMk id="2" creationId="{9719F43A-6AB1-1165-4BE0-1A4809079541}"/>
          </ac:spMkLst>
        </pc:spChg>
        <pc:spChg chg="del">
          <ac:chgData name="Cyprien ARETHUSE" userId="abd46b16-7bf0-4c01-a850-92fb83f61f27" providerId="ADAL" clId="{067C7D3F-9573-4B1A-A9B0-3005DA5BAAAF}" dt="2024-01-31T13:09:04.699" v="9759" actId="478"/>
          <ac:spMkLst>
            <pc:docMk/>
            <pc:sldMk cId="3848348873" sldId="2147480339"/>
            <ac:spMk id="4" creationId="{0024AF40-84EA-2DBA-E44A-9E37F6353276}"/>
          </ac:spMkLst>
        </pc:spChg>
        <pc:graphicFrameChg chg="add mod modGraphic">
          <ac:chgData name="Cyprien ARETHUSE" userId="abd46b16-7bf0-4c01-a850-92fb83f61f27" providerId="ADAL" clId="{067C7D3F-9573-4B1A-A9B0-3005DA5BAAAF}" dt="2024-02-02T14:56:15.797" v="18170" actId="255"/>
          <ac:graphicFrameMkLst>
            <pc:docMk/>
            <pc:sldMk cId="3848348873" sldId="2147480339"/>
            <ac:graphicFrameMk id="3" creationId="{C0BAA7E2-FD62-8243-FE5D-75CBDF241D99}"/>
          </ac:graphicFrameMkLst>
        </pc:graphicFrameChg>
        <pc:picChg chg="add mod">
          <ac:chgData name="Cyprien ARETHUSE" userId="abd46b16-7bf0-4c01-a850-92fb83f61f27" providerId="ADAL" clId="{067C7D3F-9573-4B1A-A9B0-3005DA5BAAAF}" dt="2024-01-31T13:09:05.332" v="9760"/>
          <ac:picMkLst>
            <pc:docMk/>
            <pc:sldMk cId="3848348873" sldId="2147480339"/>
            <ac:picMk id="5" creationId="{08D9BA7E-C639-4326-80FF-8D0C60B93A2B}"/>
          </ac:picMkLst>
        </pc:picChg>
        <pc:picChg chg="add mod">
          <ac:chgData name="Cyprien ARETHUSE" userId="abd46b16-7bf0-4c01-a850-92fb83f61f27" providerId="ADAL" clId="{067C7D3F-9573-4B1A-A9B0-3005DA5BAAAF}" dt="2024-02-02T14:44:57.133" v="18065" actId="1036"/>
          <ac:picMkLst>
            <pc:docMk/>
            <pc:sldMk cId="3848348873" sldId="2147480339"/>
            <ac:picMk id="6" creationId="{B83DF077-72C9-4002-C040-DB9B0D76A1D3}"/>
          </ac:picMkLst>
        </pc:picChg>
        <pc:picChg chg="add mod">
          <ac:chgData name="Cyprien ARETHUSE" userId="abd46b16-7bf0-4c01-a850-92fb83f61f27" providerId="ADAL" clId="{067C7D3F-9573-4B1A-A9B0-3005DA5BAAAF}" dt="2024-02-02T14:44:57.133" v="18065" actId="1036"/>
          <ac:picMkLst>
            <pc:docMk/>
            <pc:sldMk cId="3848348873" sldId="2147480339"/>
            <ac:picMk id="7" creationId="{B06BBEA4-030E-9574-96B3-FDEAB8BA4015}"/>
          </ac:picMkLst>
        </pc:picChg>
        <pc:picChg chg="add mod">
          <ac:chgData name="Cyprien ARETHUSE" userId="abd46b16-7bf0-4c01-a850-92fb83f61f27" providerId="ADAL" clId="{067C7D3F-9573-4B1A-A9B0-3005DA5BAAAF}" dt="2024-01-31T13:09:05.332" v="9760"/>
          <ac:picMkLst>
            <pc:docMk/>
            <pc:sldMk cId="3848348873" sldId="2147480339"/>
            <ac:picMk id="8" creationId="{0295FF68-277F-C48B-D269-CD66275B2200}"/>
          </ac:picMkLst>
        </pc:picChg>
        <pc:picChg chg="add mod">
          <ac:chgData name="Cyprien ARETHUSE" userId="abd46b16-7bf0-4c01-a850-92fb83f61f27" providerId="ADAL" clId="{067C7D3F-9573-4B1A-A9B0-3005DA5BAAAF}" dt="2024-01-31T13:09:05.332" v="9760"/>
          <ac:picMkLst>
            <pc:docMk/>
            <pc:sldMk cId="3848348873" sldId="2147480339"/>
            <ac:picMk id="9" creationId="{E854BC60-6380-8EFB-C2EE-350976DC32CE}"/>
          </ac:picMkLst>
        </pc:picChg>
        <pc:picChg chg="add mod">
          <ac:chgData name="Cyprien ARETHUSE" userId="abd46b16-7bf0-4c01-a850-92fb83f61f27" providerId="ADAL" clId="{067C7D3F-9573-4B1A-A9B0-3005DA5BAAAF}" dt="2024-01-31T13:09:05.332" v="9760"/>
          <ac:picMkLst>
            <pc:docMk/>
            <pc:sldMk cId="3848348873" sldId="2147480339"/>
            <ac:picMk id="10" creationId="{F326AE16-7771-1E62-73F7-CF08441B8FDA}"/>
          </ac:picMkLst>
        </pc:picChg>
        <pc:picChg chg="add mod">
          <ac:chgData name="Cyprien ARETHUSE" userId="abd46b16-7bf0-4c01-a850-92fb83f61f27" providerId="ADAL" clId="{067C7D3F-9573-4B1A-A9B0-3005DA5BAAAF}" dt="2024-01-31T13:09:05.332" v="9760"/>
          <ac:picMkLst>
            <pc:docMk/>
            <pc:sldMk cId="3848348873" sldId="2147480339"/>
            <ac:picMk id="11" creationId="{27B6AF83-46AD-3598-8420-9D9DA14033E7}"/>
          </ac:picMkLst>
        </pc:picChg>
        <pc:picChg chg="add mod">
          <ac:chgData name="Cyprien ARETHUSE" userId="abd46b16-7bf0-4c01-a850-92fb83f61f27" providerId="ADAL" clId="{067C7D3F-9573-4B1A-A9B0-3005DA5BAAAF}" dt="2024-01-31T13:09:05.332" v="9760"/>
          <ac:picMkLst>
            <pc:docMk/>
            <pc:sldMk cId="3848348873" sldId="2147480339"/>
            <ac:picMk id="12" creationId="{F54287DF-6958-229F-6039-6AEE56118CA2}"/>
          </ac:picMkLst>
        </pc:picChg>
        <pc:picChg chg="add mod">
          <ac:chgData name="Cyprien ARETHUSE" userId="abd46b16-7bf0-4c01-a850-92fb83f61f27" providerId="ADAL" clId="{067C7D3F-9573-4B1A-A9B0-3005DA5BAAAF}" dt="2024-02-02T14:56:31.408" v="18191" actId="1035"/>
          <ac:picMkLst>
            <pc:docMk/>
            <pc:sldMk cId="3848348873" sldId="2147480339"/>
            <ac:picMk id="13" creationId="{C3F6EC54-1160-06D5-DE54-DF3E5F7367CB}"/>
          </ac:picMkLst>
        </pc:picChg>
        <pc:picChg chg="add mod">
          <ac:chgData name="Cyprien ARETHUSE" userId="abd46b16-7bf0-4c01-a850-92fb83f61f27" providerId="ADAL" clId="{067C7D3F-9573-4B1A-A9B0-3005DA5BAAAF}" dt="2024-02-02T14:56:31.408" v="18191" actId="1035"/>
          <ac:picMkLst>
            <pc:docMk/>
            <pc:sldMk cId="3848348873" sldId="2147480339"/>
            <ac:picMk id="14" creationId="{D7BA0560-2E27-AF83-F70F-C4107DD1FD73}"/>
          </ac:picMkLst>
        </pc:picChg>
        <pc:picChg chg="mod">
          <ac:chgData name="Cyprien ARETHUSE" userId="abd46b16-7bf0-4c01-a850-92fb83f61f27" providerId="ADAL" clId="{067C7D3F-9573-4B1A-A9B0-3005DA5BAAAF}" dt="2024-02-02T15:32:22.616" v="18845" actId="12788"/>
          <ac:picMkLst>
            <pc:docMk/>
            <pc:sldMk cId="3848348873" sldId="2147480339"/>
            <ac:picMk id="16" creationId="{19C318AF-B9B3-5462-9B3D-9A1D3D7807B0}"/>
          </ac:picMkLst>
        </pc:picChg>
        <pc:picChg chg="mod">
          <ac:chgData name="Cyprien ARETHUSE" userId="abd46b16-7bf0-4c01-a850-92fb83f61f27" providerId="ADAL" clId="{067C7D3F-9573-4B1A-A9B0-3005DA5BAAAF}" dt="2024-02-02T15:32:22.616" v="18845" actId="12788"/>
          <ac:picMkLst>
            <pc:docMk/>
            <pc:sldMk cId="3848348873" sldId="2147480339"/>
            <ac:picMk id="19" creationId="{D66D1F92-A248-7285-2C8D-A8189F68A131}"/>
          </ac:picMkLst>
        </pc:picChg>
        <pc:picChg chg="mod">
          <ac:chgData name="Cyprien ARETHUSE" userId="abd46b16-7bf0-4c01-a850-92fb83f61f27" providerId="ADAL" clId="{067C7D3F-9573-4B1A-A9B0-3005DA5BAAAF}" dt="2024-02-02T15:32:22.616" v="18845" actId="12788"/>
          <ac:picMkLst>
            <pc:docMk/>
            <pc:sldMk cId="3848348873" sldId="2147480339"/>
            <ac:picMk id="20" creationId="{D105E6B3-3919-CB56-C409-02831C86C03E}"/>
          </ac:picMkLst>
        </pc:picChg>
        <pc:picChg chg="mod">
          <ac:chgData name="Cyprien ARETHUSE" userId="abd46b16-7bf0-4c01-a850-92fb83f61f27" providerId="ADAL" clId="{067C7D3F-9573-4B1A-A9B0-3005DA5BAAAF}" dt="2024-02-02T14:56:31.408" v="18191" actId="1035"/>
          <ac:picMkLst>
            <pc:docMk/>
            <pc:sldMk cId="3848348873" sldId="2147480339"/>
            <ac:picMk id="21" creationId="{B844678F-B9A6-09DE-6A5B-0B0B1D7FA97E}"/>
          </ac:picMkLst>
        </pc:picChg>
        <pc:picChg chg="mod">
          <ac:chgData name="Cyprien ARETHUSE" userId="abd46b16-7bf0-4c01-a850-92fb83f61f27" providerId="ADAL" clId="{067C7D3F-9573-4B1A-A9B0-3005DA5BAAAF}" dt="2024-02-02T14:56:31.408" v="18191" actId="1035"/>
          <ac:picMkLst>
            <pc:docMk/>
            <pc:sldMk cId="3848348873" sldId="2147480339"/>
            <ac:picMk id="22" creationId="{800AA4EF-1027-1A70-426E-2220E15FE7C8}"/>
          </ac:picMkLst>
        </pc:picChg>
        <pc:picChg chg="add mod">
          <ac:chgData name="Cyprien ARETHUSE" userId="abd46b16-7bf0-4c01-a850-92fb83f61f27" providerId="ADAL" clId="{067C7D3F-9573-4B1A-A9B0-3005DA5BAAAF}" dt="2024-02-02T12:58:23.664" v="16170"/>
          <ac:picMkLst>
            <pc:docMk/>
            <pc:sldMk cId="3848348873" sldId="2147480339"/>
            <ac:picMk id="23" creationId="{DD66D913-258D-3FFF-C90D-288E7279BF16}"/>
          </ac:picMkLst>
        </pc:picChg>
        <pc:picChg chg="mod">
          <ac:chgData name="Cyprien ARETHUSE" userId="abd46b16-7bf0-4c01-a850-92fb83f61f27" providerId="ADAL" clId="{067C7D3F-9573-4B1A-A9B0-3005DA5BAAAF}" dt="2024-02-02T14:56:27.912" v="18186" actId="1036"/>
          <ac:picMkLst>
            <pc:docMk/>
            <pc:sldMk cId="3848348873" sldId="2147480339"/>
            <ac:picMk id="26" creationId="{F7CA37B7-9543-FA07-C95F-A6752FD6AB65}"/>
          </ac:picMkLst>
        </pc:picChg>
        <pc:picChg chg="mod">
          <ac:chgData name="Cyprien ARETHUSE" userId="abd46b16-7bf0-4c01-a850-92fb83f61f27" providerId="ADAL" clId="{067C7D3F-9573-4B1A-A9B0-3005DA5BAAAF}" dt="2024-02-02T14:56:27.912" v="18186" actId="1036"/>
          <ac:picMkLst>
            <pc:docMk/>
            <pc:sldMk cId="3848348873" sldId="2147480339"/>
            <ac:picMk id="27" creationId="{A2B05AD5-6EA2-AAEF-9460-361A4DCE2AB6}"/>
          </ac:picMkLst>
        </pc:picChg>
        <pc:picChg chg="mod">
          <ac:chgData name="Cyprien ARETHUSE" userId="abd46b16-7bf0-4c01-a850-92fb83f61f27" providerId="ADAL" clId="{067C7D3F-9573-4B1A-A9B0-3005DA5BAAAF}" dt="2024-02-02T15:32:22.616" v="18845" actId="12788"/>
          <ac:picMkLst>
            <pc:docMk/>
            <pc:sldMk cId="3848348873" sldId="2147480339"/>
            <ac:picMk id="37" creationId="{E924F1E4-2802-3523-E272-2D783B1C0FFE}"/>
          </ac:picMkLst>
        </pc:picChg>
        <pc:picChg chg="mod">
          <ac:chgData name="Cyprien ARETHUSE" userId="abd46b16-7bf0-4c01-a850-92fb83f61f27" providerId="ADAL" clId="{067C7D3F-9573-4B1A-A9B0-3005DA5BAAAF}" dt="2024-02-02T15:32:22.616" v="18845" actId="12788"/>
          <ac:picMkLst>
            <pc:docMk/>
            <pc:sldMk cId="3848348873" sldId="2147480339"/>
            <ac:picMk id="38" creationId="{BCD990CB-5E00-E13F-EB86-526B13F2A5BA}"/>
          </ac:picMkLst>
        </pc:picChg>
      </pc:sldChg>
      <pc:sldChg chg="addSp delSp modSp add mod">
        <pc:chgData name="Cyprien ARETHUSE" userId="abd46b16-7bf0-4c01-a850-92fb83f61f27" providerId="ADAL" clId="{067C7D3F-9573-4B1A-A9B0-3005DA5BAAAF}" dt="2024-01-31T13:09:21.185" v="9764"/>
        <pc:sldMkLst>
          <pc:docMk/>
          <pc:sldMk cId="116640772" sldId="2147480340"/>
        </pc:sldMkLst>
        <pc:spChg chg="del">
          <ac:chgData name="Cyprien ARETHUSE" userId="abd46b16-7bf0-4c01-a850-92fb83f61f27" providerId="ADAL" clId="{067C7D3F-9573-4B1A-A9B0-3005DA5BAAAF}" dt="2024-01-31T13:09:20.460" v="9763" actId="478"/>
          <ac:spMkLst>
            <pc:docMk/>
            <pc:sldMk cId="116640772" sldId="2147480340"/>
            <ac:spMk id="4" creationId="{0024AF40-84EA-2DBA-E44A-9E37F6353276}"/>
          </ac:spMkLst>
        </pc:spChg>
        <pc:spChg chg="add mod">
          <ac:chgData name="Cyprien ARETHUSE" userId="abd46b16-7bf0-4c01-a850-92fb83f61f27" providerId="ADAL" clId="{067C7D3F-9573-4B1A-A9B0-3005DA5BAAAF}" dt="2024-01-31T13:09:21.185" v="9764"/>
          <ac:spMkLst>
            <pc:docMk/>
            <pc:sldMk cId="116640772" sldId="2147480340"/>
            <ac:spMk id="8" creationId="{D21D4A62-8B11-A138-8467-21104759BC4E}"/>
          </ac:spMkLst>
        </pc:spChg>
        <pc:graphicFrameChg chg="add mod">
          <ac:chgData name="Cyprien ARETHUSE" userId="abd46b16-7bf0-4c01-a850-92fb83f61f27" providerId="ADAL" clId="{067C7D3F-9573-4B1A-A9B0-3005DA5BAAAF}" dt="2024-01-31T13:09:21.185" v="9764"/>
          <ac:graphicFrameMkLst>
            <pc:docMk/>
            <pc:sldMk cId="116640772" sldId="2147480340"/>
            <ac:graphicFrameMk id="2" creationId="{189C287D-3755-B745-9DB9-81AA37B8B901}"/>
          </ac:graphicFrameMkLst>
        </pc:graphicFrameChg>
        <pc:picChg chg="add mod">
          <ac:chgData name="Cyprien ARETHUSE" userId="abd46b16-7bf0-4c01-a850-92fb83f61f27" providerId="ADAL" clId="{067C7D3F-9573-4B1A-A9B0-3005DA5BAAAF}" dt="2024-01-31T13:09:21.185" v="9764"/>
          <ac:picMkLst>
            <pc:docMk/>
            <pc:sldMk cId="116640772" sldId="2147480340"/>
            <ac:picMk id="3" creationId="{15AB991D-5D06-0F2A-6697-2DC825B7E377}"/>
          </ac:picMkLst>
        </pc:picChg>
        <pc:picChg chg="add mod">
          <ac:chgData name="Cyprien ARETHUSE" userId="abd46b16-7bf0-4c01-a850-92fb83f61f27" providerId="ADAL" clId="{067C7D3F-9573-4B1A-A9B0-3005DA5BAAAF}" dt="2024-01-31T13:09:21.185" v="9764"/>
          <ac:picMkLst>
            <pc:docMk/>
            <pc:sldMk cId="116640772" sldId="2147480340"/>
            <ac:picMk id="5" creationId="{2841142B-6BDD-611C-D7C2-28B0612A22D7}"/>
          </ac:picMkLst>
        </pc:picChg>
        <pc:picChg chg="add mod">
          <ac:chgData name="Cyprien ARETHUSE" userId="abd46b16-7bf0-4c01-a850-92fb83f61f27" providerId="ADAL" clId="{067C7D3F-9573-4B1A-A9B0-3005DA5BAAAF}" dt="2024-01-31T13:09:21.185" v="9764"/>
          <ac:picMkLst>
            <pc:docMk/>
            <pc:sldMk cId="116640772" sldId="2147480340"/>
            <ac:picMk id="6" creationId="{A80CA277-69C0-102D-DF14-356B93FB385B}"/>
          </ac:picMkLst>
        </pc:picChg>
        <pc:picChg chg="add mod">
          <ac:chgData name="Cyprien ARETHUSE" userId="abd46b16-7bf0-4c01-a850-92fb83f61f27" providerId="ADAL" clId="{067C7D3F-9573-4B1A-A9B0-3005DA5BAAAF}" dt="2024-01-31T13:09:21.185" v="9764"/>
          <ac:picMkLst>
            <pc:docMk/>
            <pc:sldMk cId="116640772" sldId="2147480340"/>
            <ac:picMk id="7" creationId="{4BD67C41-694D-7086-137C-C3BEAC70F290}"/>
          </ac:picMkLst>
        </pc:picChg>
        <pc:picChg chg="add mod">
          <ac:chgData name="Cyprien ARETHUSE" userId="abd46b16-7bf0-4c01-a850-92fb83f61f27" providerId="ADAL" clId="{067C7D3F-9573-4B1A-A9B0-3005DA5BAAAF}" dt="2024-01-31T13:09:21.185" v="9764"/>
          <ac:picMkLst>
            <pc:docMk/>
            <pc:sldMk cId="116640772" sldId="2147480340"/>
            <ac:picMk id="9" creationId="{2B20BEF4-1451-D0A8-5503-A4B898392F2B}"/>
          </ac:picMkLst>
        </pc:picChg>
        <pc:picChg chg="add mod">
          <ac:chgData name="Cyprien ARETHUSE" userId="abd46b16-7bf0-4c01-a850-92fb83f61f27" providerId="ADAL" clId="{067C7D3F-9573-4B1A-A9B0-3005DA5BAAAF}" dt="2024-01-31T13:09:21.185" v="9764"/>
          <ac:picMkLst>
            <pc:docMk/>
            <pc:sldMk cId="116640772" sldId="2147480340"/>
            <ac:picMk id="10" creationId="{533508B7-B587-5DAF-AAA9-3D37468F2DA6}"/>
          </ac:picMkLst>
        </pc:picChg>
        <pc:picChg chg="add mod">
          <ac:chgData name="Cyprien ARETHUSE" userId="abd46b16-7bf0-4c01-a850-92fb83f61f27" providerId="ADAL" clId="{067C7D3F-9573-4B1A-A9B0-3005DA5BAAAF}" dt="2024-01-31T13:09:21.185" v="9764"/>
          <ac:picMkLst>
            <pc:docMk/>
            <pc:sldMk cId="116640772" sldId="2147480340"/>
            <ac:picMk id="11" creationId="{2ADADFFE-126E-90A0-F2B3-838B24C2AF43}"/>
          </ac:picMkLst>
        </pc:picChg>
        <pc:picChg chg="add mod">
          <ac:chgData name="Cyprien ARETHUSE" userId="abd46b16-7bf0-4c01-a850-92fb83f61f27" providerId="ADAL" clId="{067C7D3F-9573-4B1A-A9B0-3005DA5BAAAF}" dt="2024-01-31T13:09:21.185" v="9764"/>
          <ac:picMkLst>
            <pc:docMk/>
            <pc:sldMk cId="116640772" sldId="2147480340"/>
            <ac:picMk id="12" creationId="{19D03F8C-0AE9-0F9B-BA11-F85C06B0E951}"/>
          </ac:picMkLst>
        </pc:picChg>
        <pc:picChg chg="add mod">
          <ac:chgData name="Cyprien ARETHUSE" userId="abd46b16-7bf0-4c01-a850-92fb83f61f27" providerId="ADAL" clId="{067C7D3F-9573-4B1A-A9B0-3005DA5BAAAF}" dt="2024-01-31T13:09:21.185" v="9764"/>
          <ac:picMkLst>
            <pc:docMk/>
            <pc:sldMk cId="116640772" sldId="2147480340"/>
            <ac:picMk id="13" creationId="{6D8BD236-677B-66B2-A6DD-9B524F4B851F}"/>
          </ac:picMkLst>
        </pc:picChg>
        <pc:picChg chg="add mod">
          <ac:chgData name="Cyprien ARETHUSE" userId="abd46b16-7bf0-4c01-a850-92fb83f61f27" providerId="ADAL" clId="{067C7D3F-9573-4B1A-A9B0-3005DA5BAAAF}" dt="2024-01-31T13:09:21.185" v="9764"/>
          <ac:picMkLst>
            <pc:docMk/>
            <pc:sldMk cId="116640772" sldId="2147480340"/>
            <ac:picMk id="14" creationId="{FA94222D-053E-A7C9-2E99-71422938ACE4}"/>
          </ac:picMkLst>
        </pc:picChg>
        <pc:picChg chg="add mod">
          <ac:chgData name="Cyprien ARETHUSE" userId="abd46b16-7bf0-4c01-a850-92fb83f61f27" providerId="ADAL" clId="{067C7D3F-9573-4B1A-A9B0-3005DA5BAAAF}" dt="2024-01-31T13:09:21.185" v="9764"/>
          <ac:picMkLst>
            <pc:docMk/>
            <pc:sldMk cId="116640772" sldId="2147480340"/>
            <ac:picMk id="15" creationId="{48E003C2-8E98-C8D7-504B-3CB208B130F6}"/>
          </ac:picMkLst>
        </pc:picChg>
      </pc:sldChg>
      <pc:sldChg chg="addSp delSp modSp add mod">
        <pc:chgData name="Cyprien ARETHUSE" userId="abd46b16-7bf0-4c01-a850-92fb83f61f27" providerId="ADAL" clId="{067C7D3F-9573-4B1A-A9B0-3005DA5BAAAF}" dt="2024-01-31T13:09:41.213" v="9767"/>
        <pc:sldMkLst>
          <pc:docMk/>
          <pc:sldMk cId="2491276628" sldId="2147480341"/>
        </pc:sldMkLst>
        <pc:spChg chg="del">
          <ac:chgData name="Cyprien ARETHUSE" userId="abd46b16-7bf0-4c01-a850-92fb83f61f27" providerId="ADAL" clId="{067C7D3F-9573-4B1A-A9B0-3005DA5BAAAF}" dt="2024-01-31T13:09:40.711" v="9766" actId="478"/>
          <ac:spMkLst>
            <pc:docMk/>
            <pc:sldMk cId="2491276628" sldId="2147480341"/>
            <ac:spMk id="4" creationId="{0024AF40-84EA-2DBA-E44A-9E37F6353276}"/>
          </ac:spMkLst>
        </pc:spChg>
        <pc:spChg chg="add mod">
          <ac:chgData name="Cyprien ARETHUSE" userId="abd46b16-7bf0-4c01-a850-92fb83f61f27" providerId="ADAL" clId="{067C7D3F-9573-4B1A-A9B0-3005DA5BAAAF}" dt="2024-01-31T13:09:41.213" v="9767"/>
          <ac:spMkLst>
            <pc:docMk/>
            <pc:sldMk cId="2491276628" sldId="2147480341"/>
            <ac:spMk id="8" creationId="{8BE74713-6BC3-6EC5-333F-0541E8A40FC5}"/>
          </ac:spMkLst>
        </pc:spChg>
        <pc:graphicFrameChg chg="add mod">
          <ac:chgData name="Cyprien ARETHUSE" userId="abd46b16-7bf0-4c01-a850-92fb83f61f27" providerId="ADAL" clId="{067C7D3F-9573-4B1A-A9B0-3005DA5BAAAF}" dt="2024-01-31T13:09:41.213" v="9767"/>
          <ac:graphicFrameMkLst>
            <pc:docMk/>
            <pc:sldMk cId="2491276628" sldId="2147480341"/>
            <ac:graphicFrameMk id="2" creationId="{111A586A-DA3D-0BBA-A5DB-4CE3B7BD14C3}"/>
          </ac:graphicFrameMkLst>
        </pc:graphicFrameChg>
        <pc:picChg chg="add mod">
          <ac:chgData name="Cyprien ARETHUSE" userId="abd46b16-7bf0-4c01-a850-92fb83f61f27" providerId="ADAL" clId="{067C7D3F-9573-4B1A-A9B0-3005DA5BAAAF}" dt="2024-01-31T13:09:41.213" v="9767"/>
          <ac:picMkLst>
            <pc:docMk/>
            <pc:sldMk cId="2491276628" sldId="2147480341"/>
            <ac:picMk id="3" creationId="{90475FB7-8DD0-E453-FAF4-F0327F523C2F}"/>
          </ac:picMkLst>
        </pc:picChg>
        <pc:picChg chg="add mod">
          <ac:chgData name="Cyprien ARETHUSE" userId="abd46b16-7bf0-4c01-a850-92fb83f61f27" providerId="ADAL" clId="{067C7D3F-9573-4B1A-A9B0-3005DA5BAAAF}" dt="2024-01-31T13:09:41.213" v="9767"/>
          <ac:picMkLst>
            <pc:docMk/>
            <pc:sldMk cId="2491276628" sldId="2147480341"/>
            <ac:picMk id="5" creationId="{4AC91451-BCB4-21BF-327D-0C027C97D4C3}"/>
          </ac:picMkLst>
        </pc:picChg>
        <pc:picChg chg="add mod">
          <ac:chgData name="Cyprien ARETHUSE" userId="abd46b16-7bf0-4c01-a850-92fb83f61f27" providerId="ADAL" clId="{067C7D3F-9573-4B1A-A9B0-3005DA5BAAAF}" dt="2024-01-31T13:09:41.213" v="9767"/>
          <ac:picMkLst>
            <pc:docMk/>
            <pc:sldMk cId="2491276628" sldId="2147480341"/>
            <ac:picMk id="6" creationId="{2DAFC50E-B6A2-54B9-C9DE-F5E9F60B475B}"/>
          </ac:picMkLst>
        </pc:picChg>
        <pc:picChg chg="add mod">
          <ac:chgData name="Cyprien ARETHUSE" userId="abd46b16-7bf0-4c01-a850-92fb83f61f27" providerId="ADAL" clId="{067C7D3F-9573-4B1A-A9B0-3005DA5BAAAF}" dt="2024-01-31T13:09:41.213" v="9767"/>
          <ac:picMkLst>
            <pc:docMk/>
            <pc:sldMk cId="2491276628" sldId="2147480341"/>
            <ac:picMk id="7" creationId="{0497CFBF-D379-975F-5F53-4D86F4E42290}"/>
          </ac:picMkLst>
        </pc:picChg>
        <pc:picChg chg="add mod">
          <ac:chgData name="Cyprien ARETHUSE" userId="abd46b16-7bf0-4c01-a850-92fb83f61f27" providerId="ADAL" clId="{067C7D3F-9573-4B1A-A9B0-3005DA5BAAAF}" dt="2024-01-31T13:09:41.213" v="9767"/>
          <ac:picMkLst>
            <pc:docMk/>
            <pc:sldMk cId="2491276628" sldId="2147480341"/>
            <ac:picMk id="9" creationId="{D105E6B3-3919-CB56-C409-02831C86C03E}"/>
          </ac:picMkLst>
        </pc:picChg>
        <pc:picChg chg="add mod">
          <ac:chgData name="Cyprien ARETHUSE" userId="abd46b16-7bf0-4c01-a850-92fb83f61f27" providerId="ADAL" clId="{067C7D3F-9573-4B1A-A9B0-3005DA5BAAAF}" dt="2024-01-31T13:09:41.213" v="9767"/>
          <ac:picMkLst>
            <pc:docMk/>
            <pc:sldMk cId="2491276628" sldId="2147480341"/>
            <ac:picMk id="10" creationId="{B0A2DEA0-5D66-A3C8-3733-EEBB4EC4670E}"/>
          </ac:picMkLst>
        </pc:picChg>
        <pc:picChg chg="add mod">
          <ac:chgData name="Cyprien ARETHUSE" userId="abd46b16-7bf0-4c01-a850-92fb83f61f27" providerId="ADAL" clId="{067C7D3F-9573-4B1A-A9B0-3005DA5BAAAF}" dt="2024-01-31T13:09:41.213" v="9767"/>
          <ac:picMkLst>
            <pc:docMk/>
            <pc:sldMk cId="2491276628" sldId="2147480341"/>
            <ac:picMk id="11" creationId="{7A13AC22-C746-2913-1989-7A663253243A}"/>
          </ac:picMkLst>
        </pc:picChg>
        <pc:picChg chg="add mod">
          <ac:chgData name="Cyprien ARETHUSE" userId="abd46b16-7bf0-4c01-a850-92fb83f61f27" providerId="ADAL" clId="{067C7D3F-9573-4B1A-A9B0-3005DA5BAAAF}" dt="2024-01-31T13:09:41.213" v="9767"/>
          <ac:picMkLst>
            <pc:docMk/>
            <pc:sldMk cId="2491276628" sldId="2147480341"/>
            <ac:picMk id="12" creationId="{7ECDFEF5-32ED-A271-128C-960AD09FA9CD}"/>
          </ac:picMkLst>
        </pc:picChg>
        <pc:picChg chg="add mod">
          <ac:chgData name="Cyprien ARETHUSE" userId="abd46b16-7bf0-4c01-a850-92fb83f61f27" providerId="ADAL" clId="{067C7D3F-9573-4B1A-A9B0-3005DA5BAAAF}" dt="2024-01-31T13:09:41.213" v="9767"/>
          <ac:picMkLst>
            <pc:docMk/>
            <pc:sldMk cId="2491276628" sldId="2147480341"/>
            <ac:picMk id="13" creationId="{DA3E40A5-F22E-EEF2-FDA9-62CFD9587EE4}"/>
          </ac:picMkLst>
        </pc:picChg>
        <pc:picChg chg="add mod">
          <ac:chgData name="Cyprien ARETHUSE" userId="abd46b16-7bf0-4c01-a850-92fb83f61f27" providerId="ADAL" clId="{067C7D3F-9573-4B1A-A9B0-3005DA5BAAAF}" dt="2024-01-31T13:09:41.213" v="9767"/>
          <ac:picMkLst>
            <pc:docMk/>
            <pc:sldMk cId="2491276628" sldId="2147480341"/>
            <ac:picMk id="14" creationId="{F6954DC8-F37D-61E8-5DA6-E80A8F6BE7A5}"/>
          </ac:picMkLst>
        </pc:picChg>
        <pc:picChg chg="add mod">
          <ac:chgData name="Cyprien ARETHUSE" userId="abd46b16-7bf0-4c01-a850-92fb83f61f27" providerId="ADAL" clId="{067C7D3F-9573-4B1A-A9B0-3005DA5BAAAF}" dt="2024-01-31T13:09:41.213" v="9767"/>
          <ac:picMkLst>
            <pc:docMk/>
            <pc:sldMk cId="2491276628" sldId="2147480341"/>
            <ac:picMk id="15" creationId="{A703C840-E1DE-47F8-4BCE-24A92F8F4E74}"/>
          </ac:picMkLst>
        </pc:picChg>
        <pc:picChg chg="add mod">
          <ac:chgData name="Cyprien ARETHUSE" userId="abd46b16-7bf0-4c01-a850-92fb83f61f27" providerId="ADAL" clId="{067C7D3F-9573-4B1A-A9B0-3005DA5BAAAF}" dt="2024-01-31T13:09:41.213" v="9767"/>
          <ac:picMkLst>
            <pc:docMk/>
            <pc:sldMk cId="2491276628" sldId="2147480341"/>
            <ac:picMk id="16" creationId="{A7578C7E-9829-2DA3-4A7D-3FD94CFA7566}"/>
          </ac:picMkLst>
        </pc:picChg>
        <pc:picChg chg="add mod">
          <ac:chgData name="Cyprien ARETHUSE" userId="abd46b16-7bf0-4c01-a850-92fb83f61f27" providerId="ADAL" clId="{067C7D3F-9573-4B1A-A9B0-3005DA5BAAAF}" dt="2024-01-31T13:09:41.213" v="9767"/>
          <ac:picMkLst>
            <pc:docMk/>
            <pc:sldMk cId="2491276628" sldId="2147480341"/>
            <ac:picMk id="17" creationId="{744E6C3E-3962-3540-1DFD-76DA15BEA699}"/>
          </ac:picMkLst>
        </pc:picChg>
        <pc:picChg chg="add mod">
          <ac:chgData name="Cyprien ARETHUSE" userId="abd46b16-7bf0-4c01-a850-92fb83f61f27" providerId="ADAL" clId="{067C7D3F-9573-4B1A-A9B0-3005DA5BAAAF}" dt="2024-01-31T13:09:41.213" v="9767"/>
          <ac:picMkLst>
            <pc:docMk/>
            <pc:sldMk cId="2491276628" sldId="2147480341"/>
            <ac:picMk id="18" creationId="{FF72940C-606A-5D25-7D01-3ECE7203ACE8}"/>
          </ac:picMkLst>
        </pc:picChg>
        <pc:picChg chg="add mod">
          <ac:chgData name="Cyprien ARETHUSE" userId="abd46b16-7bf0-4c01-a850-92fb83f61f27" providerId="ADAL" clId="{067C7D3F-9573-4B1A-A9B0-3005DA5BAAAF}" dt="2024-01-31T13:09:41.213" v="9767"/>
          <ac:picMkLst>
            <pc:docMk/>
            <pc:sldMk cId="2491276628" sldId="2147480341"/>
            <ac:picMk id="19" creationId="{96E7CD80-9A0B-F8A5-7F1C-BC7E81F1F857}"/>
          </ac:picMkLst>
        </pc:picChg>
        <pc:picChg chg="add mod">
          <ac:chgData name="Cyprien ARETHUSE" userId="abd46b16-7bf0-4c01-a850-92fb83f61f27" providerId="ADAL" clId="{067C7D3F-9573-4B1A-A9B0-3005DA5BAAAF}" dt="2024-01-31T13:09:41.213" v="9767"/>
          <ac:picMkLst>
            <pc:docMk/>
            <pc:sldMk cId="2491276628" sldId="2147480341"/>
            <ac:picMk id="20" creationId="{6D0D82C6-F57A-6DDA-E6DA-F1B5303E31FA}"/>
          </ac:picMkLst>
        </pc:picChg>
        <pc:picChg chg="add mod">
          <ac:chgData name="Cyprien ARETHUSE" userId="abd46b16-7bf0-4c01-a850-92fb83f61f27" providerId="ADAL" clId="{067C7D3F-9573-4B1A-A9B0-3005DA5BAAAF}" dt="2024-01-31T13:09:41.213" v="9767"/>
          <ac:picMkLst>
            <pc:docMk/>
            <pc:sldMk cId="2491276628" sldId="2147480341"/>
            <ac:picMk id="21" creationId="{20B7B674-3485-F894-F4A4-218DDF6F75D2}"/>
          </ac:picMkLst>
        </pc:picChg>
        <pc:picChg chg="add mod">
          <ac:chgData name="Cyprien ARETHUSE" userId="abd46b16-7bf0-4c01-a850-92fb83f61f27" providerId="ADAL" clId="{067C7D3F-9573-4B1A-A9B0-3005DA5BAAAF}" dt="2024-01-31T13:09:41.213" v="9767"/>
          <ac:picMkLst>
            <pc:docMk/>
            <pc:sldMk cId="2491276628" sldId="2147480341"/>
            <ac:picMk id="22" creationId="{DF8EA4DD-9B1D-7355-C7C6-6CAB68235BE6}"/>
          </ac:picMkLst>
        </pc:picChg>
        <pc:picChg chg="add mod">
          <ac:chgData name="Cyprien ARETHUSE" userId="abd46b16-7bf0-4c01-a850-92fb83f61f27" providerId="ADAL" clId="{067C7D3F-9573-4B1A-A9B0-3005DA5BAAAF}" dt="2024-01-31T13:09:41.213" v="9767"/>
          <ac:picMkLst>
            <pc:docMk/>
            <pc:sldMk cId="2491276628" sldId="2147480341"/>
            <ac:picMk id="23" creationId="{D9CFC8CB-BD0C-5023-D996-B475FCB04B5A}"/>
          </ac:picMkLst>
        </pc:picChg>
      </pc:sldChg>
      <pc:sldChg chg="addSp delSp modSp add mod ord">
        <pc:chgData name="Cyprien ARETHUSE" userId="abd46b16-7bf0-4c01-a850-92fb83f61f27" providerId="ADAL" clId="{067C7D3F-9573-4B1A-A9B0-3005DA5BAAAF}" dt="2024-02-01T11:15:07.885" v="12015" actId="255"/>
        <pc:sldMkLst>
          <pc:docMk/>
          <pc:sldMk cId="238977462" sldId="2147480342"/>
        </pc:sldMkLst>
        <pc:spChg chg="add mod">
          <ac:chgData name="Cyprien ARETHUSE" userId="abd46b16-7bf0-4c01-a850-92fb83f61f27" providerId="ADAL" clId="{067C7D3F-9573-4B1A-A9B0-3005DA5BAAAF}" dt="2024-01-31T13:10:02.267" v="9771"/>
          <ac:spMkLst>
            <pc:docMk/>
            <pc:sldMk cId="238977462" sldId="2147480342"/>
            <ac:spMk id="4" creationId="{BBC5A959-A718-0CEA-9E09-3F3C81AFAA20}"/>
          </ac:spMkLst>
        </pc:spChg>
        <pc:spChg chg="del">
          <ac:chgData name="Cyprien ARETHUSE" userId="abd46b16-7bf0-4c01-a850-92fb83f61f27" providerId="ADAL" clId="{067C7D3F-9573-4B1A-A9B0-3005DA5BAAAF}" dt="2024-01-31T13:09:55.582" v="9770" actId="478"/>
          <ac:spMkLst>
            <pc:docMk/>
            <pc:sldMk cId="238977462" sldId="2147480342"/>
            <ac:spMk id="8" creationId="{8BE74713-6BC3-6EC5-333F-0541E8A40FC5}"/>
          </ac:spMkLst>
        </pc:spChg>
        <pc:spChg chg="add mod">
          <ac:chgData name="Cyprien ARETHUSE" userId="abd46b16-7bf0-4c01-a850-92fb83f61f27" providerId="ADAL" clId="{067C7D3F-9573-4B1A-A9B0-3005DA5BAAAF}" dt="2024-01-31T13:10:02.267" v="9771"/>
          <ac:spMkLst>
            <pc:docMk/>
            <pc:sldMk cId="238977462" sldId="2147480342"/>
            <ac:spMk id="25" creationId="{EA9F6A6F-97A4-E80F-B428-535743C090DE}"/>
          </ac:spMkLst>
        </pc:spChg>
        <pc:spChg chg="add mod">
          <ac:chgData name="Cyprien ARETHUSE" userId="abd46b16-7bf0-4c01-a850-92fb83f61f27" providerId="ADAL" clId="{067C7D3F-9573-4B1A-A9B0-3005DA5BAAAF}" dt="2024-01-31T13:10:02.267" v="9771"/>
          <ac:spMkLst>
            <pc:docMk/>
            <pc:sldMk cId="238977462" sldId="2147480342"/>
            <ac:spMk id="26" creationId="{7B5A2C99-05D5-4E8D-92C3-11E8A10CBBD3}"/>
          </ac:spMkLst>
        </pc:spChg>
        <pc:spChg chg="add mod">
          <ac:chgData name="Cyprien ARETHUSE" userId="abd46b16-7bf0-4c01-a850-92fb83f61f27" providerId="ADAL" clId="{067C7D3F-9573-4B1A-A9B0-3005DA5BAAAF}" dt="2024-01-31T13:10:02.267" v="9771"/>
          <ac:spMkLst>
            <pc:docMk/>
            <pc:sldMk cId="238977462" sldId="2147480342"/>
            <ac:spMk id="27" creationId="{499B853F-45AD-E0F5-CB24-3FB4D790D963}"/>
          </ac:spMkLst>
        </pc:spChg>
        <pc:spChg chg="add mod">
          <ac:chgData name="Cyprien ARETHUSE" userId="abd46b16-7bf0-4c01-a850-92fb83f61f27" providerId="ADAL" clId="{067C7D3F-9573-4B1A-A9B0-3005DA5BAAAF}" dt="2024-01-31T13:10:02.267" v="9771"/>
          <ac:spMkLst>
            <pc:docMk/>
            <pc:sldMk cId="238977462" sldId="2147480342"/>
            <ac:spMk id="30" creationId="{F855324E-855E-CB7E-E04F-FBAB40BFFBCD}"/>
          </ac:spMkLst>
        </pc:spChg>
        <pc:spChg chg="add mod">
          <ac:chgData name="Cyprien ARETHUSE" userId="abd46b16-7bf0-4c01-a850-92fb83f61f27" providerId="ADAL" clId="{067C7D3F-9573-4B1A-A9B0-3005DA5BAAAF}" dt="2024-01-31T13:10:02.267" v="9771"/>
          <ac:spMkLst>
            <pc:docMk/>
            <pc:sldMk cId="238977462" sldId="2147480342"/>
            <ac:spMk id="31" creationId="{74B5E6F5-4BDB-B0FF-E53D-5E0DF1ED9BF2}"/>
          </ac:spMkLst>
        </pc:spChg>
        <pc:spChg chg="add mod">
          <ac:chgData name="Cyprien ARETHUSE" userId="abd46b16-7bf0-4c01-a850-92fb83f61f27" providerId="ADAL" clId="{067C7D3F-9573-4B1A-A9B0-3005DA5BAAAF}" dt="2024-01-31T13:10:02.267" v="9771"/>
          <ac:spMkLst>
            <pc:docMk/>
            <pc:sldMk cId="238977462" sldId="2147480342"/>
            <ac:spMk id="32" creationId="{8F6755D9-2EC1-087C-6389-3597BDE19A33}"/>
          </ac:spMkLst>
        </pc:spChg>
        <pc:spChg chg="add mod">
          <ac:chgData name="Cyprien ARETHUSE" userId="abd46b16-7bf0-4c01-a850-92fb83f61f27" providerId="ADAL" clId="{067C7D3F-9573-4B1A-A9B0-3005DA5BAAAF}" dt="2024-01-31T13:10:02.267" v="9771"/>
          <ac:spMkLst>
            <pc:docMk/>
            <pc:sldMk cId="238977462" sldId="2147480342"/>
            <ac:spMk id="33" creationId="{F7634D44-C778-085E-0BCA-2FC0F6DD0C80}"/>
          </ac:spMkLst>
        </pc:spChg>
        <pc:spChg chg="mod">
          <ac:chgData name="Cyprien ARETHUSE" userId="abd46b16-7bf0-4c01-a850-92fb83f61f27" providerId="ADAL" clId="{067C7D3F-9573-4B1A-A9B0-3005DA5BAAAF}" dt="2024-01-31T13:10:02.267" v="9771"/>
          <ac:spMkLst>
            <pc:docMk/>
            <pc:sldMk cId="238977462" sldId="2147480342"/>
            <ac:spMk id="39" creationId="{AB0D2D9C-6386-5915-1D16-9D39BABA99CB}"/>
          </ac:spMkLst>
        </pc:spChg>
        <pc:spChg chg="mod">
          <ac:chgData name="Cyprien ARETHUSE" userId="abd46b16-7bf0-4c01-a850-92fb83f61f27" providerId="ADAL" clId="{067C7D3F-9573-4B1A-A9B0-3005DA5BAAAF}" dt="2024-01-31T13:10:02.267" v="9771"/>
          <ac:spMkLst>
            <pc:docMk/>
            <pc:sldMk cId="238977462" sldId="2147480342"/>
            <ac:spMk id="41" creationId="{E94B871B-8D9A-DD79-755F-680D3B927BFF}"/>
          </ac:spMkLst>
        </pc:spChg>
        <pc:spChg chg="mod">
          <ac:chgData name="Cyprien ARETHUSE" userId="abd46b16-7bf0-4c01-a850-92fb83f61f27" providerId="ADAL" clId="{067C7D3F-9573-4B1A-A9B0-3005DA5BAAAF}" dt="2024-01-31T13:10:02.267" v="9771"/>
          <ac:spMkLst>
            <pc:docMk/>
            <pc:sldMk cId="238977462" sldId="2147480342"/>
            <ac:spMk id="43" creationId="{78F8C16A-46F5-F9CF-FCAE-61649FF0D9A4}"/>
          </ac:spMkLst>
        </pc:spChg>
        <pc:spChg chg="mod">
          <ac:chgData name="Cyprien ARETHUSE" userId="abd46b16-7bf0-4c01-a850-92fb83f61f27" providerId="ADAL" clId="{067C7D3F-9573-4B1A-A9B0-3005DA5BAAAF}" dt="2024-01-31T13:10:02.267" v="9771"/>
          <ac:spMkLst>
            <pc:docMk/>
            <pc:sldMk cId="238977462" sldId="2147480342"/>
            <ac:spMk id="44" creationId="{B61EDEEA-A7F7-D6A2-E989-8890A496B26D}"/>
          </ac:spMkLst>
        </pc:spChg>
        <pc:spChg chg="mod">
          <ac:chgData name="Cyprien ARETHUSE" userId="abd46b16-7bf0-4c01-a850-92fb83f61f27" providerId="ADAL" clId="{067C7D3F-9573-4B1A-A9B0-3005DA5BAAAF}" dt="2024-01-31T13:10:02.267" v="9771"/>
          <ac:spMkLst>
            <pc:docMk/>
            <pc:sldMk cId="238977462" sldId="2147480342"/>
            <ac:spMk id="46" creationId="{94F079DB-F5BA-8DAB-C4D3-8E55BF0FB5F5}"/>
          </ac:spMkLst>
        </pc:spChg>
        <pc:spChg chg="mod">
          <ac:chgData name="Cyprien ARETHUSE" userId="abd46b16-7bf0-4c01-a850-92fb83f61f27" providerId="ADAL" clId="{067C7D3F-9573-4B1A-A9B0-3005DA5BAAAF}" dt="2024-01-31T13:10:02.267" v="9771"/>
          <ac:spMkLst>
            <pc:docMk/>
            <pc:sldMk cId="238977462" sldId="2147480342"/>
            <ac:spMk id="47" creationId="{AEBB6AF9-F769-6C1B-A212-33C735C11E68}"/>
          </ac:spMkLst>
        </pc:spChg>
        <pc:spChg chg="mod">
          <ac:chgData name="Cyprien ARETHUSE" userId="abd46b16-7bf0-4c01-a850-92fb83f61f27" providerId="ADAL" clId="{067C7D3F-9573-4B1A-A9B0-3005DA5BAAAF}" dt="2024-01-31T13:10:02.267" v="9771"/>
          <ac:spMkLst>
            <pc:docMk/>
            <pc:sldMk cId="238977462" sldId="2147480342"/>
            <ac:spMk id="49" creationId="{C0B24D6E-FA07-D9EC-1CE5-18A287C24974}"/>
          </ac:spMkLst>
        </pc:spChg>
        <pc:spChg chg="mod">
          <ac:chgData name="Cyprien ARETHUSE" userId="abd46b16-7bf0-4c01-a850-92fb83f61f27" providerId="ADAL" clId="{067C7D3F-9573-4B1A-A9B0-3005DA5BAAAF}" dt="2024-01-31T13:10:02.267" v="9771"/>
          <ac:spMkLst>
            <pc:docMk/>
            <pc:sldMk cId="238977462" sldId="2147480342"/>
            <ac:spMk id="50" creationId="{E5F0766C-7FDB-C8FF-2973-2B1901CB6669}"/>
          </ac:spMkLst>
        </pc:spChg>
        <pc:spChg chg="mod">
          <ac:chgData name="Cyprien ARETHUSE" userId="abd46b16-7bf0-4c01-a850-92fb83f61f27" providerId="ADAL" clId="{067C7D3F-9573-4B1A-A9B0-3005DA5BAAAF}" dt="2024-01-31T13:10:02.267" v="9771"/>
          <ac:spMkLst>
            <pc:docMk/>
            <pc:sldMk cId="238977462" sldId="2147480342"/>
            <ac:spMk id="52" creationId="{07CAB5F7-5CF4-6570-2FDA-CDE430321186}"/>
          </ac:spMkLst>
        </pc:spChg>
        <pc:spChg chg="mod">
          <ac:chgData name="Cyprien ARETHUSE" userId="abd46b16-7bf0-4c01-a850-92fb83f61f27" providerId="ADAL" clId="{067C7D3F-9573-4B1A-A9B0-3005DA5BAAAF}" dt="2024-01-31T13:10:02.267" v="9771"/>
          <ac:spMkLst>
            <pc:docMk/>
            <pc:sldMk cId="238977462" sldId="2147480342"/>
            <ac:spMk id="53" creationId="{A86FBAF4-65D2-DD20-93A5-E3A2803DCDA0}"/>
          </ac:spMkLst>
        </pc:spChg>
        <pc:spChg chg="mod">
          <ac:chgData name="Cyprien ARETHUSE" userId="abd46b16-7bf0-4c01-a850-92fb83f61f27" providerId="ADAL" clId="{067C7D3F-9573-4B1A-A9B0-3005DA5BAAAF}" dt="2024-01-31T13:10:02.267" v="9771"/>
          <ac:spMkLst>
            <pc:docMk/>
            <pc:sldMk cId="238977462" sldId="2147480342"/>
            <ac:spMk id="55" creationId="{6B5A57F1-BFC2-276C-71D1-3757507A9E05}"/>
          </ac:spMkLst>
        </pc:spChg>
        <pc:spChg chg="mod">
          <ac:chgData name="Cyprien ARETHUSE" userId="abd46b16-7bf0-4c01-a850-92fb83f61f27" providerId="ADAL" clId="{067C7D3F-9573-4B1A-A9B0-3005DA5BAAAF}" dt="2024-01-31T13:10:02.267" v="9771"/>
          <ac:spMkLst>
            <pc:docMk/>
            <pc:sldMk cId="238977462" sldId="2147480342"/>
            <ac:spMk id="56" creationId="{788EA108-E556-C6BC-7841-3E2A94F1B0B3}"/>
          </ac:spMkLst>
        </pc:spChg>
        <pc:spChg chg="mod">
          <ac:chgData name="Cyprien ARETHUSE" userId="abd46b16-7bf0-4c01-a850-92fb83f61f27" providerId="ADAL" clId="{067C7D3F-9573-4B1A-A9B0-3005DA5BAAAF}" dt="2024-01-31T13:10:02.267" v="9771"/>
          <ac:spMkLst>
            <pc:docMk/>
            <pc:sldMk cId="238977462" sldId="2147480342"/>
            <ac:spMk id="69" creationId="{66EB4023-4666-C0F6-F941-15FC380E9B9B}"/>
          </ac:spMkLst>
        </pc:spChg>
        <pc:spChg chg="mod">
          <ac:chgData name="Cyprien ARETHUSE" userId="abd46b16-7bf0-4c01-a850-92fb83f61f27" providerId="ADAL" clId="{067C7D3F-9573-4B1A-A9B0-3005DA5BAAAF}" dt="2024-01-31T13:10:02.267" v="9771"/>
          <ac:spMkLst>
            <pc:docMk/>
            <pc:sldMk cId="238977462" sldId="2147480342"/>
            <ac:spMk id="71" creationId="{CE3104C3-534C-369C-C7FD-2A40F1DCB13A}"/>
          </ac:spMkLst>
        </pc:spChg>
        <pc:spChg chg="mod">
          <ac:chgData name="Cyprien ARETHUSE" userId="abd46b16-7bf0-4c01-a850-92fb83f61f27" providerId="ADAL" clId="{067C7D3F-9573-4B1A-A9B0-3005DA5BAAAF}" dt="2024-01-31T13:10:02.267" v="9771"/>
          <ac:spMkLst>
            <pc:docMk/>
            <pc:sldMk cId="238977462" sldId="2147480342"/>
            <ac:spMk id="72" creationId="{970434C0-44E8-841B-E77E-EF154AB201B5}"/>
          </ac:spMkLst>
        </pc:spChg>
        <pc:spChg chg="mod">
          <ac:chgData name="Cyprien ARETHUSE" userId="abd46b16-7bf0-4c01-a850-92fb83f61f27" providerId="ADAL" clId="{067C7D3F-9573-4B1A-A9B0-3005DA5BAAAF}" dt="2024-01-31T13:10:02.267" v="9771"/>
          <ac:spMkLst>
            <pc:docMk/>
            <pc:sldMk cId="238977462" sldId="2147480342"/>
            <ac:spMk id="76" creationId="{17B5FB19-9F0F-A43A-F033-0385B8D67063}"/>
          </ac:spMkLst>
        </pc:spChg>
        <pc:spChg chg="mod">
          <ac:chgData name="Cyprien ARETHUSE" userId="abd46b16-7bf0-4c01-a850-92fb83f61f27" providerId="ADAL" clId="{067C7D3F-9573-4B1A-A9B0-3005DA5BAAAF}" dt="2024-01-31T13:10:02.267" v="9771"/>
          <ac:spMkLst>
            <pc:docMk/>
            <pc:sldMk cId="238977462" sldId="2147480342"/>
            <ac:spMk id="78" creationId="{23A9AFEF-55C9-BDC9-F8AF-DCE79E009F83}"/>
          </ac:spMkLst>
        </pc:spChg>
        <pc:spChg chg="mod">
          <ac:chgData name="Cyprien ARETHUSE" userId="abd46b16-7bf0-4c01-a850-92fb83f61f27" providerId="ADAL" clId="{067C7D3F-9573-4B1A-A9B0-3005DA5BAAAF}" dt="2024-01-31T13:10:02.267" v="9771"/>
          <ac:spMkLst>
            <pc:docMk/>
            <pc:sldMk cId="238977462" sldId="2147480342"/>
            <ac:spMk id="79" creationId="{89071998-C885-2D59-4816-FD017767B52D}"/>
          </ac:spMkLst>
        </pc:spChg>
        <pc:spChg chg="add mod">
          <ac:chgData name="Cyprien ARETHUSE" userId="abd46b16-7bf0-4c01-a850-92fb83f61f27" providerId="ADAL" clId="{067C7D3F-9573-4B1A-A9B0-3005DA5BAAAF}" dt="2024-02-01T11:12:23.641" v="11968" actId="1037"/>
          <ac:spMkLst>
            <pc:docMk/>
            <pc:sldMk cId="238977462" sldId="2147480342"/>
            <ac:spMk id="81" creationId="{5FBE76F3-F4D1-B00C-165A-F730D5C90C9E}"/>
          </ac:spMkLst>
        </pc:spChg>
        <pc:spChg chg="add mod">
          <ac:chgData name="Cyprien ARETHUSE" userId="abd46b16-7bf0-4c01-a850-92fb83f61f27" providerId="ADAL" clId="{067C7D3F-9573-4B1A-A9B0-3005DA5BAAAF}" dt="2024-02-01T11:14:51.172" v="12002" actId="1035"/>
          <ac:spMkLst>
            <pc:docMk/>
            <pc:sldMk cId="238977462" sldId="2147480342"/>
            <ac:spMk id="83" creationId="{11F9AB66-3E7C-94AF-0D3A-0E2BFA97D00A}"/>
          </ac:spMkLst>
        </pc:spChg>
        <pc:spChg chg="add mod">
          <ac:chgData name="Cyprien ARETHUSE" userId="abd46b16-7bf0-4c01-a850-92fb83f61f27" providerId="ADAL" clId="{067C7D3F-9573-4B1A-A9B0-3005DA5BAAAF}" dt="2024-02-01T11:14:51.172" v="12002" actId="1035"/>
          <ac:spMkLst>
            <pc:docMk/>
            <pc:sldMk cId="238977462" sldId="2147480342"/>
            <ac:spMk id="84" creationId="{296FBA23-3AAC-9A7F-947D-85CF3425638A}"/>
          </ac:spMkLst>
        </pc:spChg>
        <pc:spChg chg="add mod">
          <ac:chgData name="Cyprien ARETHUSE" userId="abd46b16-7bf0-4c01-a850-92fb83f61f27" providerId="ADAL" clId="{067C7D3F-9573-4B1A-A9B0-3005DA5BAAAF}" dt="2024-02-01T11:14:51.172" v="12002" actId="1035"/>
          <ac:spMkLst>
            <pc:docMk/>
            <pc:sldMk cId="238977462" sldId="2147480342"/>
            <ac:spMk id="85" creationId="{41839461-1166-1A06-AFD6-500E8B60E906}"/>
          </ac:spMkLst>
        </pc:spChg>
        <pc:spChg chg="add mod">
          <ac:chgData name="Cyprien ARETHUSE" userId="abd46b16-7bf0-4c01-a850-92fb83f61f27" providerId="ADAL" clId="{067C7D3F-9573-4B1A-A9B0-3005DA5BAAAF}" dt="2024-02-01T11:14:51.172" v="12002" actId="1035"/>
          <ac:spMkLst>
            <pc:docMk/>
            <pc:sldMk cId="238977462" sldId="2147480342"/>
            <ac:spMk id="88" creationId="{04D038CA-4A6E-10D8-E786-A31405B9A431}"/>
          </ac:spMkLst>
        </pc:spChg>
        <pc:spChg chg="add mod">
          <ac:chgData name="Cyprien ARETHUSE" userId="abd46b16-7bf0-4c01-a850-92fb83f61f27" providerId="ADAL" clId="{067C7D3F-9573-4B1A-A9B0-3005DA5BAAAF}" dt="2024-02-01T11:14:51.172" v="12002" actId="1035"/>
          <ac:spMkLst>
            <pc:docMk/>
            <pc:sldMk cId="238977462" sldId="2147480342"/>
            <ac:spMk id="89" creationId="{5EDE88F2-F5FA-26CB-72F2-56CF9D8224B1}"/>
          </ac:spMkLst>
        </pc:spChg>
        <pc:spChg chg="add mod">
          <ac:chgData name="Cyprien ARETHUSE" userId="abd46b16-7bf0-4c01-a850-92fb83f61f27" providerId="ADAL" clId="{067C7D3F-9573-4B1A-A9B0-3005DA5BAAAF}" dt="2024-02-01T11:14:51.172" v="12002" actId="1035"/>
          <ac:spMkLst>
            <pc:docMk/>
            <pc:sldMk cId="238977462" sldId="2147480342"/>
            <ac:spMk id="90" creationId="{89A02E5C-107A-49B7-9A6B-DCD94FACAFAF}"/>
          </ac:spMkLst>
        </pc:spChg>
        <pc:spChg chg="add mod">
          <ac:chgData name="Cyprien ARETHUSE" userId="abd46b16-7bf0-4c01-a850-92fb83f61f27" providerId="ADAL" clId="{067C7D3F-9573-4B1A-A9B0-3005DA5BAAAF}" dt="2024-02-01T11:10:46.478" v="11943" actId="20578"/>
          <ac:spMkLst>
            <pc:docMk/>
            <pc:sldMk cId="238977462" sldId="2147480342"/>
            <ac:spMk id="91" creationId="{2C458B4B-1060-AF5C-8102-C31F810309B1}"/>
          </ac:spMkLst>
        </pc:spChg>
        <pc:spChg chg="mod">
          <ac:chgData name="Cyprien ARETHUSE" userId="abd46b16-7bf0-4c01-a850-92fb83f61f27" providerId="ADAL" clId="{067C7D3F-9573-4B1A-A9B0-3005DA5BAAAF}" dt="2024-02-01T11:14:51.172" v="12002" actId="1035"/>
          <ac:spMkLst>
            <pc:docMk/>
            <pc:sldMk cId="238977462" sldId="2147480342"/>
            <ac:spMk id="97" creationId="{AFB5D59C-A6D9-A792-B6BD-014F72C454A1}"/>
          </ac:spMkLst>
        </pc:spChg>
        <pc:spChg chg="mod">
          <ac:chgData name="Cyprien ARETHUSE" userId="abd46b16-7bf0-4c01-a850-92fb83f61f27" providerId="ADAL" clId="{067C7D3F-9573-4B1A-A9B0-3005DA5BAAAF}" dt="2024-02-01T11:14:51.172" v="12002" actId="1035"/>
          <ac:spMkLst>
            <pc:docMk/>
            <pc:sldMk cId="238977462" sldId="2147480342"/>
            <ac:spMk id="99" creationId="{361E0D71-AC47-B03A-8873-6399BF362E62}"/>
          </ac:spMkLst>
        </pc:spChg>
        <pc:spChg chg="mod">
          <ac:chgData name="Cyprien ARETHUSE" userId="abd46b16-7bf0-4c01-a850-92fb83f61f27" providerId="ADAL" clId="{067C7D3F-9573-4B1A-A9B0-3005DA5BAAAF}" dt="2024-02-01T11:14:51.172" v="12002" actId="1035"/>
          <ac:spMkLst>
            <pc:docMk/>
            <pc:sldMk cId="238977462" sldId="2147480342"/>
            <ac:spMk id="101" creationId="{07B8E96A-DEF8-45E9-626A-48A0D790AE17}"/>
          </ac:spMkLst>
        </pc:spChg>
        <pc:spChg chg="mod">
          <ac:chgData name="Cyprien ARETHUSE" userId="abd46b16-7bf0-4c01-a850-92fb83f61f27" providerId="ADAL" clId="{067C7D3F-9573-4B1A-A9B0-3005DA5BAAAF}" dt="2024-02-01T11:14:51.172" v="12002" actId="1035"/>
          <ac:spMkLst>
            <pc:docMk/>
            <pc:sldMk cId="238977462" sldId="2147480342"/>
            <ac:spMk id="102" creationId="{291E359A-5184-B3F0-2449-FF076B046729}"/>
          </ac:spMkLst>
        </pc:spChg>
        <pc:spChg chg="mod">
          <ac:chgData name="Cyprien ARETHUSE" userId="abd46b16-7bf0-4c01-a850-92fb83f61f27" providerId="ADAL" clId="{067C7D3F-9573-4B1A-A9B0-3005DA5BAAAF}" dt="2024-02-01T11:14:51.172" v="12002" actId="1035"/>
          <ac:spMkLst>
            <pc:docMk/>
            <pc:sldMk cId="238977462" sldId="2147480342"/>
            <ac:spMk id="104" creationId="{78212FC2-73F6-70CE-C4F0-568906AA61B1}"/>
          </ac:spMkLst>
        </pc:spChg>
        <pc:spChg chg="mod">
          <ac:chgData name="Cyprien ARETHUSE" userId="abd46b16-7bf0-4c01-a850-92fb83f61f27" providerId="ADAL" clId="{067C7D3F-9573-4B1A-A9B0-3005DA5BAAAF}" dt="2024-02-01T11:14:51.172" v="12002" actId="1035"/>
          <ac:spMkLst>
            <pc:docMk/>
            <pc:sldMk cId="238977462" sldId="2147480342"/>
            <ac:spMk id="105" creationId="{7D646C84-400D-E7DE-BF9E-B9DD6FB84E90}"/>
          </ac:spMkLst>
        </pc:spChg>
        <pc:spChg chg="mod">
          <ac:chgData name="Cyprien ARETHUSE" userId="abd46b16-7bf0-4c01-a850-92fb83f61f27" providerId="ADAL" clId="{067C7D3F-9573-4B1A-A9B0-3005DA5BAAAF}" dt="2024-02-01T11:14:51.172" v="12002" actId="1035"/>
          <ac:spMkLst>
            <pc:docMk/>
            <pc:sldMk cId="238977462" sldId="2147480342"/>
            <ac:spMk id="107" creationId="{C8B9AA8C-90F6-2B61-7035-04E82B21D8F7}"/>
          </ac:spMkLst>
        </pc:spChg>
        <pc:spChg chg="mod">
          <ac:chgData name="Cyprien ARETHUSE" userId="abd46b16-7bf0-4c01-a850-92fb83f61f27" providerId="ADAL" clId="{067C7D3F-9573-4B1A-A9B0-3005DA5BAAAF}" dt="2024-02-01T11:14:51.172" v="12002" actId="1035"/>
          <ac:spMkLst>
            <pc:docMk/>
            <pc:sldMk cId="238977462" sldId="2147480342"/>
            <ac:spMk id="108" creationId="{A0AC77DD-6E0A-6E26-8B90-9A40B0A4459E}"/>
          </ac:spMkLst>
        </pc:spChg>
        <pc:spChg chg="mod">
          <ac:chgData name="Cyprien ARETHUSE" userId="abd46b16-7bf0-4c01-a850-92fb83f61f27" providerId="ADAL" clId="{067C7D3F-9573-4B1A-A9B0-3005DA5BAAAF}" dt="2024-02-01T11:14:51.172" v="12002" actId="1035"/>
          <ac:spMkLst>
            <pc:docMk/>
            <pc:sldMk cId="238977462" sldId="2147480342"/>
            <ac:spMk id="110" creationId="{8606EF67-60EA-3D7B-6840-620F13274761}"/>
          </ac:spMkLst>
        </pc:spChg>
        <pc:spChg chg="mod">
          <ac:chgData name="Cyprien ARETHUSE" userId="abd46b16-7bf0-4c01-a850-92fb83f61f27" providerId="ADAL" clId="{067C7D3F-9573-4B1A-A9B0-3005DA5BAAAF}" dt="2024-02-01T11:14:51.172" v="12002" actId="1035"/>
          <ac:spMkLst>
            <pc:docMk/>
            <pc:sldMk cId="238977462" sldId="2147480342"/>
            <ac:spMk id="111" creationId="{4E63C0D1-2D90-1C50-C067-221B27F2C8ED}"/>
          </ac:spMkLst>
        </pc:spChg>
        <pc:spChg chg="mod">
          <ac:chgData name="Cyprien ARETHUSE" userId="abd46b16-7bf0-4c01-a850-92fb83f61f27" providerId="ADAL" clId="{067C7D3F-9573-4B1A-A9B0-3005DA5BAAAF}" dt="2024-02-01T11:14:51.172" v="12002" actId="1035"/>
          <ac:spMkLst>
            <pc:docMk/>
            <pc:sldMk cId="238977462" sldId="2147480342"/>
            <ac:spMk id="113" creationId="{CF320576-291A-2235-0C72-920F5209A671}"/>
          </ac:spMkLst>
        </pc:spChg>
        <pc:spChg chg="mod">
          <ac:chgData name="Cyprien ARETHUSE" userId="abd46b16-7bf0-4c01-a850-92fb83f61f27" providerId="ADAL" clId="{067C7D3F-9573-4B1A-A9B0-3005DA5BAAAF}" dt="2024-02-01T11:14:51.172" v="12002" actId="1035"/>
          <ac:spMkLst>
            <pc:docMk/>
            <pc:sldMk cId="238977462" sldId="2147480342"/>
            <ac:spMk id="114" creationId="{0CA351C4-3944-42A1-8C7D-BCB40A5B5FF6}"/>
          </ac:spMkLst>
        </pc:spChg>
        <pc:spChg chg="mod">
          <ac:chgData name="Cyprien ARETHUSE" userId="abd46b16-7bf0-4c01-a850-92fb83f61f27" providerId="ADAL" clId="{067C7D3F-9573-4B1A-A9B0-3005DA5BAAAF}" dt="2024-01-31T13:10:12.379" v="9774"/>
          <ac:spMkLst>
            <pc:docMk/>
            <pc:sldMk cId="238977462" sldId="2147480342"/>
            <ac:spMk id="127" creationId="{B04608D9-8231-DC8E-E752-AE55095429B4}"/>
          </ac:spMkLst>
        </pc:spChg>
        <pc:spChg chg="mod">
          <ac:chgData name="Cyprien ARETHUSE" userId="abd46b16-7bf0-4c01-a850-92fb83f61f27" providerId="ADAL" clId="{067C7D3F-9573-4B1A-A9B0-3005DA5BAAAF}" dt="2024-01-31T13:10:12.379" v="9774"/>
          <ac:spMkLst>
            <pc:docMk/>
            <pc:sldMk cId="238977462" sldId="2147480342"/>
            <ac:spMk id="129" creationId="{3C66D90E-7144-3D35-408E-0AEE412BB6C9}"/>
          </ac:spMkLst>
        </pc:spChg>
        <pc:spChg chg="mod">
          <ac:chgData name="Cyprien ARETHUSE" userId="abd46b16-7bf0-4c01-a850-92fb83f61f27" providerId="ADAL" clId="{067C7D3F-9573-4B1A-A9B0-3005DA5BAAAF}" dt="2024-01-31T13:10:12.379" v="9774"/>
          <ac:spMkLst>
            <pc:docMk/>
            <pc:sldMk cId="238977462" sldId="2147480342"/>
            <ac:spMk id="130" creationId="{F986F2F5-76C5-0409-5E37-3F18F75A4550}"/>
          </ac:spMkLst>
        </pc:spChg>
        <pc:spChg chg="mod">
          <ac:chgData name="Cyprien ARETHUSE" userId="abd46b16-7bf0-4c01-a850-92fb83f61f27" providerId="ADAL" clId="{067C7D3F-9573-4B1A-A9B0-3005DA5BAAAF}" dt="2024-01-31T13:10:12.379" v="9774"/>
          <ac:spMkLst>
            <pc:docMk/>
            <pc:sldMk cId="238977462" sldId="2147480342"/>
            <ac:spMk id="134" creationId="{52ED70FD-51EB-3B64-1870-6DBFC5C32F53}"/>
          </ac:spMkLst>
        </pc:spChg>
        <pc:spChg chg="mod">
          <ac:chgData name="Cyprien ARETHUSE" userId="abd46b16-7bf0-4c01-a850-92fb83f61f27" providerId="ADAL" clId="{067C7D3F-9573-4B1A-A9B0-3005DA5BAAAF}" dt="2024-01-31T13:10:12.379" v="9774"/>
          <ac:spMkLst>
            <pc:docMk/>
            <pc:sldMk cId="238977462" sldId="2147480342"/>
            <ac:spMk id="136" creationId="{DFE3113C-B609-4752-FEDD-DA1B874402B7}"/>
          </ac:spMkLst>
        </pc:spChg>
        <pc:spChg chg="mod">
          <ac:chgData name="Cyprien ARETHUSE" userId="abd46b16-7bf0-4c01-a850-92fb83f61f27" providerId="ADAL" clId="{067C7D3F-9573-4B1A-A9B0-3005DA5BAAAF}" dt="2024-01-31T13:10:12.379" v="9774"/>
          <ac:spMkLst>
            <pc:docMk/>
            <pc:sldMk cId="238977462" sldId="2147480342"/>
            <ac:spMk id="137" creationId="{D645B12D-440D-01F3-344B-3BCDE144B8C1}"/>
          </ac:spMkLst>
        </pc:spChg>
        <pc:grpChg chg="add mod">
          <ac:chgData name="Cyprien ARETHUSE" userId="abd46b16-7bf0-4c01-a850-92fb83f61f27" providerId="ADAL" clId="{067C7D3F-9573-4B1A-A9B0-3005DA5BAAAF}" dt="2024-01-31T13:10:02.267" v="9771"/>
          <ac:grpSpMkLst>
            <pc:docMk/>
            <pc:sldMk cId="238977462" sldId="2147480342"/>
            <ac:grpSpMk id="38" creationId="{674EF828-4071-9207-DF20-14C9D5EAE057}"/>
          </ac:grpSpMkLst>
        </pc:grpChg>
        <pc:grpChg chg="add mod">
          <ac:chgData name="Cyprien ARETHUSE" userId="abd46b16-7bf0-4c01-a850-92fb83f61f27" providerId="ADAL" clId="{067C7D3F-9573-4B1A-A9B0-3005DA5BAAAF}" dt="2024-01-31T13:10:02.267" v="9771"/>
          <ac:grpSpMkLst>
            <pc:docMk/>
            <pc:sldMk cId="238977462" sldId="2147480342"/>
            <ac:grpSpMk id="42" creationId="{C0D4BFA2-5449-CF89-13AB-3DB960B0EABD}"/>
          </ac:grpSpMkLst>
        </pc:grpChg>
        <pc:grpChg chg="add mod">
          <ac:chgData name="Cyprien ARETHUSE" userId="abd46b16-7bf0-4c01-a850-92fb83f61f27" providerId="ADAL" clId="{067C7D3F-9573-4B1A-A9B0-3005DA5BAAAF}" dt="2024-01-31T13:10:02.267" v="9771"/>
          <ac:grpSpMkLst>
            <pc:docMk/>
            <pc:sldMk cId="238977462" sldId="2147480342"/>
            <ac:grpSpMk id="45" creationId="{89EBE084-52FE-0700-9806-20793B46DE54}"/>
          </ac:grpSpMkLst>
        </pc:grpChg>
        <pc:grpChg chg="add mod">
          <ac:chgData name="Cyprien ARETHUSE" userId="abd46b16-7bf0-4c01-a850-92fb83f61f27" providerId="ADAL" clId="{067C7D3F-9573-4B1A-A9B0-3005DA5BAAAF}" dt="2024-01-31T13:10:02.267" v="9771"/>
          <ac:grpSpMkLst>
            <pc:docMk/>
            <pc:sldMk cId="238977462" sldId="2147480342"/>
            <ac:grpSpMk id="48" creationId="{77E6A632-80F3-E96C-5003-B0847F40450A}"/>
          </ac:grpSpMkLst>
        </pc:grpChg>
        <pc:grpChg chg="add mod">
          <ac:chgData name="Cyprien ARETHUSE" userId="abd46b16-7bf0-4c01-a850-92fb83f61f27" providerId="ADAL" clId="{067C7D3F-9573-4B1A-A9B0-3005DA5BAAAF}" dt="2024-01-31T13:10:02.267" v="9771"/>
          <ac:grpSpMkLst>
            <pc:docMk/>
            <pc:sldMk cId="238977462" sldId="2147480342"/>
            <ac:grpSpMk id="51" creationId="{82F25E33-783B-EACB-ED04-039EAC37F235}"/>
          </ac:grpSpMkLst>
        </pc:grpChg>
        <pc:grpChg chg="add mod">
          <ac:chgData name="Cyprien ARETHUSE" userId="abd46b16-7bf0-4c01-a850-92fb83f61f27" providerId="ADAL" clId="{067C7D3F-9573-4B1A-A9B0-3005DA5BAAAF}" dt="2024-01-31T13:10:02.267" v="9771"/>
          <ac:grpSpMkLst>
            <pc:docMk/>
            <pc:sldMk cId="238977462" sldId="2147480342"/>
            <ac:grpSpMk id="54" creationId="{D81044AD-0BA7-0E17-D14C-B892D2E8B140}"/>
          </ac:grpSpMkLst>
        </pc:grpChg>
        <pc:grpChg chg="add mod">
          <ac:chgData name="Cyprien ARETHUSE" userId="abd46b16-7bf0-4c01-a850-92fb83f61f27" providerId="ADAL" clId="{067C7D3F-9573-4B1A-A9B0-3005DA5BAAAF}" dt="2024-01-31T13:10:02.267" v="9771"/>
          <ac:grpSpMkLst>
            <pc:docMk/>
            <pc:sldMk cId="238977462" sldId="2147480342"/>
            <ac:grpSpMk id="66" creationId="{590638E6-040F-62A9-6CB1-DFF17088066A}"/>
          </ac:grpSpMkLst>
        </pc:grpChg>
        <pc:grpChg chg="mod">
          <ac:chgData name="Cyprien ARETHUSE" userId="abd46b16-7bf0-4c01-a850-92fb83f61f27" providerId="ADAL" clId="{067C7D3F-9573-4B1A-A9B0-3005DA5BAAAF}" dt="2024-01-31T13:10:02.267" v="9771"/>
          <ac:grpSpMkLst>
            <pc:docMk/>
            <pc:sldMk cId="238977462" sldId="2147480342"/>
            <ac:grpSpMk id="67" creationId="{0291F995-2258-B896-CE92-DFCE2BAE4D86}"/>
          </ac:grpSpMkLst>
        </pc:grpChg>
        <pc:grpChg chg="mod">
          <ac:chgData name="Cyprien ARETHUSE" userId="abd46b16-7bf0-4c01-a850-92fb83f61f27" providerId="ADAL" clId="{067C7D3F-9573-4B1A-A9B0-3005DA5BAAAF}" dt="2024-01-31T13:10:02.267" v="9771"/>
          <ac:grpSpMkLst>
            <pc:docMk/>
            <pc:sldMk cId="238977462" sldId="2147480342"/>
            <ac:grpSpMk id="70" creationId="{EE5D3AD7-912B-45D2-9128-CD49CDF1DF96}"/>
          </ac:grpSpMkLst>
        </pc:grpChg>
        <pc:grpChg chg="add mod">
          <ac:chgData name="Cyprien ARETHUSE" userId="abd46b16-7bf0-4c01-a850-92fb83f61f27" providerId="ADAL" clId="{067C7D3F-9573-4B1A-A9B0-3005DA5BAAAF}" dt="2024-01-31T13:10:02.267" v="9771"/>
          <ac:grpSpMkLst>
            <pc:docMk/>
            <pc:sldMk cId="238977462" sldId="2147480342"/>
            <ac:grpSpMk id="73" creationId="{376AB252-1721-74DD-C62B-C2F870D29C18}"/>
          </ac:grpSpMkLst>
        </pc:grpChg>
        <pc:grpChg chg="mod">
          <ac:chgData name="Cyprien ARETHUSE" userId="abd46b16-7bf0-4c01-a850-92fb83f61f27" providerId="ADAL" clId="{067C7D3F-9573-4B1A-A9B0-3005DA5BAAAF}" dt="2024-01-31T13:10:02.267" v="9771"/>
          <ac:grpSpMkLst>
            <pc:docMk/>
            <pc:sldMk cId="238977462" sldId="2147480342"/>
            <ac:grpSpMk id="74" creationId="{F367B9EB-6856-EF9E-ED38-E22757F63263}"/>
          </ac:grpSpMkLst>
        </pc:grpChg>
        <pc:grpChg chg="mod">
          <ac:chgData name="Cyprien ARETHUSE" userId="abd46b16-7bf0-4c01-a850-92fb83f61f27" providerId="ADAL" clId="{067C7D3F-9573-4B1A-A9B0-3005DA5BAAAF}" dt="2024-01-31T13:10:02.267" v="9771"/>
          <ac:grpSpMkLst>
            <pc:docMk/>
            <pc:sldMk cId="238977462" sldId="2147480342"/>
            <ac:grpSpMk id="77" creationId="{FAE7026B-456A-7345-5940-FA8707A55244}"/>
          </ac:grpSpMkLst>
        </pc:grpChg>
        <pc:grpChg chg="add mod">
          <ac:chgData name="Cyprien ARETHUSE" userId="abd46b16-7bf0-4c01-a850-92fb83f61f27" providerId="ADAL" clId="{067C7D3F-9573-4B1A-A9B0-3005DA5BAAAF}" dt="2024-02-01T11:14:51.172" v="12002" actId="1035"/>
          <ac:grpSpMkLst>
            <pc:docMk/>
            <pc:sldMk cId="238977462" sldId="2147480342"/>
            <ac:grpSpMk id="96" creationId="{5C616AD9-AAAD-B8DE-5D11-AAF6615B4E8E}"/>
          </ac:grpSpMkLst>
        </pc:grpChg>
        <pc:grpChg chg="add mod">
          <ac:chgData name="Cyprien ARETHUSE" userId="abd46b16-7bf0-4c01-a850-92fb83f61f27" providerId="ADAL" clId="{067C7D3F-9573-4B1A-A9B0-3005DA5BAAAF}" dt="2024-02-01T11:14:51.172" v="12002" actId="1035"/>
          <ac:grpSpMkLst>
            <pc:docMk/>
            <pc:sldMk cId="238977462" sldId="2147480342"/>
            <ac:grpSpMk id="100" creationId="{DD03D5BD-033F-3130-1C19-BB9D7111DAC9}"/>
          </ac:grpSpMkLst>
        </pc:grpChg>
        <pc:grpChg chg="add mod">
          <ac:chgData name="Cyprien ARETHUSE" userId="abd46b16-7bf0-4c01-a850-92fb83f61f27" providerId="ADAL" clId="{067C7D3F-9573-4B1A-A9B0-3005DA5BAAAF}" dt="2024-02-01T11:14:51.172" v="12002" actId="1035"/>
          <ac:grpSpMkLst>
            <pc:docMk/>
            <pc:sldMk cId="238977462" sldId="2147480342"/>
            <ac:grpSpMk id="103" creationId="{E42685ED-AA49-5649-3400-FEDD1A3310C8}"/>
          </ac:grpSpMkLst>
        </pc:grpChg>
        <pc:grpChg chg="add mod">
          <ac:chgData name="Cyprien ARETHUSE" userId="abd46b16-7bf0-4c01-a850-92fb83f61f27" providerId="ADAL" clId="{067C7D3F-9573-4B1A-A9B0-3005DA5BAAAF}" dt="2024-02-01T11:14:51.172" v="12002" actId="1035"/>
          <ac:grpSpMkLst>
            <pc:docMk/>
            <pc:sldMk cId="238977462" sldId="2147480342"/>
            <ac:grpSpMk id="106" creationId="{D0E836B7-7550-271C-44D1-EF97346BCCDD}"/>
          </ac:grpSpMkLst>
        </pc:grpChg>
        <pc:grpChg chg="add mod">
          <ac:chgData name="Cyprien ARETHUSE" userId="abd46b16-7bf0-4c01-a850-92fb83f61f27" providerId="ADAL" clId="{067C7D3F-9573-4B1A-A9B0-3005DA5BAAAF}" dt="2024-02-01T11:14:51.172" v="12002" actId="1035"/>
          <ac:grpSpMkLst>
            <pc:docMk/>
            <pc:sldMk cId="238977462" sldId="2147480342"/>
            <ac:grpSpMk id="109" creationId="{C7962E76-1676-A001-4FE8-B8911E754F24}"/>
          </ac:grpSpMkLst>
        </pc:grpChg>
        <pc:grpChg chg="add mod">
          <ac:chgData name="Cyprien ARETHUSE" userId="abd46b16-7bf0-4c01-a850-92fb83f61f27" providerId="ADAL" clId="{067C7D3F-9573-4B1A-A9B0-3005DA5BAAAF}" dt="2024-02-01T11:14:51.172" v="12002" actId="1035"/>
          <ac:grpSpMkLst>
            <pc:docMk/>
            <pc:sldMk cId="238977462" sldId="2147480342"/>
            <ac:grpSpMk id="112" creationId="{E5F49117-CBA8-C557-EA57-803E74161769}"/>
          </ac:grpSpMkLst>
        </pc:grpChg>
        <pc:grpChg chg="add mod">
          <ac:chgData name="Cyprien ARETHUSE" userId="abd46b16-7bf0-4c01-a850-92fb83f61f27" providerId="ADAL" clId="{067C7D3F-9573-4B1A-A9B0-3005DA5BAAAF}" dt="2024-01-31T13:10:12.379" v="9774"/>
          <ac:grpSpMkLst>
            <pc:docMk/>
            <pc:sldMk cId="238977462" sldId="2147480342"/>
            <ac:grpSpMk id="124" creationId="{04609C2E-2C1F-3C22-C064-03C7969B9607}"/>
          </ac:grpSpMkLst>
        </pc:grpChg>
        <pc:grpChg chg="mod">
          <ac:chgData name="Cyprien ARETHUSE" userId="abd46b16-7bf0-4c01-a850-92fb83f61f27" providerId="ADAL" clId="{067C7D3F-9573-4B1A-A9B0-3005DA5BAAAF}" dt="2024-01-31T13:10:12.379" v="9774"/>
          <ac:grpSpMkLst>
            <pc:docMk/>
            <pc:sldMk cId="238977462" sldId="2147480342"/>
            <ac:grpSpMk id="125" creationId="{02E2A95B-F376-5EAB-AD8F-979B94FE841F}"/>
          </ac:grpSpMkLst>
        </pc:grpChg>
        <pc:grpChg chg="mod">
          <ac:chgData name="Cyprien ARETHUSE" userId="abd46b16-7bf0-4c01-a850-92fb83f61f27" providerId="ADAL" clId="{067C7D3F-9573-4B1A-A9B0-3005DA5BAAAF}" dt="2024-01-31T13:10:12.379" v="9774"/>
          <ac:grpSpMkLst>
            <pc:docMk/>
            <pc:sldMk cId="238977462" sldId="2147480342"/>
            <ac:grpSpMk id="128" creationId="{73B0C09D-D8F7-25CF-00FC-C4F171D15580}"/>
          </ac:grpSpMkLst>
        </pc:grpChg>
        <pc:grpChg chg="add mod">
          <ac:chgData name="Cyprien ARETHUSE" userId="abd46b16-7bf0-4c01-a850-92fb83f61f27" providerId="ADAL" clId="{067C7D3F-9573-4B1A-A9B0-3005DA5BAAAF}" dt="2024-01-31T13:10:12.379" v="9774"/>
          <ac:grpSpMkLst>
            <pc:docMk/>
            <pc:sldMk cId="238977462" sldId="2147480342"/>
            <ac:grpSpMk id="131" creationId="{47F7BA66-1C2F-837E-1CB1-49BC13F8D24B}"/>
          </ac:grpSpMkLst>
        </pc:grpChg>
        <pc:grpChg chg="mod">
          <ac:chgData name="Cyprien ARETHUSE" userId="abd46b16-7bf0-4c01-a850-92fb83f61f27" providerId="ADAL" clId="{067C7D3F-9573-4B1A-A9B0-3005DA5BAAAF}" dt="2024-01-31T13:10:12.379" v="9774"/>
          <ac:grpSpMkLst>
            <pc:docMk/>
            <pc:sldMk cId="238977462" sldId="2147480342"/>
            <ac:grpSpMk id="132" creationId="{0E6714F8-801F-5C94-AFB5-15C1600A2F86}"/>
          </ac:grpSpMkLst>
        </pc:grpChg>
        <pc:grpChg chg="mod">
          <ac:chgData name="Cyprien ARETHUSE" userId="abd46b16-7bf0-4c01-a850-92fb83f61f27" providerId="ADAL" clId="{067C7D3F-9573-4B1A-A9B0-3005DA5BAAAF}" dt="2024-01-31T13:10:12.379" v="9774"/>
          <ac:grpSpMkLst>
            <pc:docMk/>
            <pc:sldMk cId="238977462" sldId="2147480342"/>
            <ac:grpSpMk id="135" creationId="{B4F94834-4A2B-4E5F-A0BE-1B6BE3D6DD63}"/>
          </ac:grpSpMkLst>
        </pc:grpChg>
        <pc:graphicFrameChg chg="del">
          <ac:chgData name="Cyprien ARETHUSE" userId="abd46b16-7bf0-4c01-a850-92fb83f61f27" providerId="ADAL" clId="{067C7D3F-9573-4B1A-A9B0-3005DA5BAAAF}" dt="2024-01-31T13:09:55.582" v="9770" actId="478"/>
          <ac:graphicFrameMkLst>
            <pc:docMk/>
            <pc:sldMk cId="238977462" sldId="2147480342"/>
            <ac:graphicFrameMk id="2" creationId="{111A586A-DA3D-0BBA-A5DB-4CE3B7BD14C3}"/>
          </ac:graphicFrameMkLst>
        </pc:graphicFrameChg>
        <pc:graphicFrameChg chg="add mod">
          <ac:chgData name="Cyprien ARETHUSE" userId="abd46b16-7bf0-4c01-a850-92fb83f61f27" providerId="ADAL" clId="{067C7D3F-9573-4B1A-A9B0-3005DA5BAAAF}" dt="2024-02-01T11:11:21.325" v="11961"/>
          <ac:graphicFrameMkLst>
            <pc:docMk/>
            <pc:sldMk cId="238977462" sldId="2147480342"/>
            <ac:graphicFrameMk id="3" creationId="{C810CC23-DF91-923C-A8D9-9E39D55D1040}"/>
          </ac:graphicFrameMkLst>
        </pc:graphicFrameChg>
        <pc:graphicFrameChg chg="add mod">
          <ac:chgData name="Cyprien ARETHUSE" userId="abd46b16-7bf0-4c01-a850-92fb83f61f27" providerId="ADAL" clId="{067C7D3F-9573-4B1A-A9B0-3005DA5BAAAF}" dt="2024-01-31T13:10:02.267" v="9771"/>
          <ac:graphicFrameMkLst>
            <pc:docMk/>
            <pc:sldMk cId="238977462" sldId="2147480342"/>
            <ac:graphicFrameMk id="24" creationId="{36127957-60E5-54DB-0DF2-59EFCFAE3770}"/>
          </ac:graphicFrameMkLst>
        </pc:graphicFrameChg>
        <pc:graphicFrameChg chg="add mod">
          <ac:chgData name="Cyprien ARETHUSE" userId="abd46b16-7bf0-4c01-a850-92fb83f61f27" providerId="ADAL" clId="{067C7D3F-9573-4B1A-A9B0-3005DA5BAAAF}" dt="2024-01-31T13:10:02.267" v="9771"/>
          <ac:graphicFrameMkLst>
            <pc:docMk/>
            <pc:sldMk cId="238977462" sldId="2147480342"/>
            <ac:graphicFrameMk id="37" creationId="{A871F6E2-FFA4-703A-49C4-572807C88E4E}"/>
          </ac:graphicFrameMkLst>
        </pc:graphicFrameChg>
        <pc:graphicFrameChg chg="add mod modGraphic">
          <ac:chgData name="Cyprien ARETHUSE" userId="abd46b16-7bf0-4c01-a850-92fb83f61f27" providerId="ADAL" clId="{067C7D3F-9573-4B1A-A9B0-3005DA5BAAAF}" dt="2024-02-01T11:15:07.885" v="12015" actId="255"/>
          <ac:graphicFrameMkLst>
            <pc:docMk/>
            <pc:sldMk cId="238977462" sldId="2147480342"/>
            <ac:graphicFrameMk id="82" creationId="{936AD7EB-E8DF-009E-597D-30DD6FF27395}"/>
          </ac:graphicFrameMkLst>
        </pc:graphicFrameChg>
        <pc:graphicFrameChg chg="add mod modGraphic">
          <ac:chgData name="Cyprien ARETHUSE" userId="abd46b16-7bf0-4c01-a850-92fb83f61f27" providerId="ADAL" clId="{067C7D3F-9573-4B1A-A9B0-3005DA5BAAAF}" dt="2024-02-01T11:11:20.762" v="11960"/>
          <ac:graphicFrameMkLst>
            <pc:docMk/>
            <pc:sldMk cId="238977462" sldId="2147480342"/>
            <ac:graphicFrameMk id="95" creationId="{2629D3B3-5287-75E4-7097-846DA50390D7}"/>
          </ac:graphicFrameMkLst>
        </pc:graphicFrameChg>
        <pc:picChg chg="del">
          <ac:chgData name="Cyprien ARETHUSE" userId="abd46b16-7bf0-4c01-a850-92fb83f61f27" providerId="ADAL" clId="{067C7D3F-9573-4B1A-A9B0-3005DA5BAAAF}" dt="2024-01-31T13:09:55.582" v="9770" actId="478"/>
          <ac:picMkLst>
            <pc:docMk/>
            <pc:sldMk cId="238977462" sldId="2147480342"/>
            <ac:picMk id="3" creationId="{90475FB7-8DD0-E453-FAF4-F0327F523C2F}"/>
          </ac:picMkLst>
        </pc:picChg>
        <pc:picChg chg="del">
          <ac:chgData name="Cyprien ARETHUSE" userId="abd46b16-7bf0-4c01-a850-92fb83f61f27" providerId="ADAL" clId="{067C7D3F-9573-4B1A-A9B0-3005DA5BAAAF}" dt="2024-01-31T13:09:55.582" v="9770" actId="478"/>
          <ac:picMkLst>
            <pc:docMk/>
            <pc:sldMk cId="238977462" sldId="2147480342"/>
            <ac:picMk id="5" creationId="{4AC91451-BCB4-21BF-327D-0C027C97D4C3}"/>
          </ac:picMkLst>
        </pc:picChg>
        <pc:picChg chg="del">
          <ac:chgData name="Cyprien ARETHUSE" userId="abd46b16-7bf0-4c01-a850-92fb83f61f27" providerId="ADAL" clId="{067C7D3F-9573-4B1A-A9B0-3005DA5BAAAF}" dt="2024-01-31T13:09:55.582" v="9770" actId="478"/>
          <ac:picMkLst>
            <pc:docMk/>
            <pc:sldMk cId="238977462" sldId="2147480342"/>
            <ac:picMk id="6" creationId="{2DAFC50E-B6A2-54B9-C9DE-F5E9F60B475B}"/>
          </ac:picMkLst>
        </pc:picChg>
        <pc:picChg chg="del">
          <ac:chgData name="Cyprien ARETHUSE" userId="abd46b16-7bf0-4c01-a850-92fb83f61f27" providerId="ADAL" clId="{067C7D3F-9573-4B1A-A9B0-3005DA5BAAAF}" dt="2024-01-31T13:09:55.582" v="9770" actId="478"/>
          <ac:picMkLst>
            <pc:docMk/>
            <pc:sldMk cId="238977462" sldId="2147480342"/>
            <ac:picMk id="7" creationId="{0497CFBF-D379-975F-5F53-4D86F4E42290}"/>
          </ac:picMkLst>
        </pc:picChg>
        <pc:picChg chg="del">
          <ac:chgData name="Cyprien ARETHUSE" userId="abd46b16-7bf0-4c01-a850-92fb83f61f27" providerId="ADAL" clId="{067C7D3F-9573-4B1A-A9B0-3005DA5BAAAF}" dt="2024-01-31T13:09:55.582" v="9770" actId="478"/>
          <ac:picMkLst>
            <pc:docMk/>
            <pc:sldMk cId="238977462" sldId="2147480342"/>
            <ac:picMk id="9" creationId="{D105E6B3-3919-CB56-C409-02831C86C03E}"/>
          </ac:picMkLst>
        </pc:picChg>
        <pc:picChg chg="del">
          <ac:chgData name="Cyprien ARETHUSE" userId="abd46b16-7bf0-4c01-a850-92fb83f61f27" providerId="ADAL" clId="{067C7D3F-9573-4B1A-A9B0-3005DA5BAAAF}" dt="2024-01-31T13:09:55.582" v="9770" actId="478"/>
          <ac:picMkLst>
            <pc:docMk/>
            <pc:sldMk cId="238977462" sldId="2147480342"/>
            <ac:picMk id="10" creationId="{B0A2DEA0-5D66-A3C8-3733-EEBB4EC4670E}"/>
          </ac:picMkLst>
        </pc:picChg>
        <pc:picChg chg="del">
          <ac:chgData name="Cyprien ARETHUSE" userId="abd46b16-7bf0-4c01-a850-92fb83f61f27" providerId="ADAL" clId="{067C7D3F-9573-4B1A-A9B0-3005DA5BAAAF}" dt="2024-01-31T13:09:55.582" v="9770" actId="478"/>
          <ac:picMkLst>
            <pc:docMk/>
            <pc:sldMk cId="238977462" sldId="2147480342"/>
            <ac:picMk id="11" creationId="{7A13AC22-C746-2913-1989-7A663253243A}"/>
          </ac:picMkLst>
        </pc:picChg>
        <pc:picChg chg="del">
          <ac:chgData name="Cyprien ARETHUSE" userId="abd46b16-7bf0-4c01-a850-92fb83f61f27" providerId="ADAL" clId="{067C7D3F-9573-4B1A-A9B0-3005DA5BAAAF}" dt="2024-01-31T13:09:55.582" v="9770" actId="478"/>
          <ac:picMkLst>
            <pc:docMk/>
            <pc:sldMk cId="238977462" sldId="2147480342"/>
            <ac:picMk id="12" creationId="{7ECDFEF5-32ED-A271-128C-960AD09FA9CD}"/>
          </ac:picMkLst>
        </pc:picChg>
        <pc:picChg chg="del">
          <ac:chgData name="Cyprien ARETHUSE" userId="abd46b16-7bf0-4c01-a850-92fb83f61f27" providerId="ADAL" clId="{067C7D3F-9573-4B1A-A9B0-3005DA5BAAAF}" dt="2024-01-31T13:09:55.582" v="9770" actId="478"/>
          <ac:picMkLst>
            <pc:docMk/>
            <pc:sldMk cId="238977462" sldId="2147480342"/>
            <ac:picMk id="13" creationId="{DA3E40A5-F22E-EEF2-FDA9-62CFD9587EE4}"/>
          </ac:picMkLst>
        </pc:picChg>
        <pc:picChg chg="del">
          <ac:chgData name="Cyprien ARETHUSE" userId="abd46b16-7bf0-4c01-a850-92fb83f61f27" providerId="ADAL" clId="{067C7D3F-9573-4B1A-A9B0-3005DA5BAAAF}" dt="2024-01-31T13:09:55.582" v="9770" actId="478"/>
          <ac:picMkLst>
            <pc:docMk/>
            <pc:sldMk cId="238977462" sldId="2147480342"/>
            <ac:picMk id="14" creationId="{F6954DC8-F37D-61E8-5DA6-E80A8F6BE7A5}"/>
          </ac:picMkLst>
        </pc:picChg>
        <pc:picChg chg="del">
          <ac:chgData name="Cyprien ARETHUSE" userId="abd46b16-7bf0-4c01-a850-92fb83f61f27" providerId="ADAL" clId="{067C7D3F-9573-4B1A-A9B0-3005DA5BAAAF}" dt="2024-01-31T13:09:55.582" v="9770" actId="478"/>
          <ac:picMkLst>
            <pc:docMk/>
            <pc:sldMk cId="238977462" sldId="2147480342"/>
            <ac:picMk id="15" creationId="{A703C840-E1DE-47F8-4BCE-24A92F8F4E74}"/>
          </ac:picMkLst>
        </pc:picChg>
        <pc:picChg chg="del">
          <ac:chgData name="Cyprien ARETHUSE" userId="abd46b16-7bf0-4c01-a850-92fb83f61f27" providerId="ADAL" clId="{067C7D3F-9573-4B1A-A9B0-3005DA5BAAAF}" dt="2024-01-31T13:09:55.582" v="9770" actId="478"/>
          <ac:picMkLst>
            <pc:docMk/>
            <pc:sldMk cId="238977462" sldId="2147480342"/>
            <ac:picMk id="16" creationId="{A7578C7E-9829-2DA3-4A7D-3FD94CFA7566}"/>
          </ac:picMkLst>
        </pc:picChg>
        <pc:picChg chg="del">
          <ac:chgData name="Cyprien ARETHUSE" userId="abd46b16-7bf0-4c01-a850-92fb83f61f27" providerId="ADAL" clId="{067C7D3F-9573-4B1A-A9B0-3005DA5BAAAF}" dt="2024-01-31T13:09:55.582" v="9770" actId="478"/>
          <ac:picMkLst>
            <pc:docMk/>
            <pc:sldMk cId="238977462" sldId="2147480342"/>
            <ac:picMk id="17" creationId="{744E6C3E-3962-3540-1DFD-76DA15BEA699}"/>
          </ac:picMkLst>
        </pc:picChg>
        <pc:picChg chg="del">
          <ac:chgData name="Cyprien ARETHUSE" userId="abd46b16-7bf0-4c01-a850-92fb83f61f27" providerId="ADAL" clId="{067C7D3F-9573-4B1A-A9B0-3005DA5BAAAF}" dt="2024-01-31T13:09:55.582" v="9770" actId="478"/>
          <ac:picMkLst>
            <pc:docMk/>
            <pc:sldMk cId="238977462" sldId="2147480342"/>
            <ac:picMk id="18" creationId="{FF72940C-606A-5D25-7D01-3ECE7203ACE8}"/>
          </ac:picMkLst>
        </pc:picChg>
        <pc:picChg chg="del">
          <ac:chgData name="Cyprien ARETHUSE" userId="abd46b16-7bf0-4c01-a850-92fb83f61f27" providerId="ADAL" clId="{067C7D3F-9573-4B1A-A9B0-3005DA5BAAAF}" dt="2024-01-31T13:09:55.582" v="9770" actId="478"/>
          <ac:picMkLst>
            <pc:docMk/>
            <pc:sldMk cId="238977462" sldId="2147480342"/>
            <ac:picMk id="19" creationId="{96E7CD80-9A0B-F8A5-7F1C-BC7E81F1F857}"/>
          </ac:picMkLst>
        </pc:picChg>
        <pc:picChg chg="del">
          <ac:chgData name="Cyprien ARETHUSE" userId="abd46b16-7bf0-4c01-a850-92fb83f61f27" providerId="ADAL" clId="{067C7D3F-9573-4B1A-A9B0-3005DA5BAAAF}" dt="2024-01-31T13:09:55.582" v="9770" actId="478"/>
          <ac:picMkLst>
            <pc:docMk/>
            <pc:sldMk cId="238977462" sldId="2147480342"/>
            <ac:picMk id="20" creationId="{6D0D82C6-F57A-6DDA-E6DA-F1B5303E31FA}"/>
          </ac:picMkLst>
        </pc:picChg>
        <pc:picChg chg="del">
          <ac:chgData name="Cyprien ARETHUSE" userId="abd46b16-7bf0-4c01-a850-92fb83f61f27" providerId="ADAL" clId="{067C7D3F-9573-4B1A-A9B0-3005DA5BAAAF}" dt="2024-01-31T13:09:55.582" v="9770" actId="478"/>
          <ac:picMkLst>
            <pc:docMk/>
            <pc:sldMk cId="238977462" sldId="2147480342"/>
            <ac:picMk id="21" creationId="{20B7B674-3485-F894-F4A4-218DDF6F75D2}"/>
          </ac:picMkLst>
        </pc:picChg>
        <pc:picChg chg="del">
          <ac:chgData name="Cyprien ARETHUSE" userId="abd46b16-7bf0-4c01-a850-92fb83f61f27" providerId="ADAL" clId="{067C7D3F-9573-4B1A-A9B0-3005DA5BAAAF}" dt="2024-01-31T13:09:55.582" v="9770" actId="478"/>
          <ac:picMkLst>
            <pc:docMk/>
            <pc:sldMk cId="238977462" sldId="2147480342"/>
            <ac:picMk id="22" creationId="{DF8EA4DD-9B1D-7355-C7C6-6CAB68235BE6}"/>
          </ac:picMkLst>
        </pc:picChg>
        <pc:picChg chg="del">
          <ac:chgData name="Cyprien ARETHUSE" userId="abd46b16-7bf0-4c01-a850-92fb83f61f27" providerId="ADAL" clId="{067C7D3F-9573-4B1A-A9B0-3005DA5BAAAF}" dt="2024-01-31T13:09:55.582" v="9770" actId="478"/>
          <ac:picMkLst>
            <pc:docMk/>
            <pc:sldMk cId="238977462" sldId="2147480342"/>
            <ac:picMk id="23" creationId="{D9CFC8CB-BD0C-5023-D996-B475FCB04B5A}"/>
          </ac:picMkLst>
        </pc:picChg>
        <pc:picChg chg="add mod">
          <ac:chgData name="Cyprien ARETHUSE" userId="abd46b16-7bf0-4c01-a850-92fb83f61f27" providerId="ADAL" clId="{067C7D3F-9573-4B1A-A9B0-3005DA5BAAAF}" dt="2024-01-31T13:10:02.267" v="9771"/>
          <ac:picMkLst>
            <pc:docMk/>
            <pc:sldMk cId="238977462" sldId="2147480342"/>
            <ac:picMk id="28" creationId="{087F9EC0-97D8-3978-8291-B252CA463C51}"/>
          </ac:picMkLst>
        </pc:picChg>
        <pc:picChg chg="add mod">
          <ac:chgData name="Cyprien ARETHUSE" userId="abd46b16-7bf0-4c01-a850-92fb83f61f27" providerId="ADAL" clId="{067C7D3F-9573-4B1A-A9B0-3005DA5BAAAF}" dt="2024-01-31T13:10:02.267" v="9771"/>
          <ac:picMkLst>
            <pc:docMk/>
            <pc:sldMk cId="238977462" sldId="2147480342"/>
            <ac:picMk id="29" creationId="{CF77B0DE-8330-047E-D7CA-2717639E10FE}"/>
          </ac:picMkLst>
        </pc:picChg>
        <pc:picChg chg="add mod">
          <ac:chgData name="Cyprien ARETHUSE" userId="abd46b16-7bf0-4c01-a850-92fb83f61f27" providerId="ADAL" clId="{067C7D3F-9573-4B1A-A9B0-3005DA5BAAAF}" dt="2024-01-31T13:10:02.267" v="9771"/>
          <ac:picMkLst>
            <pc:docMk/>
            <pc:sldMk cId="238977462" sldId="2147480342"/>
            <ac:picMk id="34" creationId="{3A48C875-E4C2-1C4E-8DF5-E27C36B09B1E}"/>
          </ac:picMkLst>
        </pc:picChg>
        <pc:picChg chg="add mod">
          <ac:chgData name="Cyprien ARETHUSE" userId="abd46b16-7bf0-4c01-a850-92fb83f61f27" providerId="ADAL" clId="{067C7D3F-9573-4B1A-A9B0-3005DA5BAAAF}" dt="2024-01-31T13:10:02.267" v="9771"/>
          <ac:picMkLst>
            <pc:docMk/>
            <pc:sldMk cId="238977462" sldId="2147480342"/>
            <ac:picMk id="35" creationId="{CE281B42-B0A0-E6E0-66B7-EFCC367A8A2C}"/>
          </ac:picMkLst>
        </pc:picChg>
        <pc:picChg chg="add mod">
          <ac:chgData name="Cyprien ARETHUSE" userId="abd46b16-7bf0-4c01-a850-92fb83f61f27" providerId="ADAL" clId="{067C7D3F-9573-4B1A-A9B0-3005DA5BAAAF}" dt="2024-01-31T13:10:02.267" v="9771"/>
          <ac:picMkLst>
            <pc:docMk/>
            <pc:sldMk cId="238977462" sldId="2147480342"/>
            <ac:picMk id="36" creationId="{EA855E7C-C480-D71D-34C3-A55F12E98BB2}"/>
          </ac:picMkLst>
        </pc:picChg>
        <pc:picChg chg="mod">
          <ac:chgData name="Cyprien ARETHUSE" userId="abd46b16-7bf0-4c01-a850-92fb83f61f27" providerId="ADAL" clId="{067C7D3F-9573-4B1A-A9B0-3005DA5BAAAF}" dt="2024-01-31T13:10:02.267" v="9771"/>
          <ac:picMkLst>
            <pc:docMk/>
            <pc:sldMk cId="238977462" sldId="2147480342"/>
            <ac:picMk id="40" creationId="{B2D2D225-721A-B7FC-464F-D9892FCA4B4A}"/>
          </ac:picMkLst>
        </pc:picChg>
        <pc:picChg chg="add mod">
          <ac:chgData name="Cyprien ARETHUSE" userId="abd46b16-7bf0-4c01-a850-92fb83f61f27" providerId="ADAL" clId="{067C7D3F-9573-4B1A-A9B0-3005DA5BAAAF}" dt="2024-01-31T13:10:02.267" v="9771"/>
          <ac:picMkLst>
            <pc:docMk/>
            <pc:sldMk cId="238977462" sldId="2147480342"/>
            <ac:picMk id="57" creationId="{93462FCE-91F5-D1C1-8E47-AF9B94A63D0D}"/>
          </ac:picMkLst>
        </pc:picChg>
        <pc:picChg chg="add mod">
          <ac:chgData name="Cyprien ARETHUSE" userId="abd46b16-7bf0-4c01-a850-92fb83f61f27" providerId="ADAL" clId="{067C7D3F-9573-4B1A-A9B0-3005DA5BAAAF}" dt="2024-01-31T13:10:02.267" v="9771"/>
          <ac:picMkLst>
            <pc:docMk/>
            <pc:sldMk cId="238977462" sldId="2147480342"/>
            <ac:picMk id="58" creationId="{B2FEFEC9-8C68-511B-8011-DB4B6D94AA43}"/>
          </ac:picMkLst>
        </pc:picChg>
        <pc:picChg chg="add mod">
          <ac:chgData name="Cyprien ARETHUSE" userId="abd46b16-7bf0-4c01-a850-92fb83f61f27" providerId="ADAL" clId="{067C7D3F-9573-4B1A-A9B0-3005DA5BAAAF}" dt="2024-01-31T13:10:02.267" v="9771"/>
          <ac:picMkLst>
            <pc:docMk/>
            <pc:sldMk cId="238977462" sldId="2147480342"/>
            <ac:picMk id="59" creationId="{2CE8E94F-6CD8-EC3C-19EC-FA18A882F6B5}"/>
          </ac:picMkLst>
        </pc:picChg>
        <pc:picChg chg="add mod">
          <ac:chgData name="Cyprien ARETHUSE" userId="abd46b16-7bf0-4c01-a850-92fb83f61f27" providerId="ADAL" clId="{067C7D3F-9573-4B1A-A9B0-3005DA5BAAAF}" dt="2024-01-31T13:10:02.267" v="9771"/>
          <ac:picMkLst>
            <pc:docMk/>
            <pc:sldMk cId="238977462" sldId="2147480342"/>
            <ac:picMk id="60" creationId="{56B6A7EA-42AC-99D6-6EBC-30C195B111F4}"/>
          </ac:picMkLst>
        </pc:picChg>
        <pc:picChg chg="add mod">
          <ac:chgData name="Cyprien ARETHUSE" userId="abd46b16-7bf0-4c01-a850-92fb83f61f27" providerId="ADAL" clId="{067C7D3F-9573-4B1A-A9B0-3005DA5BAAAF}" dt="2024-01-31T13:10:02.267" v="9771"/>
          <ac:picMkLst>
            <pc:docMk/>
            <pc:sldMk cId="238977462" sldId="2147480342"/>
            <ac:picMk id="61" creationId="{960185D0-F4A4-3B28-E98E-6ABB048FA0B2}"/>
          </ac:picMkLst>
        </pc:picChg>
        <pc:picChg chg="add mod">
          <ac:chgData name="Cyprien ARETHUSE" userId="abd46b16-7bf0-4c01-a850-92fb83f61f27" providerId="ADAL" clId="{067C7D3F-9573-4B1A-A9B0-3005DA5BAAAF}" dt="2024-01-31T13:10:02.267" v="9771"/>
          <ac:picMkLst>
            <pc:docMk/>
            <pc:sldMk cId="238977462" sldId="2147480342"/>
            <ac:picMk id="62" creationId="{B16EC601-010B-59D6-54B1-ECF314D267C9}"/>
          </ac:picMkLst>
        </pc:picChg>
        <pc:picChg chg="add mod">
          <ac:chgData name="Cyprien ARETHUSE" userId="abd46b16-7bf0-4c01-a850-92fb83f61f27" providerId="ADAL" clId="{067C7D3F-9573-4B1A-A9B0-3005DA5BAAAF}" dt="2024-01-31T13:10:02.267" v="9771"/>
          <ac:picMkLst>
            <pc:docMk/>
            <pc:sldMk cId="238977462" sldId="2147480342"/>
            <ac:picMk id="63" creationId="{5C41CB42-814D-8B43-FDC6-146AB4CEB0E9}"/>
          </ac:picMkLst>
        </pc:picChg>
        <pc:picChg chg="add mod">
          <ac:chgData name="Cyprien ARETHUSE" userId="abd46b16-7bf0-4c01-a850-92fb83f61f27" providerId="ADAL" clId="{067C7D3F-9573-4B1A-A9B0-3005DA5BAAAF}" dt="2024-01-31T13:10:02.267" v="9771"/>
          <ac:picMkLst>
            <pc:docMk/>
            <pc:sldMk cId="238977462" sldId="2147480342"/>
            <ac:picMk id="64" creationId="{B13F7118-48C9-FE5D-BC16-956CFFCB2775}"/>
          </ac:picMkLst>
        </pc:picChg>
        <pc:picChg chg="add mod">
          <ac:chgData name="Cyprien ARETHUSE" userId="abd46b16-7bf0-4c01-a850-92fb83f61f27" providerId="ADAL" clId="{067C7D3F-9573-4B1A-A9B0-3005DA5BAAAF}" dt="2024-01-31T13:10:02.267" v="9771"/>
          <ac:picMkLst>
            <pc:docMk/>
            <pc:sldMk cId="238977462" sldId="2147480342"/>
            <ac:picMk id="65" creationId="{C7BBE20F-C9AC-1FB1-5384-E98B1049DCAC}"/>
          </ac:picMkLst>
        </pc:picChg>
        <pc:picChg chg="mod">
          <ac:chgData name="Cyprien ARETHUSE" userId="abd46b16-7bf0-4c01-a850-92fb83f61f27" providerId="ADAL" clId="{067C7D3F-9573-4B1A-A9B0-3005DA5BAAAF}" dt="2024-01-31T13:10:02.267" v="9771"/>
          <ac:picMkLst>
            <pc:docMk/>
            <pc:sldMk cId="238977462" sldId="2147480342"/>
            <ac:picMk id="68" creationId="{A79064EE-E1E9-E113-812A-29D4C77001B8}"/>
          </ac:picMkLst>
        </pc:picChg>
        <pc:picChg chg="mod">
          <ac:chgData name="Cyprien ARETHUSE" userId="abd46b16-7bf0-4c01-a850-92fb83f61f27" providerId="ADAL" clId="{067C7D3F-9573-4B1A-A9B0-3005DA5BAAAF}" dt="2024-01-31T13:10:02.267" v="9771"/>
          <ac:picMkLst>
            <pc:docMk/>
            <pc:sldMk cId="238977462" sldId="2147480342"/>
            <ac:picMk id="75" creationId="{DBCBE49D-C21C-0D14-A693-898D6641D3BF}"/>
          </ac:picMkLst>
        </pc:picChg>
        <pc:picChg chg="add mod">
          <ac:chgData name="Cyprien ARETHUSE" userId="abd46b16-7bf0-4c01-a850-92fb83f61f27" providerId="ADAL" clId="{067C7D3F-9573-4B1A-A9B0-3005DA5BAAAF}" dt="2024-01-31T13:10:02.267" v="9771"/>
          <ac:picMkLst>
            <pc:docMk/>
            <pc:sldMk cId="238977462" sldId="2147480342"/>
            <ac:picMk id="80" creationId="{64689B17-7283-59F9-0781-BE752A7C92FB}"/>
          </ac:picMkLst>
        </pc:picChg>
        <pc:picChg chg="add mod">
          <ac:chgData name="Cyprien ARETHUSE" userId="abd46b16-7bf0-4c01-a850-92fb83f61f27" providerId="ADAL" clId="{067C7D3F-9573-4B1A-A9B0-3005DA5BAAAF}" dt="2024-01-31T13:10:12.379" v="9774"/>
          <ac:picMkLst>
            <pc:docMk/>
            <pc:sldMk cId="238977462" sldId="2147480342"/>
            <ac:picMk id="86" creationId="{6B812F91-A5A8-26A6-82CC-6BE92320676A}"/>
          </ac:picMkLst>
        </pc:picChg>
        <pc:picChg chg="add mod">
          <ac:chgData name="Cyprien ARETHUSE" userId="abd46b16-7bf0-4c01-a850-92fb83f61f27" providerId="ADAL" clId="{067C7D3F-9573-4B1A-A9B0-3005DA5BAAAF}" dt="2024-01-31T13:10:12.379" v="9774"/>
          <ac:picMkLst>
            <pc:docMk/>
            <pc:sldMk cId="238977462" sldId="2147480342"/>
            <ac:picMk id="87" creationId="{AB2017EE-862D-B0C6-12B8-195A91591E58}"/>
          </ac:picMkLst>
        </pc:picChg>
        <pc:picChg chg="add mod">
          <ac:chgData name="Cyprien ARETHUSE" userId="abd46b16-7bf0-4c01-a850-92fb83f61f27" providerId="ADAL" clId="{067C7D3F-9573-4B1A-A9B0-3005DA5BAAAF}" dt="2024-01-31T13:10:12.379" v="9774"/>
          <ac:picMkLst>
            <pc:docMk/>
            <pc:sldMk cId="238977462" sldId="2147480342"/>
            <ac:picMk id="92" creationId="{8A3A659B-4363-B46B-737F-B9D84C6C8BCE}"/>
          </ac:picMkLst>
        </pc:picChg>
        <pc:picChg chg="add mod">
          <ac:chgData name="Cyprien ARETHUSE" userId="abd46b16-7bf0-4c01-a850-92fb83f61f27" providerId="ADAL" clId="{067C7D3F-9573-4B1A-A9B0-3005DA5BAAAF}" dt="2024-01-31T13:10:12.379" v="9774"/>
          <ac:picMkLst>
            <pc:docMk/>
            <pc:sldMk cId="238977462" sldId="2147480342"/>
            <ac:picMk id="93" creationId="{530EEF16-AEAE-5813-7F9E-26D2E1803C37}"/>
          </ac:picMkLst>
        </pc:picChg>
        <pc:picChg chg="add mod">
          <ac:chgData name="Cyprien ARETHUSE" userId="abd46b16-7bf0-4c01-a850-92fb83f61f27" providerId="ADAL" clId="{067C7D3F-9573-4B1A-A9B0-3005DA5BAAAF}" dt="2024-01-31T13:10:12.379" v="9774"/>
          <ac:picMkLst>
            <pc:docMk/>
            <pc:sldMk cId="238977462" sldId="2147480342"/>
            <ac:picMk id="94" creationId="{7347567C-D3CE-58D6-FE7D-30FC1DCA3109}"/>
          </ac:picMkLst>
        </pc:picChg>
        <pc:picChg chg="mod">
          <ac:chgData name="Cyprien ARETHUSE" userId="abd46b16-7bf0-4c01-a850-92fb83f61f27" providerId="ADAL" clId="{067C7D3F-9573-4B1A-A9B0-3005DA5BAAAF}" dt="2024-02-01T11:14:51.172" v="12002" actId="1035"/>
          <ac:picMkLst>
            <pc:docMk/>
            <pc:sldMk cId="238977462" sldId="2147480342"/>
            <ac:picMk id="98" creationId="{69DB787D-A244-8BF4-A7C6-5B768067C4AA}"/>
          </ac:picMkLst>
        </pc:picChg>
        <pc:picChg chg="add mod">
          <ac:chgData name="Cyprien ARETHUSE" userId="abd46b16-7bf0-4c01-a850-92fb83f61f27" providerId="ADAL" clId="{067C7D3F-9573-4B1A-A9B0-3005DA5BAAAF}" dt="2024-02-01T11:14:51.172" v="12002" actId="1035"/>
          <ac:picMkLst>
            <pc:docMk/>
            <pc:sldMk cId="238977462" sldId="2147480342"/>
            <ac:picMk id="115" creationId="{15380C2E-BF87-EF44-DE17-7112795A47A7}"/>
          </ac:picMkLst>
        </pc:picChg>
        <pc:picChg chg="add mod">
          <ac:chgData name="Cyprien ARETHUSE" userId="abd46b16-7bf0-4c01-a850-92fb83f61f27" providerId="ADAL" clId="{067C7D3F-9573-4B1A-A9B0-3005DA5BAAAF}" dt="2024-02-01T11:14:51.172" v="12002" actId="1035"/>
          <ac:picMkLst>
            <pc:docMk/>
            <pc:sldMk cId="238977462" sldId="2147480342"/>
            <ac:picMk id="116" creationId="{97EE9704-2C53-EBE6-3478-990B8975099C}"/>
          </ac:picMkLst>
        </pc:picChg>
        <pc:picChg chg="add mod">
          <ac:chgData name="Cyprien ARETHUSE" userId="abd46b16-7bf0-4c01-a850-92fb83f61f27" providerId="ADAL" clId="{067C7D3F-9573-4B1A-A9B0-3005DA5BAAAF}" dt="2024-02-01T11:14:51.172" v="12002" actId="1035"/>
          <ac:picMkLst>
            <pc:docMk/>
            <pc:sldMk cId="238977462" sldId="2147480342"/>
            <ac:picMk id="117" creationId="{5A0EF85B-DBBA-2500-5F56-4DB00F2EAC5B}"/>
          </ac:picMkLst>
        </pc:picChg>
        <pc:picChg chg="add mod">
          <ac:chgData name="Cyprien ARETHUSE" userId="abd46b16-7bf0-4c01-a850-92fb83f61f27" providerId="ADAL" clId="{067C7D3F-9573-4B1A-A9B0-3005DA5BAAAF}" dt="2024-02-01T11:14:51.172" v="12002" actId="1035"/>
          <ac:picMkLst>
            <pc:docMk/>
            <pc:sldMk cId="238977462" sldId="2147480342"/>
            <ac:picMk id="118" creationId="{0191458F-1FCD-8A74-9016-F94ED0AD2852}"/>
          </ac:picMkLst>
        </pc:picChg>
        <pc:picChg chg="add mod">
          <ac:chgData name="Cyprien ARETHUSE" userId="abd46b16-7bf0-4c01-a850-92fb83f61f27" providerId="ADAL" clId="{067C7D3F-9573-4B1A-A9B0-3005DA5BAAAF}" dt="2024-02-01T11:14:51.172" v="12002" actId="1035"/>
          <ac:picMkLst>
            <pc:docMk/>
            <pc:sldMk cId="238977462" sldId="2147480342"/>
            <ac:picMk id="119" creationId="{A9935467-7621-BE28-1DB7-321BAA8FFA16}"/>
          </ac:picMkLst>
        </pc:picChg>
        <pc:picChg chg="add mod">
          <ac:chgData name="Cyprien ARETHUSE" userId="abd46b16-7bf0-4c01-a850-92fb83f61f27" providerId="ADAL" clId="{067C7D3F-9573-4B1A-A9B0-3005DA5BAAAF}" dt="2024-01-31T13:10:12.379" v="9774"/>
          <ac:picMkLst>
            <pc:docMk/>
            <pc:sldMk cId="238977462" sldId="2147480342"/>
            <ac:picMk id="120" creationId="{9291C640-B727-1195-3DFD-B759C83E0D0D}"/>
          </ac:picMkLst>
        </pc:picChg>
        <pc:picChg chg="add mod">
          <ac:chgData name="Cyprien ARETHUSE" userId="abd46b16-7bf0-4c01-a850-92fb83f61f27" providerId="ADAL" clId="{067C7D3F-9573-4B1A-A9B0-3005DA5BAAAF}" dt="2024-01-31T13:10:12.379" v="9774"/>
          <ac:picMkLst>
            <pc:docMk/>
            <pc:sldMk cId="238977462" sldId="2147480342"/>
            <ac:picMk id="121" creationId="{D1997904-A8A6-4926-6A13-A5FCAC6C688B}"/>
          </ac:picMkLst>
        </pc:picChg>
        <pc:picChg chg="add mod">
          <ac:chgData name="Cyprien ARETHUSE" userId="abd46b16-7bf0-4c01-a850-92fb83f61f27" providerId="ADAL" clId="{067C7D3F-9573-4B1A-A9B0-3005DA5BAAAF}" dt="2024-01-31T13:10:12.379" v="9774"/>
          <ac:picMkLst>
            <pc:docMk/>
            <pc:sldMk cId="238977462" sldId="2147480342"/>
            <ac:picMk id="122" creationId="{544FA759-7D99-0225-44FE-A3182B1B54D3}"/>
          </ac:picMkLst>
        </pc:picChg>
        <pc:picChg chg="add mod">
          <ac:chgData name="Cyprien ARETHUSE" userId="abd46b16-7bf0-4c01-a850-92fb83f61f27" providerId="ADAL" clId="{067C7D3F-9573-4B1A-A9B0-3005DA5BAAAF}" dt="2024-01-31T13:10:12.379" v="9774"/>
          <ac:picMkLst>
            <pc:docMk/>
            <pc:sldMk cId="238977462" sldId="2147480342"/>
            <ac:picMk id="123" creationId="{28D4EE11-D63D-846A-724D-093243C13F32}"/>
          </ac:picMkLst>
        </pc:picChg>
        <pc:picChg chg="mod">
          <ac:chgData name="Cyprien ARETHUSE" userId="abd46b16-7bf0-4c01-a850-92fb83f61f27" providerId="ADAL" clId="{067C7D3F-9573-4B1A-A9B0-3005DA5BAAAF}" dt="2024-01-31T13:10:12.379" v="9774"/>
          <ac:picMkLst>
            <pc:docMk/>
            <pc:sldMk cId="238977462" sldId="2147480342"/>
            <ac:picMk id="126" creationId="{3AC33575-7C3D-2C93-3BA6-45602F1E402A}"/>
          </ac:picMkLst>
        </pc:picChg>
        <pc:picChg chg="mod">
          <ac:chgData name="Cyprien ARETHUSE" userId="abd46b16-7bf0-4c01-a850-92fb83f61f27" providerId="ADAL" clId="{067C7D3F-9573-4B1A-A9B0-3005DA5BAAAF}" dt="2024-01-31T13:10:12.379" v="9774"/>
          <ac:picMkLst>
            <pc:docMk/>
            <pc:sldMk cId="238977462" sldId="2147480342"/>
            <ac:picMk id="133" creationId="{E7B23EFD-A0BE-8818-7F2A-64ED81187D8B}"/>
          </ac:picMkLst>
        </pc:picChg>
        <pc:picChg chg="add mod">
          <ac:chgData name="Cyprien ARETHUSE" userId="abd46b16-7bf0-4c01-a850-92fb83f61f27" providerId="ADAL" clId="{067C7D3F-9573-4B1A-A9B0-3005DA5BAAAF}" dt="2024-01-31T13:10:12.379" v="9774"/>
          <ac:picMkLst>
            <pc:docMk/>
            <pc:sldMk cId="238977462" sldId="2147480342"/>
            <ac:picMk id="138" creationId="{4DC75ABE-AE93-2E39-DA64-D0FD7AD9114C}"/>
          </ac:picMkLst>
        </pc:picChg>
      </pc:sldChg>
      <pc:sldChg chg="addSp modSp add mod ord">
        <pc:chgData name="Cyprien ARETHUSE" userId="abd46b16-7bf0-4c01-a850-92fb83f61f27" providerId="ADAL" clId="{067C7D3F-9573-4B1A-A9B0-3005DA5BAAAF}" dt="2024-02-01T11:02:13.589" v="11808"/>
        <pc:sldMkLst>
          <pc:docMk/>
          <pc:sldMk cId="3529778808" sldId="2147480343"/>
        </pc:sldMkLst>
        <pc:spChg chg="add mod">
          <ac:chgData name="Cyprien ARETHUSE" userId="abd46b16-7bf0-4c01-a850-92fb83f61f27" providerId="ADAL" clId="{067C7D3F-9573-4B1A-A9B0-3005DA5BAAAF}" dt="2024-01-31T13:10:22.339" v="9776"/>
          <ac:spMkLst>
            <pc:docMk/>
            <pc:sldMk cId="3529778808" sldId="2147480343"/>
            <ac:spMk id="2" creationId="{4A9441C6-1AC1-7F6F-9251-32775F54BB3E}"/>
          </ac:spMkLst>
        </pc:spChg>
        <pc:graphicFrameChg chg="add mod">
          <ac:chgData name="Cyprien ARETHUSE" userId="abd46b16-7bf0-4c01-a850-92fb83f61f27" providerId="ADAL" clId="{067C7D3F-9573-4B1A-A9B0-3005DA5BAAAF}" dt="2024-01-31T13:10:22.339" v="9776"/>
          <ac:graphicFrameMkLst>
            <pc:docMk/>
            <pc:sldMk cId="3529778808" sldId="2147480343"/>
            <ac:graphicFrameMk id="10" creationId="{DFFA0B0D-61C2-3FA8-0649-BD15214FC5AA}"/>
          </ac:graphicFrameMkLst>
        </pc:graphicFrameChg>
        <pc:picChg chg="add mod">
          <ac:chgData name="Cyprien ARETHUSE" userId="abd46b16-7bf0-4c01-a850-92fb83f61f27" providerId="ADAL" clId="{067C7D3F-9573-4B1A-A9B0-3005DA5BAAAF}" dt="2024-01-31T13:10:22.339" v="9776"/>
          <ac:picMkLst>
            <pc:docMk/>
            <pc:sldMk cId="3529778808" sldId="2147480343"/>
            <ac:picMk id="3" creationId="{87C5D7A7-B55B-5464-ACDC-E52EFAF0E1C0}"/>
          </ac:picMkLst>
        </pc:picChg>
        <pc:picChg chg="add mod">
          <ac:chgData name="Cyprien ARETHUSE" userId="abd46b16-7bf0-4c01-a850-92fb83f61f27" providerId="ADAL" clId="{067C7D3F-9573-4B1A-A9B0-3005DA5BAAAF}" dt="2024-01-31T13:10:22.339" v="9776"/>
          <ac:picMkLst>
            <pc:docMk/>
            <pc:sldMk cId="3529778808" sldId="2147480343"/>
            <ac:picMk id="4" creationId="{5981218B-4691-C138-1E8F-DA91E8D715A4}"/>
          </ac:picMkLst>
        </pc:picChg>
        <pc:picChg chg="add mod">
          <ac:chgData name="Cyprien ARETHUSE" userId="abd46b16-7bf0-4c01-a850-92fb83f61f27" providerId="ADAL" clId="{067C7D3F-9573-4B1A-A9B0-3005DA5BAAAF}" dt="2024-01-31T13:10:22.339" v="9776"/>
          <ac:picMkLst>
            <pc:docMk/>
            <pc:sldMk cId="3529778808" sldId="2147480343"/>
            <ac:picMk id="5" creationId="{0A1B4C17-3EA9-619E-B6C1-F115A2DA036E}"/>
          </ac:picMkLst>
        </pc:picChg>
        <pc:picChg chg="add mod">
          <ac:chgData name="Cyprien ARETHUSE" userId="abd46b16-7bf0-4c01-a850-92fb83f61f27" providerId="ADAL" clId="{067C7D3F-9573-4B1A-A9B0-3005DA5BAAAF}" dt="2024-01-31T13:13:58.700" v="9809" actId="1036"/>
          <ac:picMkLst>
            <pc:docMk/>
            <pc:sldMk cId="3529778808" sldId="2147480343"/>
            <ac:picMk id="6" creationId="{590D6E12-80E9-9247-A234-7087908DC4E3}"/>
          </ac:picMkLst>
        </pc:picChg>
        <pc:picChg chg="add mod">
          <ac:chgData name="Cyprien ARETHUSE" userId="abd46b16-7bf0-4c01-a850-92fb83f61f27" providerId="ADAL" clId="{067C7D3F-9573-4B1A-A9B0-3005DA5BAAAF}" dt="2024-01-31T13:13:58.700" v="9809" actId="1036"/>
          <ac:picMkLst>
            <pc:docMk/>
            <pc:sldMk cId="3529778808" sldId="2147480343"/>
            <ac:picMk id="7" creationId="{58669771-4D51-261E-A7C2-62118C96A2AB}"/>
          </ac:picMkLst>
        </pc:picChg>
        <pc:picChg chg="add mod">
          <ac:chgData name="Cyprien ARETHUSE" userId="abd46b16-7bf0-4c01-a850-92fb83f61f27" providerId="ADAL" clId="{067C7D3F-9573-4B1A-A9B0-3005DA5BAAAF}" dt="2024-01-31T13:13:58.700" v="9809" actId="1036"/>
          <ac:picMkLst>
            <pc:docMk/>
            <pc:sldMk cId="3529778808" sldId="2147480343"/>
            <ac:picMk id="8" creationId="{D84A0C62-534D-9822-12DF-14441611F40B}"/>
          </ac:picMkLst>
        </pc:picChg>
        <pc:picChg chg="add mod">
          <ac:chgData name="Cyprien ARETHUSE" userId="abd46b16-7bf0-4c01-a850-92fb83f61f27" providerId="ADAL" clId="{067C7D3F-9573-4B1A-A9B0-3005DA5BAAAF}" dt="2024-01-31T13:13:58.700" v="9809" actId="1036"/>
          <ac:picMkLst>
            <pc:docMk/>
            <pc:sldMk cId="3529778808" sldId="2147480343"/>
            <ac:picMk id="9" creationId="{4B306FD5-6A30-031F-1486-4E6B5F97CE5D}"/>
          </ac:picMkLst>
        </pc:picChg>
        <pc:picChg chg="add mod">
          <ac:chgData name="Cyprien ARETHUSE" userId="abd46b16-7bf0-4c01-a850-92fb83f61f27" providerId="ADAL" clId="{067C7D3F-9573-4B1A-A9B0-3005DA5BAAAF}" dt="2024-01-31T13:10:22.339" v="9776"/>
          <ac:picMkLst>
            <pc:docMk/>
            <pc:sldMk cId="3529778808" sldId="2147480343"/>
            <ac:picMk id="11" creationId="{1D69CE77-5E97-F2FB-7CD5-7D3F1448DE9D}"/>
          </ac:picMkLst>
        </pc:picChg>
        <pc:picChg chg="add mod">
          <ac:chgData name="Cyprien ARETHUSE" userId="abd46b16-7bf0-4c01-a850-92fb83f61f27" providerId="ADAL" clId="{067C7D3F-9573-4B1A-A9B0-3005DA5BAAAF}" dt="2024-01-31T13:10:22.339" v="9776"/>
          <ac:picMkLst>
            <pc:docMk/>
            <pc:sldMk cId="3529778808" sldId="2147480343"/>
            <ac:picMk id="12" creationId="{A4EADE26-1D28-0B60-06B5-0E86C2336860}"/>
          </ac:picMkLst>
        </pc:picChg>
        <pc:picChg chg="add mod">
          <ac:chgData name="Cyprien ARETHUSE" userId="abd46b16-7bf0-4c01-a850-92fb83f61f27" providerId="ADAL" clId="{067C7D3F-9573-4B1A-A9B0-3005DA5BAAAF}" dt="2024-01-31T13:10:22.339" v="9776"/>
          <ac:picMkLst>
            <pc:docMk/>
            <pc:sldMk cId="3529778808" sldId="2147480343"/>
            <ac:picMk id="13" creationId="{A3D552C3-BE13-65D1-1FBD-510BBD2B7E7E}"/>
          </ac:picMkLst>
        </pc:picChg>
        <pc:picChg chg="add mod">
          <ac:chgData name="Cyprien ARETHUSE" userId="abd46b16-7bf0-4c01-a850-92fb83f61f27" providerId="ADAL" clId="{067C7D3F-9573-4B1A-A9B0-3005DA5BAAAF}" dt="2024-01-31T13:10:22.339" v="9776"/>
          <ac:picMkLst>
            <pc:docMk/>
            <pc:sldMk cId="3529778808" sldId="2147480343"/>
            <ac:picMk id="14" creationId="{08A72FB3-9BF4-62F4-7BD6-0020DD4BF840}"/>
          </ac:picMkLst>
        </pc:picChg>
        <pc:picChg chg="add mod">
          <ac:chgData name="Cyprien ARETHUSE" userId="abd46b16-7bf0-4c01-a850-92fb83f61f27" providerId="ADAL" clId="{067C7D3F-9573-4B1A-A9B0-3005DA5BAAAF}" dt="2024-01-31T13:13:58.700" v="9809" actId="1036"/>
          <ac:picMkLst>
            <pc:docMk/>
            <pc:sldMk cId="3529778808" sldId="2147480343"/>
            <ac:picMk id="15" creationId="{842B0F4B-6BAC-EBFD-5CE1-81F2BC1AFFDF}"/>
          </ac:picMkLst>
        </pc:picChg>
        <pc:picChg chg="add mod">
          <ac:chgData name="Cyprien ARETHUSE" userId="abd46b16-7bf0-4c01-a850-92fb83f61f27" providerId="ADAL" clId="{067C7D3F-9573-4B1A-A9B0-3005DA5BAAAF}" dt="2024-01-31T13:13:58.700" v="9809" actId="1036"/>
          <ac:picMkLst>
            <pc:docMk/>
            <pc:sldMk cId="3529778808" sldId="2147480343"/>
            <ac:picMk id="16" creationId="{5983D937-E694-7CA6-417B-44F75046DD5E}"/>
          </ac:picMkLst>
        </pc:picChg>
        <pc:picChg chg="add mod">
          <ac:chgData name="Cyprien ARETHUSE" userId="abd46b16-7bf0-4c01-a850-92fb83f61f27" providerId="ADAL" clId="{067C7D3F-9573-4B1A-A9B0-3005DA5BAAAF}" dt="2024-01-31T13:13:58.700" v="9809" actId="1036"/>
          <ac:picMkLst>
            <pc:docMk/>
            <pc:sldMk cId="3529778808" sldId="2147480343"/>
            <ac:picMk id="17" creationId="{A8A9A64C-7BC5-60EC-0EB1-2CD1B3FAA4DA}"/>
          </ac:picMkLst>
        </pc:picChg>
        <pc:picChg chg="add mod">
          <ac:chgData name="Cyprien ARETHUSE" userId="abd46b16-7bf0-4c01-a850-92fb83f61f27" providerId="ADAL" clId="{067C7D3F-9573-4B1A-A9B0-3005DA5BAAAF}" dt="2024-01-31T13:13:58.700" v="9809" actId="1036"/>
          <ac:picMkLst>
            <pc:docMk/>
            <pc:sldMk cId="3529778808" sldId="2147480343"/>
            <ac:picMk id="18" creationId="{69811AD4-8353-7641-CA46-C697FDCA189A}"/>
          </ac:picMkLst>
        </pc:picChg>
        <pc:picChg chg="add mod">
          <ac:chgData name="Cyprien ARETHUSE" userId="abd46b16-7bf0-4c01-a850-92fb83f61f27" providerId="ADAL" clId="{067C7D3F-9573-4B1A-A9B0-3005DA5BAAAF}" dt="2024-01-31T13:10:22.339" v="9776"/>
          <ac:picMkLst>
            <pc:docMk/>
            <pc:sldMk cId="3529778808" sldId="2147480343"/>
            <ac:picMk id="19" creationId="{17C72E0D-F616-9DAA-4B74-60B056874551}"/>
          </ac:picMkLst>
        </pc:picChg>
        <pc:picChg chg="add mod">
          <ac:chgData name="Cyprien ARETHUSE" userId="abd46b16-7bf0-4c01-a850-92fb83f61f27" providerId="ADAL" clId="{067C7D3F-9573-4B1A-A9B0-3005DA5BAAAF}" dt="2024-01-31T13:10:22.339" v="9776"/>
          <ac:picMkLst>
            <pc:docMk/>
            <pc:sldMk cId="3529778808" sldId="2147480343"/>
            <ac:picMk id="20" creationId="{727859E8-4F73-A6A4-E505-C315E160C0F8}"/>
          </ac:picMkLst>
        </pc:picChg>
      </pc:sldChg>
      <pc:sldChg chg="addSp modSp add mod ord">
        <pc:chgData name="Cyprien ARETHUSE" userId="abd46b16-7bf0-4c01-a850-92fb83f61f27" providerId="ADAL" clId="{067C7D3F-9573-4B1A-A9B0-3005DA5BAAAF}" dt="2024-02-02T16:53:49.160" v="19517" actId="1076"/>
        <pc:sldMkLst>
          <pc:docMk/>
          <pc:sldMk cId="3444909878" sldId="2147480344"/>
        </pc:sldMkLst>
        <pc:spChg chg="add mod">
          <ac:chgData name="Cyprien ARETHUSE" userId="abd46b16-7bf0-4c01-a850-92fb83f61f27" providerId="ADAL" clId="{067C7D3F-9573-4B1A-A9B0-3005DA5BAAAF}" dt="2024-02-01T07:27:34.363" v="10988" actId="404"/>
          <ac:spMkLst>
            <pc:docMk/>
            <pc:sldMk cId="3444909878" sldId="2147480344"/>
            <ac:spMk id="2" creationId="{06AF64C0-132E-B313-A81E-E87E7D447EBD}"/>
          </ac:spMkLst>
        </pc:spChg>
        <pc:spChg chg="add mod">
          <ac:chgData name="Cyprien ARETHUSE" userId="abd46b16-7bf0-4c01-a850-92fb83f61f27" providerId="ADAL" clId="{067C7D3F-9573-4B1A-A9B0-3005DA5BAAAF}" dt="2024-02-02T14:57:55.082" v="18213" actId="207"/>
          <ac:spMkLst>
            <pc:docMk/>
            <pc:sldMk cId="3444909878" sldId="2147480344"/>
            <ac:spMk id="3" creationId="{AF7B4F25-6666-55C3-1103-AFD1986FBD0D}"/>
          </ac:spMkLst>
        </pc:spChg>
        <pc:spChg chg="mod">
          <ac:chgData name="Cyprien ARETHUSE" userId="abd46b16-7bf0-4c01-a850-92fb83f61f27" providerId="ADAL" clId="{067C7D3F-9573-4B1A-A9B0-3005DA5BAAAF}" dt="2024-01-31T13:10:34.251" v="9779"/>
          <ac:spMkLst>
            <pc:docMk/>
            <pc:sldMk cId="3444909878" sldId="2147480344"/>
            <ac:spMk id="11" creationId="{03A9D78A-ADEF-A018-E2D4-8B6F9A53B81E}"/>
          </ac:spMkLst>
        </pc:spChg>
        <pc:spChg chg="mod">
          <ac:chgData name="Cyprien ARETHUSE" userId="abd46b16-7bf0-4c01-a850-92fb83f61f27" providerId="ADAL" clId="{067C7D3F-9573-4B1A-A9B0-3005DA5BAAAF}" dt="2024-01-31T13:10:34.251" v="9779"/>
          <ac:spMkLst>
            <pc:docMk/>
            <pc:sldMk cId="3444909878" sldId="2147480344"/>
            <ac:spMk id="12" creationId="{70A9CE89-825E-61CD-DAE7-2BBF268EA286}"/>
          </ac:spMkLst>
        </pc:spChg>
        <pc:spChg chg="mod">
          <ac:chgData name="Cyprien ARETHUSE" userId="abd46b16-7bf0-4c01-a850-92fb83f61f27" providerId="ADAL" clId="{067C7D3F-9573-4B1A-A9B0-3005DA5BAAAF}" dt="2024-01-31T13:10:34.251" v="9779"/>
          <ac:spMkLst>
            <pc:docMk/>
            <pc:sldMk cId="3444909878" sldId="2147480344"/>
            <ac:spMk id="13" creationId="{569E227F-E5DB-71AD-12D5-3DD1527D3F93}"/>
          </ac:spMkLst>
        </pc:spChg>
        <pc:spChg chg="mod">
          <ac:chgData name="Cyprien ARETHUSE" userId="abd46b16-7bf0-4c01-a850-92fb83f61f27" providerId="ADAL" clId="{067C7D3F-9573-4B1A-A9B0-3005DA5BAAAF}" dt="2024-01-31T13:10:34.251" v="9779"/>
          <ac:spMkLst>
            <pc:docMk/>
            <pc:sldMk cId="3444909878" sldId="2147480344"/>
            <ac:spMk id="14" creationId="{0547F16B-4B78-97E9-7F44-6BC30887EE18}"/>
          </ac:spMkLst>
        </pc:spChg>
        <pc:spChg chg="mod">
          <ac:chgData name="Cyprien ARETHUSE" userId="abd46b16-7bf0-4c01-a850-92fb83f61f27" providerId="ADAL" clId="{067C7D3F-9573-4B1A-A9B0-3005DA5BAAAF}" dt="2024-01-31T13:10:34.251" v="9779"/>
          <ac:spMkLst>
            <pc:docMk/>
            <pc:sldMk cId="3444909878" sldId="2147480344"/>
            <ac:spMk id="15" creationId="{83BA670C-CD63-CE91-33A2-FD21A4DB66E6}"/>
          </ac:spMkLst>
        </pc:spChg>
        <pc:spChg chg="mod">
          <ac:chgData name="Cyprien ARETHUSE" userId="abd46b16-7bf0-4c01-a850-92fb83f61f27" providerId="ADAL" clId="{067C7D3F-9573-4B1A-A9B0-3005DA5BAAAF}" dt="2024-01-31T13:10:34.251" v="9779"/>
          <ac:spMkLst>
            <pc:docMk/>
            <pc:sldMk cId="3444909878" sldId="2147480344"/>
            <ac:spMk id="20" creationId="{9E39A1B4-6BC3-BFE1-5564-2CE6490AB39D}"/>
          </ac:spMkLst>
        </pc:spChg>
        <pc:spChg chg="mod">
          <ac:chgData name="Cyprien ARETHUSE" userId="abd46b16-7bf0-4c01-a850-92fb83f61f27" providerId="ADAL" clId="{067C7D3F-9573-4B1A-A9B0-3005DA5BAAAF}" dt="2024-01-31T13:10:34.251" v="9779"/>
          <ac:spMkLst>
            <pc:docMk/>
            <pc:sldMk cId="3444909878" sldId="2147480344"/>
            <ac:spMk id="21" creationId="{ABA524B8-C5DF-AB3B-5618-E559B1E46F82}"/>
          </ac:spMkLst>
        </pc:spChg>
        <pc:spChg chg="mod">
          <ac:chgData name="Cyprien ARETHUSE" userId="abd46b16-7bf0-4c01-a850-92fb83f61f27" providerId="ADAL" clId="{067C7D3F-9573-4B1A-A9B0-3005DA5BAAAF}" dt="2024-01-31T13:10:34.251" v="9779"/>
          <ac:spMkLst>
            <pc:docMk/>
            <pc:sldMk cId="3444909878" sldId="2147480344"/>
            <ac:spMk id="22" creationId="{C010D907-7061-64EB-EE76-E30EC439D571}"/>
          </ac:spMkLst>
        </pc:spChg>
        <pc:spChg chg="mod">
          <ac:chgData name="Cyprien ARETHUSE" userId="abd46b16-7bf0-4c01-a850-92fb83f61f27" providerId="ADAL" clId="{067C7D3F-9573-4B1A-A9B0-3005DA5BAAAF}" dt="2024-01-31T13:10:34.251" v="9779"/>
          <ac:spMkLst>
            <pc:docMk/>
            <pc:sldMk cId="3444909878" sldId="2147480344"/>
            <ac:spMk id="23" creationId="{4A43A475-292D-B547-BF51-8D66B242618F}"/>
          </ac:spMkLst>
        </pc:spChg>
        <pc:spChg chg="mod">
          <ac:chgData name="Cyprien ARETHUSE" userId="abd46b16-7bf0-4c01-a850-92fb83f61f27" providerId="ADAL" clId="{067C7D3F-9573-4B1A-A9B0-3005DA5BAAAF}" dt="2024-01-31T13:10:34.251" v="9779"/>
          <ac:spMkLst>
            <pc:docMk/>
            <pc:sldMk cId="3444909878" sldId="2147480344"/>
            <ac:spMk id="24" creationId="{7A3D1495-D888-126D-C95D-51D79E80A8D8}"/>
          </ac:spMkLst>
        </pc:spChg>
        <pc:grpChg chg="add mod">
          <ac:chgData name="Cyprien ARETHUSE" userId="abd46b16-7bf0-4c01-a850-92fb83f61f27" providerId="ADAL" clId="{067C7D3F-9573-4B1A-A9B0-3005DA5BAAAF}" dt="2024-01-31T13:10:34.251" v="9779"/>
          <ac:grpSpMkLst>
            <pc:docMk/>
            <pc:sldMk cId="3444909878" sldId="2147480344"/>
            <ac:grpSpMk id="6" creationId="{474CD609-AA93-F303-1150-E98C4185D389}"/>
          </ac:grpSpMkLst>
        </pc:grpChg>
        <pc:grpChg chg="add mod">
          <ac:chgData name="Cyprien ARETHUSE" userId="abd46b16-7bf0-4c01-a850-92fb83f61f27" providerId="ADAL" clId="{067C7D3F-9573-4B1A-A9B0-3005DA5BAAAF}" dt="2024-01-31T13:10:34.251" v="9779"/>
          <ac:grpSpMkLst>
            <pc:docMk/>
            <pc:sldMk cId="3444909878" sldId="2147480344"/>
            <ac:grpSpMk id="9" creationId="{F256AF7C-C984-566D-BEE4-0AFC1016C773}"/>
          </ac:grpSpMkLst>
        </pc:grpChg>
        <pc:grpChg chg="mod">
          <ac:chgData name="Cyprien ARETHUSE" userId="abd46b16-7bf0-4c01-a850-92fb83f61f27" providerId="ADAL" clId="{067C7D3F-9573-4B1A-A9B0-3005DA5BAAAF}" dt="2024-01-31T13:10:34.251" v="9779"/>
          <ac:grpSpMkLst>
            <pc:docMk/>
            <pc:sldMk cId="3444909878" sldId="2147480344"/>
            <ac:grpSpMk id="10" creationId="{8E1B16AC-BC9B-EA53-9B68-B627EFB28A58}"/>
          </ac:grpSpMkLst>
        </pc:grpChg>
        <pc:grpChg chg="add mod">
          <ac:chgData name="Cyprien ARETHUSE" userId="abd46b16-7bf0-4c01-a850-92fb83f61f27" providerId="ADAL" clId="{067C7D3F-9573-4B1A-A9B0-3005DA5BAAAF}" dt="2024-01-31T13:10:34.251" v="9779"/>
          <ac:grpSpMkLst>
            <pc:docMk/>
            <pc:sldMk cId="3444909878" sldId="2147480344"/>
            <ac:grpSpMk id="18" creationId="{AF88DA3E-F345-D5FB-4AB0-647857E6B786}"/>
          </ac:grpSpMkLst>
        </pc:grpChg>
        <pc:grpChg chg="mod">
          <ac:chgData name="Cyprien ARETHUSE" userId="abd46b16-7bf0-4c01-a850-92fb83f61f27" providerId="ADAL" clId="{067C7D3F-9573-4B1A-A9B0-3005DA5BAAAF}" dt="2024-01-31T13:10:34.251" v="9779"/>
          <ac:grpSpMkLst>
            <pc:docMk/>
            <pc:sldMk cId="3444909878" sldId="2147480344"/>
            <ac:grpSpMk id="19" creationId="{71D0CA1A-8833-C541-FEA6-7F8D95827316}"/>
          </ac:grpSpMkLst>
        </pc:grpChg>
        <pc:graphicFrameChg chg="add mod">
          <ac:chgData name="Cyprien ARETHUSE" userId="abd46b16-7bf0-4c01-a850-92fb83f61f27" providerId="ADAL" clId="{067C7D3F-9573-4B1A-A9B0-3005DA5BAAAF}" dt="2024-01-31T13:10:34.251" v="9779"/>
          <ac:graphicFrameMkLst>
            <pc:docMk/>
            <pc:sldMk cId="3444909878" sldId="2147480344"/>
            <ac:graphicFrameMk id="4" creationId="{866FF552-3425-9461-A6AC-2608AD703414}"/>
          </ac:graphicFrameMkLst>
        </pc:graphicFrameChg>
        <pc:graphicFrameChg chg="add mod">
          <ac:chgData name="Cyprien ARETHUSE" userId="abd46b16-7bf0-4c01-a850-92fb83f61f27" providerId="ADAL" clId="{067C7D3F-9573-4B1A-A9B0-3005DA5BAAAF}" dt="2024-01-31T13:10:34.251" v="9779"/>
          <ac:graphicFrameMkLst>
            <pc:docMk/>
            <pc:sldMk cId="3444909878" sldId="2147480344"/>
            <ac:graphicFrameMk id="5" creationId="{9B826BB9-A900-21A6-F3B2-D05910D927FB}"/>
          </ac:graphicFrameMkLst>
        </pc:graphicFrameChg>
        <pc:picChg chg="mod">
          <ac:chgData name="Cyprien ARETHUSE" userId="abd46b16-7bf0-4c01-a850-92fb83f61f27" providerId="ADAL" clId="{067C7D3F-9573-4B1A-A9B0-3005DA5BAAAF}" dt="2024-01-31T13:10:34.251" v="9779"/>
          <ac:picMkLst>
            <pc:docMk/>
            <pc:sldMk cId="3444909878" sldId="2147480344"/>
            <ac:picMk id="7" creationId="{3EAEA7A9-7784-A6F2-9F7A-9AA670F54311}"/>
          </ac:picMkLst>
        </pc:picChg>
        <pc:picChg chg="mod">
          <ac:chgData name="Cyprien ARETHUSE" userId="abd46b16-7bf0-4c01-a850-92fb83f61f27" providerId="ADAL" clId="{067C7D3F-9573-4B1A-A9B0-3005DA5BAAAF}" dt="2024-01-31T13:10:34.251" v="9779"/>
          <ac:picMkLst>
            <pc:docMk/>
            <pc:sldMk cId="3444909878" sldId="2147480344"/>
            <ac:picMk id="8" creationId="{997DD279-81D7-C8BE-B2A9-B0CA5804B748}"/>
          </ac:picMkLst>
        </pc:picChg>
        <pc:picChg chg="add mod">
          <ac:chgData name="Cyprien ARETHUSE" userId="abd46b16-7bf0-4c01-a850-92fb83f61f27" providerId="ADAL" clId="{067C7D3F-9573-4B1A-A9B0-3005DA5BAAAF}" dt="2024-01-31T13:10:34.251" v="9779"/>
          <ac:picMkLst>
            <pc:docMk/>
            <pc:sldMk cId="3444909878" sldId="2147480344"/>
            <ac:picMk id="16" creationId="{EA41296D-85AA-C907-462A-8966361B1DB0}"/>
          </ac:picMkLst>
        </pc:picChg>
        <pc:picChg chg="add mod">
          <ac:chgData name="Cyprien ARETHUSE" userId="abd46b16-7bf0-4c01-a850-92fb83f61f27" providerId="ADAL" clId="{067C7D3F-9573-4B1A-A9B0-3005DA5BAAAF}" dt="2024-01-31T13:10:34.251" v="9779"/>
          <ac:picMkLst>
            <pc:docMk/>
            <pc:sldMk cId="3444909878" sldId="2147480344"/>
            <ac:picMk id="17" creationId="{E16F1F40-9EE1-2626-2B0D-F351210A21D9}"/>
          </ac:picMkLst>
        </pc:picChg>
        <pc:picChg chg="add mod">
          <ac:chgData name="Cyprien ARETHUSE" userId="abd46b16-7bf0-4c01-a850-92fb83f61f27" providerId="ADAL" clId="{067C7D3F-9573-4B1A-A9B0-3005DA5BAAAF}" dt="2024-01-31T13:10:34.251" v="9779"/>
          <ac:picMkLst>
            <pc:docMk/>
            <pc:sldMk cId="3444909878" sldId="2147480344"/>
            <ac:picMk id="25" creationId="{950E68E2-6860-FEA8-B69E-8580F74F3B4A}"/>
          </ac:picMkLst>
        </pc:picChg>
        <pc:picChg chg="add mod">
          <ac:chgData name="Cyprien ARETHUSE" userId="abd46b16-7bf0-4c01-a850-92fb83f61f27" providerId="ADAL" clId="{067C7D3F-9573-4B1A-A9B0-3005DA5BAAAF}" dt="2024-02-02T16:53:49.160" v="19517" actId="1076"/>
          <ac:picMkLst>
            <pc:docMk/>
            <pc:sldMk cId="3444909878" sldId="2147480344"/>
            <ac:picMk id="28" creationId="{4EB7934A-95C8-71E3-C73B-1EB5D075310C}"/>
          </ac:picMkLst>
        </pc:picChg>
      </pc:sldChg>
      <pc:sldChg chg="addSp modSp add del">
        <pc:chgData name="Cyprien ARETHUSE" userId="abd46b16-7bf0-4c01-a850-92fb83f61f27" providerId="ADAL" clId="{067C7D3F-9573-4B1A-A9B0-3005DA5BAAAF}" dt="2024-01-31T13:20:33.328" v="10034" actId="47"/>
        <pc:sldMkLst>
          <pc:docMk/>
          <pc:sldMk cId="1223069786" sldId="2147480345"/>
        </pc:sldMkLst>
        <pc:spChg chg="add mod">
          <ac:chgData name="Cyprien ARETHUSE" userId="abd46b16-7bf0-4c01-a850-92fb83f61f27" providerId="ADAL" clId="{067C7D3F-9573-4B1A-A9B0-3005DA5BAAAF}" dt="2024-01-31T13:10:45.404" v="9782"/>
          <ac:spMkLst>
            <pc:docMk/>
            <pc:sldMk cId="1223069786" sldId="2147480345"/>
            <ac:spMk id="2" creationId="{6793B374-9A3F-C149-EDDE-80DCE37FDCEF}"/>
          </ac:spMkLst>
        </pc:spChg>
        <pc:spChg chg="add mod">
          <ac:chgData name="Cyprien ARETHUSE" userId="abd46b16-7bf0-4c01-a850-92fb83f61f27" providerId="ADAL" clId="{067C7D3F-9573-4B1A-A9B0-3005DA5BAAAF}" dt="2024-01-31T13:10:45.404" v="9782"/>
          <ac:spMkLst>
            <pc:docMk/>
            <pc:sldMk cId="1223069786" sldId="2147480345"/>
            <ac:spMk id="5" creationId="{23710624-D1C2-76EA-26E7-2EAE28910A95}"/>
          </ac:spMkLst>
        </pc:spChg>
        <pc:spChg chg="add mod">
          <ac:chgData name="Cyprien ARETHUSE" userId="abd46b16-7bf0-4c01-a850-92fb83f61f27" providerId="ADAL" clId="{067C7D3F-9573-4B1A-A9B0-3005DA5BAAAF}" dt="2024-01-31T13:10:45.404" v="9782"/>
          <ac:spMkLst>
            <pc:docMk/>
            <pc:sldMk cId="1223069786" sldId="2147480345"/>
            <ac:spMk id="6" creationId="{7967C1C0-B3AE-071D-1B8E-C3BA4B6797E1}"/>
          </ac:spMkLst>
        </pc:spChg>
        <pc:spChg chg="add mod">
          <ac:chgData name="Cyprien ARETHUSE" userId="abd46b16-7bf0-4c01-a850-92fb83f61f27" providerId="ADAL" clId="{067C7D3F-9573-4B1A-A9B0-3005DA5BAAAF}" dt="2024-01-31T13:10:45.404" v="9782"/>
          <ac:spMkLst>
            <pc:docMk/>
            <pc:sldMk cId="1223069786" sldId="2147480345"/>
            <ac:spMk id="7" creationId="{142994A5-B537-97D5-DDCD-B4EB92C86E3B}"/>
          </ac:spMkLst>
        </pc:spChg>
        <pc:spChg chg="add mod">
          <ac:chgData name="Cyprien ARETHUSE" userId="abd46b16-7bf0-4c01-a850-92fb83f61f27" providerId="ADAL" clId="{067C7D3F-9573-4B1A-A9B0-3005DA5BAAAF}" dt="2024-01-31T13:10:45.404" v="9782"/>
          <ac:spMkLst>
            <pc:docMk/>
            <pc:sldMk cId="1223069786" sldId="2147480345"/>
            <ac:spMk id="8" creationId="{2E8ECB3C-B6F6-A5A5-6DB0-0D16EA47FA03}"/>
          </ac:spMkLst>
        </pc:spChg>
        <pc:spChg chg="add mod">
          <ac:chgData name="Cyprien ARETHUSE" userId="abd46b16-7bf0-4c01-a850-92fb83f61f27" providerId="ADAL" clId="{067C7D3F-9573-4B1A-A9B0-3005DA5BAAAF}" dt="2024-01-31T13:10:45.404" v="9782"/>
          <ac:spMkLst>
            <pc:docMk/>
            <pc:sldMk cId="1223069786" sldId="2147480345"/>
            <ac:spMk id="9" creationId="{D70F1D1F-33B1-3CFC-2C64-A74AE3876D8F}"/>
          </ac:spMkLst>
        </pc:spChg>
        <pc:spChg chg="add mod">
          <ac:chgData name="Cyprien ARETHUSE" userId="abd46b16-7bf0-4c01-a850-92fb83f61f27" providerId="ADAL" clId="{067C7D3F-9573-4B1A-A9B0-3005DA5BAAAF}" dt="2024-01-31T13:10:45.404" v="9782"/>
          <ac:spMkLst>
            <pc:docMk/>
            <pc:sldMk cId="1223069786" sldId="2147480345"/>
            <ac:spMk id="10" creationId="{C6E1833A-3C3B-ECA4-CCD7-D3119830C859}"/>
          </ac:spMkLst>
        </pc:spChg>
        <pc:spChg chg="add mod">
          <ac:chgData name="Cyprien ARETHUSE" userId="abd46b16-7bf0-4c01-a850-92fb83f61f27" providerId="ADAL" clId="{067C7D3F-9573-4B1A-A9B0-3005DA5BAAAF}" dt="2024-01-31T13:10:45.404" v="9782"/>
          <ac:spMkLst>
            <pc:docMk/>
            <pc:sldMk cId="1223069786" sldId="2147480345"/>
            <ac:spMk id="11" creationId="{4DC0AD5B-37EC-C3A2-3E01-49CE924DC92C}"/>
          </ac:spMkLst>
        </pc:spChg>
        <pc:spChg chg="add mod">
          <ac:chgData name="Cyprien ARETHUSE" userId="abd46b16-7bf0-4c01-a850-92fb83f61f27" providerId="ADAL" clId="{067C7D3F-9573-4B1A-A9B0-3005DA5BAAAF}" dt="2024-01-31T13:10:45.404" v="9782"/>
          <ac:spMkLst>
            <pc:docMk/>
            <pc:sldMk cId="1223069786" sldId="2147480345"/>
            <ac:spMk id="12" creationId="{5DFF79EA-6C0D-CDAD-E673-59570C35B7B3}"/>
          </ac:spMkLst>
        </pc:spChg>
        <pc:spChg chg="add mod">
          <ac:chgData name="Cyprien ARETHUSE" userId="abd46b16-7bf0-4c01-a850-92fb83f61f27" providerId="ADAL" clId="{067C7D3F-9573-4B1A-A9B0-3005DA5BAAAF}" dt="2024-01-31T13:10:45.404" v="9782"/>
          <ac:spMkLst>
            <pc:docMk/>
            <pc:sldMk cId="1223069786" sldId="2147480345"/>
            <ac:spMk id="19" creationId="{8CFC1027-4BDF-D996-DFAC-E50D5177CFA8}"/>
          </ac:spMkLst>
        </pc:spChg>
        <pc:spChg chg="add mod">
          <ac:chgData name="Cyprien ARETHUSE" userId="abd46b16-7bf0-4c01-a850-92fb83f61f27" providerId="ADAL" clId="{067C7D3F-9573-4B1A-A9B0-3005DA5BAAAF}" dt="2024-01-31T13:10:45.404" v="9782"/>
          <ac:spMkLst>
            <pc:docMk/>
            <pc:sldMk cId="1223069786" sldId="2147480345"/>
            <ac:spMk id="20" creationId="{5E4168C8-A0B2-5492-2297-06F46EB74669}"/>
          </ac:spMkLst>
        </pc:spChg>
        <pc:spChg chg="add mod">
          <ac:chgData name="Cyprien ARETHUSE" userId="abd46b16-7bf0-4c01-a850-92fb83f61f27" providerId="ADAL" clId="{067C7D3F-9573-4B1A-A9B0-3005DA5BAAAF}" dt="2024-01-31T13:10:45.404" v="9782"/>
          <ac:spMkLst>
            <pc:docMk/>
            <pc:sldMk cId="1223069786" sldId="2147480345"/>
            <ac:spMk id="21" creationId="{7E22CA08-24A6-DE56-F9D2-4B3787A953CC}"/>
          </ac:spMkLst>
        </pc:spChg>
        <pc:spChg chg="add mod">
          <ac:chgData name="Cyprien ARETHUSE" userId="abd46b16-7bf0-4c01-a850-92fb83f61f27" providerId="ADAL" clId="{067C7D3F-9573-4B1A-A9B0-3005DA5BAAAF}" dt="2024-01-31T13:10:45.404" v="9782"/>
          <ac:spMkLst>
            <pc:docMk/>
            <pc:sldMk cId="1223069786" sldId="2147480345"/>
            <ac:spMk id="24" creationId="{162D1384-EB6F-1E18-6A44-5921AC833129}"/>
          </ac:spMkLst>
        </pc:spChg>
        <pc:spChg chg="add mod">
          <ac:chgData name="Cyprien ARETHUSE" userId="abd46b16-7bf0-4c01-a850-92fb83f61f27" providerId="ADAL" clId="{067C7D3F-9573-4B1A-A9B0-3005DA5BAAAF}" dt="2024-01-31T13:10:45.404" v="9782"/>
          <ac:spMkLst>
            <pc:docMk/>
            <pc:sldMk cId="1223069786" sldId="2147480345"/>
            <ac:spMk id="25" creationId="{33CF7E46-5172-FF0A-5C12-197D97A62406}"/>
          </ac:spMkLst>
        </pc:spChg>
        <pc:spChg chg="add mod">
          <ac:chgData name="Cyprien ARETHUSE" userId="abd46b16-7bf0-4c01-a850-92fb83f61f27" providerId="ADAL" clId="{067C7D3F-9573-4B1A-A9B0-3005DA5BAAAF}" dt="2024-01-31T13:10:45.404" v="9782"/>
          <ac:spMkLst>
            <pc:docMk/>
            <pc:sldMk cId="1223069786" sldId="2147480345"/>
            <ac:spMk id="27" creationId="{C8DCC035-7DB0-52DA-B313-99D37A7E59AE}"/>
          </ac:spMkLst>
        </pc:spChg>
        <pc:spChg chg="add mod">
          <ac:chgData name="Cyprien ARETHUSE" userId="abd46b16-7bf0-4c01-a850-92fb83f61f27" providerId="ADAL" clId="{067C7D3F-9573-4B1A-A9B0-3005DA5BAAAF}" dt="2024-01-31T13:10:45.404" v="9782"/>
          <ac:spMkLst>
            <pc:docMk/>
            <pc:sldMk cId="1223069786" sldId="2147480345"/>
            <ac:spMk id="28" creationId="{6B4F4245-ABA6-254D-DF8D-F96E92F3C405}"/>
          </ac:spMkLst>
        </pc:spChg>
        <pc:graphicFrameChg chg="add mod">
          <ac:chgData name="Cyprien ARETHUSE" userId="abd46b16-7bf0-4c01-a850-92fb83f61f27" providerId="ADAL" clId="{067C7D3F-9573-4B1A-A9B0-3005DA5BAAAF}" dt="2024-01-31T13:10:45.404" v="9782"/>
          <ac:graphicFrameMkLst>
            <pc:docMk/>
            <pc:sldMk cId="1223069786" sldId="2147480345"/>
            <ac:graphicFrameMk id="3" creationId="{6D1B338B-5D60-0EDF-91B4-AB210C71291D}"/>
          </ac:graphicFrameMkLst>
        </pc:graphicFrameChg>
        <pc:graphicFrameChg chg="add mod">
          <ac:chgData name="Cyprien ARETHUSE" userId="abd46b16-7bf0-4c01-a850-92fb83f61f27" providerId="ADAL" clId="{067C7D3F-9573-4B1A-A9B0-3005DA5BAAAF}" dt="2024-01-31T13:10:45.404" v="9782"/>
          <ac:graphicFrameMkLst>
            <pc:docMk/>
            <pc:sldMk cId="1223069786" sldId="2147480345"/>
            <ac:graphicFrameMk id="4" creationId="{CB9A0EA1-8D79-E7F6-1C4C-7103C1AC033F}"/>
          </ac:graphicFrameMkLst>
        </pc:graphicFrameChg>
        <pc:picChg chg="add mod">
          <ac:chgData name="Cyprien ARETHUSE" userId="abd46b16-7bf0-4c01-a850-92fb83f61f27" providerId="ADAL" clId="{067C7D3F-9573-4B1A-A9B0-3005DA5BAAAF}" dt="2024-01-31T13:10:45.404" v="9782"/>
          <ac:picMkLst>
            <pc:docMk/>
            <pc:sldMk cId="1223069786" sldId="2147480345"/>
            <ac:picMk id="13" creationId="{73A27884-2A4D-1B16-7E0B-BA09355DC16B}"/>
          </ac:picMkLst>
        </pc:picChg>
        <pc:picChg chg="add mod">
          <ac:chgData name="Cyprien ARETHUSE" userId="abd46b16-7bf0-4c01-a850-92fb83f61f27" providerId="ADAL" clId="{067C7D3F-9573-4B1A-A9B0-3005DA5BAAAF}" dt="2024-01-31T13:10:45.404" v="9782"/>
          <ac:picMkLst>
            <pc:docMk/>
            <pc:sldMk cId="1223069786" sldId="2147480345"/>
            <ac:picMk id="14" creationId="{BCE220F8-381F-7927-FFAA-0B35071FBC5A}"/>
          </ac:picMkLst>
        </pc:picChg>
        <pc:picChg chg="add mod">
          <ac:chgData name="Cyprien ARETHUSE" userId="abd46b16-7bf0-4c01-a850-92fb83f61f27" providerId="ADAL" clId="{067C7D3F-9573-4B1A-A9B0-3005DA5BAAAF}" dt="2024-01-31T13:10:45.404" v="9782"/>
          <ac:picMkLst>
            <pc:docMk/>
            <pc:sldMk cId="1223069786" sldId="2147480345"/>
            <ac:picMk id="15" creationId="{2E7004B1-4EC2-F0AB-9D2A-2652141F588E}"/>
          </ac:picMkLst>
        </pc:picChg>
        <pc:picChg chg="add mod">
          <ac:chgData name="Cyprien ARETHUSE" userId="abd46b16-7bf0-4c01-a850-92fb83f61f27" providerId="ADAL" clId="{067C7D3F-9573-4B1A-A9B0-3005DA5BAAAF}" dt="2024-01-31T13:10:45.404" v="9782"/>
          <ac:picMkLst>
            <pc:docMk/>
            <pc:sldMk cId="1223069786" sldId="2147480345"/>
            <ac:picMk id="16" creationId="{5B5D0B09-D427-3989-9DF2-C76736C2131F}"/>
          </ac:picMkLst>
        </pc:picChg>
        <pc:picChg chg="add mod">
          <ac:chgData name="Cyprien ARETHUSE" userId="abd46b16-7bf0-4c01-a850-92fb83f61f27" providerId="ADAL" clId="{067C7D3F-9573-4B1A-A9B0-3005DA5BAAAF}" dt="2024-01-31T13:10:45.404" v="9782"/>
          <ac:picMkLst>
            <pc:docMk/>
            <pc:sldMk cId="1223069786" sldId="2147480345"/>
            <ac:picMk id="17" creationId="{4532DB89-9836-3D84-9EF8-C0645CB85C21}"/>
          </ac:picMkLst>
        </pc:picChg>
        <pc:picChg chg="add mod">
          <ac:chgData name="Cyprien ARETHUSE" userId="abd46b16-7bf0-4c01-a850-92fb83f61f27" providerId="ADAL" clId="{067C7D3F-9573-4B1A-A9B0-3005DA5BAAAF}" dt="2024-01-31T13:10:45.404" v="9782"/>
          <ac:picMkLst>
            <pc:docMk/>
            <pc:sldMk cId="1223069786" sldId="2147480345"/>
            <ac:picMk id="18" creationId="{811AFF70-8D55-F582-AAC9-14E3DDD9982A}"/>
          </ac:picMkLst>
        </pc:picChg>
        <pc:picChg chg="add mod">
          <ac:chgData name="Cyprien ARETHUSE" userId="abd46b16-7bf0-4c01-a850-92fb83f61f27" providerId="ADAL" clId="{067C7D3F-9573-4B1A-A9B0-3005DA5BAAAF}" dt="2024-01-31T13:10:45.404" v="9782"/>
          <ac:picMkLst>
            <pc:docMk/>
            <pc:sldMk cId="1223069786" sldId="2147480345"/>
            <ac:picMk id="22" creationId="{26E39673-7AF4-FC2E-CFCF-BF33EE0DE242}"/>
          </ac:picMkLst>
        </pc:picChg>
        <pc:picChg chg="add mod">
          <ac:chgData name="Cyprien ARETHUSE" userId="abd46b16-7bf0-4c01-a850-92fb83f61f27" providerId="ADAL" clId="{067C7D3F-9573-4B1A-A9B0-3005DA5BAAAF}" dt="2024-01-31T13:10:45.404" v="9782"/>
          <ac:picMkLst>
            <pc:docMk/>
            <pc:sldMk cId="1223069786" sldId="2147480345"/>
            <ac:picMk id="23" creationId="{119044C9-9004-5B79-E5BB-A2D64F9E3B13}"/>
          </ac:picMkLst>
        </pc:picChg>
        <pc:picChg chg="add mod">
          <ac:chgData name="Cyprien ARETHUSE" userId="abd46b16-7bf0-4c01-a850-92fb83f61f27" providerId="ADAL" clId="{067C7D3F-9573-4B1A-A9B0-3005DA5BAAAF}" dt="2024-01-31T13:10:45.404" v="9782"/>
          <ac:picMkLst>
            <pc:docMk/>
            <pc:sldMk cId="1223069786" sldId="2147480345"/>
            <ac:picMk id="26" creationId="{E3A17097-18DA-636C-A8D5-12C98E438DD9}"/>
          </ac:picMkLst>
        </pc:picChg>
      </pc:sldChg>
      <pc:sldChg chg="addSp modSp add del">
        <pc:chgData name="Cyprien ARETHUSE" userId="abd46b16-7bf0-4c01-a850-92fb83f61f27" providerId="ADAL" clId="{067C7D3F-9573-4B1A-A9B0-3005DA5BAAAF}" dt="2024-01-31T13:13:13.524" v="9792" actId="47"/>
        <pc:sldMkLst>
          <pc:docMk/>
          <pc:sldMk cId="2036851008" sldId="2147480346"/>
        </pc:sldMkLst>
        <pc:spChg chg="add mod">
          <ac:chgData name="Cyprien ARETHUSE" userId="abd46b16-7bf0-4c01-a850-92fb83f61f27" providerId="ADAL" clId="{067C7D3F-9573-4B1A-A9B0-3005DA5BAAAF}" dt="2024-01-31T13:10:57.001" v="9785"/>
          <ac:spMkLst>
            <pc:docMk/>
            <pc:sldMk cId="2036851008" sldId="2147480346"/>
            <ac:spMk id="2" creationId="{57B1CA06-63B4-1946-F9B7-7FEA0E10B894}"/>
          </ac:spMkLst>
        </pc:spChg>
        <pc:spChg chg="add mod">
          <ac:chgData name="Cyprien ARETHUSE" userId="abd46b16-7bf0-4c01-a850-92fb83f61f27" providerId="ADAL" clId="{067C7D3F-9573-4B1A-A9B0-3005DA5BAAAF}" dt="2024-01-31T13:10:57.001" v="9785"/>
          <ac:spMkLst>
            <pc:docMk/>
            <pc:sldMk cId="2036851008" sldId="2147480346"/>
            <ac:spMk id="3" creationId="{611F5D4A-A6BF-A0D8-176B-4FDAA7CE617D}"/>
          </ac:spMkLst>
        </pc:spChg>
        <pc:spChg chg="add mod">
          <ac:chgData name="Cyprien ARETHUSE" userId="abd46b16-7bf0-4c01-a850-92fb83f61f27" providerId="ADAL" clId="{067C7D3F-9573-4B1A-A9B0-3005DA5BAAAF}" dt="2024-01-31T13:10:57.001" v="9785"/>
          <ac:spMkLst>
            <pc:docMk/>
            <pc:sldMk cId="2036851008" sldId="2147480346"/>
            <ac:spMk id="10" creationId="{391DB494-1EC2-2B24-F0D2-B6211799DD7D}"/>
          </ac:spMkLst>
        </pc:spChg>
        <pc:spChg chg="add mod">
          <ac:chgData name="Cyprien ARETHUSE" userId="abd46b16-7bf0-4c01-a850-92fb83f61f27" providerId="ADAL" clId="{067C7D3F-9573-4B1A-A9B0-3005DA5BAAAF}" dt="2024-01-31T13:10:57.001" v="9785"/>
          <ac:spMkLst>
            <pc:docMk/>
            <pc:sldMk cId="2036851008" sldId="2147480346"/>
            <ac:spMk id="11" creationId="{36AD624B-E088-D137-D140-9F68C1663318}"/>
          </ac:spMkLst>
        </pc:spChg>
        <pc:spChg chg="add mod">
          <ac:chgData name="Cyprien ARETHUSE" userId="abd46b16-7bf0-4c01-a850-92fb83f61f27" providerId="ADAL" clId="{067C7D3F-9573-4B1A-A9B0-3005DA5BAAAF}" dt="2024-01-31T13:10:57.001" v="9785"/>
          <ac:spMkLst>
            <pc:docMk/>
            <pc:sldMk cId="2036851008" sldId="2147480346"/>
            <ac:spMk id="12" creationId="{AE692266-4F89-60DD-B37B-94AD83DBC385}"/>
          </ac:spMkLst>
        </pc:spChg>
        <pc:spChg chg="add mod">
          <ac:chgData name="Cyprien ARETHUSE" userId="abd46b16-7bf0-4c01-a850-92fb83f61f27" providerId="ADAL" clId="{067C7D3F-9573-4B1A-A9B0-3005DA5BAAAF}" dt="2024-01-31T13:10:57.001" v="9785"/>
          <ac:spMkLst>
            <pc:docMk/>
            <pc:sldMk cId="2036851008" sldId="2147480346"/>
            <ac:spMk id="13" creationId="{48DEA191-C587-323E-9FDE-4970407CB548}"/>
          </ac:spMkLst>
        </pc:spChg>
        <pc:spChg chg="add mod">
          <ac:chgData name="Cyprien ARETHUSE" userId="abd46b16-7bf0-4c01-a850-92fb83f61f27" providerId="ADAL" clId="{067C7D3F-9573-4B1A-A9B0-3005DA5BAAAF}" dt="2024-01-31T13:10:57.001" v="9785"/>
          <ac:spMkLst>
            <pc:docMk/>
            <pc:sldMk cId="2036851008" sldId="2147480346"/>
            <ac:spMk id="17" creationId="{A7499ADB-8AAC-7449-1DB4-87242B1E8548}"/>
          </ac:spMkLst>
        </pc:spChg>
        <pc:spChg chg="add mod">
          <ac:chgData name="Cyprien ARETHUSE" userId="abd46b16-7bf0-4c01-a850-92fb83f61f27" providerId="ADAL" clId="{067C7D3F-9573-4B1A-A9B0-3005DA5BAAAF}" dt="2024-01-31T13:10:57.001" v="9785"/>
          <ac:spMkLst>
            <pc:docMk/>
            <pc:sldMk cId="2036851008" sldId="2147480346"/>
            <ac:spMk id="18" creationId="{9E261EAC-3615-EAE0-A9C4-8B94C3A1EB6C}"/>
          </ac:spMkLst>
        </pc:spChg>
        <pc:graphicFrameChg chg="add mod">
          <ac:chgData name="Cyprien ARETHUSE" userId="abd46b16-7bf0-4c01-a850-92fb83f61f27" providerId="ADAL" clId="{067C7D3F-9573-4B1A-A9B0-3005DA5BAAAF}" dt="2024-01-31T13:10:57.001" v="9785"/>
          <ac:graphicFrameMkLst>
            <pc:docMk/>
            <pc:sldMk cId="2036851008" sldId="2147480346"/>
            <ac:graphicFrameMk id="4" creationId="{3C6C7661-FACF-12B1-EE92-D9EF78EC9C24}"/>
          </ac:graphicFrameMkLst>
        </pc:graphicFrameChg>
        <pc:graphicFrameChg chg="add mod">
          <ac:chgData name="Cyprien ARETHUSE" userId="abd46b16-7bf0-4c01-a850-92fb83f61f27" providerId="ADAL" clId="{067C7D3F-9573-4B1A-A9B0-3005DA5BAAAF}" dt="2024-01-31T13:10:57.001" v="9785"/>
          <ac:graphicFrameMkLst>
            <pc:docMk/>
            <pc:sldMk cId="2036851008" sldId="2147480346"/>
            <ac:graphicFrameMk id="5" creationId="{6621F611-0EC7-2C3E-4764-B923409F0FBA}"/>
          </ac:graphicFrameMkLst>
        </pc:graphicFrameChg>
        <pc:picChg chg="add mod">
          <ac:chgData name="Cyprien ARETHUSE" userId="abd46b16-7bf0-4c01-a850-92fb83f61f27" providerId="ADAL" clId="{067C7D3F-9573-4B1A-A9B0-3005DA5BAAAF}" dt="2024-01-31T13:10:57.001" v="9785"/>
          <ac:picMkLst>
            <pc:docMk/>
            <pc:sldMk cId="2036851008" sldId="2147480346"/>
            <ac:picMk id="6" creationId="{472F185C-5128-F60D-A1DF-32CDE7C8EC39}"/>
          </ac:picMkLst>
        </pc:picChg>
        <pc:picChg chg="add mod">
          <ac:chgData name="Cyprien ARETHUSE" userId="abd46b16-7bf0-4c01-a850-92fb83f61f27" providerId="ADAL" clId="{067C7D3F-9573-4B1A-A9B0-3005DA5BAAAF}" dt="2024-01-31T13:10:57.001" v="9785"/>
          <ac:picMkLst>
            <pc:docMk/>
            <pc:sldMk cId="2036851008" sldId="2147480346"/>
            <ac:picMk id="7" creationId="{46516ED8-0FB8-4F7B-3F43-7ECEAB41D097}"/>
          </ac:picMkLst>
        </pc:picChg>
        <pc:picChg chg="add mod">
          <ac:chgData name="Cyprien ARETHUSE" userId="abd46b16-7bf0-4c01-a850-92fb83f61f27" providerId="ADAL" clId="{067C7D3F-9573-4B1A-A9B0-3005DA5BAAAF}" dt="2024-01-31T13:10:57.001" v="9785"/>
          <ac:picMkLst>
            <pc:docMk/>
            <pc:sldMk cId="2036851008" sldId="2147480346"/>
            <ac:picMk id="8" creationId="{EF22A10E-4664-EBFE-8C48-9E6100D7B188}"/>
          </ac:picMkLst>
        </pc:picChg>
        <pc:picChg chg="add mod">
          <ac:chgData name="Cyprien ARETHUSE" userId="abd46b16-7bf0-4c01-a850-92fb83f61f27" providerId="ADAL" clId="{067C7D3F-9573-4B1A-A9B0-3005DA5BAAAF}" dt="2024-01-31T13:10:57.001" v="9785"/>
          <ac:picMkLst>
            <pc:docMk/>
            <pc:sldMk cId="2036851008" sldId="2147480346"/>
            <ac:picMk id="9" creationId="{FCDBDE7B-5295-D7C3-A1E5-62922B286BB0}"/>
          </ac:picMkLst>
        </pc:picChg>
        <pc:picChg chg="add mod">
          <ac:chgData name="Cyprien ARETHUSE" userId="abd46b16-7bf0-4c01-a850-92fb83f61f27" providerId="ADAL" clId="{067C7D3F-9573-4B1A-A9B0-3005DA5BAAAF}" dt="2024-01-31T13:10:57.001" v="9785"/>
          <ac:picMkLst>
            <pc:docMk/>
            <pc:sldMk cId="2036851008" sldId="2147480346"/>
            <ac:picMk id="14" creationId="{CE9FF60F-56DB-DC9C-5AAA-5A2A5E835A75}"/>
          </ac:picMkLst>
        </pc:picChg>
        <pc:picChg chg="add mod">
          <ac:chgData name="Cyprien ARETHUSE" userId="abd46b16-7bf0-4c01-a850-92fb83f61f27" providerId="ADAL" clId="{067C7D3F-9573-4B1A-A9B0-3005DA5BAAAF}" dt="2024-01-31T13:10:57.001" v="9785"/>
          <ac:picMkLst>
            <pc:docMk/>
            <pc:sldMk cId="2036851008" sldId="2147480346"/>
            <ac:picMk id="15" creationId="{B0B1BEB7-0A0C-BC4E-1DC1-BB53ED111E17}"/>
          </ac:picMkLst>
        </pc:picChg>
        <pc:picChg chg="add mod">
          <ac:chgData name="Cyprien ARETHUSE" userId="abd46b16-7bf0-4c01-a850-92fb83f61f27" providerId="ADAL" clId="{067C7D3F-9573-4B1A-A9B0-3005DA5BAAAF}" dt="2024-01-31T13:10:57.001" v="9785"/>
          <ac:picMkLst>
            <pc:docMk/>
            <pc:sldMk cId="2036851008" sldId="2147480346"/>
            <ac:picMk id="16" creationId="{3727B052-A200-E682-213A-4D99FA120A8D}"/>
          </ac:picMkLst>
        </pc:picChg>
        <pc:picChg chg="add mod">
          <ac:chgData name="Cyprien ARETHUSE" userId="abd46b16-7bf0-4c01-a850-92fb83f61f27" providerId="ADAL" clId="{067C7D3F-9573-4B1A-A9B0-3005DA5BAAAF}" dt="2024-01-31T13:10:57.001" v="9785"/>
          <ac:picMkLst>
            <pc:docMk/>
            <pc:sldMk cId="2036851008" sldId="2147480346"/>
            <ac:picMk id="19" creationId="{4A71800E-E3B0-E6AC-56B1-29C4C759D30E}"/>
          </ac:picMkLst>
        </pc:picChg>
        <pc:picChg chg="add mod">
          <ac:chgData name="Cyprien ARETHUSE" userId="abd46b16-7bf0-4c01-a850-92fb83f61f27" providerId="ADAL" clId="{067C7D3F-9573-4B1A-A9B0-3005DA5BAAAF}" dt="2024-01-31T13:10:57.001" v="9785"/>
          <ac:picMkLst>
            <pc:docMk/>
            <pc:sldMk cId="2036851008" sldId="2147480346"/>
            <ac:picMk id="20" creationId="{6CE5204C-E4E2-5303-4FC1-057942B38DD7}"/>
          </ac:picMkLst>
        </pc:picChg>
        <pc:picChg chg="add mod">
          <ac:chgData name="Cyprien ARETHUSE" userId="abd46b16-7bf0-4c01-a850-92fb83f61f27" providerId="ADAL" clId="{067C7D3F-9573-4B1A-A9B0-3005DA5BAAAF}" dt="2024-01-31T13:10:57.001" v="9785"/>
          <ac:picMkLst>
            <pc:docMk/>
            <pc:sldMk cId="2036851008" sldId="2147480346"/>
            <ac:picMk id="21" creationId="{2B1890F3-D60C-E729-619E-384618863CE4}"/>
          </ac:picMkLst>
        </pc:picChg>
        <pc:picChg chg="add mod">
          <ac:chgData name="Cyprien ARETHUSE" userId="abd46b16-7bf0-4c01-a850-92fb83f61f27" providerId="ADAL" clId="{067C7D3F-9573-4B1A-A9B0-3005DA5BAAAF}" dt="2024-01-31T13:10:57.001" v="9785"/>
          <ac:picMkLst>
            <pc:docMk/>
            <pc:sldMk cId="2036851008" sldId="2147480346"/>
            <ac:picMk id="22" creationId="{2AF68141-E9A0-31F5-113F-D6F1488BA07B}"/>
          </ac:picMkLst>
        </pc:picChg>
        <pc:picChg chg="add mod">
          <ac:chgData name="Cyprien ARETHUSE" userId="abd46b16-7bf0-4c01-a850-92fb83f61f27" providerId="ADAL" clId="{067C7D3F-9573-4B1A-A9B0-3005DA5BAAAF}" dt="2024-01-31T13:10:57.001" v="9785"/>
          <ac:picMkLst>
            <pc:docMk/>
            <pc:sldMk cId="2036851008" sldId="2147480346"/>
            <ac:picMk id="23" creationId="{2A8BA989-4731-7FE2-CB7E-4A6542D69C1E}"/>
          </ac:picMkLst>
        </pc:picChg>
        <pc:picChg chg="add mod">
          <ac:chgData name="Cyprien ARETHUSE" userId="abd46b16-7bf0-4c01-a850-92fb83f61f27" providerId="ADAL" clId="{067C7D3F-9573-4B1A-A9B0-3005DA5BAAAF}" dt="2024-01-31T13:10:57.001" v="9785"/>
          <ac:picMkLst>
            <pc:docMk/>
            <pc:sldMk cId="2036851008" sldId="2147480346"/>
            <ac:picMk id="24" creationId="{F8BB7969-33E5-3491-D07D-87CEF6873A60}"/>
          </ac:picMkLst>
        </pc:picChg>
        <pc:picChg chg="add mod">
          <ac:chgData name="Cyprien ARETHUSE" userId="abd46b16-7bf0-4c01-a850-92fb83f61f27" providerId="ADAL" clId="{067C7D3F-9573-4B1A-A9B0-3005DA5BAAAF}" dt="2024-01-31T13:10:57.001" v="9785"/>
          <ac:picMkLst>
            <pc:docMk/>
            <pc:sldMk cId="2036851008" sldId="2147480346"/>
            <ac:picMk id="25" creationId="{396A85CB-4B7C-9132-2272-06968582A1C4}"/>
          </ac:picMkLst>
        </pc:picChg>
        <pc:picChg chg="add mod">
          <ac:chgData name="Cyprien ARETHUSE" userId="abd46b16-7bf0-4c01-a850-92fb83f61f27" providerId="ADAL" clId="{067C7D3F-9573-4B1A-A9B0-3005DA5BAAAF}" dt="2024-01-31T13:10:57.001" v="9785"/>
          <ac:picMkLst>
            <pc:docMk/>
            <pc:sldMk cId="2036851008" sldId="2147480346"/>
            <ac:picMk id="26" creationId="{58B8A3A0-510C-FF19-72B6-B29FE60D8C42}"/>
          </ac:picMkLst>
        </pc:picChg>
        <pc:picChg chg="add mod">
          <ac:chgData name="Cyprien ARETHUSE" userId="abd46b16-7bf0-4c01-a850-92fb83f61f27" providerId="ADAL" clId="{067C7D3F-9573-4B1A-A9B0-3005DA5BAAAF}" dt="2024-01-31T13:10:57.001" v="9785"/>
          <ac:picMkLst>
            <pc:docMk/>
            <pc:sldMk cId="2036851008" sldId="2147480346"/>
            <ac:picMk id="27" creationId="{29D0782F-AFBA-5431-947B-E8E4B6C346FA}"/>
          </ac:picMkLst>
        </pc:picChg>
      </pc:sldChg>
      <pc:sldChg chg="addSp modSp add del">
        <pc:chgData name="Cyprien ARETHUSE" userId="abd46b16-7bf0-4c01-a850-92fb83f61f27" providerId="ADAL" clId="{067C7D3F-9573-4B1A-A9B0-3005DA5BAAAF}" dt="2024-01-31T15:52:40.351" v="10938" actId="47"/>
        <pc:sldMkLst>
          <pc:docMk/>
          <pc:sldMk cId="96337496" sldId="2147480347"/>
        </pc:sldMkLst>
        <pc:spChg chg="add mod">
          <ac:chgData name="Cyprien ARETHUSE" userId="abd46b16-7bf0-4c01-a850-92fb83f61f27" providerId="ADAL" clId="{067C7D3F-9573-4B1A-A9B0-3005DA5BAAAF}" dt="2024-01-31T13:11:04.719" v="9787"/>
          <ac:spMkLst>
            <pc:docMk/>
            <pc:sldMk cId="96337496" sldId="2147480347"/>
            <ac:spMk id="2" creationId="{A618CC4E-B6CA-0FA5-23BD-4AEED6878994}"/>
          </ac:spMkLst>
        </pc:spChg>
        <pc:spChg chg="add mod">
          <ac:chgData name="Cyprien ARETHUSE" userId="abd46b16-7bf0-4c01-a850-92fb83f61f27" providerId="ADAL" clId="{067C7D3F-9573-4B1A-A9B0-3005DA5BAAAF}" dt="2024-01-31T13:11:04.719" v="9787"/>
          <ac:spMkLst>
            <pc:docMk/>
            <pc:sldMk cId="96337496" sldId="2147480347"/>
            <ac:spMk id="3" creationId="{0504E001-BA3B-3DC9-CFD9-17705B398C0F}"/>
          </ac:spMkLst>
        </pc:spChg>
        <pc:spChg chg="add mod">
          <ac:chgData name="Cyprien ARETHUSE" userId="abd46b16-7bf0-4c01-a850-92fb83f61f27" providerId="ADAL" clId="{067C7D3F-9573-4B1A-A9B0-3005DA5BAAAF}" dt="2024-01-31T13:11:04.719" v="9787"/>
          <ac:spMkLst>
            <pc:docMk/>
            <pc:sldMk cId="96337496" sldId="2147480347"/>
            <ac:spMk id="7" creationId="{7B2A8BAA-BA6F-4BF1-2FC4-C065179AC4B7}"/>
          </ac:spMkLst>
        </pc:spChg>
        <pc:spChg chg="add mod">
          <ac:chgData name="Cyprien ARETHUSE" userId="abd46b16-7bf0-4c01-a850-92fb83f61f27" providerId="ADAL" clId="{067C7D3F-9573-4B1A-A9B0-3005DA5BAAAF}" dt="2024-01-31T13:11:04.719" v="9787"/>
          <ac:spMkLst>
            <pc:docMk/>
            <pc:sldMk cId="96337496" sldId="2147480347"/>
            <ac:spMk id="8" creationId="{9B424E55-ADA5-9904-2A74-EAEB63EBF7B0}"/>
          </ac:spMkLst>
        </pc:spChg>
        <pc:spChg chg="add mod">
          <ac:chgData name="Cyprien ARETHUSE" userId="abd46b16-7bf0-4c01-a850-92fb83f61f27" providerId="ADAL" clId="{067C7D3F-9573-4B1A-A9B0-3005DA5BAAAF}" dt="2024-01-31T13:11:04.719" v="9787"/>
          <ac:spMkLst>
            <pc:docMk/>
            <pc:sldMk cId="96337496" sldId="2147480347"/>
            <ac:spMk id="11" creationId="{9208A5FA-FC9C-88CB-FB14-A7EFE1B85E5A}"/>
          </ac:spMkLst>
        </pc:spChg>
        <pc:spChg chg="add mod">
          <ac:chgData name="Cyprien ARETHUSE" userId="abd46b16-7bf0-4c01-a850-92fb83f61f27" providerId="ADAL" clId="{067C7D3F-9573-4B1A-A9B0-3005DA5BAAAF}" dt="2024-01-31T13:11:04.719" v="9787"/>
          <ac:spMkLst>
            <pc:docMk/>
            <pc:sldMk cId="96337496" sldId="2147480347"/>
            <ac:spMk id="12" creationId="{AAF2C4AC-B809-7587-E670-904483EC91CD}"/>
          </ac:spMkLst>
        </pc:spChg>
        <pc:graphicFrameChg chg="add mod">
          <ac:chgData name="Cyprien ARETHUSE" userId="abd46b16-7bf0-4c01-a850-92fb83f61f27" providerId="ADAL" clId="{067C7D3F-9573-4B1A-A9B0-3005DA5BAAAF}" dt="2024-01-31T13:11:04.719" v="9787"/>
          <ac:graphicFrameMkLst>
            <pc:docMk/>
            <pc:sldMk cId="96337496" sldId="2147480347"/>
            <ac:graphicFrameMk id="4" creationId="{85D9F135-831A-E79B-724F-BA09C6092C35}"/>
          </ac:graphicFrameMkLst>
        </pc:graphicFrameChg>
        <pc:graphicFrameChg chg="add mod">
          <ac:chgData name="Cyprien ARETHUSE" userId="abd46b16-7bf0-4c01-a850-92fb83f61f27" providerId="ADAL" clId="{067C7D3F-9573-4B1A-A9B0-3005DA5BAAAF}" dt="2024-01-31T13:11:04.719" v="9787"/>
          <ac:graphicFrameMkLst>
            <pc:docMk/>
            <pc:sldMk cId="96337496" sldId="2147480347"/>
            <ac:graphicFrameMk id="5" creationId="{7B9094D5-F20F-C8CB-7871-1678A96F5F59}"/>
          </ac:graphicFrameMkLst>
        </pc:graphicFrameChg>
        <pc:picChg chg="add mod">
          <ac:chgData name="Cyprien ARETHUSE" userId="abd46b16-7bf0-4c01-a850-92fb83f61f27" providerId="ADAL" clId="{067C7D3F-9573-4B1A-A9B0-3005DA5BAAAF}" dt="2024-01-31T13:11:04.719" v="9787"/>
          <ac:picMkLst>
            <pc:docMk/>
            <pc:sldMk cId="96337496" sldId="2147480347"/>
            <ac:picMk id="6" creationId="{0AD26768-9B18-E67D-455C-3907EB8A2C1E}"/>
          </ac:picMkLst>
        </pc:picChg>
        <pc:picChg chg="add mod">
          <ac:chgData name="Cyprien ARETHUSE" userId="abd46b16-7bf0-4c01-a850-92fb83f61f27" providerId="ADAL" clId="{067C7D3F-9573-4B1A-A9B0-3005DA5BAAAF}" dt="2024-01-31T13:11:04.719" v="9787"/>
          <ac:picMkLst>
            <pc:docMk/>
            <pc:sldMk cId="96337496" sldId="2147480347"/>
            <ac:picMk id="9" creationId="{F143A3C9-5520-E6DC-E372-358BAAC4287C}"/>
          </ac:picMkLst>
        </pc:picChg>
        <pc:picChg chg="add mod">
          <ac:chgData name="Cyprien ARETHUSE" userId="abd46b16-7bf0-4c01-a850-92fb83f61f27" providerId="ADAL" clId="{067C7D3F-9573-4B1A-A9B0-3005DA5BAAAF}" dt="2024-01-31T13:11:04.719" v="9787"/>
          <ac:picMkLst>
            <pc:docMk/>
            <pc:sldMk cId="96337496" sldId="2147480347"/>
            <ac:picMk id="10" creationId="{7070B37A-D025-EC56-BBFB-7837AE667415}"/>
          </ac:picMkLst>
        </pc:picChg>
        <pc:picChg chg="add mod">
          <ac:chgData name="Cyprien ARETHUSE" userId="abd46b16-7bf0-4c01-a850-92fb83f61f27" providerId="ADAL" clId="{067C7D3F-9573-4B1A-A9B0-3005DA5BAAAF}" dt="2024-01-31T13:11:04.719" v="9787"/>
          <ac:picMkLst>
            <pc:docMk/>
            <pc:sldMk cId="96337496" sldId="2147480347"/>
            <ac:picMk id="13" creationId="{F32D82BE-D773-C927-034C-04BAA101EC33}"/>
          </ac:picMkLst>
        </pc:picChg>
        <pc:picChg chg="add mod">
          <ac:chgData name="Cyprien ARETHUSE" userId="abd46b16-7bf0-4c01-a850-92fb83f61f27" providerId="ADAL" clId="{067C7D3F-9573-4B1A-A9B0-3005DA5BAAAF}" dt="2024-01-31T13:11:04.719" v="9787"/>
          <ac:picMkLst>
            <pc:docMk/>
            <pc:sldMk cId="96337496" sldId="2147480347"/>
            <ac:picMk id="14" creationId="{A1752DAF-849F-BC42-87AC-434CA8217813}"/>
          </ac:picMkLst>
        </pc:picChg>
        <pc:picChg chg="add mod">
          <ac:chgData name="Cyprien ARETHUSE" userId="abd46b16-7bf0-4c01-a850-92fb83f61f27" providerId="ADAL" clId="{067C7D3F-9573-4B1A-A9B0-3005DA5BAAAF}" dt="2024-01-31T13:11:04.719" v="9787"/>
          <ac:picMkLst>
            <pc:docMk/>
            <pc:sldMk cId="96337496" sldId="2147480347"/>
            <ac:picMk id="15" creationId="{98509680-F7FB-C062-356F-0EC1D9289C9B}"/>
          </ac:picMkLst>
        </pc:picChg>
      </pc:sldChg>
      <pc:sldChg chg="addSp delSp modSp add del mod ord modShow">
        <pc:chgData name="Cyprien ARETHUSE" userId="abd46b16-7bf0-4c01-a850-92fb83f61f27" providerId="ADAL" clId="{067C7D3F-9573-4B1A-A9B0-3005DA5BAAAF}" dt="2024-02-02T09:14:22.323" v="16020" actId="47"/>
        <pc:sldMkLst>
          <pc:docMk/>
          <pc:sldMk cId="3611585204" sldId="2147480348"/>
        </pc:sldMkLst>
        <pc:spChg chg="mod">
          <ac:chgData name="Cyprien ARETHUSE" userId="abd46b16-7bf0-4c01-a850-92fb83f61f27" providerId="ADAL" clId="{067C7D3F-9573-4B1A-A9B0-3005DA5BAAAF}" dt="2024-01-31T13:16:44.732" v="9834" actId="20577"/>
          <ac:spMkLst>
            <pc:docMk/>
            <pc:sldMk cId="3611585204" sldId="2147480348"/>
            <ac:spMk id="2" creationId="{57B1CA06-63B4-1946-F9B7-7FEA0E10B894}"/>
          </ac:spMkLst>
        </pc:spChg>
        <pc:spChg chg="mod">
          <ac:chgData name="Cyprien ARETHUSE" userId="abd46b16-7bf0-4c01-a850-92fb83f61f27" providerId="ADAL" clId="{067C7D3F-9573-4B1A-A9B0-3005DA5BAAAF}" dt="2024-01-31T13:16:59.943" v="9838" actId="14100"/>
          <ac:spMkLst>
            <pc:docMk/>
            <pc:sldMk cId="3611585204" sldId="2147480348"/>
            <ac:spMk id="3" creationId="{611F5D4A-A6BF-A0D8-176B-4FDAA7CE617D}"/>
          </ac:spMkLst>
        </pc:spChg>
        <pc:spChg chg="del">
          <ac:chgData name="Cyprien ARETHUSE" userId="abd46b16-7bf0-4c01-a850-92fb83f61f27" providerId="ADAL" clId="{067C7D3F-9573-4B1A-A9B0-3005DA5BAAAF}" dt="2024-01-31T13:19:20.690" v="9998" actId="478"/>
          <ac:spMkLst>
            <pc:docMk/>
            <pc:sldMk cId="3611585204" sldId="2147480348"/>
            <ac:spMk id="10" creationId="{391DB494-1EC2-2B24-F0D2-B6211799DD7D}"/>
          </ac:spMkLst>
        </pc:spChg>
        <pc:spChg chg="del">
          <ac:chgData name="Cyprien ARETHUSE" userId="abd46b16-7bf0-4c01-a850-92fb83f61f27" providerId="ADAL" clId="{067C7D3F-9573-4B1A-A9B0-3005DA5BAAAF}" dt="2024-01-31T13:19:20.690" v="9998" actId="478"/>
          <ac:spMkLst>
            <pc:docMk/>
            <pc:sldMk cId="3611585204" sldId="2147480348"/>
            <ac:spMk id="11" creationId="{36AD624B-E088-D137-D140-9F68C1663318}"/>
          </ac:spMkLst>
        </pc:spChg>
        <pc:spChg chg="del">
          <ac:chgData name="Cyprien ARETHUSE" userId="abd46b16-7bf0-4c01-a850-92fb83f61f27" providerId="ADAL" clId="{067C7D3F-9573-4B1A-A9B0-3005DA5BAAAF}" dt="2024-01-31T13:19:20.690" v="9998" actId="478"/>
          <ac:spMkLst>
            <pc:docMk/>
            <pc:sldMk cId="3611585204" sldId="2147480348"/>
            <ac:spMk id="12" creationId="{AE692266-4F89-60DD-B37B-94AD83DBC385}"/>
          </ac:spMkLst>
        </pc:spChg>
        <pc:spChg chg="del">
          <ac:chgData name="Cyprien ARETHUSE" userId="abd46b16-7bf0-4c01-a850-92fb83f61f27" providerId="ADAL" clId="{067C7D3F-9573-4B1A-A9B0-3005DA5BAAAF}" dt="2024-01-31T13:19:20.690" v="9998" actId="478"/>
          <ac:spMkLst>
            <pc:docMk/>
            <pc:sldMk cId="3611585204" sldId="2147480348"/>
            <ac:spMk id="13" creationId="{48DEA191-C587-323E-9FDE-4970407CB548}"/>
          </ac:spMkLst>
        </pc:spChg>
        <pc:spChg chg="del">
          <ac:chgData name="Cyprien ARETHUSE" userId="abd46b16-7bf0-4c01-a850-92fb83f61f27" providerId="ADAL" clId="{067C7D3F-9573-4B1A-A9B0-3005DA5BAAAF}" dt="2024-01-31T13:19:20.690" v="9998" actId="478"/>
          <ac:spMkLst>
            <pc:docMk/>
            <pc:sldMk cId="3611585204" sldId="2147480348"/>
            <ac:spMk id="17" creationId="{A7499ADB-8AAC-7449-1DB4-87242B1E8548}"/>
          </ac:spMkLst>
        </pc:spChg>
        <pc:spChg chg="del">
          <ac:chgData name="Cyprien ARETHUSE" userId="abd46b16-7bf0-4c01-a850-92fb83f61f27" providerId="ADAL" clId="{067C7D3F-9573-4B1A-A9B0-3005DA5BAAAF}" dt="2024-01-31T13:19:20.690" v="9998" actId="478"/>
          <ac:spMkLst>
            <pc:docMk/>
            <pc:sldMk cId="3611585204" sldId="2147480348"/>
            <ac:spMk id="18" creationId="{9E261EAC-3615-EAE0-A9C4-8B94C3A1EB6C}"/>
          </ac:spMkLst>
        </pc:spChg>
        <pc:spChg chg="add mod">
          <ac:chgData name="Cyprien ARETHUSE" userId="abd46b16-7bf0-4c01-a850-92fb83f61f27" providerId="ADAL" clId="{067C7D3F-9573-4B1A-A9B0-3005DA5BAAAF}" dt="2024-01-31T13:19:32.684" v="9999"/>
          <ac:spMkLst>
            <pc:docMk/>
            <pc:sldMk cId="3611585204" sldId="2147480348"/>
            <ac:spMk id="35" creationId="{B3A933BB-B0DF-0CAA-6149-9B81085FEF10}"/>
          </ac:spMkLst>
        </pc:spChg>
        <pc:spChg chg="add mod">
          <ac:chgData name="Cyprien ARETHUSE" userId="abd46b16-7bf0-4c01-a850-92fb83f61f27" providerId="ADAL" clId="{067C7D3F-9573-4B1A-A9B0-3005DA5BAAAF}" dt="2024-01-31T13:19:32.684" v="9999"/>
          <ac:spMkLst>
            <pc:docMk/>
            <pc:sldMk cId="3611585204" sldId="2147480348"/>
            <ac:spMk id="36" creationId="{43774D76-0747-455F-1E09-4B7D82ABF15A}"/>
          </ac:spMkLst>
        </pc:spChg>
        <pc:spChg chg="add mod">
          <ac:chgData name="Cyprien ARETHUSE" userId="abd46b16-7bf0-4c01-a850-92fb83f61f27" providerId="ADAL" clId="{067C7D3F-9573-4B1A-A9B0-3005DA5BAAAF}" dt="2024-01-31T13:19:32.684" v="9999"/>
          <ac:spMkLst>
            <pc:docMk/>
            <pc:sldMk cId="3611585204" sldId="2147480348"/>
            <ac:spMk id="39" creationId="{64521F3D-87EB-3DCA-B632-6960FD1E2517}"/>
          </ac:spMkLst>
        </pc:spChg>
        <pc:spChg chg="add mod">
          <ac:chgData name="Cyprien ARETHUSE" userId="abd46b16-7bf0-4c01-a850-92fb83f61f27" providerId="ADAL" clId="{067C7D3F-9573-4B1A-A9B0-3005DA5BAAAF}" dt="2024-01-31T13:19:32.684" v="9999"/>
          <ac:spMkLst>
            <pc:docMk/>
            <pc:sldMk cId="3611585204" sldId="2147480348"/>
            <ac:spMk id="40" creationId="{C43D20B3-E342-0269-CDE1-F74A408F3C8B}"/>
          </ac:spMkLst>
        </pc:spChg>
        <pc:spChg chg="add mod">
          <ac:chgData name="Cyprien ARETHUSE" userId="abd46b16-7bf0-4c01-a850-92fb83f61f27" providerId="ADAL" clId="{067C7D3F-9573-4B1A-A9B0-3005DA5BAAAF}" dt="2024-01-31T13:19:32.684" v="9999"/>
          <ac:spMkLst>
            <pc:docMk/>
            <pc:sldMk cId="3611585204" sldId="2147480348"/>
            <ac:spMk id="42" creationId="{97ED240F-1E5E-9005-6566-68F6BB2F949D}"/>
          </ac:spMkLst>
        </pc:spChg>
        <pc:spChg chg="add mod">
          <ac:chgData name="Cyprien ARETHUSE" userId="abd46b16-7bf0-4c01-a850-92fb83f61f27" providerId="ADAL" clId="{067C7D3F-9573-4B1A-A9B0-3005DA5BAAAF}" dt="2024-01-31T13:19:32.684" v="9999"/>
          <ac:spMkLst>
            <pc:docMk/>
            <pc:sldMk cId="3611585204" sldId="2147480348"/>
            <ac:spMk id="43" creationId="{0A7B8C7C-1B4E-51BE-C761-DAD590FE44D3}"/>
          </ac:spMkLst>
        </pc:spChg>
        <pc:spChg chg="add mod">
          <ac:chgData name="Cyprien ARETHUSE" userId="abd46b16-7bf0-4c01-a850-92fb83f61f27" providerId="ADAL" clId="{067C7D3F-9573-4B1A-A9B0-3005DA5BAAAF}" dt="2024-01-31T13:19:51.824" v="10027" actId="1036"/>
          <ac:spMkLst>
            <pc:docMk/>
            <pc:sldMk cId="3611585204" sldId="2147480348"/>
            <ac:spMk id="51" creationId="{32BBDB09-FAE1-F358-BBB3-4978021753DF}"/>
          </ac:spMkLst>
        </pc:spChg>
        <pc:spChg chg="add mod">
          <ac:chgData name="Cyprien ARETHUSE" userId="abd46b16-7bf0-4c01-a850-92fb83f61f27" providerId="ADAL" clId="{067C7D3F-9573-4B1A-A9B0-3005DA5BAAAF}" dt="2024-01-31T13:19:51.824" v="10027" actId="1036"/>
          <ac:spMkLst>
            <pc:docMk/>
            <pc:sldMk cId="3611585204" sldId="2147480348"/>
            <ac:spMk id="52" creationId="{F962ED39-119B-4CCC-60DA-4875CF0C0AEC}"/>
          </ac:spMkLst>
        </pc:spChg>
        <pc:spChg chg="add mod">
          <ac:chgData name="Cyprien ARETHUSE" userId="abd46b16-7bf0-4c01-a850-92fb83f61f27" providerId="ADAL" clId="{067C7D3F-9573-4B1A-A9B0-3005DA5BAAAF}" dt="2024-01-31T13:19:51.824" v="10027" actId="1036"/>
          <ac:spMkLst>
            <pc:docMk/>
            <pc:sldMk cId="3611585204" sldId="2147480348"/>
            <ac:spMk id="55" creationId="{B2846FEA-D8C4-28E0-047D-FF71CDBA730E}"/>
          </ac:spMkLst>
        </pc:spChg>
        <pc:spChg chg="add mod">
          <ac:chgData name="Cyprien ARETHUSE" userId="abd46b16-7bf0-4c01-a850-92fb83f61f27" providerId="ADAL" clId="{067C7D3F-9573-4B1A-A9B0-3005DA5BAAAF}" dt="2024-01-31T13:19:51.824" v="10027" actId="1036"/>
          <ac:spMkLst>
            <pc:docMk/>
            <pc:sldMk cId="3611585204" sldId="2147480348"/>
            <ac:spMk id="56" creationId="{7A0CA567-05A0-0BA1-F9FF-9CB9F1C55579}"/>
          </ac:spMkLst>
        </pc:spChg>
        <pc:spChg chg="add mod">
          <ac:chgData name="Cyprien ARETHUSE" userId="abd46b16-7bf0-4c01-a850-92fb83f61f27" providerId="ADAL" clId="{067C7D3F-9573-4B1A-A9B0-3005DA5BAAAF}" dt="2024-01-31T13:19:51.824" v="10027" actId="1036"/>
          <ac:spMkLst>
            <pc:docMk/>
            <pc:sldMk cId="3611585204" sldId="2147480348"/>
            <ac:spMk id="58" creationId="{02063BC2-3A0B-3B68-D5D6-5455F0624EAC}"/>
          </ac:spMkLst>
        </pc:spChg>
        <pc:spChg chg="add mod">
          <ac:chgData name="Cyprien ARETHUSE" userId="abd46b16-7bf0-4c01-a850-92fb83f61f27" providerId="ADAL" clId="{067C7D3F-9573-4B1A-A9B0-3005DA5BAAAF}" dt="2024-01-31T13:19:51.824" v="10027" actId="1036"/>
          <ac:spMkLst>
            <pc:docMk/>
            <pc:sldMk cId="3611585204" sldId="2147480348"/>
            <ac:spMk id="59" creationId="{7FBC18C2-C3BD-B7FE-9A0D-79FF14B1CEAD}"/>
          </ac:spMkLst>
        </pc:spChg>
        <pc:graphicFrameChg chg="mod modGraphic">
          <ac:chgData name="Cyprien ARETHUSE" userId="abd46b16-7bf0-4c01-a850-92fb83f61f27" providerId="ADAL" clId="{067C7D3F-9573-4B1A-A9B0-3005DA5BAAAF}" dt="2024-01-31T13:19:51.824" v="10027" actId="1036"/>
          <ac:graphicFrameMkLst>
            <pc:docMk/>
            <pc:sldMk cId="3611585204" sldId="2147480348"/>
            <ac:graphicFrameMk id="4" creationId="{3C6C7661-FACF-12B1-EE92-D9EF78EC9C24}"/>
          </ac:graphicFrameMkLst>
        </pc:graphicFrameChg>
        <pc:graphicFrameChg chg="del">
          <ac:chgData name="Cyprien ARETHUSE" userId="abd46b16-7bf0-4c01-a850-92fb83f61f27" providerId="ADAL" clId="{067C7D3F-9573-4B1A-A9B0-3005DA5BAAAF}" dt="2024-01-31T13:19:17.574" v="9997" actId="478"/>
          <ac:graphicFrameMkLst>
            <pc:docMk/>
            <pc:sldMk cId="3611585204" sldId="2147480348"/>
            <ac:graphicFrameMk id="5" creationId="{6621F611-0EC7-2C3E-4764-B923409F0FBA}"/>
          </ac:graphicFrameMkLst>
        </pc:graphicFrameChg>
        <pc:graphicFrameChg chg="add mod">
          <ac:chgData name="Cyprien ARETHUSE" userId="abd46b16-7bf0-4c01-a850-92fb83f61f27" providerId="ADAL" clId="{067C7D3F-9573-4B1A-A9B0-3005DA5BAAAF}" dt="2024-01-31T13:19:32.684" v="9999"/>
          <ac:graphicFrameMkLst>
            <pc:docMk/>
            <pc:sldMk cId="3611585204" sldId="2147480348"/>
            <ac:graphicFrameMk id="28" creationId="{58DD7D0E-5D28-7E30-36A4-B68BEB8CA75E}"/>
          </ac:graphicFrameMkLst>
        </pc:graphicFrameChg>
        <pc:graphicFrameChg chg="add mod modGraphic">
          <ac:chgData name="Cyprien ARETHUSE" userId="abd46b16-7bf0-4c01-a850-92fb83f61f27" providerId="ADAL" clId="{067C7D3F-9573-4B1A-A9B0-3005DA5BAAAF}" dt="2024-01-31T13:20:17.514" v="10033"/>
          <ac:graphicFrameMkLst>
            <pc:docMk/>
            <pc:sldMk cId="3611585204" sldId="2147480348"/>
            <ac:graphicFrameMk id="44" creationId="{57C75FBB-8A66-971E-1AB6-46494A70CE76}"/>
          </ac:graphicFrameMkLst>
        </pc:graphicFrameChg>
        <pc:picChg chg="del">
          <ac:chgData name="Cyprien ARETHUSE" userId="abd46b16-7bf0-4c01-a850-92fb83f61f27" providerId="ADAL" clId="{067C7D3F-9573-4B1A-A9B0-3005DA5BAAAF}" dt="2024-01-31T13:19:20.690" v="9998" actId="478"/>
          <ac:picMkLst>
            <pc:docMk/>
            <pc:sldMk cId="3611585204" sldId="2147480348"/>
            <ac:picMk id="6" creationId="{472F185C-5128-F60D-A1DF-32CDE7C8EC39}"/>
          </ac:picMkLst>
        </pc:picChg>
        <pc:picChg chg="del">
          <ac:chgData name="Cyprien ARETHUSE" userId="abd46b16-7bf0-4c01-a850-92fb83f61f27" providerId="ADAL" clId="{067C7D3F-9573-4B1A-A9B0-3005DA5BAAAF}" dt="2024-01-31T13:19:20.690" v="9998" actId="478"/>
          <ac:picMkLst>
            <pc:docMk/>
            <pc:sldMk cId="3611585204" sldId="2147480348"/>
            <ac:picMk id="7" creationId="{46516ED8-0FB8-4F7B-3F43-7ECEAB41D097}"/>
          </ac:picMkLst>
        </pc:picChg>
        <pc:picChg chg="del">
          <ac:chgData name="Cyprien ARETHUSE" userId="abd46b16-7bf0-4c01-a850-92fb83f61f27" providerId="ADAL" clId="{067C7D3F-9573-4B1A-A9B0-3005DA5BAAAF}" dt="2024-01-31T13:19:20.690" v="9998" actId="478"/>
          <ac:picMkLst>
            <pc:docMk/>
            <pc:sldMk cId="3611585204" sldId="2147480348"/>
            <ac:picMk id="8" creationId="{EF22A10E-4664-EBFE-8C48-9E6100D7B188}"/>
          </ac:picMkLst>
        </pc:picChg>
        <pc:picChg chg="del">
          <ac:chgData name="Cyprien ARETHUSE" userId="abd46b16-7bf0-4c01-a850-92fb83f61f27" providerId="ADAL" clId="{067C7D3F-9573-4B1A-A9B0-3005DA5BAAAF}" dt="2024-01-31T13:19:20.690" v="9998" actId="478"/>
          <ac:picMkLst>
            <pc:docMk/>
            <pc:sldMk cId="3611585204" sldId="2147480348"/>
            <ac:picMk id="9" creationId="{FCDBDE7B-5295-D7C3-A1E5-62922B286BB0}"/>
          </ac:picMkLst>
        </pc:picChg>
        <pc:picChg chg="del">
          <ac:chgData name="Cyprien ARETHUSE" userId="abd46b16-7bf0-4c01-a850-92fb83f61f27" providerId="ADAL" clId="{067C7D3F-9573-4B1A-A9B0-3005DA5BAAAF}" dt="2024-01-31T13:19:20.690" v="9998" actId="478"/>
          <ac:picMkLst>
            <pc:docMk/>
            <pc:sldMk cId="3611585204" sldId="2147480348"/>
            <ac:picMk id="14" creationId="{CE9FF60F-56DB-DC9C-5AAA-5A2A5E835A75}"/>
          </ac:picMkLst>
        </pc:picChg>
        <pc:picChg chg="del">
          <ac:chgData name="Cyprien ARETHUSE" userId="abd46b16-7bf0-4c01-a850-92fb83f61f27" providerId="ADAL" clId="{067C7D3F-9573-4B1A-A9B0-3005DA5BAAAF}" dt="2024-01-31T13:19:20.690" v="9998" actId="478"/>
          <ac:picMkLst>
            <pc:docMk/>
            <pc:sldMk cId="3611585204" sldId="2147480348"/>
            <ac:picMk id="15" creationId="{B0B1BEB7-0A0C-BC4E-1DC1-BB53ED111E17}"/>
          </ac:picMkLst>
        </pc:picChg>
        <pc:picChg chg="del">
          <ac:chgData name="Cyprien ARETHUSE" userId="abd46b16-7bf0-4c01-a850-92fb83f61f27" providerId="ADAL" clId="{067C7D3F-9573-4B1A-A9B0-3005DA5BAAAF}" dt="2024-01-31T13:19:20.690" v="9998" actId="478"/>
          <ac:picMkLst>
            <pc:docMk/>
            <pc:sldMk cId="3611585204" sldId="2147480348"/>
            <ac:picMk id="16" creationId="{3727B052-A200-E682-213A-4D99FA120A8D}"/>
          </ac:picMkLst>
        </pc:picChg>
        <pc:picChg chg="del">
          <ac:chgData name="Cyprien ARETHUSE" userId="abd46b16-7bf0-4c01-a850-92fb83f61f27" providerId="ADAL" clId="{067C7D3F-9573-4B1A-A9B0-3005DA5BAAAF}" dt="2024-01-31T13:19:20.690" v="9998" actId="478"/>
          <ac:picMkLst>
            <pc:docMk/>
            <pc:sldMk cId="3611585204" sldId="2147480348"/>
            <ac:picMk id="19" creationId="{4A71800E-E3B0-E6AC-56B1-29C4C759D30E}"/>
          </ac:picMkLst>
        </pc:picChg>
        <pc:picChg chg="del">
          <ac:chgData name="Cyprien ARETHUSE" userId="abd46b16-7bf0-4c01-a850-92fb83f61f27" providerId="ADAL" clId="{067C7D3F-9573-4B1A-A9B0-3005DA5BAAAF}" dt="2024-01-31T13:19:20.690" v="9998" actId="478"/>
          <ac:picMkLst>
            <pc:docMk/>
            <pc:sldMk cId="3611585204" sldId="2147480348"/>
            <ac:picMk id="20" creationId="{6CE5204C-E4E2-5303-4FC1-057942B38DD7}"/>
          </ac:picMkLst>
        </pc:picChg>
        <pc:picChg chg="del">
          <ac:chgData name="Cyprien ARETHUSE" userId="abd46b16-7bf0-4c01-a850-92fb83f61f27" providerId="ADAL" clId="{067C7D3F-9573-4B1A-A9B0-3005DA5BAAAF}" dt="2024-01-31T13:19:20.690" v="9998" actId="478"/>
          <ac:picMkLst>
            <pc:docMk/>
            <pc:sldMk cId="3611585204" sldId="2147480348"/>
            <ac:picMk id="21" creationId="{2B1890F3-D60C-E729-619E-384618863CE4}"/>
          </ac:picMkLst>
        </pc:picChg>
        <pc:picChg chg="del">
          <ac:chgData name="Cyprien ARETHUSE" userId="abd46b16-7bf0-4c01-a850-92fb83f61f27" providerId="ADAL" clId="{067C7D3F-9573-4B1A-A9B0-3005DA5BAAAF}" dt="2024-01-31T13:19:20.690" v="9998" actId="478"/>
          <ac:picMkLst>
            <pc:docMk/>
            <pc:sldMk cId="3611585204" sldId="2147480348"/>
            <ac:picMk id="22" creationId="{2AF68141-E9A0-31F5-113F-D6F1488BA07B}"/>
          </ac:picMkLst>
        </pc:picChg>
        <pc:picChg chg="del">
          <ac:chgData name="Cyprien ARETHUSE" userId="abd46b16-7bf0-4c01-a850-92fb83f61f27" providerId="ADAL" clId="{067C7D3F-9573-4B1A-A9B0-3005DA5BAAAF}" dt="2024-01-31T13:19:20.690" v="9998" actId="478"/>
          <ac:picMkLst>
            <pc:docMk/>
            <pc:sldMk cId="3611585204" sldId="2147480348"/>
            <ac:picMk id="23" creationId="{2A8BA989-4731-7FE2-CB7E-4A6542D69C1E}"/>
          </ac:picMkLst>
        </pc:picChg>
        <pc:picChg chg="del">
          <ac:chgData name="Cyprien ARETHUSE" userId="abd46b16-7bf0-4c01-a850-92fb83f61f27" providerId="ADAL" clId="{067C7D3F-9573-4B1A-A9B0-3005DA5BAAAF}" dt="2024-01-31T13:19:20.690" v="9998" actId="478"/>
          <ac:picMkLst>
            <pc:docMk/>
            <pc:sldMk cId="3611585204" sldId="2147480348"/>
            <ac:picMk id="24" creationId="{F8BB7969-33E5-3491-D07D-87CEF6873A60}"/>
          </ac:picMkLst>
        </pc:picChg>
        <pc:picChg chg="del">
          <ac:chgData name="Cyprien ARETHUSE" userId="abd46b16-7bf0-4c01-a850-92fb83f61f27" providerId="ADAL" clId="{067C7D3F-9573-4B1A-A9B0-3005DA5BAAAF}" dt="2024-01-31T13:19:20.690" v="9998" actId="478"/>
          <ac:picMkLst>
            <pc:docMk/>
            <pc:sldMk cId="3611585204" sldId="2147480348"/>
            <ac:picMk id="25" creationId="{396A85CB-4B7C-9132-2272-06968582A1C4}"/>
          </ac:picMkLst>
        </pc:picChg>
        <pc:picChg chg="del">
          <ac:chgData name="Cyprien ARETHUSE" userId="abd46b16-7bf0-4c01-a850-92fb83f61f27" providerId="ADAL" clId="{067C7D3F-9573-4B1A-A9B0-3005DA5BAAAF}" dt="2024-01-31T13:19:20.690" v="9998" actId="478"/>
          <ac:picMkLst>
            <pc:docMk/>
            <pc:sldMk cId="3611585204" sldId="2147480348"/>
            <ac:picMk id="26" creationId="{58B8A3A0-510C-FF19-72B6-B29FE60D8C42}"/>
          </ac:picMkLst>
        </pc:picChg>
        <pc:picChg chg="del">
          <ac:chgData name="Cyprien ARETHUSE" userId="abd46b16-7bf0-4c01-a850-92fb83f61f27" providerId="ADAL" clId="{067C7D3F-9573-4B1A-A9B0-3005DA5BAAAF}" dt="2024-01-31T13:19:20.690" v="9998" actId="478"/>
          <ac:picMkLst>
            <pc:docMk/>
            <pc:sldMk cId="3611585204" sldId="2147480348"/>
            <ac:picMk id="27" creationId="{29D0782F-AFBA-5431-947B-E8E4B6C346FA}"/>
          </ac:picMkLst>
        </pc:picChg>
        <pc:picChg chg="add mod">
          <ac:chgData name="Cyprien ARETHUSE" userId="abd46b16-7bf0-4c01-a850-92fb83f61f27" providerId="ADAL" clId="{067C7D3F-9573-4B1A-A9B0-3005DA5BAAAF}" dt="2024-01-31T13:19:32.684" v="9999"/>
          <ac:picMkLst>
            <pc:docMk/>
            <pc:sldMk cId="3611585204" sldId="2147480348"/>
            <ac:picMk id="29" creationId="{FD77923D-C342-A522-A6D4-99522ECA11CC}"/>
          </ac:picMkLst>
        </pc:picChg>
        <pc:picChg chg="add mod">
          <ac:chgData name="Cyprien ARETHUSE" userId="abd46b16-7bf0-4c01-a850-92fb83f61f27" providerId="ADAL" clId="{067C7D3F-9573-4B1A-A9B0-3005DA5BAAAF}" dt="2024-01-31T13:19:32.684" v="9999"/>
          <ac:picMkLst>
            <pc:docMk/>
            <pc:sldMk cId="3611585204" sldId="2147480348"/>
            <ac:picMk id="30" creationId="{A33AA884-2B0E-EE3A-9F26-A06B33A03883}"/>
          </ac:picMkLst>
        </pc:picChg>
        <pc:picChg chg="add mod">
          <ac:chgData name="Cyprien ARETHUSE" userId="abd46b16-7bf0-4c01-a850-92fb83f61f27" providerId="ADAL" clId="{067C7D3F-9573-4B1A-A9B0-3005DA5BAAAF}" dt="2024-01-31T13:19:32.684" v="9999"/>
          <ac:picMkLst>
            <pc:docMk/>
            <pc:sldMk cId="3611585204" sldId="2147480348"/>
            <ac:picMk id="31" creationId="{784BD661-9F1D-5BDF-9449-C096FCE78DE5}"/>
          </ac:picMkLst>
        </pc:picChg>
        <pc:picChg chg="add mod">
          <ac:chgData name="Cyprien ARETHUSE" userId="abd46b16-7bf0-4c01-a850-92fb83f61f27" providerId="ADAL" clId="{067C7D3F-9573-4B1A-A9B0-3005DA5BAAAF}" dt="2024-01-31T13:19:32.684" v="9999"/>
          <ac:picMkLst>
            <pc:docMk/>
            <pc:sldMk cId="3611585204" sldId="2147480348"/>
            <ac:picMk id="32" creationId="{06B9C19E-C28A-D31E-527B-4A6C8AFCEF50}"/>
          </ac:picMkLst>
        </pc:picChg>
        <pc:picChg chg="add mod">
          <ac:chgData name="Cyprien ARETHUSE" userId="abd46b16-7bf0-4c01-a850-92fb83f61f27" providerId="ADAL" clId="{067C7D3F-9573-4B1A-A9B0-3005DA5BAAAF}" dt="2024-01-31T13:19:32.684" v="9999"/>
          <ac:picMkLst>
            <pc:docMk/>
            <pc:sldMk cId="3611585204" sldId="2147480348"/>
            <ac:picMk id="33" creationId="{C7202228-C18F-8A7B-7EC4-9DAB87FBAE00}"/>
          </ac:picMkLst>
        </pc:picChg>
        <pc:picChg chg="add mod">
          <ac:chgData name="Cyprien ARETHUSE" userId="abd46b16-7bf0-4c01-a850-92fb83f61f27" providerId="ADAL" clId="{067C7D3F-9573-4B1A-A9B0-3005DA5BAAAF}" dt="2024-01-31T13:19:32.684" v="9999"/>
          <ac:picMkLst>
            <pc:docMk/>
            <pc:sldMk cId="3611585204" sldId="2147480348"/>
            <ac:picMk id="34" creationId="{CE29BACE-1A48-3DF0-5F86-2D9A79A47F4C}"/>
          </ac:picMkLst>
        </pc:picChg>
        <pc:picChg chg="add mod">
          <ac:chgData name="Cyprien ARETHUSE" userId="abd46b16-7bf0-4c01-a850-92fb83f61f27" providerId="ADAL" clId="{067C7D3F-9573-4B1A-A9B0-3005DA5BAAAF}" dt="2024-01-31T13:19:32.684" v="9999"/>
          <ac:picMkLst>
            <pc:docMk/>
            <pc:sldMk cId="3611585204" sldId="2147480348"/>
            <ac:picMk id="37" creationId="{FC7007C1-2D5F-809D-21F5-F978744929FE}"/>
          </ac:picMkLst>
        </pc:picChg>
        <pc:picChg chg="add mod">
          <ac:chgData name="Cyprien ARETHUSE" userId="abd46b16-7bf0-4c01-a850-92fb83f61f27" providerId="ADAL" clId="{067C7D3F-9573-4B1A-A9B0-3005DA5BAAAF}" dt="2024-01-31T13:19:32.684" v="9999"/>
          <ac:picMkLst>
            <pc:docMk/>
            <pc:sldMk cId="3611585204" sldId="2147480348"/>
            <ac:picMk id="38" creationId="{A0B0BACD-9C4C-A5C0-82FF-6E7AAFFCD5C8}"/>
          </ac:picMkLst>
        </pc:picChg>
        <pc:picChg chg="add mod">
          <ac:chgData name="Cyprien ARETHUSE" userId="abd46b16-7bf0-4c01-a850-92fb83f61f27" providerId="ADAL" clId="{067C7D3F-9573-4B1A-A9B0-3005DA5BAAAF}" dt="2024-01-31T13:19:32.684" v="9999"/>
          <ac:picMkLst>
            <pc:docMk/>
            <pc:sldMk cId="3611585204" sldId="2147480348"/>
            <ac:picMk id="41" creationId="{C884C406-4585-3AA7-EFAA-1ED147AE351F}"/>
          </ac:picMkLst>
        </pc:picChg>
        <pc:picChg chg="add mod">
          <ac:chgData name="Cyprien ARETHUSE" userId="abd46b16-7bf0-4c01-a850-92fb83f61f27" providerId="ADAL" clId="{067C7D3F-9573-4B1A-A9B0-3005DA5BAAAF}" dt="2024-01-31T13:19:51.824" v="10027" actId="1036"/>
          <ac:picMkLst>
            <pc:docMk/>
            <pc:sldMk cId="3611585204" sldId="2147480348"/>
            <ac:picMk id="45" creationId="{E9F4D743-BFCF-0F1B-0735-187F8C377687}"/>
          </ac:picMkLst>
        </pc:picChg>
        <pc:picChg chg="add mod">
          <ac:chgData name="Cyprien ARETHUSE" userId="abd46b16-7bf0-4c01-a850-92fb83f61f27" providerId="ADAL" clId="{067C7D3F-9573-4B1A-A9B0-3005DA5BAAAF}" dt="2024-01-31T13:19:51.824" v="10027" actId="1036"/>
          <ac:picMkLst>
            <pc:docMk/>
            <pc:sldMk cId="3611585204" sldId="2147480348"/>
            <ac:picMk id="46" creationId="{898D114B-5C40-EC9F-AAB4-C262A1384BAB}"/>
          </ac:picMkLst>
        </pc:picChg>
        <pc:picChg chg="add mod">
          <ac:chgData name="Cyprien ARETHUSE" userId="abd46b16-7bf0-4c01-a850-92fb83f61f27" providerId="ADAL" clId="{067C7D3F-9573-4B1A-A9B0-3005DA5BAAAF}" dt="2024-01-31T13:19:51.824" v="10027" actId="1036"/>
          <ac:picMkLst>
            <pc:docMk/>
            <pc:sldMk cId="3611585204" sldId="2147480348"/>
            <ac:picMk id="47" creationId="{B580D78C-4FFF-D3FA-FD06-4637CA29CE70}"/>
          </ac:picMkLst>
        </pc:picChg>
        <pc:picChg chg="add mod">
          <ac:chgData name="Cyprien ARETHUSE" userId="abd46b16-7bf0-4c01-a850-92fb83f61f27" providerId="ADAL" clId="{067C7D3F-9573-4B1A-A9B0-3005DA5BAAAF}" dt="2024-01-31T13:19:51.824" v="10027" actId="1036"/>
          <ac:picMkLst>
            <pc:docMk/>
            <pc:sldMk cId="3611585204" sldId="2147480348"/>
            <ac:picMk id="48" creationId="{A16BA4DF-8723-0862-AB14-3AF8160913BA}"/>
          </ac:picMkLst>
        </pc:picChg>
        <pc:picChg chg="add mod">
          <ac:chgData name="Cyprien ARETHUSE" userId="abd46b16-7bf0-4c01-a850-92fb83f61f27" providerId="ADAL" clId="{067C7D3F-9573-4B1A-A9B0-3005DA5BAAAF}" dt="2024-01-31T13:19:51.824" v="10027" actId="1036"/>
          <ac:picMkLst>
            <pc:docMk/>
            <pc:sldMk cId="3611585204" sldId="2147480348"/>
            <ac:picMk id="49" creationId="{196DC3FD-9CE8-2E57-77C4-FCD80E8ED4DC}"/>
          </ac:picMkLst>
        </pc:picChg>
        <pc:picChg chg="add mod">
          <ac:chgData name="Cyprien ARETHUSE" userId="abd46b16-7bf0-4c01-a850-92fb83f61f27" providerId="ADAL" clId="{067C7D3F-9573-4B1A-A9B0-3005DA5BAAAF}" dt="2024-01-31T13:19:51.824" v="10027" actId="1036"/>
          <ac:picMkLst>
            <pc:docMk/>
            <pc:sldMk cId="3611585204" sldId="2147480348"/>
            <ac:picMk id="50" creationId="{A91CC93A-3775-5BFA-863F-FA6F507002E1}"/>
          </ac:picMkLst>
        </pc:picChg>
        <pc:picChg chg="add mod">
          <ac:chgData name="Cyprien ARETHUSE" userId="abd46b16-7bf0-4c01-a850-92fb83f61f27" providerId="ADAL" clId="{067C7D3F-9573-4B1A-A9B0-3005DA5BAAAF}" dt="2024-01-31T13:19:51.824" v="10027" actId="1036"/>
          <ac:picMkLst>
            <pc:docMk/>
            <pc:sldMk cId="3611585204" sldId="2147480348"/>
            <ac:picMk id="53" creationId="{8B65860F-1316-B75B-0688-6488144173C8}"/>
          </ac:picMkLst>
        </pc:picChg>
        <pc:picChg chg="add mod">
          <ac:chgData name="Cyprien ARETHUSE" userId="abd46b16-7bf0-4c01-a850-92fb83f61f27" providerId="ADAL" clId="{067C7D3F-9573-4B1A-A9B0-3005DA5BAAAF}" dt="2024-01-31T13:19:51.824" v="10027" actId="1036"/>
          <ac:picMkLst>
            <pc:docMk/>
            <pc:sldMk cId="3611585204" sldId="2147480348"/>
            <ac:picMk id="54" creationId="{713857C9-BFE9-D1FA-7527-4B177B195F4C}"/>
          </ac:picMkLst>
        </pc:picChg>
        <pc:picChg chg="add mod">
          <ac:chgData name="Cyprien ARETHUSE" userId="abd46b16-7bf0-4c01-a850-92fb83f61f27" providerId="ADAL" clId="{067C7D3F-9573-4B1A-A9B0-3005DA5BAAAF}" dt="2024-01-31T13:19:51.824" v="10027" actId="1036"/>
          <ac:picMkLst>
            <pc:docMk/>
            <pc:sldMk cId="3611585204" sldId="2147480348"/>
            <ac:picMk id="57" creationId="{1F3F9DC5-774C-1E6D-9160-AC86C40B2BD3}"/>
          </ac:picMkLst>
        </pc:picChg>
      </pc:sldChg>
      <pc:sldChg chg="modSp add mod ord">
        <pc:chgData name="Cyprien ARETHUSE" userId="abd46b16-7bf0-4c01-a850-92fb83f61f27" providerId="ADAL" clId="{067C7D3F-9573-4B1A-A9B0-3005DA5BAAAF}" dt="2024-02-02T14:57:26.278" v="18199" actId="207"/>
        <pc:sldMkLst>
          <pc:docMk/>
          <pc:sldMk cId="2933063749" sldId="2147480349"/>
        </pc:sldMkLst>
        <pc:spChg chg="mod">
          <ac:chgData name="Cyprien ARETHUSE" userId="abd46b16-7bf0-4c01-a850-92fb83f61f27" providerId="ADAL" clId="{067C7D3F-9573-4B1A-A9B0-3005DA5BAAAF}" dt="2024-02-02T14:15:54.979" v="16605" actId="404"/>
          <ac:spMkLst>
            <pc:docMk/>
            <pc:sldMk cId="2933063749" sldId="2147480349"/>
            <ac:spMk id="2" creationId="{57B1CA06-63B4-1946-F9B7-7FEA0E10B894}"/>
          </ac:spMkLst>
        </pc:spChg>
        <pc:spChg chg="mod">
          <ac:chgData name="Cyprien ARETHUSE" userId="abd46b16-7bf0-4c01-a850-92fb83f61f27" providerId="ADAL" clId="{067C7D3F-9573-4B1A-A9B0-3005DA5BAAAF}" dt="2024-02-02T14:57:26.278" v="18199" actId="207"/>
          <ac:spMkLst>
            <pc:docMk/>
            <pc:sldMk cId="2933063749" sldId="2147480349"/>
            <ac:spMk id="3" creationId="{611F5D4A-A6BF-A0D8-176B-4FDAA7CE617D}"/>
          </ac:spMkLst>
        </pc:spChg>
        <pc:spChg chg="mod">
          <ac:chgData name="Cyprien ARETHUSE" userId="abd46b16-7bf0-4c01-a850-92fb83f61f27" providerId="ADAL" clId="{067C7D3F-9573-4B1A-A9B0-3005DA5BAAAF}" dt="2024-02-02T12:57:17.784" v="16164" actId="1035"/>
          <ac:spMkLst>
            <pc:docMk/>
            <pc:sldMk cId="2933063749" sldId="2147480349"/>
            <ac:spMk id="11" creationId="{36AD624B-E088-D137-D140-9F68C1663318}"/>
          </ac:spMkLst>
        </pc:spChg>
        <pc:spChg chg="mod">
          <ac:chgData name="Cyprien ARETHUSE" userId="abd46b16-7bf0-4c01-a850-92fb83f61f27" providerId="ADAL" clId="{067C7D3F-9573-4B1A-A9B0-3005DA5BAAAF}" dt="2024-02-02T12:57:17.784" v="16164" actId="1035"/>
          <ac:spMkLst>
            <pc:docMk/>
            <pc:sldMk cId="2933063749" sldId="2147480349"/>
            <ac:spMk id="13" creationId="{48DEA191-C587-323E-9FDE-4970407CB548}"/>
          </ac:spMkLst>
        </pc:spChg>
        <pc:graphicFrameChg chg="modGraphic">
          <ac:chgData name="Cyprien ARETHUSE" userId="abd46b16-7bf0-4c01-a850-92fb83f61f27" providerId="ADAL" clId="{067C7D3F-9573-4B1A-A9B0-3005DA5BAAAF}" dt="2024-02-02T14:22:08.825" v="16908" actId="2710"/>
          <ac:graphicFrameMkLst>
            <pc:docMk/>
            <pc:sldMk cId="2933063749" sldId="2147480349"/>
            <ac:graphicFrameMk id="4" creationId="{3C6C7661-FACF-12B1-EE92-D9EF78EC9C24}"/>
          </ac:graphicFrameMkLst>
        </pc:graphicFrameChg>
        <pc:graphicFrameChg chg="mod modGraphic">
          <ac:chgData name="Cyprien ARETHUSE" userId="abd46b16-7bf0-4c01-a850-92fb83f61f27" providerId="ADAL" clId="{067C7D3F-9573-4B1A-A9B0-3005DA5BAAAF}" dt="2024-02-02T12:57:13.179" v="16157" actId="14734"/>
          <ac:graphicFrameMkLst>
            <pc:docMk/>
            <pc:sldMk cId="2933063749" sldId="2147480349"/>
            <ac:graphicFrameMk id="5" creationId="{6621F611-0EC7-2C3E-4764-B923409F0FBA}"/>
          </ac:graphicFrameMkLst>
        </pc:graphicFrameChg>
        <pc:picChg chg="mod">
          <ac:chgData name="Cyprien ARETHUSE" userId="abd46b16-7bf0-4c01-a850-92fb83f61f27" providerId="ADAL" clId="{067C7D3F-9573-4B1A-A9B0-3005DA5BAAAF}" dt="2024-02-02T12:57:17.784" v="16164" actId="1035"/>
          <ac:picMkLst>
            <pc:docMk/>
            <pc:sldMk cId="2933063749" sldId="2147480349"/>
            <ac:picMk id="8" creationId="{EF22A10E-4664-EBFE-8C48-9E6100D7B188}"/>
          </ac:picMkLst>
        </pc:picChg>
        <pc:picChg chg="mod">
          <ac:chgData name="Cyprien ARETHUSE" userId="abd46b16-7bf0-4c01-a850-92fb83f61f27" providerId="ADAL" clId="{067C7D3F-9573-4B1A-A9B0-3005DA5BAAAF}" dt="2024-02-02T12:57:17.784" v="16164" actId="1035"/>
          <ac:picMkLst>
            <pc:docMk/>
            <pc:sldMk cId="2933063749" sldId="2147480349"/>
            <ac:picMk id="9" creationId="{FCDBDE7B-5295-D7C3-A1E5-62922B286BB0}"/>
          </ac:picMkLst>
        </pc:picChg>
        <pc:picChg chg="mod">
          <ac:chgData name="Cyprien ARETHUSE" userId="abd46b16-7bf0-4c01-a850-92fb83f61f27" providerId="ADAL" clId="{067C7D3F-9573-4B1A-A9B0-3005DA5BAAAF}" dt="2024-02-02T12:57:17.784" v="16164" actId="1035"/>
          <ac:picMkLst>
            <pc:docMk/>
            <pc:sldMk cId="2933063749" sldId="2147480349"/>
            <ac:picMk id="20" creationId="{6CE5204C-E4E2-5303-4FC1-057942B38DD7}"/>
          </ac:picMkLst>
        </pc:picChg>
        <pc:picChg chg="mod">
          <ac:chgData name="Cyprien ARETHUSE" userId="abd46b16-7bf0-4c01-a850-92fb83f61f27" providerId="ADAL" clId="{067C7D3F-9573-4B1A-A9B0-3005DA5BAAAF}" dt="2024-02-02T12:57:17.784" v="16164" actId="1035"/>
          <ac:picMkLst>
            <pc:docMk/>
            <pc:sldMk cId="2933063749" sldId="2147480349"/>
            <ac:picMk id="21" creationId="{2B1890F3-D60C-E729-619E-384618863CE4}"/>
          </ac:picMkLst>
        </pc:picChg>
        <pc:picChg chg="mod">
          <ac:chgData name="Cyprien ARETHUSE" userId="abd46b16-7bf0-4c01-a850-92fb83f61f27" providerId="ADAL" clId="{067C7D3F-9573-4B1A-A9B0-3005DA5BAAAF}" dt="2024-02-01T11:16:06.788" v="12035" actId="1037"/>
          <ac:picMkLst>
            <pc:docMk/>
            <pc:sldMk cId="2933063749" sldId="2147480349"/>
            <ac:picMk id="22" creationId="{2AF68141-E9A0-31F5-113F-D6F1488BA07B}"/>
          </ac:picMkLst>
        </pc:picChg>
        <pc:picChg chg="mod">
          <ac:chgData name="Cyprien ARETHUSE" userId="abd46b16-7bf0-4c01-a850-92fb83f61f27" providerId="ADAL" clId="{067C7D3F-9573-4B1A-A9B0-3005DA5BAAAF}" dt="2024-02-01T11:16:06.788" v="12035" actId="1037"/>
          <ac:picMkLst>
            <pc:docMk/>
            <pc:sldMk cId="2933063749" sldId="2147480349"/>
            <ac:picMk id="23" creationId="{2A8BA989-4731-7FE2-CB7E-4A6542D69C1E}"/>
          </ac:picMkLst>
        </pc:picChg>
        <pc:picChg chg="mod">
          <ac:chgData name="Cyprien ARETHUSE" userId="abd46b16-7bf0-4c01-a850-92fb83f61f27" providerId="ADAL" clId="{067C7D3F-9573-4B1A-A9B0-3005DA5BAAAF}" dt="2024-02-01T11:16:06.788" v="12035" actId="1037"/>
          <ac:picMkLst>
            <pc:docMk/>
            <pc:sldMk cId="2933063749" sldId="2147480349"/>
            <ac:picMk id="24" creationId="{F8BB7969-33E5-3491-D07D-87CEF6873A60}"/>
          </ac:picMkLst>
        </pc:picChg>
        <pc:picChg chg="mod">
          <ac:chgData name="Cyprien ARETHUSE" userId="abd46b16-7bf0-4c01-a850-92fb83f61f27" providerId="ADAL" clId="{067C7D3F-9573-4B1A-A9B0-3005DA5BAAAF}" dt="2024-02-01T11:16:06.788" v="12035" actId="1037"/>
          <ac:picMkLst>
            <pc:docMk/>
            <pc:sldMk cId="2933063749" sldId="2147480349"/>
            <ac:picMk id="25" creationId="{396A85CB-4B7C-9132-2272-06968582A1C4}"/>
          </ac:picMkLst>
        </pc:picChg>
        <pc:picChg chg="mod">
          <ac:chgData name="Cyprien ARETHUSE" userId="abd46b16-7bf0-4c01-a850-92fb83f61f27" providerId="ADAL" clId="{067C7D3F-9573-4B1A-A9B0-3005DA5BAAAF}" dt="2024-02-01T11:16:06.788" v="12035" actId="1037"/>
          <ac:picMkLst>
            <pc:docMk/>
            <pc:sldMk cId="2933063749" sldId="2147480349"/>
            <ac:picMk id="26" creationId="{58B8A3A0-510C-FF19-72B6-B29FE60D8C42}"/>
          </ac:picMkLst>
        </pc:picChg>
        <pc:picChg chg="mod">
          <ac:chgData name="Cyprien ARETHUSE" userId="abd46b16-7bf0-4c01-a850-92fb83f61f27" providerId="ADAL" clId="{067C7D3F-9573-4B1A-A9B0-3005DA5BAAAF}" dt="2024-02-01T11:16:06.788" v="12035" actId="1037"/>
          <ac:picMkLst>
            <pc:docMk/>
            <pc:sldMk cId="2933063749" sldId="2147480349"/>
            <ac:picMk id="27" creationId="{29D0782F-AFBA-5431-947B-E8E4B6C346FA}"/>
          </ac:picMkLst>
        </pc:picChg>
      </pc:sldChg>
      <pc:sldChg chg="add del">
        <pc:chgData name="Cyprien ARETHUSE" userId="abd46b16-7bf0-4c01-a850-92fb83f61f27" providerId="ADAL" clId="{067C7D3F-9573-4B1A-A9B0-3005DA5BAAAF}" dt="2024-01-31T13:41:09.709" v="10039" actId="47"/>
        <pc:sldMkLst>
          <pc:docMk/>
          <pc:sldMk cId="3445176593" sldId="2147482330"/>
        </pc:sldMkLst>
      </pc:sldChg>
      <pc:sldChg chg="addSp delSp modSp add mod">
        <pc:chgData name="Cyprien ARETHUSE" userId="abd46b16-7bf0-4c01-a850-92fb83f61f27" providerId="ADAL" clId="{067C7D3F-9573-4B1A-A9B0-3005DA5BAAAF}" dt="2024-01-31T14:30:40.749" v="10376" actId="1076"/>
        <pc:sldMkLst>
          <pc:docMk/>
          <pc:sldMk cId="3321415146" sldId="2147482331"/>
        </pc:sldMkLst>
        <pc:spChg chg="del">
          <ac:chgData name="Cyprien ARETHUSE" userId="abd46b16-7bf0-4c01-a850-92fb83f61f27" providerId="ADAL" clId="{067C7D3F-9573-4B1A-A9B0-3005DA5BAAAF}" dt="2024-01-31T13:40:54.410" v="10037" actId="478"/>
          <ac:spMkLst>
            <pc:docMk/>
            <pc:sldMk cId="3321415146" sldId="2147482331"/>
            <ac:spMk id="2" creationId="{BF857A13-9B21-9D08-5BCE-9F6F794662F3}"/>
          </ac:spMkLst>
        </pc:spChg>
        <pc:spChg chg="del">
          <ac:chgData name="Cyprien ARETHUSE" userId="abd46b16-7bf0-4c01-a850-92fb83f61f27" providerId="ADAL" clId="{067C7D3F-9573-4B1A-A9B0-3005DA5BAAAF}" dt="2024-01-31T13:40:54.410" v="10037" actId="478"/>
          <ac:spMkLst>
            <pc:docMk/>
            <pc:sldMk cId="3321415146" sldId="2147482331"/>
            <ac:spMk id="3" creationId="{CD2C8806-76FD-0C48-E7CE-AAACEF057CA1}"/>
          </ac:spMkLst>
        </pc:spChg>
        <pc:spChg chg="del">
          <ac:chgData name="Cyprien ARETHUSE" userId="abd46b16-7bf0-4c01-a850-92fb83f61f27" providerId="ADAL" clId="{067C7D3F-9573-4B1A-A9B0-3005DA5BAAAF}" dt="2024-01-31T13:40:54.410" v="10037" actId="478"/>
          <ac:spMkLst>
            <pc:docMk/>
            <pc:sldMk cId="3321415146" sldId="2147482331"/>
            <ac:spMk id="4" creationId="{2C16A74B-6324-D090-A7CB-C426DA64F2FC}"/>
          </ac:spMkLst>
        </pc:spChg>
        <pc:spChg chg="del">
          <ac:chgData name="Cyprien ARETHUSE" userId="abd46b16-7bf0-4c01-a850-92fb83f61f27" providerId="ADAL" clId="{067C7D3F-9573-4B1A-A9B0-3005DA5BAAAF}" dt="2024-01-31T13:40:54.410" v="10037" actId="478"/>
          <ac:spMkLst>
            <pc:docMk/>
            <pc:sldMk cId="3321415146" sldId="2147482331"/>
            <ac:spMk id="5" creationId="{BB2F53DE-CA86-D804-EE23-B3CF4B0C5E76}"/>
          </ac:spMkLst>
        </pc:spChg>
        <pc:spChg chg="del">
          <ac:chgData name="Cyprien ARETHUSE" userId="abd46b16-7bf0-4c01-a850-92fb83f61f27" providerId="ADAL" clId="{067C7D3F-9573-4B1A-A9B0-3005DA5BAAAF}" dt="2024-01-31T13:40:54.410" v="10037" actId="478"/>
          <ac:spMkLst>
            <pc:docMk/>
            <pc:sldMk cId="3321415146" sldId="2147482331"/>
            <ac:spMk id="7" creationId="{81245684-CB42-C707-9FDE-D172B55AFB51}"/>
          </ac:spMkLst>
        </pc:spChg>
        <pc:spChg chg="del">
          <ac:chgData name="Cyprien ARETHUSE" userId="abd46b16-7bf0-4c01-a850-92fb83f61f27" providerId="ADAL" clId="{067C7D3F-9573-4B1A-A9B0-3005DA5BAAAF}" dt="2024-01-31T13:40:54.410" v="10037" actId="478"/>
          <ac:spMkLst>
            <pc:docMk/>
            <pc:sldMk cId="3321415146" sldId="2147482331"/>
            <ac:spMk id="8" creationId="{726EBE60-6DE4-5564-5AE0-ACBBA72D891C}"/>
          </ac:spMkLst>
        </pc:spChg>
        <pc:spChg chg="del">
          <ac:chgData name="Cyprien ARETHUSE" userId="abd46b16-7bf0-4c01-a850-92fb83f61f27" providerId="ADAL" clId="{067C7D3F-9573-4B1A-A9B0-3005DA5BAAAF}" dt="2024-01-31T13:40:54.410" v="10037" actId="478"/>
          <ac:spMkLst>
            <pc:docMk/>
            <pc:sldMk cId="3321415146" sldId="2147482331"/>
            <ac:spMk id="11" creationId="{0D3969C1-1754-9C82-D6F6-EA2081A7C97C}"/>
          </ac:spMkLst>
        </pc:spChg>
        <pc:spChg chg="mod">
          <ac:chgData name="Cyprien ARETHUSE" userId="abd46b16-7bf0-4c01-a850-92fb83f61f27" providerId="ADAL" clId="{067C7D3F-9573-4B1A-A9B0-3005DA5BAAAF}" dt="2024-01-31T13:41:22.241" v="10048" actId="6549"/>
          <ac:spMkLst>
            <pc:docMk/>
            <pc:sldMk cId="3321415146" sldId="2147482331"/>
            <ac:spMk id="12" creationId="{A69472D7-2493-2CA6-688C-D454739D34D4}"/>
          </ac:spMkLst>
        </pc:spChg>
        <pc:spChg chg="del">
          <ac:chgData name="Cyprien ARETHUSE" userId="abd46b16-7bf0-4c01-a850-92fb83f61f27" providerId="ADAL" clId="{067C7D3F-9573-4B1A-A9B0-3005DA5BAAAF}" dt="2024-01-31T13:40:54.410" v="10037" actId="478"/>
          <ac:spMkLst>
            <pc:docMk/>
            <pc:sldMk cId="3321415146" sldId="2147482331"/>
            <ac:spMk id="15" creationId="{0FBC5C26-9AFF-3C81-E825-1A9E300C8CE3}"/>
          </ac:spMkLst>
        </pc:spChg>
        <pc:spChg chg="del">
          <ac:chgData name="Cyprien ARETHUSE" userId="abd46b16-7bf0-4c01-a850-92fb83f61f27" providerId="ADAL" clId="{067C7D3F-9573-4B1A-A9B0-3005DA5BAAAF}" dt="2024-01-31T13:40:54.410" v="10037" actId="478"/>
          <ac:spMkLst>
            <pc:docMk/>
            <pc:sldMk cId="3321415146" sldId="2147482331"/>
            <ac:spMk id="16" creationId="{987CCA58-6F77-73EE-D619-990A9747F4C6}"/>
          </ac:spMkLst>
        </pc:spChg>
        <pc:spChg chg="del">
          <ac:chgData name="Cyprien ARETHUSE" userId="abd46b16-7bf0-4c01-a850-92fb83f61f27" providerId="ADAL" clId="{067C7D3F-9573-4B1A-A9B0-3005DA5BAAAF}" dt="2024-01-31T13:40:54.410" v="10037" actId="478"/>
          <ac:spMkLst>
            <pc:docMk/>
            <pc:sldMk cId="3321415146" sldId="2147482331"/>
            <ac:spMk id="18" creationId="{04A2156D-3519-BD73-95A4-651804F74F58}"/>
          </ac:spMkLst>
        </pc:spChg>
        <pc:spChg chg="del">
          <ac:chgData name="Cyprien ARETHUSE" userId="abd46b16-7bf0-4c01-a850-92fb83f61f27" providerId="ADAL" clId="{067C7D3F-9573-4B1A-A9B0-3005DA5BAAAF}" dt="2024-01-31T13:40:54.410" v="10037" actId="478"/>
          <ac:spMkLst>
            <pc:docMk/>
            <pc:sldMk cId="3321415146" sldId="2147482331"/>
            <ac:spMk id="19" creationId="{7E21368D-4C55-A6A6-9BFD-F0DE40746AA3}"/>
          </ac:spMkLst>
        </pc:spChg>
        <pc:spChg chg="add mod">
          <ac:chgData name="Cyprien ARETHUSE" userId="abd46b16-7bf0-4c01-a850-92fb83f61f27" providerId="ADAL" clId="{067C7D3F-9573-4B1A-A9B0-3005DA5BAAAF}" dt="2024-01-31T14:27:54.291" v="10371" actId="208"/>
          <ac:spMkLst>
            <pc:docMk/>
            <pc:sldMk cId="3321415146" sldId="2147482331"/>
            <ac:spMk id="39" creationId="{35C5A787-FD08-71EA-88EE-850203439C2B}"/>
          </ac:spMkLst>
        </pc:spChg>
        <pc:spChg chg="add mod">
          <ac:chgData name="Cyprien ARETHUSE" userId="abd46b16-7bf0-4c01-a850-92fb83f61f27" providerId="ADAL" clId="{067C7D3F-9573-4B1A-A9B0-3005DA5BAAAF}" dt="2024-01-31T13:42:34.494" v="10053" actId="20577"/>
          <ac:spMkLst>
            <pc:docMk/>
            <pc:sldMk cId="3321415146" sldId="2147482331"/>
            <ac:spMk id="41" creationId="{91B6A13E-3269-4257-3B1F-192758E6E957}"/>
          </ac:spMkLst>
        </pc:spChg>
        <pc:spChg chg="add mod">
          <ac:chgData name="Cyprien ARETHUSE" userId="abd46b16-7bf0-4c01-a850-92fb83f61f27" providerId="ADAL" clId="{067C7D3F-9573-4B1A-A9B0-3005DA5BAAAF}" dt="2024-01-31T14:27:54.291" v="10371" actId="208"/>
          <ac:spMkLst>
            <pc:docMk/>
            <pc:sldMk cId="3321415146" sldId="2147482331"/>
            <ac:spMk id="42" creationId="{BBB7655A-24C6-3BC7-54D6-D19397F7EA53}"/>
          </ac:spMkLst>
        </pc:spChg>
        <pc:spChg chg="add mod">
          <ac:chgData name="Cyprien ARETHUSE" userId="abd46b16-7bf0-4c01-a850-92fb83f61f27" providerId="ADAL" clId="{067C7D3F-9573-4B1A-A9B0-3005DA5BAAAF}" dt="2024-01-31T14:27:58.800" v="10372" actId="207"/>
          <ac:spMkLst>
            <pc:docMk/>
            <pc:sldMk cId="3321415146" sldId="2147482331"/>
            <ac:spMk id="44" creationId="{E78E13E7-F18F-A6EA-74DD-C56F18EAEB30}"/>
          </ac:spMkLst>
        </pc:spChg>
        <pc:spChg chg="add mod">
          <ac:chgData name="Cyprien ARETHUSE" userId="abd46b16-7bf0-4c01-a850-92fb83f61f27" providerId="ADAL" clId="{067C7D3F-9573-4B1A-A9B0-3005DA5BAAAF}" dt="2024-01-31T14:27:54.291" v="10371" actId="208"/>
          <ac:spMkLst>
            <pc:docMk/>
            <pc:sldMk cId="3321415146" sldId="2147482331"/>
            <ac:spMk id="46" creationId="{7F37E21E-D0EB-3114-9EF2-9A243DD7C81B}"/>
          </ac:spMkLst>
        </pc:spChg>
        <pc:spChg chg="add mod">
          <ac:chgData name="Cyprien ARETHUSE" userId="abd46b16-7bf0-4c01-a850-92fb83f61f27" providerId="ADAL" clId="{067C7D3F-9573-4B1A-A9B0-3005DA5BAAAF}" dt="2024-01-31T14:28:00.989" v="10373" actId="207"/>
          <ac:spMkLst>
            <pc:docMk/>
            <pc:sldMk cId="3321415146" sldId="2147482331"/>
            <ac:spMk id="47" creationId="{7A54174B-6B3B-8268-8663-13305BFB4CC7}"/>
          </ac:spMkLst>
        </pc:spChg>
        <pc:spChg chg="add mod">
          <ac:chgData name="Cyprien ARETHUSE" userId="abd46b16-7bf0-4c01-a850-92fb83f61f27" providerId="ADAL" clId="{067C7D3F-9573-4B1A-A9B0-3005DA5BAAAF}" dt="2024-01-31T14:28:02.694" v="10374" actId="207"/>
          <ac:spMkLst>
            <pc:docMk/>
            <pc:sldMk cId="3321415146" sldId="2147482331"/>
            <ac:spMk id="49" creationId="{93F976D5-AB33-923D-D3DD-7480CC48ADCB}"/>
          </ac:spMkLst>
        </pc:spChg>
        <pc:grpChg chg="del">
          <ac:chgData name="Cyprien ARETHUSE" userId="abd46b16-7bf0-4c01-a850-92fb83f61f27" providerId="ADAL" clId="{067C7D3F-9573-4B1A-A9B0-3005DA5BAAAF}" dt="2024-01-31T13:40:54.410" v="10037" actId="478"/>
          <ac:grpSpMkLst>
            <pc:docMk/>
            <pc:sldMk cId="3321415146" sldId="2147482331"/>
            <ac:grpSpMk id="21" creationId="{B178DBDD-9F7A-E298-03C5-4851235AACBC}"/>
          </ac:grpSpMkLst>
        </pc:grpChg>
        <pc:graphicFrameChg chg="del">
          <ac:chgData name="Cyprien ARETHUSE" userId="abd46b16-7bf0-4c01-a850-92fb83f61f27" providerId="ADAL" clId="{067C7D3F-9573-4B1A-A9B0-3005DA5BAAAF}" dt="2024-01-31T13:40:54.410" v="10037" actId="478"/>
          <ac:graphicFrameMkLst>
            <pc:docMk/>
            <pc:sldMk cId="3321415146" sldId="2147482331"/>
            <ac:graphicFrameMk id="20" creationId="{22B2804A-82C6-1CDD-196B-E04860297200}"/>
          </ac:graphicFrameMkLst>
        </pc:graphicFrameChg>
        <pc:picChg chg="del">
          <ac:chgData name="Cyprien ARETHUSE" userId="abd46b16-7bf0-4c01-a850-92fb83f61f27" providerId="ADAL" clId="{067C7D3F-9573-4B1A-A9B0-3005DA5BAAAF}" dt="2024-01-31T13:40:54.410" v="10037" actId="478"/>
          <ac:picMkLst>
            <pc:docMk/>
            <pc:sldMk cId="3321415146" sldId="2147482331"/>
            <ac:picMk id="6" creationId="{042CE5C4-7EE3-9845-EF71-0AED3AA53166}"/>
          </ac:picMkLst>
        </pc:picChg>
        <pc:picChg chg="del">
          <ac:chgData name="Cyprien ARETHUSE" userId="abd46b16-7bf0-4c01-a850-92fb83f61f27" providerId="ADAL" clId="{067C7D3F-9573-4B1A-A9B0-3005DA5BAAAF}" dt="2024-01-31T13:40:54.410" v="10037" actId="478"/>
          <ac:picMkLst>
            <pc:docMk/>
            <pc:sldMk cId="3321415146" sldId="2147482331"/>
            <ac:picMk id="9" creationId="{A9DBFD4D-AEF1-DFBE-46AF-976036DF3530}"/>
          </ac:picMkLst>
        </pc:picChg>
        <pc:picChg chg="del">
          <ac:chgData name="Cyprien ARETHUSE" userId="abd46b16-7bf0-4c01-a850-92fb83f61f27" providerId="ADAL" clId="{067C7D3F-9573-4B1A-A9B0-3005DA5BAAAF}" dt="2024-01-31T13:40:54.410" v="10037" actId="478"/>
          <ac:picMkLst>
            <pc:docMk/>
            <pc:sldMk cId="3321415146" sldId="2147482331"/>
            <ac:picMk id="10" creationId="{3DC76746-1427-8BE2-ED64-CECAFF8416D5}"/>
          </ac:picMkLst>
        </pc:picChg>
        <pc:picChg chg="del">
          <ac:chgData name="Cyprien ARETHUSE" userId="abd46b16-7bf0-4c01-a850-92fb83f61f27" providerId="ADAL" clId="{067C7D3F-9573-4B1A-A9B0-3005DA5BAAAF}" dt="2024-01-31T13:40:54.410" v="10037" actId="478"/>
          <ac:picMkLst>
            <pc:docMk/>
            <pc:sldMk cId="3321415146" sldId="2147482331"/>
            <ac:picMk id="14" creationId="{1D02A0F8-B64F-2B2E-2B75-C80BD17D4583}"/>
          </ac:picMkLst>
        </pc:picChg>
        <pc:picChg chg="del">
          <ac:chgData name="Cyprien ARETHUSE" userId="abd46b16-7bf0-4c01-a850-92fb83f61f27" providerId="ADAL" clId="{067C7D3F-9573-4B1A-A9B0-3005DA5BAAAF}" dt="2024-01-31T13:40:54.410" v="10037" actId="478"/>
          <ac:picMkLst>
            <pc:docMk/>
            <pc:sldMk cId="3321415146" sldId="2147482331"/>
            <ac:picMk id="17" creationId="{CCC1284C-1A3E-2789-E43E-E33D730481CF}"/>
          </ac:picMkLst>
        </pc:picChg>
        <pc:picChg chg="del">
          <ac:chgData name="Cyprien ARETHUSE" userId="abd46b16-7bf0-4c01-a850-92fb83f61f27" providerId="ADAL" clId="{067C7D3F-9573-4B1A-A9B0-3005DA5BAAAF}" dt="2024-01-31T13:40:54.410" v="10037" actId="478"/>
          <ac:picMkLst>
            <pc:docMk/>
            <pc:sldMk cId="3321415146" sldId="2147482331"/>
            <ac:picMk id="37" creationId="{4AC3B667-83AB-AC08-C283-23E2B20A7A96}"/>
          </ac:picMkLst>
        </pc:picChg>
        <pc:picChg chg="del">
          <ac:chgData name="Cyprien ARETHUSE" userId="abd46b16-7bf0-4c01-a850-92fb83f61f27" providerId="ADAL" clId="{067C7D3F-9573-4B1A-A9B0-3005DA5BAAAF}" dt="2024-01-31T13:40:54.410" v="10037" actId="478"/>
          <ac:picMkLst>
            <pc:docMk/>
            <pc:sldMk cId="3321415146" sldId="2147482331"/>
            <ac:picMk id="38" creationId="{F38A29F6-CA33-B4B8-C3C1-F70985486861}"/>
          </ac:picMkLst>
        </pc:picChg>
        <pc:picChg chg="del">
          <ac:chgData name="Cyprien ARETHUSE" userId="abd46b16-7bf0-4c01-a850-92fb83f61f27" providerId="ADAL" clId="{067C7D3F-9573-4B1A-A9B0-3005DA5BAAAF}" dt="2024-01-31T13:40:54.410" v="10037" actId="478"/>
          <ac:picMkLst>
            <pc:docMk/>
            <pc:sldMk cId="3321415146" sldId="2147482331"/>
            <ac:picMk id="40" creationId="{F6C015B9-AB3D-564E-55C3-9E8F64C008E6}"/>
          </ac:picMkLst>
        </pc:picChg>
        <pc:picChg chg="add mod">
          <ac:chgData name="Cyprien ARETHUSE" userId="abd46b16-7bf0-4c01-a850-92fb83f61f27" providerId="ADAL" clId="{067C7D3F-9573-4B1A-A9B0-3005DA5BAAAF}" dt="2024-01-31T13:41:02.843" v="10038"/>
          <ac:picMkLst>
            <pc:docMk/>
            <pc:sldMk cId="3321415146" sldId="2147482331"/>
            <ac:picMk id="43" creationId="{E54A17BC-EB4A-3E55-CB9B-94DBEF5FC3DC}"/>
          </ac:picMkLst>
        </pc:picChg>
        <pc:picChg chg="add mod">
          <ac:chgData name="Cyprien ARETHUSE" userId="abd46b16-7bf0-4c01-a850-92fb83f61f27" providerId="ADAL" clId="{067C7D3F-9573-4B1A-A9B0-3005DA5BAAAF}" dt="2024-01-31T13:41:02.843" v="10038"/>
          <ac:picMkLst>
            <pc:docMk/>
            <pc:sldMk cId="3321415146" sldId="2147482331"/>
            <ac:picMk id="45" creationId="{89F7B679-CF07-D1B2-37C0-6976B945EDCF}"/>
          </ac:picMkLst>
        </pc:picChg>
        <pc:picChg chg="add mod">
          <ac:chgData name="Cyprien ARETHUSE" userId="abd46b16-7bf0-4c01-a850-92fb83f61f27" providerId="ADAL" clId="{067C7D3F-9573-4B1A-A9B0-3005DA5BAAAF}" dt="2024-01-31T13:41:02.843" v="10038"/>
          <ac:picMkLst>
            <pc:docMk/>
            <pc:sldMk cId="3321415146" sldId="2147482331"/>
            <ac:picMk id="48" creationId="{79E4158B-2CE2-51DE-29B8-C953A374EDF9}"/>
          </ac:picMkLst>
        </pc:picChg>
        <pc:picChg chg="add mod">
          <ac:chgData name="Cyprien ARETHUSE" userId="abd46b16-7bf0-4c01-a850-92fb83f61f27" providerId="ADAL" clId="{067C7D3F-9573-4B1A-A9B0-3005DA5BAAAF}" dt="2024-01-31T14:30:40.749" v="10376" actId="1076"/>
          <ac:picMkLst>
            <pc:docMk/>
            <pc:sldMk cId="3321415146" sldId="2147482331"/>
            <ac:picMk id="50" creationId="{5CA2EF6D-F87D-3C84-45C7-6BF7B06F66B7}"/>
          </ac:picMkLst>
        </pc:picChg>
      </pc:sldChg>
      <pc:sldChg chg="modSp">
        <pc:chgData name="Cyprien ARETHUSE" userId="abd46b16-7bf0-4c01-a850-92fb83f61f27" providerId="ADAL" clId="{067C7D3F-9573-4B1A-A9B0-3005DA5BAAAF}" dt="2024-02-01T07:19:58.279" v="10964"/>
        <pc:sldMkLst>
          <pc:docMk/>
          <pc:sldMk cId="1749439792" sldId="2147482332"/>
        </pc:sldMkLst>
        <pc:spChg chg="mod">
          <ac:chgData name="Cyprien ARETHUSE" userId="abd46b16-7bf0-4c01-a850-92fb83f61f27" providerId="ADAL" clId="{067C7D3F-9573-4B1A-A9B0-3005DA5BAAAF}" dt="2024-02-01T07:19:58.279" v="10964"/>
          <ac:spMkLst>
            <pc:docMk/>
            <pc:sldMk cId="1749439792" sldId="2147482332"/>
            <ac:spMk id="3" creationId="{42DA54D8-BD8E-C42B-629D-8F6685218EA8}"/>
          </ac:spMkLst>
        </pc:spChg>
      </pc:sldChg>
      <pc:sldChg chg="addSp delSp modSp add del mod ord">
        <pc:chgData name="Cyprien ARETHUSE" userId="abd46b16-7bf0-4c01-a850-92fb83f61f27" providerId="ADAL" clId="{067C7D3F-9573-4B1A-A9B0-3005DA5BAAAF}" dt="2024-02-01T07:29:37.670" v="11031" actId="47"/>
        <pc:sldMkLst>
          <pc:docMk/>
          <pc:sldMk cId="3073855114" sldId="2147482339"/>
        </pc:sldMkLst>
        <pc:spChg chg="del">
          <ac:chgData name="Cyprien ARETHUSE" userId="abd46b16-7bf0-4c01-a850-92fb83f61f27" providerId="ADAL" clId="{067C7D3F-9573-4B1A-A9B0-3005DA5BAAAF}" dt="2024-01-31T15:53:15.914" v="10940" actId="478"/>
          <ac:spMkLst>
            <pc:docMk/>
            <pc:sldMk cId="3073855114" sldId="2147482339"/>
            <ac:spMk id="2" creationId="{753ECB55-805E-4D84-8104-D3179B11CE2F}"/>
          </ac:spMkLst>
        </pc:spChg>
        <pc:spChg chg="del">
          <ac:chgData name="Cyprien ARETHUSE" userId="abd46b16-7bf0-4c01-a850-92fb83f61f27" providerId="ADAL" clId="{067C7D3F-9573-4B1A-A9B0-3005DA5BAAAF}" dt="2024-01-31T15:53:15.914" v="10940" actId="478"/>
          <ac:spMkLst>
            <pc:docMk/>
            <pc:sldMk cId="3073855114" sldId="2147482339"/>
            <ac:spMk id="3" creationId="{369A1818-1D34-4722-8C5C-5459B5E5151A}"/>
          </ac:spMkLst>
        </pc:spChg>
        <pc:spChg chg="add del mod">
          <ac:chgData name="Cyprien ARETHUSE" userId="abd46b16-7bf0-4c01-a850-92fb83f61f27" providerId="ADAL" clId="{067C7D3F-9573-4B1A-A9B0-3005DA5BAAAF}" dt="2024-01-31T15:53:23.794" v="10942" actId="478"/>
          <ac:spMkLst>
            <pc:docMk/>
            <pc:sldMk cId="3073855114" sldId="2147482339"/>
            <ac:spMk id="4" creationId="{B80CAD2C-8984-2A87-CFC8-5C2C71302321}"/>
          </ac:spMkLst>
        </pc:spChg>
        <pc:spChg chg="del">
          <ac:chgData name="Cyprien ARETHUSE" userId="abd46b16-7bf0-4c01-a850-92fb83f61f27" providerId="ADAL" clId="{067C7D3F-9573-4B1A-A9B0-3005DA5BAAAF}" dt="2024-01-31T15:53:15.914" v="10940" actId="478"/>
          <ac:spMkLst>
            <pc:docMk/>
            <pc:sldMk cId="3073855114" sldId="2147482339"/>
            <ac:spMk id="5" creationId="{58C11047-AC56-4A9D-F242-6FC6ACBF3F0D}"/>
          </ac:spMkLst>
        </pc:spChg>
        <pc:spChg chg="add mod">
          <ac:chgData name="Cyprien ARETHUSE" userId="abd46b16-7bf0-4c01-a850-92fb83f61f27" providerId="ADAL" clId="{067C7D3F-9573-4B1A-A9B0-3005DA5BAAAF}" dt="2024-01-31T15:53:31.484" v="10943"/>
          <ac:spMkLst>
            <pc:docMk/>
            <pc:sldMk cId="3073855114" sldId="2147482339"/>
            <ac:spMk id="6" creationId="{6366AD33-3035-27AA-A502-4B2879694D45}"/>
          </ac:spMkLst>
        </pc:spChg>
        <pc:spChg chg="add mod">
          <ac:chgData name="Cyprien ARETHUSE" userId="abd46b16-7bf0-4c01-a850-92fb83f61f27" providerId="ADAL" clId="{067C7D3F-9573-4B1A-A9B0-3005DA5BAAAF}" dt="2024-02-01T07:28:32.762" v="10997" actId="404"/>
          <ac:spMkLst>
            <pc:docMk/>
            <pc:sldMk cId="3073855114" sldId="2147482339"/>
            <ac:spMk id="11" creationId="{76BB0D65-1D4D-6D0F-ADDB-6B1EE13A3C6C}"/>
          </ac:spMkLst>
        </pc:spChg>
        <pc:spChg chg="del">
          <ac:chgData name="Cyprien ARETHUSE" userId="abd46b16-7bf0-4c01-a850-92fb83f61f27" providerId="ADAL" clId="{067C7D3F-9573-4B1A-A9B0-3005DA5BAAAF}" dt="2024-01-31T15:53:15.914" v="10940" actId="478"/>
          <ac:spMkLst>
            <pc:docMk/>
            <pc:sldMk cId="3073855114" sldId="2147482339"/>
            <ac:spMk id="13" creationId="{D142F2FA-540A-C75F-6159-F29D5B2504AB}"/>
          </ac:spMkLst>
        </pc:spChg>
        <pc:spChg chg="del">
          <ac:chgData name="Cyprien ARETHUSE" userId="abd46b16-7bf0-4c01-a850-92fb83f61f27" providerId="ADAL" clId="{067C7D3F-9573-4B1A-A9B0-3005DA5BAAAF}" dt="2024-01-31T15:53:15.914" v="10940" actId="478"/>
          <ac:spMkLst>
            <pc:docMk/>
            <pc:sldMk cId="3073855114" sldId="2147482339"/>
            <ac:spMk id="18" creationId="{85241204-70FC-7E7C-5D39-A7C0C4A3EAFF}"/>
          </ac:spMkLst>
        </pc:spChg>
        <pc:spChg chg="del">
          <ac:chgData name="Cyprien ARETHUSE" userId="abd46b16-7bf0-4c01-a850-92fb83f61f27" providerId="ADAL" clId="{067C7D3F-9573-4B1A-A9B0-3005DA5BAAAF}" dt="2024-01-31T15:53:15.914" v="10940" actId="478"/>
          <ac:spMkLst>
            <pc:docMk/>
            <pc:sldMk cId="3073855114" sldId="2147482339"/>
            <ac:spMk id="19" creationId="{F37884C5-FD29-50BC-1BAC-A83373E453E3}"/>
          </ac:spMkLst>
        </pc:spChg>
        <pc:spChg chg="del">
          <ac:chgData name="Cyprien ARETHUSE" userId="abd46b16-7bf0-4c01-a850-92fb83f61f27" providerId="ADAL" clId="{067C7D3F-9573-4B1A-A9B0-3005DA5BAAAF}" dt="2024-01-31T15:53:15.914" v="10940" actId="478"/>
          <ac:spMkLst>
            <pc:docMk/>
            <pc:sldMk cId="3073855114" sldId="2147482339"/>
            <ac:spMk id="20" creationId="{0A974045-7D9F-5152-2B22-8797947BBDAA}"/>
          </ac:spMkLst>
        </pc:spChg>
        <pc:spChg chg="del">
          <ac:chgData name="Cyprien ARETHUSE" userId="abd46b16-7bf0-4c01-a850-92fb83f61f27" providerId="ADAL" clId="{067C7D3F-9573-4B1A-A9B0-3005DA5BAAAF}" dt="2024-01-31T15:53:15.914" v="10940" actId="478"/>
          <ac:spMkLst>
            <pc:docMk/>
            <pc:sldMk cId="3073855114" sldId="2147482339"/>
            <ac:spMk id="21" creationId="{1C90E852-763B-1486-0DA4-12C28627DB83}"/>
          </ac:spMkLst>
        </pc:spChg>
        <pc:spChg chg="del">
          <ac:chgData name="Cyprien ARETHUSE" userId="abd46b16-7bf0-4c01-a850-92fb83f61f27" providerId="ADAL" clId="{067C7D3F-9573-4B1A-A9B0-3005DA5BAAAF}" dt="2024-01-31T15:53:15.914" v="10940" actId="478"/>
          <ac:spMkLst>
            <pc:docMk/>
            <pc:sldMk cId="3073855114" sldId="2147482339"/>
            <ac:spMk id="22" creationId="{EFAE67FD-C917-2232-4ECD-3DC80CEA2419}"/>
          </ac:spMkLst>
        </pc:spChg>
        <pc:graphicFrameChg chg="add mod">
          <ac:chgData name="Cyprien ARETHUSE" userId="abd46b16-7bf0-4c01-a850-92fb83f61f27" providerId="ADAL" clId="{067C7D3F-9573-4B1A-A9B0-3005DA5BAAAF}" dt="2024-01-31T15:53:31.484" v="10943"/>
          <ac:graphicFrameMkLst>
            <pc:docMk/>
            <pc:sldMk cId="3073855114" sldId="2147482339"/>
            <ac:graphicFrameMk id="7" creationId="{8463340F-8B9C-6854-2E88-805C41906D0F}"/>
          </ac:graphicFrameMkLst>
        </pc:graphicFrameChg>
        <pc:graphicFrameChg chg="add mod modGraphic">
          <ac:chgData name="Cyprien ARETHUSE" userId="abd46b16-7bf0-4c01-a850-92fb83f61f27" providerId="ADAL" clId="{067C7D3F-9573-4B1A-A9B0-3005DA5BAAAF}" dt="2024-01-31T15:54:16.555" v="10946" actId="2165"/>
          <ac:graphicFrameMkLst>
            <pc:docMk/>
            <pc:sldMk cId="3073855114" sldId="2147482339"/>
            <ac:graphicFrameMk id="9" creationId="{9EE524C2-A370-0BBC-F5FB-3D17162EEBC9}"/>
          </ac:graphicFrameMkLst>
        </pc:graphicFrameChg>
        <pc:graphicFrameChg chg="del">
          <ac:chgData name="Cyprien ARETHUSE" userId="abd46b16-7bf0-4c01-a850-92fb83f61f27" providerId="ADAL" clId="{067C7D3F-9573-4B1A-A9B0-3005DA5BAAAF}" dt="2024-01-31T15:53:21.849" v="10941" actId="478"/>
          <ac:graphicFrameMkLst>
            <pc:docMk/>
            <pc:sldMk cId="3073855114" sldId="2147482339"/>
            <ac:graphicFrameMk id="12" creationId="{BF58C473-3FA3-EFB3-A1A6-46EF49FC78BE}"/>
          </ac:graphicFrameMkLst>
        </pc:graphicFrameChg>
        <pc:graphicFrameChg chg="del">
          <ac:chgData name="Cyprien ARETHUSE" userId="abd46b16-7bf0-4c01-a850-92fb83f61f27" providerId="ADAL" clId="{067C7D3F-9573-4B1A-A9B0-3005DA5BAAAF}" dt="2024-01-31T15:53:15.914" v="10940" actId="478"/>
          <ac:graphicFrameMkLst>
            <pc:docMk/>
            <pc:sldMk cId="3073855114" sldId="2147482339"/>
            <ac:graphicFrameMk id="14" creationId="{E159034C-7C14-4AD1-BE7B-F0D59BDB1A56}"/>
          </ac:graphicFrameMkLst>
        </pc:graphicFrameChg>
        <pc:picChg chg="del">
          <ac:chgData name="Cyprien ARETHUSE" userId="abd46b16-7bf0-4c01-a850-92fb83f61f27" providerId="ADAL" clId="{067C7D3F-9573-4B1A-A9B0-3005DA5BAAAF}" dt="2024-01-31T15:53:15.914" v="10940" actId="478"/>
          <ac:picMkLst>
            <pc:docMk/>
            <pc:sldMk cId="3073855114" sldId="2147482339"/>
            <ac:picMk id="8" creationId="{93FC40D9-61DB-B89A-B522-17F5BC9B4FF0}"/>
          </ac:picMkLst>
        </pc:picChg>
        <pc:picChg chg="del">
          <ac:chgData name="Cyprien ARETHUSE" userId="abd46b16-7bf0-4c01-a850-92fb83f61f27" providerId="ADAL" clId="{067C7D3F-9573-4B1A-A9B0-3005DA5BAAAF}" dt="2024-01-31T15:53:15.914" v="10940" actId="478"/>
          <ac:picMkLst>
            <pc:docMk/>
            <pc:sldMk cId="3073855114" sldId="2147482339"/>
            <ac:picMk id="10" creationId="{AC421A8B-0BEB-168B-EA07-7A75BD92ABA9}"/>
          </ac:picMkLst>
        </pc:picChg>
        <pc:picChg chg="del">
          <ac:chgData name="Cyprien ARETHUSE" userId="abd46b16-7bf0-4c01-a850-92fb83f61f27" providerId="ADAL" clId="{067C7D3F-9573-4B1A-A9B0-3005DA5BAAAF}" dt="2024-01-31T15:53:15.914" v="10940" actId="478"/>
          <ac:picMkLst>
            <pc:docMk/>
            <pc:sldMk cId="3073855114" sldId="2147482339"/>
            <ac:picMk id="1026" creationId="{D8E15EB8-A90B-5235-79AA-38A232C198BF}"/>
          </ac:picMkLst>
        </pc:picChg>
      </pc:sldChg>
      <pc:sldChg chg="del">
        <pc:chgData name="Cyprien ARETHUSE" userId="abd46b16-7bf0-4c01-a850-92fb83f61f27" providerId="ADAL" clId="{067C7D3F-9573-4B1A-A9B0-3005DA5BAAAF}" dt="2024-02-02T17:02:42.816" v="19520" actId="47"/>
        <pc:sldMkLst>
          <pc:docMk/>
          <pc:sldMk cId="521514485" sldId="2147482341"/>
        </pc:sldMkLst>
      </pc:sldChg>
      <pc:sldChg chg="del">
        <pc:chgData name="Cyprien ARETHUSE" userId="abd46b16-7bf0-4c01-a850-92fb83f61f27" providerId="ADAL" clId="{067C7D3F-9573-4B1A-A9B0-3005DA5BAAAF}" dt="2024-02-02T17:02:42.816" v="19520" actId="47"/>
        <pc:sldMkLst>
          <pc:docMk/>
          <pc:sldMk cId="445707324" sldId="2147482342"/>
        </pc:sldMkLst>
      </pc:sldChg>
      <pc:sldChg chg="del">
        <pc:chgData name="Cyprien ARETHUSE" userId="abd46b16-7bf0-4c01-a850-92fb83f61f27" providerId="ADAL" clId="{067C7D3F-9573-4B1A-A9B0-3005DA5BAAAF}" dt="2024-02-02T17:02:42.816" v="19520" actId="47"/>
        <pc:sldMkLst>
          <pc:docMk/>
          <pc:sldMk cId="4105598560" sldId="2147482344"/>
        </pc:sldMkLst>
      </pc:sldChg>
      <pc:sldChg chg="del">
        <pc:chgData name="Cyprien ARETHUSE" userId="abd46b16-7bf0-4c01-a850-92fb83f61f27" providerId="ADAL" clId="{067C7D3F-9573-4B1A-A9B0-3005DA5BAAAF}" dt="2024-02-02T17:02:42.816" v="19520" actId="47"/>
        <pc:sldMkLst>
          <pc:docMk/>
          <pc:sldMk cId="2846877185" sldId="2147482345"/>
        </pc:sldMkLst>
      </pc:sldChg>
      <pc:sldChg chg="del ord">
        <pc:chgData name="Cyprien ARETHUSE" userId="abd46b16-7bf0-4c01-a850-92fb83f61f27" providerId="ADAL" clId="{067C7D3F-9573-4B1A-A9B0-3005DA5BAAAF}" dt="2024-02-02T17:02:42.816" v="19520" actId="47"/>
        <pc:sldMkLst>
          <pc:docMk/>
          <pc:sldMk cId="748802550" sldId="2147482346"/>
        </pc:sldMkLst>
      </pc:sldChg>
      <pc:sldChg chg="addSp delSp modSp add mod ord">
        <pc:chgData name="Cyprien ARETHUSE" userId="abd46b16-7bf0-4c01-a850-92fb83f61f27" providerId="ADAL" clId="{067C7D3F-9573-4B1A-A9B0-3005DA5BAAAF}" dt="2024-02-02T15:40:35.775" v="18889" actId="948"/>
        <pc:sldMkLst>
          <pc:docMk/>
          <pc:sldMk cId="2124704795" sldId="2147482347"/>
        </pc:sldMkLst>
        <pc:spChg chg="mod">
          <ac:chgData name="Cyprien ARETHUSE" userId="abd46b16-7bf0-4c01-a850-92fb83f61f27" providerId="ADAL" clId="{067C7D3F-9573-4B1A-A9B0-3005DA5BAAAF}" dt="2024-02-02T14:57:51.796" v="18212" actId="207"/>
          <ac:spMkLst>
            <pc:docMk/>
            <pc:sldMk cId="2124704795" sldId="2147482347"/>
            <ac:spMk id="3" creationId="{E748E0B5-C195-AC33-310F-0A8386CC23A9}"/>
          </ac:spMkLst>
        </pc:spChg>
        <pc:spChg chg="add del mod">
          <ac:chgData name="Cyprien ARETHUSE" userId="abd46b16-7bf0-4c01-a850-92fb83f61f27" providerId="ADAL" clId="{067C7D3F-9573-4B1A-A9B0-3005DA5BAAAF}" dt="2024-02-02T14:05:29.718" v="16225" actId="478"/>
          <ac:spMkLst>
            <pc:docMk/>
            <pc:sldMk cId="2124704795" sldId="2147482347"/>
            <ac:spMk id="10" creationId="{FFBDEAFC-5E12-D73C-03BD-DBA069396473}"/>
          </ac:spMkLst>
        </pc:spChg>
        <pc:spChg chg="mod">
          <ac:chgData name="Cyprien ARETHUSE" userId="abd46b16-7bf0-4c01-a850-92fb83f61f27" providerId="ADAL" clId="{067C7D3F-9573-4B1A-A9B0-3005DA5BAAAF}" dt="2024-02-02T15:38:18.867" v="18867" actId="403"/>
          <ac:spMkLst>
            <pc:docMk/>
            <pc:sldMk cId="2124704795" sldId="2147482347"/>
            <ac:spMk id="19" creationId="{BBC93055-643A-4775-93A0-1BD0C9CA9394}"/>
          </ac:spMkLst>
        </pc:spChg>
        <pc:graphicFrameChg chg="mod modGraphic">
          <ac:chgData name="Cyprien ARETHUSE" userId="abd46b16-7bf0-4c01-a850-92fb83f61f27" providerId="ADAL" clId="{067C7D3F-9573-4B1A-A9B0-3005DA5BAAAF}" dt="2024-02-02T15:40:35.775" v="18889" actId="948"/>
          <ac:graphicFrameMkLst>
            <pc:docMk/>
            <pc:sldMk cId="2124704795" sldId="2147482347"/>
            <ac:graphicFrameMk id="4" creationId="{9770B5C9-789A-450B-BEFE-7FE09605F540}"/>
          </ac:graphicFrameMkLst>
        </pc:graphicFrameChg>
        <pc:graphicFrameChg chg="modGraphic">
          <ac:chgData name="Cyprien ARETHUSE" userId="abd46b16-7bf0-4c01-a850-92fb83f61f27" providerId="ADAL" clId="{067C7D3F-9573-4B1A-A9B0-3005DA5BAAAF}" dt="2024-02-02T15:36:28.332" v="18857" actId="14100"/>
          <ac:graphicFrameMkLst>
            <pc:docMk/>
            <pc:sldMk cId="2124704795" sldId="2147482347"/>
            <ac:graphicFrameMk id="21" creationId="{187B67DD-4F81-4889-A8FC-7A0CDB82050E}"/>
          </ac:graphicFrameMkLst>
        </pc:graphicFrameChg>
        <pc:picChg chg="ord">
          <ac:chgData name="Cyprien ARETHUSE" userId="abd46b16-7bf0-4c01-a850-92fb83f61f27" providerId="ADAL" clId="{067C7D3F-9573-4B1A-A9B0-3005DA5BAAAF}" dt="2024-02-02T15:36:39.176" v="18858" actId="166"/>
          <ac:picMkLst>
            <pc:docMk/>
            <pc:sldMk cId="2124704795" sldId="2147482347"/>
            <ac:picMk id="7" creationId="{9A0AFC1C-7BD0-D98F-9168-A5BC94F22245}"/>
          </ac:picMkLst>
        </pc:picChg>
        <pc:picChg chg="add mod">
          <ac:chgData name="Cyprien ARETHUSE" userId="abd46b16-7bf0-4c01-a850-92fb83f61f27" providerId="ADAL" clId="{067C7D3F-9573-4B1A-A9B0-3005DA5BAAAF}" dt="2024-02-02T12:59:05.906" v="16178"/>
          <ac:picMkLst>
            <pc:docMk/>
            <pc:sldMk cId="2124704795" sldId="2147482347"/>
            <ac:picMk id="10" creationId="{EC18602C-F335-DDA9-B347-89B80E2A6E78}"/>
          </ac:picMkLst>
        </pc:picChg>
        <pc:picChg chg="add mod">
          <ac:chgData name="Cyprien ARETHUSE" userId="abd46b16-7bf0-4c01-a850-92fb83f61f27" providerId="ADAL" clId="{067C7D3F-9573-4B1A-A9B0-3005DA5BAAAF}" dt="2024-02-02T12:59:05.906" v="16178"/>
          <ac:picMkLst>
            <pc:docMk/>
            <pc:sldMk cId="2124704795" sldId="2147482347"/>
            <ac:picMk id="12" creationId="{B4C5DF1C-FEF1-7A67-E62B-BB35D04C7D3D}"/>
          </ac:picMkLst>
        </pc:picChg>
        <pc:picChg chg="add mod">
          <ac:chgData name="Cyprien ARETHUSE" userId="abd46b16-7bf0-4c01-a850-92fb83f61f27" providerId="ADAL" clId="{067C7D3F-9573-4B1A-A9B0-3005DA5BAAAF}" dt="2024-02-02T12:59:05.906" v="16178"/>
          <ac:picMkLst>
            <pc:docMk/>
            <pc:sldMk cId="2124704795" sldId="2147482347"/>
            <ac:picMk id="13" creationId="{F864F48D-7BED-5764-E2C6-37B6FB0FA32E}"/>
          </ac:picMkLst>
        </pc:picChg>
        <pc:picChg chg="add mod">
          <ac:chgData name="Cyprien ARETHUSE" userId="abd46b16-7bf0-4c01-a850-92fb83f61f27" providerId="ADAL" clId="{067C7D3F-9573-4B1A-A9B0-3005DA5BAAAF}" dt="2024-02-02T12:59:05.906" v="16178"/>
          <ac:picMkLst>
            <pc:docMk/>
            <pc:sldMk cId="2124704795" sldId="2147482347"/>
            <ac:picMk id="14" creationId="{655949AF-2675-BCA6-9557-232918BD9A9D}"/>
          </ac:picMkLst>
        </pc:picChg>
        <pc:picChg chg="add del mod">
          <ac:chgData name="Cyprien ARETHUSE" userId="abd46b16-7bf0-4c01-a850-92fb83f61f27" providerId="ADAL" clId="{067C7D3F-9573-4B1A-A9B0-3005DA5BAAAF}" dt="2024-02-02T12:59:22.109" v="16180" actId="478"/>
          <ac:picMkLst>
            <pc:docMk/>
            <pc:sldMk cId="2124704795" sldId="2147482347"/>
            <ac:picMk id="15" creationId="{0754A39F-10F0-345E-D594-C46A656289BB}"/>
          </ac:picMkLst>
        </pc:picChg>
        <pc:picChg chg="add del mod">
          <ac:chgData name="Cyprien ARETHUSE" userId="abd46b16-7bf0-4c01-a850-92fb83f61f27" providerId="ADAL" clId="{067C7D3F-9573-4B1A-A9B0-3005DA5BAAAF}" dt="2024-02-02T12:59:22.109" v="16180" actId="478"/>
          <ac:picMkLst>
            <pc:docMk/>
            <pc:sldMk cId="2124704795" sldId="2147482347"/>
            <ac:picMk id="16" creationId="{CC691ACF-643A-CE05-6795-5AA10107EE13}"/>
          </ac:picMkLst>
        </pc:picChg>
        <pc:picChg chg="add del mod">
          <ac:chgData name="Cyprien ARETHUSE" userId="abd46b16-7bf0-4c01-a850-92fb83f61f27" providerId="ADAL" clId="{067C7D3F-9573-4B1A-A9B0-3005DA5BAAAF}" dt="2024-02-02T12:59:22.109" v="16180" actId="478"/>
          <ac:picMkLst>
            <pc:docMk/>
            <pc:sldMk cId="2124704795" sldId="2147482347"/>
            <ac:picMk id="17" creationId="{B77736BC-2264-9EB3-0C72-A247CD381EDF}"/>
          </ac:picMkLst>
        </pc:picChg>
        <pc:picChg chg="add del mod">
          <ac:chgData name="Cyprien ARETHUSE" userId="abd46b16-7bf0-4c01-a850-92fb83f61f27" providerId="ADAL" clId="{067C7D3F-9573-4B1A-A9B0-3005DA5BAAAF}" dt="2024-02-02T12:59:22.109" v="16180" actId="478"/>
          <ac:picMkLst>
            <pc:docMk/>
            <pc:sldMk cId="2124704795" sldId="2147482347"/>
            <ac:picMk id="18" creationId="{FFD627FF-19BD-443A-E811-3B81BDD17F9F}"/>
          </ac:picMkLst>
        </pc:picChg>
        <pc:picChg chg="add del mod">
          <ac:chgData name="Cyprien ARETHUSE" userId="abd46b16-7bf0-4c01-a850-92fb83f61f27" providerId="ADAL" clId="{067C7D3F-9573-4B1A-A9B0-3005DA5BAAAF}" dt="2024-02-02T12:59:24.792" v="16182" actId="478"/>
          <ac:picMkLst>
            <pc:docMk/>
            <pc:sldMk cId="2124704795" sldId="2147482347"/>
            <ac:picMk id="20" creationId="{8FA1F8E4-AAFF-308F-2CF4-240907FED893}"/>
          </ac:picMkLst>
        </pc:picChg>
        <pc:picChg chg="add mod">
          <ac:chgData name="Cyprien ARETHUSE" userId="abd46b16-7bf0-4c01-a850-92fb83f61f27" providerId="ADAL" clId="{067C7D3F-9573-4B1A-A9B0-3005DA5BAAAF}" dt="2024-02-02T12:59:30.743" v="16186" actId="1076"/>
          <ac:picMkLst>
            <pc:docMk/>
            <pc:sldMk cId="2124704795" sldId="2147482347"/>
            <ac:picMk id="22" creationId="{70401BAF-E170-FCE7-F533-882B284457E5}"/>
          </ac:picMkLst>
        </pc:picChg>
        <pc:picChg chg="add del mod">
          <ac:chgData name="Cyprien ARETHUSE" userId="abd46b16-7bf0-4c01-a850-92fb83f61f27" providerId="ADAL" clId="{067C7D3F-9573-4B1A-A9B0-3005DA5BAAAF}" dt="2024-02-02T12:59:24.792" v="16182" actId="478"/>
          <ac:picMkLst>
            <pc:docMk/>
            <pc:sldMk cId="2124704795" sldId="2147482347"/>
            <ac:picMk id="23" creationId="{41673857-9F61-3A65-B480-A5F0746747B6}"/>
          </ac:picMkLst>
        </pc:picChg>
        <pc:picChg chg="add del mod">
          <ac:chgData name="Cyprien ARETHUSE" userId="abd46b16-7bf0-4c01-a850-92fb83f61f27" providerId="ADAL" clId="{067C7D3F-9573-4B1A-A9B0-3005DA5BAAAF}" dt="2024-02-02T12:59:24.792" v="16182" actId="478"/>
          <ac:picMkLst>
            <pc:docMk/>
            <pc:sldMk cId="2124704795" sldId="2147482347"/>
            <ac:picMk id="24" creationId="{224AE93B-EB27-BDBF-F88E-C4EDFA2337FC}"/>
          </ac:picMkLst>
        </pc:picChg>
      </pc:sldChg>
      <pc:sldChg chg="del">
        <pc:chgData name="Cyprien ARETHUSE" userId="abd46b16-7bf0-4c01-a850-92fb83f61f27" providerId="ADAL" clId="{067C7D3F-9573-4B1A-A9B0-3005DA5BAAAF}" dt="2024-02-02T17:02:42.816" v="19520" actId="47"/>
        <pc:sldMkLst>
          <pc:docMk/>
          <pc:sldMk cId="2072986446" sldId="2147482348"/>
        </pc:sldMkLst>
      </pc:sldChg>
      <pc:sldChg chg="delSp modSp add del mod modShow">
        <pc:chgData name="Cyprien ARETHUSE" userId="abd46b16-7bf0-4c01-a850-92fb83f61f27" providerId="ADAL" clId="{067C7D3F-9573-4B1A-A9B0-3005DA5BAAAF}" dt="2024-02-01T17:07:26.553" v="15273" actId="47"/>
        <pc:sldMkLst>
          <pc:docMk/>
          <pc:sldMk cId="3207090843" sldId="2147482350"/>
        </pc:sldMkLst>
        <pc:spChg chg="del">
          <ac:chgData name="Cyprien ARETHUSE" userId="abd46b16-7bf0-4c01-a850-92fb83f61f27" providerId="ADAL" clId="{067C7D3F-9573-4B1A-A9B0-3005DA5BAAAF}" dt="2024-02-01T10:52:35.301" v="11674" actId="478"/>
          <ac:spMkLst>
            <pc:docMk/>
            <pc:sldMk cId="3207090843" sldId="2147482350"/>
            <ac:spMk id="8" creationId="{F54C2E7E-F641-FC22-F4B8-8301E157DA08}"/>
          </ac:spMkLst>
        </pc:spChg>
        <pc:spChg chg="mod">
          <ac:chgData name="Cyprien ARETHUSE" userId="abd46b16-7bf0-4c01-a850-92fb83f61f27" providerId="ADAL" clId="{067C7D3F-9573-4B1A-A9B0-3005DA5BAAAF}" dt="2024-02-01T10:52:32.637" v="11673" actId="20577"/>
          <ac:spMkLst>
            <pc:docMk/>
            <pc:sldMk cId="3207090843" sldId="2147482350"/>
            <ac:spMk id="11" creationId="{037BC75C-4C0B-BB80-B9CB-70D64668BA94}"/>
          </ac:spMkLst>
        </pc:spChg>
        <pc:grpChg chg="del">
          <ac:chgData name="Cyprien ARETHUSE" userId="abd46b16-7bf0-4c01-a850-92fb83f61f27" providerId="ADAL" clId="{067C7D3F-9573-4B1A-A9B0-3005DA5BAAAF}" dt="2024-02-01T10:52:37.329" v="11675" actId="478"/>
          <ac:grpSpMkLst>
            <pc:docMk/>
            <pc:sldMk cId="3207090843" sldId="2147482350"/>
            <ac:grpSpMk id="5" creationId="{379F06EA-E4EB-CC97-0791-76F113BCBD0D}"/>
          </ac:grpSpMkLst>
        </pc:grpChg>
      </pc:sldChg>
      <pc:sldChg chg="addSp delSp modSp mod ord">
        <pc:chgData name="Cyprien ARETHUSE" userId="abd46b16-7bf0-4c01-a850-92fb83f61f27" providerId="ADAL" clId="{067C7D3F-9573-4B1A-A9B0-3005DA5BAAAF}" dt="2024-02-01T16:43:41.703" v="14900" actId="1036"/>
        <pc:sldMkLst>
          <pc:docMk/>
          <pc:sldMk cId="2764221416" sldId="2147482354"/>
        </pc:sldMkLst>
        <pc:spChg chg="mod">
          <ac:chgData name="Cyprien ARETHUSE" userId="abd46b16-7bf0-4c01-a850-92fb83f61f27" providerId="ADAL" clId="{067C7D3F-9573-4B1A-A9B0-3005DA5BAAAF}" dt="2024-02-01T16:41:59.136" v="14837" actId="1036"/>
          <ac:spMkLst>
            <pc:docMk/>
            <pc:sldMk cId="2764221416" sldId="2147482354"/>
            <ac:spMk id="2" creationId="{A454CD39-512C-5DF0-9641-587567570270}"/>
          </ac:spMkLst>
        </pc:spChg>
        <pc:spChg chg="mod">
          <ac:chgData name="Cyprien ARETHUSE" userId="abd46b16-7bf0-4c01-a850-92fb83f61f27" providerId="ADAL" clId="{067C7D3F-9573-4B1A-A9B0-3005DA5BAAAF}" dt="2024-02-01T16:42:04.374" v="14838" actId="14100"/>
          <ac:spMkLst>
            <pc:docMk/>
            <pc:sldMk cId="2764221416" sldId="2147482354"/>
            <ac:spMk id="9" creationId="{66EB49D6-BB51-7D45-D375-8A151FDF5E56}"/>
          </ac:spMkLst>
        </pc:spChg>
        <pc:spChg chg="mod">
          <ac:chgData name="Cyprien ARETHUSE" userId="abd46b16-7bf0-4c01-a850-92fb83f61f27" providerId="ADAL" clId="{067C7D3F-9573-4B1A-A9B0-3005DA5BAAAF}" dt="2024-02-01T13:53:07.335" v="12178" actId="1035"/>
          <ac:spMkLst>
            <pc:docMk/>
            <pc:sldMk cId="2764221416" sldId="2147482354"/>
            <ac:spMk id="10" creationId="{D14BB2B0-040E-3510-DFE5-855F08829352}"/>
          </ac:spMkLst>
        </pc:spChg>
        <pc:spChg chg="mod">
          <ac:chgData name="Cyprien ARETHUSE" userId="abd46b16-7bf0-4c01-a850-92fb83f61f27" providerId="ADAL" clId="{067C7D3F-9573-4B1A-A9B0-3005DA5BAAAF}" dt="2024-02-01T16:41:59.136" v="14837" actId="1036"/>
          <ac:spMkLst>
            <pc:docMk/>
            <pc:sldMk cId="2764221416" sldId="2147482354"/>
            <ac:spMk id="11" creationId="{14D592EA-73C0-0F93-2863-252001D9BF24}"/>
          </ac:spMkLst>
        </pc:spChg>
        <pc:spChg chg="mod">
          <ac:chgData name="Cyprien ARETHUSE" userId="abd46b16-7bf0-4c01-a850-92fb83f61f27" providerId="ADAL" clId="{067C7D3F-9573-4B1A-A9B0-3005DA5BAAAF}" dt="2024-02-01T16:42:35.173" v="14847" actId="12789"/>
          <ac:spMkLst>
            <pc:docMk/>
            <pc:sldMk cId="2764221416" sldId="2147482354"/>
            <ac:spMk id="12" creationId="{748E64C8-4429-B3A9-1B63-62F518C01507}"/>
          </ac:spMkLst>
        </pc:spChg>
        <pc:spChg chg="del mod">
          <ac:chgData name="Cyprien ARETHUSE" userId="abd46b16-7bf0-4c01-a850-92fb83f61f27" providerId="ADAL" clId="{067C7D3F-9573-4B1A-A9B0-3005DA5BAAAF}" dt="2024-02-01T16:42:55.163" v="14850" actId="478"/>
          <ac:spMkLst>
            <pc:docMk/>
            <pc:sldMk cId="2764221416" sldId="2147482354"/>
            <ac:spMk id="14" creationId="{6230212D-4CFD-1D53-6B05-4E1206D94A3F}"/>
          </ac:spMkLst>
        </pc:spChg>
        <pc:spChg chg="mod">
          <ac:chgData name="Cyprien ARETHUSE" userId="abd46b16-7bf0-4c01-a850-92fb83f61f27" providerId="ADAL" clId="{067C7D3F-9573-4B1A-A9B0-3005DA5BAAAF}" dt="2024-02-01T16:43:41.703" v="14900" actId="1036"/>
          <ac:spMkLst>
            <pc:docMk/>
            <pc:sldMk cId="2764221416" sldId="2147482354"/>
            <ac:spMk id="15" creationId="{758E6134-039B-0297-664A-2087C54C2D7E}"/>
          </ac:spMkLst>
        </pc:spChg>
        <pc:spChg chg="mod">
          <ac:chgData name="Cyprien ARETHUSE" userId="abd46b16-7bf0-4c01-a850-92fb83f61f27" providerId="ADAL" clId="{067C7D3F-9573-4B1A-A9B0-3005DA5BAAAF}" dt="2024-02-01T16:43:41.703" v="14900" actId="1036"/>
          <ac:spMkLst>
            <pc:docMk/>
            <pc:sldMk cId="2764221416" sldId="2147482354"/>
            <ac:spMk id="16" creationId="{16E62982-8123-09D1-FCC1-AC82D91BBB42}"/>
          </ac:spMkLst>
        </pc:spChg>
        <pc:spChg chg="mod">
          <ac:chgData name="Cyprien ARETHUSE" userId="abd46b16-7bf0-4c01-a850-92fb83f61f27" providerId="ADAL" clId="{067C7D3F-9573-4B1A-A9B0-3005DA5BAAAF}" dt="2024-02-01T16:43:41.703" v="14900" actId="1036"/>
          <ac:spMkLst>
            <pc:docMk/>
            <pc:sldMk cId="2764221416" sldId="2147482354"/>
            <ac:spMk id="17" creationId="{1B52987F-16C6-94A2-FA64-00CBDF833CC2}"/>
          </ac:spMkLst>
        </pc:spChg>
        <pc:spChg chg="mod">
          <ac:chgData name="Cyprien ARETHUSE" userId="abd46b16-7bf0-4c01-a850-92fb83f61f27" providerId="ADAL" clId="{067C7D3F-9573-4B1A-A9B0-3005DA5BAAAF}" dt="2024-02-01T16:41:59.136" v="14837" actId="1036"/>
          <ac:spMkLst>
            <pc:docMk/>
            <pc:sldMk cId="2764221416" sldId="2147482354"/>
            <ac:spMk id="18" creationId="{A2DB48AD-5169-A000-6CD4-6D9172055D1D}"/>
          </ac:spMkLst>
        </pc:spChg>
        <pc:spChg chg="mod">
          <ac:chgData name="Cyprien ARETHUSE" userId="abd46b16-7bf0-4c01-a850-92fb83f61f27" providerId="ADAL" clId="{067C7D3F-9573-4B1A-A9B0-3005DA5BAAAF}" dt="2024-02-01T16:41:59.136" v="14837" actId="1036"/>
          <ac:spMkLst>
            <pc:docMk/>
            <pc:sldMk cId="2764221416" sldId="2147482354"/>
            <ac:spMk id="19" creationId="{ECCA6F3B-9E7D-EB6C-286A-FAC228A1064D}"/>
          </ac:spMkLst>
        </pc:spChg>
        <pc:spChg chg="mod">
          <ac:chgData name="Cyprien ARETHUSE" userId="abd46b16-7bf0-4c01-a850-92fb83f61f27" providerId="ADAL" clId="{067C7D3F-9573-4B1A-A9B0-3005DA5BAAAF}" dt="2024-02-01T16:42:28.101" v="14845" actId="12789"/>
          <ac:spMkLst>
            <pc:docMk/>
            <pc:sldMk cId="2764221416" sldId="2147482354"/>
            <ac:spMk id="20" creationId="{71A47098-55A4-5FB6-EBDE-8D69767C7B7D}"/>
          </ac:spMkLst>
        </pc:spChg>
        <pc:spChg chg="mod">
          <ac:chgData name="Cyprien ARETHUSE" userId="abd46b16-7bf0-4c01-a850-92fb83f61f27" providerId="ADAL" clId="{067C7D3F-9573-4B1A-A9B0-3005DA5BAAAF}" dt="2024-02-01T16:42:32.738" v="14846" actId="12789"/>
          <ac:spMkLst>
            <pc:docMk/>
            <pc:sldMk cId="2764221416" sldId="2147482354"/>
            <ac:spMk id="21" creationId="{E9784446-C191-467E-0CEF-A3A1E20EE208}"/>
          </ac:spMkLst>
        </pc:spChg>
        <pc:spChg chg="mod">
          <ac:chgData name="Cyprien ARETHUSE" userId="abd46b16-7bf0-4c01-a850-92fb83f61f27" providerId="ADAL" clId="{067C7D3F-9573-4B1A-A9B0-3005DA5BAAAF}" dt="2024-02-01T16:41:59.136" v="14837" actId="1036"/>
          <ac:spMkLst>
            <pc:docMk/>
            <pc:sldMk cId="2764221416" sldId="2147482354"/>
            <ac:spMk id="22" creationId="{DA6D0126-8232-B6F2-082B-A0947BC49EC4}"/>
          </ac:spMkLst>
        </pc:spChg>
        <pc:spChg chg="mod">
          <ac:chgData name="Cyprien ARETHUSE" userId="abd46b16-7bf0-4c01-a850-92fb83f61f27" providerId="ADAL" clId="{067C7D3F-9573-4B1A-A9B0-3005DA5BAAAF}" dt="2024-02-01T16:41:59.136" v="14837" actId="1036"/>
          <ac:spMkLst>
            <pc:docMk/>
            <pc:sldMk cId="2764221416" sldId="2147482354"/>
            <ac:spMk id="23" creationId="{6ACB5000-DDB3-3DE1-7706-E40F877CCC7E}"/>
          </ac:spMkLst>
        </pc:spChg>
        <pc:spChg chg="mod">
          <ac:chgData name="Cyprien ARETHUSE" userId="abd46b16-7bf0-4c01-a850-92fb83f61f27" providerId="ADAL" clId="{067C7D3F-9573-4B1A-A9B0-3005DA5BAAAF}" dt="2024-02-01T16:42:35.173" v="14847" actId="12789"/>
          <ac:spMkLst>
            <pc:docMk/>
            <pc:sldMk cId="2764221416" sldId="2147482354"/>
            <ac:spMk id="28" creationId="{1BEA906E-E828-1E91-5BDB-3581F439F0FC}"/>
          </ac:spMkLst>
        </pc:spChg>
        <pc:spChg chg="mod">
          <ac:chgData name="Cyprien ARETHUSE" userId="abd46b16-7bf0-4c01-a850-92fb83f61f27" providerId="ADAL" clId="{067C7D3F-9573-4B1A-A9B0-3005DA5BAAAF}" dt="2024-02-01T16:42:28.101" v="14845" actId="12789"/>
          <ac:spMkLst>
            <pc:docMk/>
            <pc:sldMk cId="2764221416" sldId="2147482354"/>
            <ac:spMk id="29" creationId="{D9CDB481-A899-5DCB-49E2-56AA5D944FF8}"/>
          </ac:spMkLst>
        </pc:spChg>
        <pc:spChg chg="del mod">
          <ac:chgData name="Cyprien ARETHUSE" userId="abd46b16-7bf0-4c01-a850-92fb83f61f27" providerId="ADAL" clId="{067C7D3F-9573-4B1A-A9B0-3005DA5BAAAF}" dt="2024-02-01T13:51:41.650" v="12152" actId="478"/>
          <ac:spMkLst>
            <pc:docMk/>
            <pc:sldMk cId="2764221416" sldId="2147482354"/>
            <ac:spMk id="30" creationId="{637295AE-9FE9-83C4-4697-4E1913EB041D}"/>
          </ac:spMkLst>
        </pc:spChg>
        <pc:spChg chg="mod">
          <ac:chgData name="Cyprien ARETHUSE" userId="abd46b16-7bf0-4c01-a850-92fb83f61f27" providerId="ADAL" clId="{067C7D3F-9573-4B1A-A9B0-3005DA5BAAAF}" dt="2024-02-01T16:42:32.738" v="14846" actId="12789"/>
          <ac:spMkLst>
            <pc:docMk/>
            <pc:sldMk cId="2764221416" sldId="2147482354"/>
            <ac:spMk id="32" creationId="{014C8605-E6B4-CFCF-E189-34981B4466C3}"/>
          </ac:spMkLst>
        </pc:spChg>
        <pc:spChg chg="del">
          <ac:chgData name="Cyprien ARETHUSE" userId="abd46b16-7bf0-4c01-a850-92fb83f61f27" providerId="ADAL" clId="{067C7D3F-9573-4B1A-A9B0-3005DA5BAAAF}" dt="2024-02-01T13:51:28.597" v="12115" actId="478"/>
          <ac:spMkLst>
            <pc:docMk/>
            <pc:sldMk cId="2764221416" sldId="2147482354"/>
            <ac:spMk id="34" creationId="{4A70465A-2B35-35D9-7EBD-A83029985F0B}"/>
          </ac:spMkLst>
        </pc:spChg>
        <pc:spChg chg="mod">
          <ac:chgData name="Cyprien ARETHUSE" userId="abd46b16-7bf0-4c01-a850-92fb83f61f27" providerId="ADAL" clId="{067C7D3F-9573-4B1A-A9B0-3005DA5BAAAF}" dt="2024-02-01T14:11:45.043" v="12676" actId="20577"/>
          <ac:spMkLst>
            <pc:docMk/>
            <pc:sldMk cId="2764221416" sldId="2147482354"/>
            <ac:spMk id="35" creationId="{092D0269-7FD5-5D05-281A-ABFD5128ECA8}"/>
          </ac:spMkLst>
        </pc:spChg>
        <pc:spChg chg="add mod">
          <ac:chgData name="Cyprien ARETHUSE" userId="abd46b16-7bf0-4c01-a850-92fb83f61f27" providerId="ADAL" clId="{067C7D3F-9573-4B1A-A9B0-3005DA5BAAAF}" dt="2024-02-01T16:42:55.459" v="14851"/>
          <ac:spMkLst>
            <pc:docMk/>
            <pc:sldMk cId="2764221416" sldId="2147482354"/>
            <ac:spMk id="39" creationId="{272F77B7-1C09-168B-8D68-15C307679540}"/>
          </ac:spMkLst>
        </pc:spChg>
        <pc:spChg chg="add mod">
          <ac:chgData name="Cyprien ARETHUSE" userId="abd46b16-7bf0-4c01-a850-92fb83f61f27" providerId="ADAL" clId="{067C7D3F-9573-4B1A-A9B0-3005DA5BAAAF}" dt="2024-02-01T16:43:05.659" v="14853" actId="12788"/>
          <ac:spMkLst>
            <pc:docMk/>
            <pc:sldMk cId="2764221416" sldId="2147482354"/>
            <ac:spMk id="40" creationId="{7C3DD1BD-94A1-1F54-AD12-9C7AEA659C9B}"/>
          </ac:spMkLst>
        </pc:spChg>
        <pc:spChg chg="add mod">
          <ac:chgData name="Cyprien ARETHUSE" userId="abd46b16-7bf0-4c01-a850-92fb83f61f27" providerId="ADAL" clId="{067C7D3F-9573-4B1A-A9B0-3005DA5BAAAF}" dt="2024-02-01T16:43:09.652" v="14855" actId="571"/>
          <ac:spMkLst>
            <pc:docMk/>
            <pc:sldMk cId="2764221416" sldId="2147482354"/>
            <ac:spMk id="41" creationId="{D1A7A41F-D941-24C1-7545-6F2076EB22DD}"/>
          </ac:spMkLst>
        </pc:spChg>
        <pc:picChg chg="add mod">
          <ac:chgData name="Cyprien ARETHUSE" userId="abd46b16-7bf0-4c01-a850-92fb83f61f27" providerId="ADAL" clId="{067C7D3F-9573-4B1A-A9B0-3005DA5BAAAF}" dt="2024-02-01T13:53:07.335" v="12178" actId="1035"/>
          <ac:picMkLst>
            <pc:docMk/>
            <pc:sldMk cId="2764221416" sldId="2147482354"/>
            <ac:picMk id="24" creationId="{6D72584E-338C-230C-6737-D790ECB4A26B}"/>
          </ac:picMkLst>
        </pc:picChg>
        <pc:picChg chg="mod">
          <ac:chgData name="Cyprien ARETHUSE" userId="abd46b16-7bf0-4c01-a850-92fb83f61f27" providerId="ADAL" clId="{067C7D3F-9573-4B1A-A9B0-3005DA5BAAAF}" dt="2024-02-01T16:41:59.136" v="14837" actId="1036"/>
          <ac:picMkLst>
            <pc:docMk/>
            <pc:sldMk cId="2764221416" sldId="2147482354"/>
            <ac:picMk id="31" creationId="{A5645588-0A03-74DF-F76F-19846FD5A2CC}"/>
          </ac:picMkLst>
        </pc:picChg>
        <pc:picChg chg="del">
          <ac:chgData name="Cyprien ARETHUSE" userId="abd46b16-7bf0-4c01-a850-92fb83f61f27" providerId="ADAL" clId="{067C7D3F-9573-4B1A-A9B0-3005DA5BAAAF}" dt="2024-02-01T13:48:45.878" v="12061" actId="478"/>
          <ac:picMkLst>
            <pc:docMk/>
            <pc:sldMk cId="2764221416" sldId="2147482354"/>
            <ac:picMk id="36" creationId="{3C7D989F-9FA9-09C9-F648-30C711C6EF05}"/>
          </ac:picMkLst>
        </pc:picChg>
        <pc:picChg chg="add mod">
          <ac:chgData name="Cyprien ARETHUSE" userId="abd46b16-7bf0-4c01-a850-92fb83f61f27" providerId="ADAL" clId="{067C7D3F-9573-4B1A-A9B0-3005DA5BAAAF}" dt="2024-02-01T16:41:59.136" v="14837" actId="1036"/>
          <ac:picMkLst>
            <pc:docMk/>
            <pc:sldMk cId="2764221416" sldId="2147482354"/>
            <ac:picMk id="37" creationId="{C9234F1F-6B72-57E4-B54F-86A5F3224294}"/>
          </ac:picMkLst>
        </pc:picChg>
        <pc:picChg chg="add mod">
          <ac:chgData name="Cyprien ARETHUSE" userId="abd46b16-7bf0-4c01-a850-92fb83f61f27" providerId="ADAL" clId="{067C7D3F-9573-4B1A-A9B0-3005DA5BAAAF}" dt="2024-02-01T16:43:33.794" v="14878" actId="1036"/>
          <ac:picMkLst>
            <pc:docMk/>
            <pc:sldMk cId="2764221416" sldId="2147482354"/>
            <ac:picMk id="38" creationId="{5C45B77D-64DF-37D4-8BE3-86558F6BAC57}"/>
          </ac:picMkLst>
        </pc:picChg>
        <pc:picChg chg="add mod">
          <ac:chgData name="Cyprien ARETHUSE" userId="abd46b16-7bf0-4c01-a850-92fb83f61f27" providerId="ADAL" clId="{067C7D3F-9573-4B1A-A9B0-3005DA5BAAAF}" dt="2024-02-01T16:43:09.652" v="14855" actId="571"/>
          <ac:picMkLst>
            <pc:docMk/>
            <pc:sldMk cId="2764221416" sldId="2147482354"/>
            <ac:picMk id="42" creationId="{F31CFF40-075C-8A1C-2BE4-08C68CC9EF6A}"/>
          </ac:picMkLst>
        </pc:picChg>
        <pc:picChg chg="add mod">
          <ac:chgData name="Cyprien ARETHUSE" userId="abd46b16-7bf0-4c01-a850-92fb83f61f27" providerId="ADAL" clId="{067C7D3F-9573-4B1A-A9B0-3005DA5BAAAF}" dt="2024-02-01T16:43:26.759" v="14870" actId="1036"/>
          <ac:picMkLst>
            <pc:docMk/>
            <pc:sldMk cId="2764221416" sldId="2147482354"/>
            <ac:picMk id="43" creationId="{4DB014A0-A4BE-E961-9836-E80DEBB927AE}"/>
          </ac:picMkLst>
        </pc:picChg>
        <pc:picChg chg="add mod">
          <ac:chgData name="Cyprien ARETHUSE" userId="abd46b16-7bf0-4c01-a850-92fb83f61f27" providerId="ADAL" clId="{067C7D3F-9573-4B1A-A9B0-3005DA5BAAAF}" dt="2024-02-01T16:43:22.608" v="14865" actId="1035"/>
          <ac:picMkLst>
            <pc:docMk/>
            <pc:sldMk cId="2764221416" sldId="2147482354"/>
            <ac:picMk id="44" creationId="{C2A19496-100D-6E53-72B8-11D18BB64857}"/>
          </ac:picMkLst>
        </pc:picChg>
      </pc:sldChg>
      <pc:sldChg chg="add del">
        <pc:chgData name="Cyprien ARETHUSE" userId="abd46b16-7bf0-4c01-a850-92fb83f61f27" providerId="ADAL" clId="{067C7D3F-9573-4B1A-A9B0-3005DA5BAAAF}" dt="2024-02-01T10:58:49.876" v="11710" actId="47"/>
        <pc:sldMkLst>
          <pc:docMk/>
          <pc:sldMk cId="66010817" sldId="2147482355"/>
        </pc:sldMkLst>
      </pc:sldChg>
      <pc:sldChg chg="addSp delSp modSp add mod ord">
        <pc:chgData name="Cyprien ARETHUSE" userId="abd46b16-7bf0-4c01-a850-92fb83f61f27" providerId="ADAL" clId="{067C7D3F-9573-4B1A-A9B0-3005DA5BAAAF}" dt="2024-02-02T14:57:28.980" v="18200" actId="207"/>
        <pc:sldMkLst>
          <pc:docMk/>
          <pc:sldMk cId="640653412" sldId="2147482356"/>
        </pc:sldMkLst>
        <pc:spChg chg="del">
          <ac:chgData name="Cyprien ARETHUSE" userId="abd46b16-7bf0-4c01-a850-92fb83f61f27" providerId="ADAL" clId="{067C7D3F-9573-4B1A-A9B0-3005DA5BAAAF}" dt="2024-02-01T10:58:41.622" v="11708" actId="478"/>
          <ac:spMkLst>
            <pc:docMk/>
            <pc:sldMk cId="640653412" sldId="2147482356"/>
            <ac:spMk id="2" creationId="{06AF64C0-132E-B313-A81E-E87E7D447EBD}"/>
          </ac:spMkLst>
        </pc:spChg>
        <pc:spChg chg="del">
          <ac:chgData name="Cyprien ARETHUSE" userId="abd46b16-7bf0-4c01-a850-92fb83f61f27" providerId="ADAL" clId="{067C7D3F-9573-4B1A-A9B0-3005DA5BAAAF}" dt="2024-02-01T10:58:41.622" v="11708" actId="478"/>
          <ac:spMkLst>
            <pc:docMk/>
            <pc:sldMk cId="640653412" sldId="2147482356"/>
            <ac:spMk id="3" creationId="{AF7B4F25-6666-55C3-1103-AFD1986FBD0D}"/>
          </ac:spMkLst>
        </pc:spChg>
        <pc:spChg chg="add mod">
          <ac:chgData name="Cyprien ARETHUSE" userId="abd46b16-7bf0-4c01-a850-92fb83f61f27" providerId="ADAL" clId="{067C7D3F-9573-4B1A-A9B0-3005DA5BAAAF}" dt="2024-02-02T14:36:13.442" v="17735" actId="20577"/>
          <ac:spMkLst>
            <pc:docMk/>
            <pc:sldMk cId="640653412" sldId="2147482356"/>
            <ac:spMk id="3" creationId="{CF60017C-3A32-999B-F354-16F529553FD9}"/>
          </ac:spMkLst>
        </pc:spChg>
        <pc:spChg chg="add mod">
          <ac:chgData name="Cyprien ARETHUSE" userId="abd46b16-7bf0-4c01-a850-92fb83f61f27" providerId="ADAL" clId="{067C7D3F-9573-4B1A-A9B0-3005DA5BAAAF}" dt="2024-02-02T14:36:16.635" v="17739" actId="20577"/>
          <ac:spMkLst>
            <pc:docMk/>
            <pc:sldMk cId="640653412" sldId="2147482356"/>
            <ac:spMk id="4" creationId="{6DBF4285-446D-93EE-6BCA-ECF50980FEB5}"/>
          </ac:spMkLst>
        </pc:spChg>
        <pc:spChg chg="add mod">
          <ac:chgData name="Cyprien ARETHUSE" userId="abd46b16-7bf0-4c01-a850-92fb83f61f27" providerId="ADAL" clId="{067C7D3F-9573-4B1A-A9B0-3005DA5BAAAF}" dt="2024-02-02T14:15:32.950" v="16601" actId="404"/>
          <ac:spMkLst>
            <pc:docMk/>
            <pc:sldMk cId="640653412" sldId="2147482356"/>
            <ac:spMk id="26" creationId="{7AF2E15B-615E-509D-5C30-70F3DD3A272E}"/>
          </ac:spMkLst>
        </pc:spChg>
        <pc:spChg chg="add mod">
          <ac:chgData name="Cyprien ARETHUSE" userId="abd46b16-7bf0-4c01-a850-92fb83f61f27" providerId="ADAL" clId="{067C7D3F-9573-4B1A-A9B0-3005DA5BAAAF}" dt="2024-02-02T14:57:28.980" v="18200" actId="207"/>
          <ac:spMkLst>
            <pc:docMk/>
            <pc:sldMk cId="640653412" sldId="2147482356"/>
            <ac:spMk id="27" creationId="{ACD544D7-8DC3-5856-F0C9-21F79FFB9636}"/>
          </ac:spMkLst>
        </pc:spChg>
        <pc:spChg chg="add mod">
          <ac:chgData name="Cyprien ARETHUSE" userId="abd46b16-7bf0-4c01-a850-92fb83f61f27" providerId="ADAL" clId="{067C7D3F-9573-4B1A-A9B0-3005DA5BAAAF}" dt="2024-02-01T10:58:47.817" v="11709"/>
          <ac:spMkLst>
            <pc:docMk/>
            <pc:sldMk cId="640653412" sldId="2147482356"/>
            <ac:spMk id="31" creationId="{3AC823BD-1669-0CEA-1D4F-C203FEFE42B0}"/>
          </ac:spMkLst>
        </pc:spChg>
        <pc:spChg chg="add mod">
          <ac:chgData name="Cyprien ARETHUSE" userId="abd46b16-7bf0-4c01-a850-92fb83f61f27" providerId="ADAL" clId="{067C7D3F-9573-4B1A-A9B0-3005DA5BAAAF}" dt="2024-02-01T10:58:47.817" v="11709"/>
          <ac:spMkLst>
            <pc:docMk/>
            <pc:sldMk cId="640653412" sldId="2147482356"/>
            <ac:spMk id="34" creationId="{B58A50D5-7D27-C71D-FE74-6D432B95F95D}"/>
          </ac:spMkLst>
        </pc:spChg>
        <pc:grpChg chg="del">
          <ac:chgData name="Cyprien ARETHUSE" userId="abd46b16-7bf0-4c01-a850-92fb83f61f27" providerId="ADAL" clId="{067C7D3F-9573-4B1A-A9B0-3005DA5BAAAF}" dt="2024-02-01T10:58:41.622" v="11708" actId="478"/>
          <ac:grpSpMkLst>
            <pc:docMk/>
            <pc:sldMk cId="640653412" sldId="2147482356"/>
            <ac:grpSpMk id="6" creationId="{474CD609-AA93-F303-1150-E98C4185D389}"/>
          </ac:grpSpMkLst>
        </pc:grpChg>
        <pc:grpChg chg="del">
          <ac:chgData name="Cyprien ARETHUSE" userId="abd46b16-7bf0-4c01-a850-92fb83f61f27" providerId="ADAL" clId="{067C7D3F-9573-4B1A-A9B0-3005DA5BAAAF}" dt="2024-02-01T10:58:41.622" v="11708" actId="478"/>
          <ac:grpSpMkLst>
            <pc:docMk/>
            <pc:sldMk cId="640653412" sldId="2147482356"/>
            <ac:grpSpMk id="9" creationId="{F256AF7C-C984-566D-BEE4-0AFC1016C773}"/>
          </ac:grpSpMkLst>
        </pc:grpChg>
        <pc:grpChg chg="del">
          <ac:chgData name="Cyprien ARETHUSE" userId="abd46b16-7bf0-4c01-a850-92fb83f61f27" providerId="ADAL" clId="{067C7D3F-9573-4B1A-A9B0-3005DA5BAAAF}" dt="2024-02-01T10:58:41.622" v="11708" actId="478"/>
          <ac:grpSpMkLst>
            <pc:docMk/>
            <pc:sldMk cId="640653412" sldId="2147482356"/>
            <ac:grpSpMk id="18" creationId="{AF88DA3E-F345-D5FB-4AB0-647857E6B786}"/>
          </ac:grpSpMkLst>
        </pc:grpChg>
        <pc:graphicFrameChg chg="del">
          <ac:chgData name="Cyprien ARETHUSE" userId="abd46b16-7bf0-4c01-a850-92fb83f61f27" providerId="ADAL" clId="{067C7D3F-9573-4B1A-A9B0-3005DA5BAAAF}" dt="2024-02-01T10:58:41.622" v="11708" actId="478"/>
          <ac:graphicFrameMkLst>
            <pc:docMk/>
            <pc:sldMk cId="640653412" sldId="2147482356"/>
            <ac:graphicFrameMk id="4" creationId="{866FF552-3425-9461-A6AC-2608AD703414}"/>
          </ac:graphicFrameMkLst>
        </pc:graphicFrameChg>
        <pc:graphicFrameChg chg="del">
          <ac:chgData name="Cyprien ARETHUSE" userId="abd46b16-7bf0-4c01-a850-92fb83f61f27" providerId="ADAL" clId="{067C7D3F-9573-4B1A-A9B0-3005DA5BAAAF}" dt="2024-02-01T10:58:41.622" v="11708" actId="478"/>
          <ac:graphicFrameMkLst>
            <pc:docMk/>
            <pc:sldMk cId="640653412" sldId="2147482356"/>
            <ac:graphicFrameMk id="5" creationId="{9B826BB9-A900-21A6-F3B2-D05910D927FB}"/>
          </ac:graphicFrameMkLst>
        </pc:graphicFrameChg>
        <pc:graphicFrameChg chg="add mod modGraphic">
          <ac:chgData name="Cyprien ARETHUSE" userId="abd46b16-7bf0-4c01-a850-92fb83f61f27" providerId="ADAL" clId="{067C7D3F-9573-4B1A-A9B0-3005DA5BAAAF}" dt="2024-02-02T14:15:31.066" v="16600" actId="403"/>
          <ac:graphicFrameMkLst>
            <pc:docMk/>
            <pc:sldMk cId="640653412" sldId="2147482356"/>
            <ac:graphicFrameMk id="28" creationId="{E4230C11-2551-0E57-9DB5-05C11F338106}"/>
          </ac:graphicFrameMkLst>
        </pc:graphicFrameChg>
        <pc:graphicFrameChg chg="add mod modGraphic">
          <ac:chgData name="Cyprien ARETHUSE" userId="abd46b16-7bf0-4c01-a850-92fb83f61f27" providerId="ADAL" clId="{067C7D3F-9573-4B1A-A9B0-3005DA5BAAAF}" dt="2024-02-02T14:15:44.318" v="16604" actId="14734"/>
          <ac:graphicFrameMkLst>
            <pc:docMk/>
            <pc:sldMk cId="640653412" sldId="2147482356"/>
            <ac:graphicFrameMk id="29" creationId="{4D03668A-A032-F5A8-05D2-385D21257EA3}"/>
          </ac:graphicFrameMkLst>
        </pc:graphicFrameChg>
        <pc:picChg chg="add mod">
          <ac:chgData name="Cyprien ARETHUSE" userId="abd46b16-7bf0-4c01-a850-92fb83f61f27" providerId="ADAL" clId="{067C7D3F-9573-4B1A-A9B0-3005DA5BAAAF}" dt="2024-02-02T12:58:46.417" v="16177" actId="1036"/>
          <ac:picMkLst>
            <pc:docMk/>
            <pc:sldMk cId="640653412" sldId="2147482356"/>
            <ac:picMk id="2" creationId="{1F97F2E4-07B6-3675-C8C4-E81734ACE36D}"/>
          </ac:picMkLst>
        </pc:picChg>
        <pc:picChg chg="del">
          <ac:chgData name="Cyprien ARETHUSE" userId="abd46b16-7bf0-4c01-a850-92fb83f61f27" providerId="ADAL" clId="{067C7D3F-9573-4B1A-A9B0-3005DA5BAAAF}" dt="2024-02-01T10:58:41.622" v="11708" actId="478"/>
          <ac:picMkLst>
            <pc:docMk/>
            <pc:sldMk cId="640653412" sldId="2147482356"/>
            <ac:picMk id="16" creationId="{EA41296D-85AA-C907-462A-8966361B1DB0}"/>
          </ac:picMkLst>
        </pc:picChg>
        <pc:picChg chg="del">
          <ac:chgData name="Cyprien ARETHUSE" userId="abd46b16-7bf0-4c01-a850-92fb83f61f27" providerId="ADAL" clId="{067C7D3F-9573-4B1A-A9B0-3005DA5BAAAF}" dt="2024-02-01T10:58:41.622" v="11708" actId="478"/>
          <ac:picMkLst>
            <pc:docMk/>
            <pc:sldMk cId="640653412" sldId="2147482356"/>
            <ac:picMk id="17" creationId="{E16F1F40-9EE1-2626-2B0D-F351210A21D9}"/>
          </ac:picMkLst>
        </pc:picChg>
        <pc:picChg chg="del">
          <ac:chgData name="Cyprien ARETHUSE" userId="abd46b16-7bf0-4c01-a850-92fb83f61f27" providerId="ADAL" clId="{067C7D3F-9573-4B1A-A9B0-3005DA5BAAAF}" dt="2024-02-01T10:58:41.622" v="11708" actId="478"/>
          <ac:picMkLst>
            <pc:docMk/>
            <pc:sldMk cId="640653412" sldId="2147482356"/>
            <ac:picMk id="25" creationId="{950E68E2-6860-FEA8-B69E-8580F74F3B4A}"/>
          </ac:picMkLst>
        </pc:picChg>
        <pc:picChg chg="add mod">
          <ac:chgData name="Cyprien ARETHUSE" userId="abd46b16-7bf0-4c01-a850-92fb83f61f27" providerId="ADAL" clId="{067C7D3F-9573-4B1A-A9B0-3005DA5BAAAF}" dt="2024-02-01T10:58:47.817" v="11709"/>
          <ac:picMkLst>
            <pc:docMk/>
            <pc:sldMk cId="640653412" sldId="2147482356"/>
            <ac:picMk id="30" creationId="{CA9BF488-67E0-5E27-E524-AA04B47E6E3C}"/>
          </ac:picMkLst>
        </pc:picChg>
        <pc:picChg chg="add mod">
          <ac:chgData name="Cyprien ARETHUSE" userId="abd46b16-7bf0-4c01-a850-92fb83f61f27" providerId="ADAL" clId="{067C7D3F-9573-4B1A-A9B0-3005DA5BAAAF}" dt="2024-02-01T10:58:47.817" v="11709"/>
          <ac:picMkLst>
            <pc:docMk/>
            <pc:sldMk cId="640653412" sldId="2147482356"/>
            <ac:picMk id="32" creationId="{AC7CEB50-882B-A91A-5990-66B91DAB4E4E}"/>
          </ac:picMkLst>
        </pc:picChg>
        <pc:picChg chg="add mod">
          <ac:chgData name="Cyprien ARETHUSE" userId="abd46b16-7bf0-4c01-a850-92fb83f61f27" providerId="ADAL" clId="{067C7D3F-9573-4B1A-A9B0-3005DA5BAAAF}" dt="2024-02-01T10:58:47.817" v="11709"/>
          <ac:picMkLst>
            <pc:docMk/>
            <pc:sldMk cId="640653412" sldId="2147482356"/>
            <ac:picMk id="33" creationId="{DCE29F07-A3D0-FC2F-8466-6040D8EF7A81}"/>
          </ac:picMkLst>
        </pc:picChg>
        <pc:picChg chg="add mod">
          <ac:chgData name="Cyprien ARETHUSE" userId="abd46b16-7bf0-4c01-a850-92fb83f61f27" providerId="ADAL" clId="{067C7D3F-9573-4B1A-A9B0-3005DA5BAAAF}" dt="2024-02-01T10:58:47.817" v="11709"/>
          <ac:picMkLst>
            <pc:docMk/>
            <pc:sldMk cId="640653412" sldId="2147482356"/>
            <ac:picMk id="35" creationId="{7D7042DF-2F9D-6872-7CD4-918FD8C4010D}"/>
          </ac:picMkLst>
        </pc:picChg>
        <pc:picChg chg="add mod">
          <ac:chgData name="Cyprien ARETHUSE" userId="abd46b16-7bf0-4c01-a850-92fb83f61f27" providerId="ADAL" clId="{067C7D3F-9573-4B1A-A9B0-3005DA5BAAAF}" dt="2024-02-01T11:15:35.390" v="12019" actId="1035"/>
          <ac:picMkLst>
            <pc:docMk/>
            <pc:sldMk cId="640653412" sldId="2147482356"/>
            <ac:picMk id="36" creationId="{CF6E7A9D-E898-894E-7A1E-5C66C3C866A0}"/>
          </ac:picMkLst>
        </pc:picChg>
        <pc:picChg chg="add mod">
          <ac:chgData name="Cyprien ARETHUSE" userId="abd46b16-7bf0-4c01-a850-92fb83f61f27" providerId="ADAL" clId="{067C7D3F-9573-4B1A-A9B0-3005DA5BAAAF}" dt="2024-02-01T10:58:47.817" v="11709"/>
          <ac:picMkLst>
            <pc:docMk/>
            <pc:sldMk cId="640653412" sldId="2147482356"/>
            <ac:picMk id="37" creationId="{0BD7BDAD-4133-3F4F-39B6-3A5CFAC0EE1C}"/>
          </ac:picMkLst>
        </pc:picChg>
      </pc:sldChg>
      <pc:sldChg chg="addSp delSp modSp new mod ord modClrScheme chgLayout">
        <pc:chgData name="Cyprien ARETHUSE" userId="abd46b16-7bf0-4c01-a850-92fb83f61f27" providerId="ADAL" clId="{067C7D3F-9573-4B1A-A9B0-3005DA5BAAAF}" dt="2024-02-01T11:01:44.714" v="11784" actId="20577"/>
        <pc:sldMkLst>
          <pc:docMk/>
          <pc:sldMk cId="2055640910" sldId="2147482358"/>
        </pc:sldMkLst>
        <pc:spChg chg="del">
          <ac:chgData name="Cyprien ARETHUSE" userId="abd46b16-7bf0-4c01-a850-92fb83f61f27" providerId="ADAL" clId="{067C7D3F-9573-4B1A-A9B0-3005DA5BAAAF}" dt="2024-02-01T11:00:18.318" v="11749" actId="700"/>
          <ac:spMkLst>
            <pc:docMk/>
            <pc:sldMk cId="2055640910" sldId="2147482358"/>
            <ac:spMk id="2" creationId="{F737AAAC-F567-85EC-5F4D-B68AD6D98C09}"/>
          </ac:spMkLst>
        </pc:spChg>
        <pc:spChg chg="del mod ord">
          <ac:chgData name="Cyprien ARETHUSE" userId="abd46b16-7bf0-4c01-a850-92fb83f61f27" providerId="ADAL" clId="{067C7D3F-9573-4B1A-A9B0-3005DA5BAAAF}" dt="2024-02-01T11:00:18.318" v="11749" actId="700"/>
          <ac:spMkLst>
            <pc:docMk/>
            <pc:sldMk cId="2055640910" sldId="2147482358"/>
            <ac:spMk id="3" creationId="{3D7099E9-AAC6-DC81-039A-F8880B234543}"/>
          </ac:spMkLst>
        </pc:spChg>
        <pc:spChg chg="del">
          <ac:chgData name="Cyprien ARETHUSE" userId="abd46b16-7bf0-4c01-a850-92fb83f61f27" providerId="ADAL" clId="{067C7D3F-9573-4B1A-A9B0-3005DA5BAAAF}" dt="2024-02-01T11:00:18.318" v="11749" actId="700"/>
          <ac:spMkLst>
            <pc:docMk/>
            <pc:sldMk cId="2055640910" sldId="2147482358"/>
            <ac:spMk id="4" creationId="{C6260163-BB4A-84D6-3DBE-8A9E0C3321A3}"/>
          </ac:spMkLst>
        </pc:spChg>
        <pc:spChg chg="add mod ord">
          <ac:chgData name="Cyprien ARETHUSE" userId="abd46b16-7bf0-4c01-a850-92fb83f61f27" providerId="ADAL" clId="{067C7D3F-9573-4B1A-A9B0-3005DA5BAAAF}" dt="2024-02-01T11:01:44.714" v="11784" actId="20577"/>
          <ac:spMkLst>
            <pc:docMk/>
            <pc:sldMk cId="2055640910" sldId="2147482358"/>
            <ac:spMk id="5" creationId="{6A1BA153-80DA-80C4-9ECD-5FA02B7AD001}"/>
          </ac:spMkLst>
        </pc:spChg>
      </pc:sldChg>
      <pc:sldChg chg="modSp add mod ord">
        <pc:chgData name="Cyprien ARETHUSE" userId="abd46b16-7bf0-4c01-a850-92fb83f61f27" providerId="ADAL" clId="{067C7D3F-9573-4B1A-A9B0-3005DA5BAAAF}" dt="2024-02-02T16:53:17.878" v="19515" actId="20577"/>
        <pc:sldMkLst>
          <pc:docMk/>
          <pc:sldMk cId="1220164675" sldId="2147482359"/>
        </pc:sldMkLst>
        <pc:spChg chg="mod">
          <ac:chgData name="Cyprien ARETHUSE" userId="abd46b16-7bf0-4c01-a850-92fb83f61f27" providerId="ADAL" clId="{067C7D3F-9573-4B1A-A9B0-3005DA5BAAAF}" dt="2024-02-02T16:53:17.878" v="19515" actId="20577"/>
          <ac:spMkLst>
            <pc:docMk/>
            <pc:sldMk cId="1220164675" sldId="2147482359"/>
            <ac:spMk id="5" creationId="{6A1BA153-80DA-80C4-9ECD-5FA02B7AD001}"/>
          </ac:spMkLst>
        </pc:spChg>
      </pc:sldChg>
      <pc:sldChg chg="addSp delSp modSp del mod">
        <pc:chgData name="Cyprien ARETHUSE" userId="abd46b16-7bf0-4c01-a850-92fb83f61f27" providerId="ADAL" clId="{067C7D3F-9573-4B1A-A9B0-3005DA5BAAAF}" dt="2024-02-01T15:58:02.755" v="14094" actId="47"/>
        <pc:sldMkLst>
          <pc:docMk/>
          <pc:sldMk cId="3762552109" sldId="2147482363"/>
        </pc:sldMkLst>
        <pc:spChg chg="mod">
          <ac:chgData name="Cyprien ARETHUSE" userId="abd46b16-7bf0-4c01-a850-92fb83f61f27" providerId="ADAL" clId="{067C7D3F-9573-4B1A-A9B0-3005DA5BAAAF}" dt="2024-02-01T15:47:57.520" v="13438" actId="1076"/>
          <ac:spMkLst>
            <pc:docMk/>
            <pc:sldMk cId="3762552109" sldId="2147482363"/>
            <ac:spMk id="2" creationId="{CCF984CA-623C-56CD-1F6E-F5784298A33B}"/>
          </ac:spMkLst>
        </pc:spChg>
        <pc:spChg chg="mod">
          <ac:chgData name="Cyprien ARETHUSE" userId="abd46b16-7bf0-4c01-a850-92fb83f61f27" providerId="ADAL" clId="{067C7D3F-9573-4B1A-A9B0-3005DA5BAAAF}" dt="2024-02-01T15:41:04.713" v="13155" actId="20577"/>
          <ac:spMkLst>
            <pc:docMk/>
            <pc:sldMk cId="3762552109" sldId="2147482363"/>
            <ac:spMk id="3" creationId="{1DD85468-970B-4013-D370-EA2A4D5D1BA1}"/>
          </ac:spMkLst>
        </pc:spChg>
        <pc:spChg chg="mod">
          <ac:chgData name="Cyprien ARETHUSE" userId="abd46b16-7bf0-4c01-a850-92fb83f61f27" providerId="ADAL" clId="{067C7D3F-9573-4B1A-A9B0-3005DA5BAAAF}" dt="2024-02-01T15:43:02.306" v="13227" actId="20577"/>
          <ac:spMkLst>
            <pc:docMk/>
            <pc:sldMk cId="3762552109" sldId="2147482363"/>
            <ac:spMk id="4" creationId="{B45A4892-FF4B-57AE-B1BE-8B25B579B799}"/>
          </ac:spMkLst>
        </pc:spChg>
        <pc:spChg chg="mod">
          <ac:chgData name="Cyprien ARETHUSE" userId="abd46b16-7bf0-4c01-a850-92fb83f61f27" providerId="ADAL" clId="{067C7D3F-9573-4B1A-A9B0-3005DA5BAAAF}" dt="2024-02-01T15:37:59.747" v="13095" actId="1076"/>
          <ac:spMkLst>
            <pc:docMk/>
            <pc:sldMk cId="3762552109" sldId="2147482363"/>
            <ac:spMk id="8" creationId="{3D7D97AC-9016-CD00-7979-46E44512FCC7}"/>
          </ac:spMkLst>
        </pc:spChg>
        <pc:spChg chg="del">
          <ac:chgData name="Cyprien ARETHUSE" userId="abd46b16-7bf0-4c01-a850-92fb83f61f27" providerId="ADAL" clId="{067C7D3F-9573-4B1A-A9B0-3005DA5BAAAF}" dt="2024-02-01T14:23:33.325" v="12914" actId="478"/>
          <ac:spMkLst>
            <pc:docMk/>
            <pc:sldMk cId="3762552109" sldId="2147482363"/>
            <ac:spMk id="12" creationId="{1DDEBFF8-E408-1589-A1BF-DD7E28122C29}"/>
          </ac:spMkLst>
        </pc:spChg>
        <pc:spChg chg="add mod">
          <ac:chgData name="Cyprien ARETHUSE" userId="abd46b16-7bf0-4c01-a850-92fb83f61f27" providerId="ADAL" clId="{067C7D3F-9573-4B1A-A9B0-3005DA5BAAAF}" dt="2024-02-01T15:48:40.998" v="13485" actId="14100"/>
          <ac:spMkLst>
            <pc:docMk/>
            <pc:sldMk cId="3762552109" sldId="2147482363"/>
            <ac:spMk id="19" creationId="{EE4596E1-10F1-DD76-7F4B-17692261184A}"/>
          </ac:spMkLst>
        </pc:spChg>
        <pc:spChg chg="mod">
          <ac:chgData name="Cyprien ARETHUSE" userId="abd46b16-7bf0-4c01-a850-92fb83f61f27" providerId="ADAL" clId="{067C7D3F-9573-4B1A-A9B0-3005DA5BAAAF}" dt="2024-02-01T15:45:27.960" v="13250" actId="1035"/>
          <ac:spMkLst>
            <pc:docMk/>
            <pc:sldMk cId="3762552109" sldId="2147482363"/>
            <ac:spMk id="26" creationId="{3648DFD0-300A-9898-319C-A610A1D59944}"/>
          </ac:spMkLst>
        </pc:spChg>
        <pc:spChg chg="mod">
          <ac:chgData name="Cyprien ARETHUSE" userId="abd46b16-7bf0-4c01-a850-92fb83f61f27" providerId="ADAL" clId="{067C7D3F-9573-4B1A-A9B0-3005DA5BAAAF}" dt="2024-02-01T13:09:10.206" v="12042" actId="20577"/>
          <ac:spMkLst>
            <pc:docMk/>
            <pc:sldMk cId="3762552109" sldId="2147482363"/>
            <ac:spMk id="35" creationId="{0951FF4B-188B-7DEB-8131-71D2405ADD01}"/>
          </ac:spMkLst>
        </pc:spChg>
        <pc:spChg chg="mod">
          <ac:chgData name="Cyprien ARETHUSE" userId="abd46b16-7bf0-4c01-a850-92fb83f61f27" providerId="ADAL" clId="{067C7D3F-9573-4B1A-A9B0-3005DA5BAAAF}" dt="2024-02-01T15:47:48.690" v="13436" actId="404"/>
          <ac:spMkLst>
            <pc:docMk/>
            <pc:sldMk cId="3762552109" sldId="2147482363"/>
            <ac:spMk id="3141" creationId="{E7D7CA92-B679-6DE8-1633-8A8D81D0FAAD}"/>
          </ac:spMkLst>
        </pc:spChg>
        <pc:spChg chg="mod">
          <ac:chgData name="Cyprien ARETHUSE" userId="abd46b16-7bf0-4c01-a850-92fb83f61f27" providerId="ADAL" clId="{067C7D3F-9573-4B1A-A9B0-3005DA5BAAAF}" dt="2024-02-01T15:48:04.472" v="13470" actId="1035"/>
          <ac:spMkLst>
            <pc:docMk/>
            <pc:sldMk cId="3762552109" sldId="2147482363"/>
            <ac:spMk id="3149" creationId="{97E6E154-FEF1-EDE6-A287-92D48250DECA}"/>
          </ac:spMkLst>
        </pc:spChg>
        <pc:spChg chg="mod">
          <ac:chgData name="Cyprien ARETHUSE" userId="abd46b16-7bf0-4c01-a850-92fb83f61f27" providerId="ADAL" clId="{067C7D3F-9573-4B1A-A9B0-3005DA5BAAAF}" dt="2024-02-01T15:48:11.254" v="13481" actId="1036"/>
          <ac:spMkLst>
            <pc:docMk/>
            <pc:sldMk cId="3762552109" sldId="2147482363"/>
            <ac:spMk id="3164" creationId="{D4E3059D-A1CB-6484-1EDF-BE327881E9F5}"/>
          </ac:spMkLst>
        </pc:spChg>
        <pc:picChg chg="del">
          <ac:chgData name="Cyprien ARETHUSE" userId="abd46b16-7bf0-4c01-a850-92fb83f61f27" providerId="ADAL" clId="{067C7D3F-9573-4B1A-A9B0-3005DA5BAAAF}" dt="2024-02-01T15:45:22.701" v="13228" actId="478"/>
          <ac:picMkLst>
            <pc:docMk/>
            <pc:sldMk cId="3762552109" sldId="2147482363"/>
            <ac:picMk id="6" creationId="{1D4BA4D9-315D-802C-6B1B-BFF2B41ED66D}"/>
          </ac:picMkLst>
        </pc:picChg>
        <pc:picChg chg="del">
          <ac:chgData name="Cyprien ARETHUSE" userId="abd46b16-7bf0-4c01-a850-92fb83f61f27" providerId="ADAL" clId="{067C7D3F-9573-4B1A-A9B0-3005DA5BAAAF}" dt="2024-02-01T15:45:22.701" v="13228" actId="478"/>
          <ac:picMkLst>
            <pc:docMk/>
            <pc:sldMk cId="3762552109" sldId="2147482363"/>
            <ac:picMk id="7" creationId="{A177C8AB-AB3D-836A-8074-FC01C842CDD2}"/>
          </ac:picMkLst>
        </pc:picChg>
        <pc:picChg chg="del">
          <ac:chgData name="Cyprien ARETHUSE" userId="abd46b16-7bf0-4c01-a850-92fb83f61f27" providerId="ADAL" clId="{067C7D3F-9573-4B1A-A9B0-3005DA5BAAAF}" dt="2024-02-01T15:45:22.701" v="13228" actId="478"/>
          <ac:picMkLst>
            <pc:docMk/>
            <pc:sldMk cId="3762552109" sldId="2147482363"/>
            <ac:picMk id="11" creationId="{B4BC4861-BD4D-A1E0-2C30-2466B784A717}"/>
          </ac:picMkLst>
        </pc:picChg>
        <pc:picChg chg="add mod">
          <ac:chgData name="Cyprien ARETHUSE" userId="abd46b16-7bf0-4c01-a850-92fb83f61f27" providerId="ADAL" clId="{067C7D3F-9573-4B1A-A9B0-3005DA5BAAAF}" dt="2024-02-01T15:45:59.249" v="13432" actId="1036"/>
          <ac:picMkLst>
            <pc:docMk/>
            <pc:sldMk cId="3762552109" sldId="2147482363"/>
            <ac:picMk id="15" creationId="{5E50F02E-E0A1-48C0-F068-087CF28D3664}"/>
          </ac:picMkLst>
        </pc:picChg>
        <pc:picChg chg="add mod">
          <ac:chgData name="Cyprien ARETHUSE" userId="abd46b16-7bf0-4c01-a850-92fb83f61f27" providerId="ADAL" clId="{067C7D3F-9573-4B1A-A9B0-3005DA5BAAAF}" dt="2024-02-01T15:45:59.249" v="13432" actId="1036"/>
          <ac:picMkLst>
            <pc:docMk/>
            <pc:sldMk cId="3762552109" sldId="2147482363"/>
            <ac:picMk id="16" creationId="{E738AD29-27E6-02E7-96C1-9D9BA9A6E5CF}"/>
          </ac:picMkLst>
        </pc:picChg>
        <pc:picChg chg="add mod">
          <ac:chgData name="Cyprien ARETHUSE" userId="abd46b16-7bf0-4c01-a850-92fb83f61f27" providerId="ADAL" clId="{067C7D3F-9573-4B1A-A9B0-3005DA5BAAAF}" dt="2024-02-01T15:45:59.249" v="13432" actId="1036"/>
          <ac:picMkLst>
            <pc:docMk/>
            <pc:sldMk cId="3762552109" sldId="2147482363"/>
            <ac:picMk id="17" creationId="{E848A471-2427-E594-05B8-99E9BD7EA68E}"/>
          </ac:picMkLst>
        </pc:picChg>
        <pc:picChg chg="mod">
          <ac:chgData name="Cyprien ARETHUSE" userId="abd46b16-7bf0-4c01-a850-92fb83f61f27" providerId="ADAL" clId="{067C7D3F-9573-4B1A-A9B0-3005DA5BAAAF}" dt="2024-02-01T15:45:27.960" v="13250" actId="1035"/>
          <ac:picMkLst>
            <pc:docMk/>
            <pc:sldMk cId="3762552109" sldId="2147482363"/>
            <ac:picMk id="27" creationId="{96272CF4-3E1E-F437-A43E-C15EDC83251E}"/>
          </ac:picMkLst>
        </pc:picChg>
        <pc:picChg chg="mod">
          <ac:chgData name="Cyprien ARETHUSE" userId="abd46b16-7bf0-4c01-a850-92fb83f61f27" providerId="ADAL" clId="{067C7D3F-9573-4B1A-A9B0-3005DA5BAAAF}" dt="2024-02-01T15:47:53.810" v="13437" actId="1076"/>
          <ac:picMkLst>
            <pc:docMk/>
            <pc:sldMk cId="3762552109" sldId="2147482363"/>
            <ac:picMk id="3142" creationId="{EE4CF9D4-A09F-3AFD-7B46-DF98FA372926}"/>
          </ac:picMkLst>
        </pc:picChg>
        <pc:picChg chg="del">
          <ac:chgData name="Cyprien ARETHUSE" userId="abd46b16-7bf0-4c01-a850-92fb83f61f27" providerId="ADAL" clId="{067C7D3F-9573-4B1A-A9B0-3005DA5BAAAF}" dt="2024-02-01T14:12:10.398" v="12677" actId="478"/>
          <ac:picMkLst>
            <pc:docMk/>
            <pc:sldMk cId="3762552109" sldId="2147482363"/>
            <ac:picMk id="3150" creationId="{65492111-96E1-A2C1-C581-47570BD11D52}"/>
          </ac:picMkLst>
        </pc:picChg>
        <pc:picChg chg="mod">
          <ac:chgData name="Cyprien ARETHUSE" userId="abd46b16-7bf0-4c01-a850-92fb83f61f27" providerId="ADAL" clId="{067C7D3F-9573-4B1A-A9B0-3005DA5BAAAF}" dt="2024-02-01T15:48:11.254" v="13481" actId="1036"/>
          <ac:picMkLst>
            <pc:docMk/>
            <pc:sldMk cId="3762552109" sldId="2147482363"/>
            <ac:picMk id="3165" creationId="{6FAE1C96-6FF9-84A7-FB6A-F7CF2BA1F96F}"/>
          </ac:picMkLst>
        </pc:picChg>
        <pc:cxnChg chg="mod">
          <ac:chgData name="Cyprien ARETHUSE" userId="abd46b16-7bf0-4c01-a850-92fb83f61f27" providerId="ADAL" clId="{067C7D3F-9573-4B1A-A9B0-3005DA5BAAAF}" dt="2024-02-01T15:45:54.344" v="13426" actId="14100"/>
          <ac:cxnSpMkLst>
            <pc:docMk/>
            <pc:sldMk cId="3762552109" sldId="2147482363"/>
            <ac:cxnSpMk id="3138" creationId="{29C282E9-E9AB-EE22-0E6F-5F89AE03F2DD}"/>
          </ac:cxnSpMkLst>
        </pc:cxnChg>
        <pc:cxnChg chg="mod">
          <ac:chgData name="Cyprien ARETHUSE" userId="abd46b16-7bf0-4c01-a850-92fb83f61f27" providerId="ADAL" clId="{067C7D3F-9573-4B1A-A9B0-3005DA5BAAAF}" dt="2024-02-01T15:45:54.344" v="13426" actId="14100"/>
          <ac:cxnSpMkLst>
            <pc:docMk/>
            <pc:sldMk cId="3762552109" sldId="2147482363"/>
            <ac:cxnSpMk id="3139" creationId="{1127FBA1-A6AB-3CE3-93BE-F865F8E8C373}"/>
          </ac:cxnSpMkLst>
        </pc:cxnChg>
        <pc:cxnChg chg="mod">
          <ac:chgData name="Cyprien ARETHUSE" userId="abd46b16-7bf0-4c01-a850-92fb83f61f27" providerId="ADAL" clId="{067C7D3F-9573-4B1A-A9B0-3005DA5BAAAF}" dt="2024-02-01T15:45:54.344" v="13426" actId="14100"/>
          <ac:cxnSpMkLst>
            <pc:docMk/>
            <pc:sldMk cId="3762552109" sldId="2147482363"/>
            <ac:cxnSpMk id="3140" creationId="{347A4031-348F-8878-9B9A-2392ED682CF4}"/>
          </ac:cxnSpMkLst>
        </pc:cxnChg>
      </pc:sldChg>
      <pc:sldChg chg="del">
        <pc:chgData name="Cyprien ARETHUSE" userId="abd46b16-7bf0-4c01-a850-92fb83f61f27" providerId="ADAL" clId="{067C7D3F-9573-4B1A-A9B0-3005DA5BAAAF}" dt="2024-02-02T17:02:42.816" v="19520" actId="47"/>
        <pc:sldMkLst>
          <pc:docMk/>
          <pc:sldMk cId="3465374032" sldId="2147482364"/>
        </pc:sldMkLst>
      </pc:sldChg>
      <pc:sldChg chg="modSp mod">
        <pc:chgData name="Cyprien ARETHUSE" userId="abd46b16-7bf0-4c01-a850-92fb83f61f27" providerId="ADAL" clId="{067C7D3F-9573-4B1A-A9B0-3005DA5BAAAF}" dt="2024-02-01T17:24:15.437" v="15562" actId="13926"/>
        <pc:sldMkLst>
          <pc:docMk/>
          <pc:sldMk cId="646768392" sldId="2147482365"/>
        </pc:sldMkLst>
        <pc:spChg chg="mod">
          <ac:chgData name="Cyprien ARETHUSE" userId="abd46b16-7bf0-4c01-a850-92fb83f61f27" providerId="ADAL" clId="{067C7D3F-9573-4B1A-A9B0-3005DA5BAAAF}" dt="2024-02-01T17:24:15.437" v="15562" actId="13926"/>
          <ac:spMkLst>
            <pc:docMk/>
            <pc:sldMk cId="646768392" sldId="2147482365"/>
            <ac:spMk id="49" creationId="{8C97D30A-09F4-3174-8519-4216346D4832}"/>
          </ac:spMkLst>
        </pc:spChg>
      </pc:sldChg>
      <pc:sldChg chg="add del ord">
        <pc:chgData name="Cyprien ARETHUSE" userId="abd46b16-7bf0-4c01-a850-92fb83f61f27" providerId="ADAL" clId="{067C7D3F-9573-4B1A-A9B0-3005DA5BAAAF}" dt="2024-02-01T13:51:23.168" v="12114" actId="47"/>
        <pc:sldMkLst>
          <pc:docMk/>
          <pc:sldMk cId="3761584197" sldId="2147482365"/>
        </pc:sldMkLst>
      </pc:sldChg>
      <pc:sldChg chg="modSp mod">
        <pc:chgData name="Cyprien ARETHUSE" userId="abd46b16-7bf0-4c01-a850-92fb83f61f27" providerId="ADAL" clId="{067C7D3F-9573-4B1A-A9B0-3005DA5BAAAF}" dt="2024-02-02T10:45:12.334" v="16092" actId="13926"/>
        <pc:sldMkLst>
          <pc:docMk/>
          <pc:sldMk cId="3308541053" sldId="2147482367"/>
        </pc:sldMkLst>
        <pc:spChg chg="mod">
          <ac:chgData name="Cyprien ARETHUSE" userId="abd46b16-7bf0-4c01-a850-92fb83f61f27" providerId="ADAL" clId="{067C7D3F-9573-4B1A-A9B0-3005DA5BAAAF}" dt="2024-02-02T10:45:12.334" v="16092" actId="13926"/>
          <ac:spMkLst>
            <pc:docMk/>
            <pc:sldMk cId="3308541053" sldId="2147482367"/>
            <ac:spMk id="2" creationId="{3B68E42E-736E-7A1E-FBC6-2932F0A30E44}"/>
          </ac:spMkLst>
        </pc:spChg>
        <pc:spChg chg="mod">
          <ac:chgData name="Cyprien ARETHUSE" userId="abd46b16-7bf0-4c01-a850-92fb83f61f27" providerId="ADAL" clId="{067C7D3F-9573-4B1A-A9B0-3005DA5BAAAF}" dt="2024-02-01T17:28:59.867" v="15594" actId="20577"/>
          <ac:spMkLst>
            <pc:docMk/>
            <pc:sldMk cId="3308541053" sldId="2147482367"/>
            <ac:spMk id="10" creationId="{9DFB28B0-3CC5-D6C4-25E0-D4CCFEB38222}"/>
          </ac:spMkLst>
        </pc:spChg>
        <pc:spChg chg="mod">
          <ac:chgData name="Cyprien ARETHUSE" userId="abd46b16-7bf0-4c01-a850-92fb83f61f27" providerId="ADAL" clId="{067C7D3F-9573-4B1A-A9B0-3005DA5BAAAF}" dt="2024-02-01T17:29:03.991" v="15602" actId="20577"/>
          <ac:spMkLst>
            <pc:docMk/>
            <pc:sldMk cId="3308541053" sldId="2147482367"/>
            <ac:spMk id="17" creationId="{E21D0531-348B-B44B-52A4-BB0A9DC2EF36}"/>
          </ac:spMkLst>
        </pc:spChg>
        <pc:spChg chg="mod">
          <ac:chgData name="Cyprien ARETHUSE" userId="abd46b16-7bf0-4c01-a850-92fb83f61f27" providerId="ADAL" clId="{067C7D3F-9573-4B1A-A9B0-3005DA5BAAAF}" dt="2024-02-01T17:29:07.417" v="15611" actId="20577"/>
          <ac:spMkLst>
            <pc:docMk/>
            <pc:sldMk cId="3308541053" sldId="2147482367"/>
            <ac:spMk id="20" creationId="{9CDFF9A3-5DB2-E57C-C788-928C71D11BBD}"/>
          </ac:spMkLst>
        </pc:spChg>
        <pc:spChg chg="mod">
          <ac:chgData name="Cyprien ARETHUSE" userId="abd46b16-7bf0-4c01-a850-92fb83f61f27" providerId="ADAL" clId="{067C7D3F-9573-4B1A-A9B0-3005DA5BAAAF}" dt="2024-02-01T17:29:11.122" v="15621" actId="20577"/>
          <ac:spMkLst>
            <pc:docMk/>
            <pc:sldMk cId="3308541053" sldId="2147482367"/>
            <ac:spMk id="25" creationId="{77957A4E-EC9D-65F8-F4E8-4FB0A831E163}"/>
          </ac:spMkLst>
        </pc:spChg>
        <pc:spChg chg="mod">
          <ac:chgData name="Cyprien ARETHUSE" userId="abd46b16-7bf0-4c01-a850-92fb83f61f27" providerId="ADAL" clId="{067C7D3F-9573-4B1A-A9B0-3005DA5BAAAF}" dt="2024-02-01T17:29:17.299" v="15633" actId="20577"/>
          <ac:spMkLst>
            <pc:docMk/>
            <pc:sldMk cId="3308541053" sldId="2147482367"/>
            <ac:spMk id="51" creationId="{A7E03E88-E3F3-616B-BFC0-C5E82F19EFE8}"/>
          </ac:spMkLst>
        </pc:spChg>
        <pc:spChg chg="mod">
          <ac:chgData name="Cyprien ARETHUSE" userId="abd46b16-7bf0-4c01-a850-92fb83f61f27" providerId="ADAL" clId="{067C7D3F-9573-4B1A-A9B0-3005DA5BAAAF}" dt="2024-02-01T17:27:45.082" v="15586" actId="6549"/>
          <ac:spMkLst>
            <pc:docMk/>
            <pc:sldMk cId="3308541053" sldId="2147482367"/>
            <ac:spMk id="56" creationId="{6244A080-F6C0-D5A7-FF59-398E5E9AE31D}"/>
          </ac:spMkLst>
        </pc:spChg>
      </pc:sldChg>
      <pc:sldChg chg="add del">
        <pc:chgData name="Cyprien ARETHUSE" userId="abd46b16-7bf0-4c01-a850-92fb83f61f27" providerId="ADAL" clId="{067C7D3F-9573-4B1A-A9B0-3005DA5BAAAF}" dt="2024-02-01T15:26:31.968" v="12962" actId="47"/>
        <pc:sldMkLst>
          <pc:docMk/>
          <pc:sldMk cId="3215991632" sldId="2147482369"/>
        </pc:sldMkLst>
      </pc:sldChg>
      <pc:sldChg chg="addSp delSp modSp add mod">
        <pc:chgData name="Cyprien ARETHUSE" userId="abd46b16-7bf0-4c01-a850-92fb83f61f27" providerId="ADAL" clId="{067C7D3F-9573-4B1A-A9B0-3005DA5BAAAF}" dt="2024-02-02T09:09:23.277" v="15938" actId="20577"/>
        <pc:sldMkLst>
          <pc:docMk/>
          <pc:sldMk cId="3263934951" sldId="2147482369"/>
        </pc:sldMkLst>
        <pc:spChg chg="del">
          <ac:chgData name="Cyprien ARETHUSE" userId="abd46b16-7bf0-4c01-a850-92fb83f61f27" providerId="ADAL" clId="{067C7D3F-9573-4B1A-A9B0-3005DA5BAAAF}" dt="2024-02-01T17:43:30.268" v="15901" actId="478"/>
          <ac:spMkLst>
            <pc:docMk/>
            <pc:sldMk cId="3263934951" sldId="2147482369"/>
            <ac:spMk id="2" creationId="{CCF984CA-623C-56CD-1F6E-F5784298A33B}"/>
          </ac:spMkLst>
        </pc:spChg>
        <pc:spChg chg="mod">
          <ac:chgData name="Cyprien ARETHUSE" userId="abd46b16-7bf0-4c01-a850-92fb83f61f27" providerId="ADAL" clId="{067C7D3F-9573-4B1A-A9B0-3005DA5BAAAF}" dt="2024-02-02T09:09:23.277" v="15938" actId="20577"/>
          <ac:spMkLst>
            <pc:docMk/>
            <pc:sldMk cId="3263934951" sldId="2147482369"/>
            <ac:spMk id="4" creationId="{B45A4892-FF4B-57AE-B1BE-8B25B579B799}"/>
          </ac:spMkLst>
        </pc:spChg>
        <pc:spChg chg="mod">
          <ac:chgData name="Cyprien ARETHUSE" userId="abd46b16-7bf0-4c01-a850-92fb83f61f27" providerId="ADAL" clId="{067C7D3F-9573-4B1A-A9B0-3005DA5BAAAF}" dt="2024-02-01T16:31:38.396" v="14719" actId="12788"/>
          <ac:spMkLst>
            <pc:docMk/>
            <pc:sldMk cId="3263934951" sldId="2147482369"/>
            <ac:spMk id="5" creationId="{FCA95897-6CE9-A167-8E89-B5A0CE4CF57B}"/>
          </ac:spMkLst>
        </pc:spChg>
        <pc:spChg chg="add del mod">
          <ac:chgData name="Cyprien ARETHUSE" userId="abd46b16-7bf0-4c01-a850-92fb83f61f27" providerId="ADAL" clId="{067C7D3F-9573-4B1A-A9B0-3005DA5BAAAF}" dt="2024-02-01T16:38:32.658" v="14751" actId="478"/>
          <ac:spMkLst>
            <pc:docMk/>
            <pc:sldMk cId="3263934951" sldId="2147482369"/>
            <ac:spMk id="6" creationId="{67C6F395-AF0F-40C7-9BF4-34BE01AAA099}"/>
          </ac:spMkLst>
        </pc:spChg>
        <pc:spChg chg="mod">
          <ac:chgData name="Cyprien ARETHUSE" userId="abd46b16-7bf0-4c01-a850-92fb83f61f27" providerId="ADAL" clId="{067C7D3F-9573-4B1A-A9B0-3005DA5BAAAF}" dt="2024-02-01T17:45:28.876" v="15937" actId="14100"/>
          <ac:spMkLst>
            <pc:docMk/>
            <pc:sldMk cId="3263934951" sldId="2147482369"/>
            <ac:spMk id="8" creationId="{3D7D97AC-9016-CD00-7979-46E44512FCC7}"/>
          </ac:spMkLst>
        </pc:spChg>
        <pc:spChg chg="del">
          <ac:chgData name="Cyprien ARETHUSE" userId="abd46b16-7bf0-4c01-a850-92fb83f61f27" providerId="ADAL" clId="{067C7D3F-9573-4B1A-A9B0-3005DA5BAAAF}" dt="2024-02-01T16:24:50.769" v="14524" actId="478"/>
          <ac:spMkLst>
            <pc:docMk/>
            <pc:sldMk cId="3263934951" sldId="2147482369"/>
            <ac:spMk id="9" creationId="{12D109AA-91C4-F5D5-123D-2F5FEB863406}"/>
          </ac:spMkLst>
        </pc:spChg>
        <pc:spChg chg="del">
          <ac:chgData name="Cyprien ARETHUSE" userId="abd46b16-7bf0-4c01-a850-92fb83f61f27" providerId="ADAL" clId="{067C7D3F-9573-4B1A-A9B0-3005DA5BAAAF}" dt="2024-02-01T16:24:50.769" v="14524" actId="478"/>
          <ac:spMkLst>
            <pc:docMk/>
            <pc:sldMk cId="3263934951" sldId="2147482369"/>
            <ac:spMk id="10" creationId="{C962B813-BD72-DB3D-FF80-C349D67077F1}"/>
          </ac:spMkLst>
        </pc:spChg>
        <pc:spChg chg="add del mod">
          <ac:chgData name="Cyprien ARETHUSE" userId="abd46b16-7bf0-4c01-a850-92fb83f61f27" providerId="ADAL" clId="{067C7D3F-9573-4B1A-A9B0-3005DA5BAAAF}" dt="2024-02-01T16:38:32.658" v="14751" actId="478"/>
          <ac:spMkLst>
            <pc:docMk/>
            <pc:sldMk cId="3263934951" sldId="2147482369"/>
            <ac:spMk id="12" creationId="{3F117BDD-C39E-2C8D-19B4-D77EB3FA4402}"/>
          </ac:spMkLst>
        </pc:spChg>
        <pc:spChg chg="mod">
          <ac:chgData name="Cyprien ARETHUSE" userId="abd46b16-7bf0-4c01-a850-92fb83f61f27" providerId="ADAL" clId="{067C7D3F-9573-4B1A-A9B0-3005DA5BAAAF}" dt="2024-02-01T16:31:04.933" v="14717" actId="1036"/>
          <ac:spMkLst>
            <pc:docMk/>
            <pc:sldMk cId="3263934951" sldId="2147482369"/>
            <ac:spMk id="13" creationId="{1F7EB1BB-5FBF-8724-7084-47FDF55BB8DD}"/>
          </ac:spMkLst>
        </pc:spChg>
        <pc:spChg chg="mod">
          <ac:chgData name="Cyprien ARETHUSE" userId="abd46b16-7bf0-4c01-a850-92fb83f61f27" providerId="ADAL" clId="{067C7D3F-9573-4B1A-A9B0-3005DA5BAAAF}" dt="2024-02-01T16:24:47.953" v="14523" actId="1036"/>
          <ac:spMkLst>
            <pc:docMk/>
            <pc:sldMk cId="3263934951" sldId="2147482369"/>
            <ac:spMk id="14" creationId="{6BAFD97C-7AFC-2921-A957-8393BBBD0DC4}"/>
          </ac:spMkLst>
        </pc:spChg>
        <pc:spChg chg="mod">
          <ac:chgData name="Cyprien ARETHUSE" userId="abd46b16-7bf0-4c01-a850-92fb83f61f27" providerId="ADAL" clId="{067C7D3F-9573-4B1A-A9B0-3005DA5BAAAF}" dt="2024-02-01T17:41:58.890" v="15865" actId="20577"/>
          <ac:spMkLst>
            <pc:docMk/>
            <pc:sldMk cId="3263934951" sldId="2147482369"/>
            <ac:spMk id="18" creationId="{FC4E0B0A-F307-E8C8-8FB4-0EBD2D9ACBD9}"/>
          </ac:spMkLst>
        </pc:spChg>
        <pc:spChg chg="del mod">
          <ac:chgData name="Cyprien ARETHUSE" userId="abd46b16-7bf0-4c01-a850-92fb83f61f27" providerId="ADAL" clId="{067C7D3F-9573-4B1A-A9B0-3005DA5BAAAF}" dt="2024-02-01T15:57:28.531" v="14031" actId="478"/>
          <ac:spMkLst>
            <pc:docMk/>
            <pc:sldMk cId="3263934951" sldId="2147482369"/>
            <ac:spMk id="19" creationId="{EE4596E1-10F1-DD76-7F4B-17692261184A}"/>
          </ac:spMkLst>
        </pc:spChg>
        <pc:spChg chg="mod">
          <ac:chgData name="Cyprien ARETHUSE" userId="abd46b16-7bf0-4c01-a850-92fb83f61f27" providerId="ADAL" clId="{067C7D3F-9573-4B1A-A9B0-3005DA5BAAAF}" dt="2024-02-01T16:31:44.954" v="14720" actId="12788"/>
          <ac:spMkLst>
            <pc:docMk/>
            <pc:sldMk cId="3263934951" sldId="2147482369"/>
            <ac:spMk id="21" creationId="{ADB9489A-92BA-57BE-DE75-645BD3DA04C5}"/>
          </ac:spMkLst>
        </pc:spChg>
        <pc:spChg chg="mod">
          <ac:chgData name="Cyprien ARETHUSE" userId="abd46b16-7bf0-4c01-a850-92fb83f61f27" providerId="ADAL" clId="{067C7D3F-9573-4B1A-A9B0-3005DA5BAAAF}" dt="2024-02-01T16:31:04.933" v="14717" actId="1036"/>
          <ac:spMkLst>
            <pc:docMk/>
            <pc:sldMk cId="3263934951" sldId="2147482369"/>
            <ac:spMk id="22" creationId="{87631BB5-32CA-F4DA-FA44-B931DC0647A2}"/>
          </ac:spMkLst>
        </pc:spChg>
        <pc:spChg chg="mod">
          <ac:chgData name="Cyprien ARETHUSE" userId="abd46b16-7bf0-4c01-a850-92fb83f61f27" providerId="ADAL" clId="{067C7D3F-9573-4B1A-A9B0-3005DA5BAAAF}" dt="2024-02-01T16:26:37.377" v="14595" actId="6549"/>
          <ac:spMkLst>
            <pc:docMk/>
            <pc:sldMk cId="3263934951" sldId="2147482369"/>
            <ac:spMk id="23" creationId="{B2B31008-6898-CEAF-D4D6-FCFFC276B9F2}"/>
          </ac:spMkLst>
        </pc:spChg>
        <pc:spChg chg="mod">
          <ac:chgData name="Cyprien ARETHUSE" userId="abd46b16-7bf0-4c01-a850-92fb83f61f27" providerId="ADAL" clId="{067C7D3F-9573-4B1A-A9B0-3005DA5BAAAF}" dt="2024-02-01T16:27:10.445" v="14639" actId="1035"/>
          <ac:spMkLst>
            <pc:docMk/>
            <pc:sldMk cId="3263934951" sldId="2147482369"/>
            <ac:spMk id="24" creationId="{2DF0DCAF-8C62-8D04-2345-245A9B7AE8A9}"/>
          </ac:spMkLst>
        </pc:spChg>
        <pc:spChg chg="add del mod">
          <ac:chgData name="Cyprien ARETHUSE" userId="abd46b16-7bf0-4c01-a850-92fb83f61f27" providerId="ADAL" clId="{067C7D3F-9573-4B1A-A9B0-3005DA5BAAAF}" dt="2024-02-01T16:38:32.658" v="14751" actId="478"/>
          <ac:spMkLst>
            <pc:docMk/>
            <pc:sldMk cId="3263934951" sldId="2147482369"/>
            <ac:spMk id="25" creationId="{04851978-B325-438F-8D1D-2BA9528D0B6E}"/>
          </ac:spMkLst>
        </pc:spChg>
        <pc:spChg chg="del mod">
          <ac:chgData name="Cyprien ARETHUSE" userId="abd46b16-7bf0-4c01-a850-92fb83f61f27" providerId="ADAL" clId="{067C7D3F-9573-4B1A-A9B0-3005DA5BAAAF}" dt="2024-02-01T15:57:28.531" v="14031" actId="478"/>
          <ac:spMkLst>
            <pc:docMk/>
            <pc:sldMk cId="3263934951" sldId="2147482369"/>
            <ac:spMk id="26" creationId="{3648DFD0-300A-9898-319C-A610A1D59944}"/>
          </ac:spMkLst>
        </pc:spChg>
        <pc:spChg chg="add del mod">
          <ac:chgData name="Cyprien ARETHUSE" userId="abd46b16-7bf0-4c01-a850-92fb83f61f27" providerId="ADAL" clId="{067C7D3F-9573-4B1A-A9B0-3005DA5BAAAF}" dt="2024-02-01T16:38:32.658" v="14751" actId="478"/>
          <ac:spMkLst>
            <pc:docMk/>
            <pc:sldMk cId="3263934951" sldId="2147482369"/>
            <ac:spMk id="29" creationId="{1B7A27FE-BF97-B4CE-C978-83FC3307D569}"/>
          </ac:spMkLst>
        </pc:spChg>
        <pc:spChg chg="add del mod">
          <ac:chgData name="Cyprien ARETHUSE" userId="abd46b16-7bf0-4c01-a850-92fb83f61f27" providerId="ADAL" clId="{067C7D3F-9573-4B1A-A9B0-3005DA5BAAAF}" dt="2024-02-01T16:38:32.658" v="14751" actId="478"/>
          <ac:spMkLst>
            <pc:docMk/>
            <pc:sldMk cId="3263934951" sldId="2147482369"/>
            <ac:spMk id="30" creationId="{EA71B3C8-818D-25C4-5EA4-982EA87646E3}"/>
          </ac:spMkLst>
        </pc:spChg>
        <pc:spChg chg="del mod">
          <ac:chgData name="Cyprien ARETHUSE" userId="abd46b16-7bf0-4c01-a850-92fb83f61f27" providerId="ADAL" clId="{067C7D3F-9573-4B1A-A9B0-3005DA5BAAAF}" dt="2024-02-01T15:57:28.531" v="14031" actId="478"/>
          <ac:spMkLst>
            <pc:docMk/>
            <pc:sldMk cId="3263934951" sldId="2147482369"/>
            <ac:spMk id="31" creationId="{058185C8-302D-1415-216C-2309BA83AC48}"/>
          </ac:spMkLst>
        </pc:spChg>
        <pc:spChg chg="add del mod">
          <ac:chgData name="Cyprien ARETHUSE" userId="abd46b16-7bf0-4c01-a850-92fb83f61f27" providerId="ADAL" clId="{067C7D3F-9573-4B1A-A9B0-3005DA5BAAAF}" dt="2024-02-01T16:38:32.658" v="14751" actId="478"/>
          <ac:spMkLst>
            <pc:docMk/>
            <pc:sldMk cId="3263934951" sldId="2147482369"/>
            <ac:spMk id="34" creationId="{C26CB84A-71A5-62BF-AB7D-17DE4EA1E775}"/>
          </ac:spMkLst>
        </pc:spChg>
        <pc:spChg chg="add del mod">
          <ac:chgData name="Cyprien ARETHUSE" userId="abd46b16-7bf0-4c01-a850-92fb83f61f27" providerId="ADAL" clId="{067C7D3F-9573-4B1A-A9B0-3005DA5BAAAF}" dt="2024-02-01T16:38:32.658" v="14751" actId="478"/>
          <ac:spMkLst>
            <pc:docMk/>
            <pc:sldMk cId="3263934951" sldId="2147482369"/>
            <ac:spMk id="35" creationId="{CB50978B-62D0-A695-F87C-A8AC48933E2C}"/>
          </ac:spMkLst>
        </pc:spChg>
        <pc:spChg chg="add del mod">
          <ac:chgData name="Cyprien ARETHUSE" userId="abd46b16-7bf0-4c01-a850-92fb83f61f27" providerId="ADAL" clId="{067C7D3F-9573-4B1A-A9B0-3005DA5BAAAF}" dt="2024-02-01T16:38:32.658" v="14751" actId="478"/>
          <ac:spMkLst>
            <pc:docMk/>
            <pc:sldMk cId="3263934951" sldId="2147482369"/>
            <ac:spMk id="36" creationId="{D60B7B8D-2595-89E0-47E8-654F4AD07519}"/>
          </ac:spMkLst>
        </pc:spChg>
        <pc:spChg chg="add del mod">
          <ac:chgData name="Cyprien ARETHUSE" userId="abd46b16-7bf0-4c01-a850-92fb83f61f27" providerId="ADAL" clId="{067C7D3F-9573-4B1A-A9B0-3005DA5BAAAF}" dt="2024-02-01T16:38:32.658" v="14751" actId="478"/>
          <ac:spMkLst>
            <pc:docMk/>
            <pc:sldMk cId="3263934951" sldId="2147482369"/>
            <ac:spMk id="38" creationId="{2DADD31F-CE97-1B20-0C7D-5AC3727E1652}"/>
          </ac:spMkLst>
        </pc:spChg>
        <pc:spChg chg="add del mod">
          <ac:chgData name="Cyprien ARETHUSE" userId="abd46b16-7bf0-4c01-a850-92fb83f61f27" providerId="ADAL" clId="{067C7D3F-9573-4B1A-A9B0-3005DA5BAAAF}" dt="2024-02-01T16:38:37.925" v="14752" actId="478"/>
          <ac:spMkLst>
            <pc:docMk/>
            <pc:sldMk cId="3263934951" sldId="2147482369"/>
            <ac:spMk id="43" creationId="{8ECCB2C5-BB41-DC1E-65FB-3232F9B03612}"/>
          </ac:spMkLst>
        </pc:spChg>
        <pc:spChg chg="add del mod">
          <ac:chgData name="Cyprien ARETHUSE" userId="abd46b16-7bf0-4c01-a850-92fb83f61f27" providerId="ADAL" clId="{067C7D3F-9573-4B1A-A9B0-3005DA5BAAAF}" dt="2024-02-01T16:38:32.658" v="14751" actId="478"/>
          <ac:spMkLst>
            <pc:docMk/>
            <pc:sldMk cId="3263934951" sldId="2147482369"/>
            <ac:spMk id="44" creationId="{24B2E04C-02B6-E0BB-28CD-46E238C100DF}"/>
          </ac:spMkLst>
        </pc:spChg>
        <pc:spChg chg="add del mod">
          <ac:chgData name="Cyprien ARETHUSE" userId="abd46b16-7bf0-4c01-a850-92fb83f61f27" providerId="ADAL" clId="{067C7D3F-9573-4B1A-A9B0-3005DA5BAAAF}" dt="2024-02-01T16:38:38.967" v="14753" actId="478"/>
          <ac:spMkLst>
            <pc:docMk/>
            <pc:sldMk cId="3263934951" sldId="2147482369"/>
            <ac:spMk id="53" creationId="{9C00B5E0-DFAC-9704-1317-A2856BBDBA72}"/>
          </ac:spMkLst>
        </pc:spChg>
        <pc:spChg chg="mod">
          <ac:chgData name="Cyprien ARETHUSE" userId="abd46b16-7bf0-4c01-a850-92fb83f61f27" providerId="ADAL" clId="{067C7D3F-9573-4B1A-A9B0-3005DA5BAAAF}" dt="2024-02-01T16:58:16.707" v="15221" actId="1036"/>
          <ac:spMkLst>
            <pc:docMk/>
            <pc:sldMk cId="3263934951" sldId="2147482369"/>
            <ac:spMk id="54" creationId="{10233639-A07F-E177-A3FC-84EB92FF0023}"/>
          </ac:spMkLst>
        </pc:spChg>
        <pc:spChg chg="mod">
          <ac:chgData name="Cyprien ARETHUSE" userId="abd46b16-7bf0-4c01-a850-92fb83f61f27" providerId="ADAL" clId="{067C7D3F-9573-4B1A-A9B0-3005DA5BAAAF}" dt="2024-02-01T16:27:03.718" v="14624" actId="1035"/>
          <ac:spMkLst>
            <pc:docMk/>
            <pc:sldMk cId="3263934951" sldId="2147482369"/>
            <ac:spMk id="56" creationId="{916FDAE2-2B27-60EB-6062-73DF5B644833}"/>
          </ac:spMkLst>
        </pc:spChg>
        <pc:spChg chg="add mod">
          <ac:chgData name="Cyprien ARETHUSE" userId="abd46b16-7bf0-4c01-a850-92fb83f61f27" providerId="ADAL" clId="{067C7D3F-9573-4B1A-A9B0-3005DA5BAAAF}" dt="2024-02-01T16:38:23.620" v="14750"/>
          <ac:spMkLst>
            <pc:docMk/>
            <pc:sldMk cId="3263934951" sldId="2147482369"/>
            <ac:spMk id="57" creationId="{FB4BD89E-6C23-E2E2-19BC-3542501F9B7A}"/>
          </ac:spMkLst>
        </pc:spChg>
        <pc:spChg chg="add mod">
          <ac:chgData name="Cyprien ARETHUSE" userId="abd46b16-7bf0-4c01-a850-92fb83f61f27" providerId="ADAL" clId="{067C7D3F-9573-4B1A-A9B0-3005DA5BAAAF}" dt="2024-02-01T16:38:23.620" v="14750"/>
          <ac:spMkLst>
            <pc:docMk/>
            <pc:sldMk cId="3263934951" sldId="2147482369"/>
            <ac:spMk id="58" creationId="{026230EE-B9C6-B514-B850-318311D11409}"/>
          </ac:spMkLst>
        </pc:spChg>
        <pc:spChg chg="add mod">
          <ac:chgData name="Cyprien ARETHUSE" userId="abd46b16-7bf0-4c01-a850-92fb83f61f27" providerId="ADAL" clId="{067C7D3F-9573-4B1A-A9B0-3005DA5BAAAF}" dt="2024-02-01T16:38:23.620" v="14750"/>
          <ac:spMkLst>
            <pc:docMk/>
            <pc:sldMk cId="3263934951" sldId="2147482369"/>
            <ac:spMk id="59" creationId="{C88616F1-56B5-9C2B-AAE0-FA25EFCD95F6}"/>
          </ac:spMkLst>
        </pc:spChg>
        <pc:spChg chg="add mod">
          <ac:chgData name="Cyprien ARETHUSE" userId="abd46b16-7bf0-4c01-a850-92fb83f61f27" providerId="ADAL" clId="{067C7D3F-9573-4B1A-A9B0-3005DA5BAAAF}" dt="2024-02-01T16:38:23.620" v="14750"/>
          <ac:spMkLst>
            <pc:docMk/>
            <pc:sldMk cId="3263934951" sldId="2147482369"/>
            <ac:spMk id="62" creationId="{2F09ACD9-F527-0054-4D47-2D7AC8527FF1}"/>
          </ac:spMkLst>
        </pc:spChg>
        <pc:spChg chg="add mod">
          <ac:chgData name="Cyprien ARETHUSE" userId="abd46b16-7bf0-4c01-a850-92fb83f61f27" providerId="ADAL" clId="{067C7D3F-9573-4B1A-A9B0-3005DA5BAAAF}" dt="2024-02-01T16:38:23.620" v="14750"/>
          <ac:spMkLst>
            <pc:docMk/>
            <pc:sldMk cId="3263934951" sldId="2147482369"/>
            <ac:spMk id="3136" creationId="{7764AB08-AA4A-9FAF-6559-FB9C3DB83034}"/>
          </ac:spMkLst>
        </pc:spChg>
        <pc:spChg chg="del mod">
          <ac:chgData name="Cyprien ARETHUSE" userId="abd46b16-7bf0-4c01-a850-92fb83f61f27" providerId="ADAL" clId="{067C7D3F-9573-4B1A-A9B0-3005DA5BAAAF}" dt="2024-02-01T15:57:28.531" v="14031" actId="478"/>
          <ac:spMkLst>
            <pc:docMk/>
            <pc:sldMk cId="3263934951" sldId="2147482369"/>
            <ac:spMk id="3141" creationId="{E7D7CA92-B679-6DE8-1633-8A8D81D0FAAD}"/>
          </ac:spMkLst>
        </pc:spChg>
        <pc:spChg chg="del mod">
          <ac:chgData name="Cyprien ARETHUSE" userId="abd46b16-7bf0-4c01-a850-92fb83f61f27" providerId="ADAL" clId="{067C7D3F-9573-4B1A-A9B0-3005DA5BAAAF}" dt="2024-02-01T15:57:28.531" v="14031" actId="478"/>
          <ac:spMkLst>
            <pc:docMk/>
            <pc:sldMk cId="3263934951" sldId="2147482369"/>
            <ac:spMk id="3143" creationId="{97E3C98F-A398-5236-1B46-470E9CCB6A6D}"/>
          </ac:spMkLst>
        </pc:spChg>
        <pc:spChg chg="del mod">
          <ac:chgData name="Cyprien ARETHUSE" userId="abd46b16-7bf0-4c01-a850-92fb83f61f27" providerId="ADAL" clId="{067C7D3F-9573-4B1A-A9B0-3005DA5BAAAF}" dt="2024-02-01T15:57:28.531" v="14031" actId="478"/>
          <ac:spMkLst>
            <pc:docMk/>
            <pc:sldMk cId="3263934951" sldId="2147482369"/>
            <ac:spMk id="3145" creationId="{6E7A6D8C-68C7-43FA-BB38-E435AF26835B}"/>
          </ac:spMkLst>
        </pc:spChg>
        <pc:spChg chg="del mod">
          <ac:chgData name="Cyprien ARETHUSE" userId="abd46b16-7bf0-4c01-a850-92fb83f61f27" providerId="ADAL" clId="{067C7D3F-9573-4B1A-A9B0-3005DA5BAAAF}" dt="2024-02-01T15:57:28.531" v="14031" actId="478"/>
          <ac:spMkLst>
            <pc:docMk/>
            <pc:sldMk cId="3263934951" sldId="2147482369"/>
            <ac:spMk id="3146" creationId="{1F7F9DC3-8F8F-0DB1-A4BB-2E9F6E8022D3}"/>
          </ac:spMkLst>
        </pc:spChg>
        <pc:spChg chg="del mod">
          <ac:chgData name="Cyprien ARETHUSE" userId="abd46b16-7bf0-4c01-a850-92fb83f61f27" providerId="ADAL" clId="{067C7D3F-9573-4B1A-A9B0-3005DA5BAAAF}" dt="2024-02-01T15:57:28.531" v="14031" actId="478"/>
          <ac:spMkLst>
            <pc:docMk/>
            <pc:sldMk cId="3263934951" sldId="2147482369"/>
            <ac:spMk id="3149" creationId="{97E6E154-FEF1-EDE6-A287-92D48250DECA}"/>
          </ac:spMkLst>
        </pc:spChg>
        <pc:spChg chg="add mod">
          <ac:chgData name="Cyprien ARETHUSE" userId="abd46b16-7bf0-4c01-a850-92fb83f61f27" providerId="ADAL" clId="{067C7D3F-9573-4B1A-A9B0-3005DA5BAAAF}" dt="2024-02-01T16:38:23.620" v="14750"/>
          <ac:spMkLst>
            <pc:docMk/>
            <pc:sldMk cId="3263934951" sldId="2147482369"/>
            <ac:spMk id="3150" creationId="{E81888CD-EDC8-C953-B50D-851A404B97BA}"/>
          </ac:spMkLst>
        </pc:spChg>
        <pc:spChg chg="del mod">
          <ac:chgData name="Cyprien ARETHUSE" userId="abd46b16-7bf0-4c01-a850-92fb83f61f27" providerId="ADAL" clId="{067C7D3F-9573-4B1A-A9B0-3005DA5BAAAF}" dt="2024-02-01T15:57:28.531" v="14031" actId="478"/>
          <ac:spMkLst>
            <pc:docMk/>
            <pc:sldMk cId="3263934951" sldId="2147482369"/>
            <ac:spMk id="3151" creationId="{DF7B998E-2DC0-B4C7-D4EF-B6F200ECD73B}"/>
          </ac:spMkLst>
        </pc:spChg>
        <pc:spChg chg="add mod">
          <ac:chgData name="Cyprien ARETHUSE" userId="abd46b16-7bf0-4c01-a850-92fb83f61f27" providerId="ADAL" clId="{067C7D3F-9573-4B1A-A9B0-3005DA5BAAAF}" dt="2024-02-01T16:38:23.620" v="14750"/>
          <ac:spMkLst>
            <pc:docMk/>
            <pc:sldMk cId="3263934951" sldId="2147482369"/>
            <ac:spMk id="3152" creationId="{6F15CFB8-7983-5208-D2B6-67304CB13A46}"/>
          </ac:spMkLst>
        </pc:spChg>
        <pc:spChg chg="del mod">
          <ac:chgData name="Cyprien ARETHUSE" userId="abd46b16-7bf0-4c01-a850-92fb83f61f27" providerId="ADAL" clId="{067C7D3F-9573-4B1A-A9B0-3005DA5BAAAF}" dt="2024-02-01T15:57:28.531" v="14031" actId="478"/>
          <ac:spMkLst>
            <pc:docMk/>
            <pc:sldMk cId="3263934951" sldId="2147482369"/>
            <ac:spMk id="3153" creationId="{4A60AC75-5486-5B6E-3772-AEBF38279C01}"/>
          </ac:spMkLst>
        </pc:spChg>
        <pc:spChg chg="add mod">
          <ac:chgData name="Cyprien ARETHUSE" userId="abd46b16-7bf0-4c01-a850-92fb83f61f27" providerId="ADAL" clId="{067C7D3F-9573-4B1A-A9B0-3005DA5BAAAF}" dt="2024-02-01T16:38:23.620" v="14750"/>
          <ac:spMkLst>
            <pc:docMk/>
            <pc:sldMk cId="3263934951" sldId="2147482369"/>
            <ac:spMk id="3158" creationId="{9DD47E8B-72E5-7E2A-0B73-B34C128E0B4E}"/>
          </ac:spMkLst>
        </pc:spChg>
        <pc:spChg chg="add mod">
          <ac:chgData name="Cyprien ARETHUSE" userId="abd46b16-7bf0-4c01-a850-92fb83f61f27" providerId="ADAL" clId="{067C7D3F-9573-4B1A-A9B0-3005DA5BAAAF}" dt="2024-02-01T16:38:23.620" v="14750"/>
          <ac:spMkLst>
            <pc:docMk/>
            <pc:sldMk cId="3263934951" sldId="2147482369"/>
            <ac:spMk id="3159" creationId="{0B8E6C00-E1C2-A16D-A35F-CBC9F4ADDAD6}"/>
          </ac:spMkLst>
        </pc:spChg>
        <pc:spChg chg="add mod">
          <ac:chgData name="Cyprien ARETHUSE" userId="abd46b16-7bf0-4c01-a850-92fb83f61f27" providerId="ADAL" clId="{067C7D3F-9573-4B1A-A9B0-3005DA5BAAAF}" dt="2024-02-01T16:38:23.620" v="14750"/>
          <ac:spMkLst>
            <pc:docMk/>
            <pc:sldMk cId="3263934951" sldId="2147482369"/>
            <ac:spMk id="3160" creationId="{A9985C15-3CF7-4AE5-B6EA-3E0AA2B98694}"/>
          </ac:spMkLst>
        </pc:spChg>
        <pc:spChg chg="add mod">
          <ac:chgData name="Cyprien ARETHUSE" userId="abd46b16-7bf0-4c01-a850-92fb83f61f27" providerId="ADAL" clId="{067C7D3F-9573-4B1A-A9B0-3005DA5BAAAF}" dt="2024-02-01T16:38:23.620" v="14750"/>
          <ac:spMkLst>
            <pc:docMk/>
            <pc:sldMk cId="3263934951" sldId="2147482369"/>
            <ac:spMk id="3162" creationId="{E60AFF3E-2F78-3BE1-D1B8-518336E64889}"/>
          </ac:spMkLst>
        </pc:spChg>
        <pc:spChg chg="del mod">
          <ac:chgData name="Cyprien ARETHUSE" userId="abd46b16-7bf0-4c01-a850-92fb83f61f27" providerId="ADAL" clId="{067C7D3F-9573-4B1A-A9B0-3005DA5BAAAF}" dt="2024-02-01T15:57:28.531" v="14031" actId="478"/>
          <ac:spMkLst>
            <pc:docMk/>
            <pc:sldMk cId="3263934951" sldId="2147482369"/>
            <ac:spMk id="3164" creationId="{D4E3059D-A1CB-6484-1EDF-BE327881E9F5}"/>
          </ac:spMkLst>
        </pc:spChg>
        <pc:spChg chg="add mod ord">
          <ac:chgData name="Cyprien ARETHUSE" userId="abd46b16-7bf0-4c01-a850-92fb83f61f27" providerId="ADAL" clId="{067C7D3F-9573-4B1A-A9B0-3005DA5BAAAF}" dt="2024-02-01T16:38:46.248" v="14755" actId="167"/>
          <ac:spMkLst>
            <pc:docMk/>
            <pc:sldMk cId="3263934951" sldId="2147482369"/>
            <ac:spMk id="3171" creationId="{A4BA1264-0F81-A114-474C-9A3FF08531A1}"/>
          </ac:spMkLst>
        </pc:spChg>
        <pc:spChg chg="add mod ord">
          <ac:chgData name="Cyprien ARETHUSE" userId="abd46b16-7bf0-4c01-a850-92fb83f61f27" providerId="ADAL" clId="{067C7D3F-9573-4B1A-A9B0-3005DA5BAAAF}" dt="2024-02-01T16:38:46.248" v="14755" actId="167"/>
          <ac:spMkLst>
            <pc:docMk/>
            <pc:sldMk cId="3263934951" sldId="2147482369"/>
            <ac:spMk id="3172" creationId="{E97278C1-7D88-3DF1-FE62-17867B50A8B1}"/>
          </ac:spMkLst>
        </pc:spChg>
        <pc:spChg chg="add mod">
          <ac:chgData name="Cyprien ARETHUSE" userId="abd46b16-7bf0-4c01-a850-92fb83f61f27" providerId="ADAL" clId="{067C7D3F-9573-4B1A-A9B0-3005DA5BAAAF}" dt="2024-02-01T16:58:25.569" v="15223" actId="571"/>
          <ac:spMkLst>
            <pc:docMk/>
            <pc:sldMk cId="3263934951" sldId="2147482369"/>
            <ac:spMk id="3173" creationId="{0E5B529B-A6AA-5F68-256C-68FFD25438DD}"/>
          </ac:spMkLst>
        </pc:spChg>
        <pc:spChg chg="add mod">
          <ac:chgData name="Cyprien ARETHUSE" userId="abd46b16-7bf0-4c01-a850-92fb83f61f27" providerId="ADAL" clId="{067C7D3F-9573-4B1A-A9B0-3005DA5BAAAF}" dt="2024-02-01T16:58:25.569" v="15223" actId="571"/>
          <ac:spMkLst>
            <pc:docMk/>
            <pc:sldMk cId="3263934951" sldId="2147482369"/>
            <ac:spMk id="3174" creationId="{1B90D5AD-96D1-39EE-B60D-7640FA0A57D0}"/>
          </ac:spMkLst>
        </pc:spChg>
        <pc:picChg chg="add del mod">
          <ac:chgData name="Cyprien ARETHUSE" userId="abd46b16-7bf0-4c01-a850-92fb83f61f27" providerId="ADAL" clId="{067C7D3F-9573-4B1A-A9B0-3005DA5BAAAF}" dt="2024-02-01T16:38:32.658" v="14751" actId="478"/>
          <ac:picMkLst>
            <pc:docMk/>
            <pc:sldMk cId="3263934951" sldId="2147482369"/>
            <ac:picMk id="7" creationId="{6E64AAC8-2A8E-9C54-D4FE-49A5E2BF6DC3}"/>
          </ac:picMkLst>
        </pc:picChg>
        <pc:picChg chg="del mod">
          <ac:chgData name="Cyprien ARETHUSE" userId="abd46b16-7bf0-4c01-a850-92fb83f61f27" providerId="ADAL" clId="{067C7D3F-9573-4B1A-A9B0-3005DA5BAAAF}" dt="2024-02-01T15:57:28.531" v="14031" actId="478"/>
          <ac:picMkLst>
            <pc:docMk/>
            <pc:sldMk cId="3263934951" sldId="2147482369"/>
            <ac:picMk id="15" creationId="{5E50F02E-E0A1-48C0-F068-087CF28D3664}"/>
          </ac:picMkLst>
        </pc:picChg>
        <pc:picChg chg="del mod">
          <ac:chgData name="Cyprien ARETHUSE" userId="abd46b16-7bf0-4c01-a850-92fb83f61f27" providerId="ADAL" clId="{067C7D3F-9573-4B1A-A9B0-3005DA5BAAAF}" dt="2024-02-01T15:57:28.531" v="14031" actId="478"/>
          <ac:picMkLst>
            <pc:docMk/>
            <pc:sldMk cId="3263934951" sldId="2147482369"/>
            <ac:picMk id="16" creationId="{E738AD29-27E6-02E7-96C1-9D9BA9A6E5CF}"/>
          </ac:picMkLst>
        </pc:picChg>
        <pc:picChg chg="del mod">
          <ac:chgData name="Cyprien ARETHUSE" userId="abd46b16-7bf0-4c01-a850-92fb83f61f27" providerId="ADAL" clId="{067C7D3F-9573-4B1A-A9B0-3005DA5BAAAF}" dt="2024-02-01T15:57:28.531" v="14031" actId="478"/>
          <ac:picMkLst>
            <pc:docMk/>
            <pc:sldMk cId="3263934951" sldId="2147482369"/>
            <ac:picMk id="17" creationId="{E848A471-2427-E594-05B8-99E9BD7EA68E}"/>
          </ac:picMkLst>
        </pc:picChg>
        <pc:picChg chg="add del mod">
          <ac:chgData name="Cyprien ARETHUSE" userId="abd46b16-7bf0-4c01-a850-92fb83f61f27" providerId="ADAL" clId="{067C7D3F-9573-4B1A-A9B0-3005DA5BAAAF}" dt="2024-02-01T16:38:32.658" v="14751" actId="478"/>
          <ac:picMkLst>
            <pc:docMk/>
            <pc:sldMk cId="3263934951" sldId="2147482369"/>
            <ac:picMk id="20" creationId="{C1328683-4381-7CF7-5A0F-451F29C4E843}"/>
          </ac:picMkLst>
        </pc:picChg>
        <pc:picChg chg="del mod">
          <ac:chgData name="Cyprien ARETHUSE" userId="abd46b16-7bf0-4c01-a850-92fb83f61f27" providerId="ADAL" clId="{067C7D3F-9573-4B1A-A9B0-3005DA5BAAAF}" dt="2024-02-01T15:57:28.531" v="14031" actId="478"/>
          <ac:picMkLst>
            <pc:docMk/>
            <pc:sldMk cId="3263934951" sldId="2147482369"/>
            <ac:picMk id="27" creationId="{96272CF4-3E1E-F437-A43E-C15EDC83251E}"/>
          </ac:picMkLst>
        </pc:picChg>
        <pc:picChg chg="add del mod">
          <ac:chgData name="Cyprien ARETHUSE" userId="abd46b16-7bf0-4c01-a850-92fb83f61f27" providerId="ADAL" clId="{067C7D3F-9573-4B1A-A9B0-3005DA5BAAAF}" dt="2024-02-01T16:38:32.658" v="14751" actId="478"/>
          <ac:picMkLst>
            <pc:docMk/>
            <pc:sldMk cId="3263934951" sldId="2147482369"/>
            <ac:picMk id="28" creationId="{264AE094-9A5F-331F-862D-8C16F000906E}"/>
          </ac:picMkLst>
        </pc:picChg>
        <pc:picChg chg="add del mod">
          <ac:chgData name="Cyprien ARETHUSE" userId="abd46b16-7bf0-4c01-a850-92fb83f61f27" providerId="ADAL" clId="{067C7D3F-9573-4B1A-A9B0-3005DA5BAAAF}" dt="2024-02-01T16:38:32.658" v="14751" actId="478"/>
          <ac:picMkLst>
            <pc:docMk/>
            <pc:sldMk cId="3263934951" sldId="2147482369"/>
            <ac:picMk id="32" creationId="{9012407F-3D40-0B09-C64C-37E364704C6A}"/>
          </ac:picMkLst>
        </pc:picChg>
        <pc:picChg chg="add del mod">
          <ac:chgData name="Cyprien ARETHUSE" userId="abd46b16-7bf0-4c01-a850-92fb83f61f27" providerId="ADAL" clId="{067C7D3F-9573-4B1A-A9B0-3005DA5BAAAF}" dt="2024-02-01T16:38:32.658" v="14751" actId="478"/>
          <ac:picMkLst>
            <pc:docMk/>
            <pc:sldMk cId="3263934951" sldId="2147482369"/>
            <ac:picMk id="33" creationId="{106B1BA6-44FA-E08E-088E-711FA4ADD58C}"/>
          </ac:picMkLst>
        </pc:picChg>
        <pc:picChg chg="add del mod">
          <ac:chgData name="Cyprien ARETHUSE" userId="abd46b16-7bf0-4c01-a850-92fb83f61f27" providerId="ADAL" clId="{067C7D3F-9573-4B1A-A9B0-3005DA5BAAAF}" dt="2024-02-01T16:38:32.658" v="14751" actId="478"/>
          <ac:picMkLst>
            <pc:docMk/>
            <pc:sldMk cId="3263934951" sldId="2147482369"/>
            <ac:picMk id="37" creationId="{6105143F-65FC-0676-4607-F22DC87946DD}"/>
          </ac:picMkLst>
        </pc:picChg>
        <pc:picChg chg="add del mod">
          <ac:chgData name="Cyprien ARETHUSE" userId="abd46b16-7bf0-4c01-a850-92fb83f61f27" providerId="ADAL" clId="{067C7D3F-9573-4B1A-A9B0-3005DA5BAAAF}" dt="2024-02-01T16:38:32.658" v="14751" actId="478"/>
          <ac:picMkLst>
            <pc:docMk/>
            <pc:sldMk cId="3263934951" sldId="2147482369"/>
            <ac:picMk id="39" creationId="{B2C3E833-A66E-6D6B-C231-F826ABED39F7}"/>
          </ac:picMkLst>
        </pc:picChg>
        <pc:picChg chg="add del mod">
          <ac:chgData name="Cyprien ARETHUSE" userId="abd46b16-7bf0-4c01-a850-92fb83f61f27" providerId="ADAL" clId="{067C7D3F-9573-4B1A-A9B0-3005DA5BAAAF}" dt="2024-02-01T16:21:08.300" v="14401" actId="478"/>
          <ac:picMkLst>
            <pc:docMk/>
            <pc:sldMk cId="3263934951" sldId="2147482369"/>
            <ac:picMk id="40" creationId="{2BDBA76C-8174-A455-AB5F-D5C36C595983}"/>
          </ac:picMkLst>
        </pc:picChg>
        <pc:picChg chg="add del mod">
          <ac:chgData name="Cyprien ARETHUSE" userId="abd46b16-7bf0-4c01-a850-92fb83f61f27" providerId="ADAL" clId="{067C7D3F-9573-4B1A-A9B0-3005DA5BAAAF}" dt="2024-02-01T16:21:08.300" v="14401" actId="478"/>
          <ac:picMkLst>
            <pc:docMk/>
            <pc:sldMk cId="3263934951" sldId="2147482369"/>
            <ac:picMk id="41" creationId="{64187DF1-CEB3-2374-0DB0-945479FADDE0}"/>
          </ac:picMkLst>
        </pc:picChg>
        <pc:picChg chg="add del mod">
          <ac:chgData name="Cyprien ARETHUSE" userId="abd46b16-7bf0-4c01-a850-92fb83f61f27" providerId="ADAL" clId="{067C7D3F-9573-4B1A-A9B0-3005DA5BAAAF}" dt="2024-02-01T16:21:08.300" v="14401" actId="478"/>
          <ac:picMkLst>
            <pc:docMk/>
            <pc:sldMk cId="3263934951" sldId="2147482369"/>
            <ac:picMk id="42" creationId="{93CF631B-090C-F8E7-1115-682F6208C349}"/>
          </ac:picMkLst>
        </pc:picChg>
        <pc:picChg chg="add del mod">
          <ac:chgData name="Cyprien ARETHUSE" userId="abd46b16-7bf0-4c01-a850-92fb83f61f27" providerId="ADAL" clId="{067C7D3F-9573-4B1A-A9B0-3005DA5BAAAF}" dt="2024-02-01T16:38:32.658" v="14751" actId="478"/>
          <ac:picMkLst>
            <pc:docMk/>
            <pc:sldMk cId="3263934951" sldId="2147482369"/>
            <ac:picMk id="45" creationId="{682FE177-E881-B02F-B827-FB67DD7D23CB}"/>
          </ac:picMkLst>
        </pc:picChg>
        <pc:picChg chg="add del">
          <ac:chgData name="Cyprien ARETHUSE" userId="abd46b16-7bf0-4c01-a850-92fb83f61f27" providerId="ADAL" clId="{067C7D3F-9573-4B1A-A9B0-3005DA5BAAAF}" dt="2024-02-01T16:38:32.658" v="14751" actId="478"/>
          <ac:picMkLst>
            <pc:docMk/>
            <pc:sldMk cId="3263934951" sldId="2147482369"/>
            <ac:picMk id="46" creationId="{F6A6ABF9-E349-58FC-4E7B-E96973F6A1AE}"/>
          </ac:picMkLst>
        </pc:picChg>
        <pc:picChg chg="add del mod">
          <ac:chgData name="Cyprien ARETHUSE" userId="abd46b16-7bf0-4c01-a850-92fb83f61f27" providerId="ADAL" clId="{067C7D3F-9573-4B1A-A9B0-3005DA5BAAAF}" dt="2024-02-01T16:38:32.658" v="14751" actId="478"/>
          <ac:picMkLst>
            <pc:docMk/>
            <pc:sldMk cId="3263934951" sldId="2147482369"/>
            <ac:picMk id="49" creationId="{65822E50-F78B-50A4-79B4-D95E34C304BB}"/>
          </ac:picMkLst>
        </pc:picChg>
        <pc:picChg chg="add del mod">
          <ac:chgData name="Cyprien ARETHUSE" userId="abd46b16-7bf0-4c01-a850-92fb83f61f27" providerId="ADAL" clId="{067C7D3F-9573-4B1A-A9B0-3005DA5BAAAF}" dt="2024-02-01T16:38:32.658" v="14751" actId="478"/>
          <ac:picMkLst>
            <pc:docMk/>
            <pc:sldMk cId="3263934951" sldId="2147482369"/>
            <ac:picMk id="50" creationId="{96AEEA87-3DA4-911F-0E00-00AA661DD8AD}"/>
          </ac:picMkLst>
        </pc:picChg>
        <pc:picChg chg="add del mod">
          <ac:chgData name="Cyprien ARETHUSE" userId="abd46b16-7bf0-4c01-a850-92fb83f61f27" providerId="ADAL" clId="{067C7D3F-9573-4B1A-A9B0-3005DA5BAAAF}" dt="2024-02-01T16:38:32.658" v="14751" actId="478"/>
          <ac:picMkLst>
            <pc:docMk/>
            <pc:sldMk cId="3263934951" sldId="2147482369"/>
            <ac:picMk id="51" creationId="{F478A456-8669-0CD2-84A9-702B56C5E104}"/>
          </ac:picMkLst>
        </pc:picChg>
        <pc:picChg chg="add mod">
          <ac:chgData name="Cyprien ARETHUSE" userId="abd46b16-7bf0-4c01-a850-92fb83f61f27" providerId="ADAL" clId="{067C7D3F-9573-4B1A-A9B0-3005DA5BAAAF}" dt="2024-02-01T16:38:23.620" v="14750"/>
          <ac:picMkLst>
            <pc:docMk/>
            <pc:sldMk cId="3263934951" sldId="2147482369"/>
            <ac:picMk id="60" creationId="{44057F1F-BFA2-208B-89F4-11032AB048CD}"/>
          </ac:picMkLst>
        </pc:picChg>
        <pc:picChg chg="add mod">
          <ac:chgData name="Cyprien ARETHUSE" userId="abd46b16-7bf0-4c01-a850-92fb83f61f27" providerId="ADAL" clId="{067C7D3F-9573-4B1A-A9B0-3005DA5BAAAF}" dt="2024-02-01T16:38:23.620" v="14750"/>
          <ac:picMkLst>
            <pc:docMk/>
            <pc:sldMk cId="3263934951" sldId="2147482369"/>
            <ac:picMk id="63" creationId="{B5199CA7-1B2F-3BD0-1C3B-EFA69E1FE134}"/>
          </ac:picMkLst>
        </pc:picChg>
        <pc:picChg chg="add mod">
          <ac:chgData name="Cyprien ARETHUSE" userId="abd46b16-7bf0-4c01-a850-92fb83f61f27" providerId="ADAL" clId="{067C7D3F-9573-4B1A-A9B0-3005DA5BAAAF}" dt="2024-02-01T16:38:23.620" v="14750"/>
          <ac:picMkLst>
            <pc:docMk/>
            <pc:sldMk cId="3263934951" sldId="2147482369"/>
            <ac:picMk id="3137" creationId="{8A445C57-17FA-ACAD-7C55-00A169D555E2}"/>
          </ac:picMkLst>
        </pc:picChg>
        <pc:picChg chg="del mod">
          <ac:chgData name="Cyprien ARETHUSE" userId="abd46b16-7bf0-4c01-a850-92fb83f61f27" providerId="ADAL" clId="{067C7D3F-9573-4B1A-A9B0-3005DA5BAAAF}" dt="2024-02-01T15:57:28.531" v="14031" actId="478"/>
          <ac:picMkLst>
            <pc:docMk/>
            <pc:sldMk cId="3263934951" sldId="2147482369"/>
            <ac:picMk id="3142" creationId="{EE4CF9D4-A09F-3AFD-7B46-DF98FA372926}"/>
          </ac:picMkLst>
        </pc:picChg>
        <pc:picChg chg="del mod">
          <ac:chgData name="Cyprien ARETHUSE" userId="abd46b16-7bf0-4c01-a850-92fb83f61f27" providerId="ADAL" clId="{067C7D3F-9573-4B1A-A9B0-3005DA5BAAAF}" dt="2024-02-01T15:57:28.531" v="14031" actId="478"/>
          <ac:picMkLst>
            <pc:docMk/>
            <pc:sldMk cId="3263934951" sldId="2147482369"/>
            <ac:picMk id="3144" creationId="{0B49371C-55E1-8DF1-E05F-0B54EF598C7B}"/>
          </ac:picMkLst>
        </pc:picChg>
        <pc:picChg chg="del mod">
          <ac:chgData name="Cyprien ARETHUSE" userId="abd46b16-7bf0-4c01-a850-92fb83f61f27" providerId="ADAL" clId="{067C7D3F-9573-4B1A-A9B0-3005DA5BAAAF}" dt="2024-02-01T15:57:28.531" v="14031" actId="478"/>
          <ac:picMkLst>
            <pc:docMk/>
            <pc:sldMk cId="3263934951" sldId="2147482369"/>
            <ac:picMk id="3147" creationId="{DB095026-7E93-3909-F431-5E8EC4FD9CB1}"/>
          </ac:picMkLst>
        </pc:picChg>
        <pc:picChg chg="del mod">
          <ac:chgData name="Cyprien ARETHUSE" userId="abd46b16-7bf0-4c01-a850-92fb83f61f27" providerId="ADAL" clId="{067C7D3F-9573-4B1A-A9B0-3005DA5BAAAF}" dt="2024-02-01T15:57:28.531" v="14031" actId="478"/>
          <ac:picMkLst>
            <pc:docMk/>
            <pc:sldMk cId="3263934951" sldId="2147482369"/>
            <ac:picMk id="3148" creationId="{E622BD54-F3A7-CB4F-DC16-C153C9F21A3D}"/>
          </ac:picMkLst>
        </pc:picChg>
        <pc:picChg chg="del mod">
          <ac:chgData name="Cyprien ARETHUSE" userId="abd46b16-7bf0-4c01-a850-92fb83f61f27" providerId="ADAL" clId="{067C7D3F-9573-4B1A-A9B0-3005DA5BAAAF}" dt="2024-02-01T15:57:28.531" v="14031" actId="478"/>
          <ac:picMkLst>
            <pc:docMk/>
            <pc:sldMk cId="3263934951" sldId="2147482369"/>
            <ac:picMk id="3154" creationId="{71E5A4BF-D71A-6297-B387-50C2DE4C9EFF}"/>
          </ac:picMkLst>
        </pc:picChg>
        <pc:picChg chg="del mod">
          <ac:chgData name="Cyprien ARETHUSE" userId="abd46b16-7bf0-4c01-a850-92fb83f61f27" providerId="ADAL" clId="{067C7D3F-9573-4B1A-A9B0-3005DA5BAAAF}" dt="2024-02-01T15:57:30.513" v="14032" actId="478"/>
          <ac:picMkLst>
            <pc:docMk/>
            <pc:sldMk cId="3263934951" sldId="2147482369"/>
            <ac:picMk id="3155" creationId="{890E496A-ECA0-043B-5F79-8C9B64FD34B8}"/>
          </ac:picMkLst>
        </pc:picChg>
        <pc:picChg chg="add mod">
          <ac:chgData name="Cyprien ARETHUSE" userId="abd46b16-7bf0-4c01-a850-92fb83f61f27" providerId="ADAL" clId="{067C7D3F-9573-4B1A-A9B0-3005DA5BAAAF}" dt="2024-02-01T16:38:23.620" v="14750"/>
          <ac:picMkLst>
            <pc:docMk/>
            <pc:sldMk cId="3263934951" sldId="2147482369"/>
            <ac:picMk id="3156" creationId="{EAF4EBD9-40F7-7F69-6CA3-49EC273F839A}"/>
          </ac:picMkLst>
        </pc:picChg>
        <pc:picChg chg="add mod">
          <ac:chgData name="Cyprien ARETHUSE" userId="abd46b16-7bf0-4c01-a850-92fb83f61f27" providerId="ADAL" clId="{067C7D3F-9573-4B1A-A9B0-3005DA5BAAAF}" dt="2024-02-01T16:38:23.620" v="14750"/>
          <ac:picMkLst>
            <pc:docMk/>
            <pc:sldMk cId="3263934951" sldId="2147482369"/>
            <ac:picMk id="3157" creationId="{426E72E3-C1FF-AD22-F3B7-5CA468296F2A}"/>
          </ac:picMkLst>
        </pc:picChg>
        <pc:picChg chg="add mod">
          <ac:chgData name="Cyprien ARETHUSE" userId="abd46b16-7bf0-4c01-a850-92fb83f61f27" providerId="ADAL" clId="{067C7D3F-9573-4B1A-A9B0-3005DA5BAAAF}" dt="2024-02-01T16:38:23.620" v="14750"/>
          <ac:picMkLst>
            <pc:docMk/>
            <pc:sldMk cId="3263934951" sldId="2147482369"/>
            <ac:picMk id="3161" creationId="{4F6C6750-6A51-2323-D85F-6DEA176FF9D0}"/>
          </ac:picMkLst>
        </pc:picChg>
        <pc:picChg chg="add mod">
          <ac:chgData name="Cyprien ARETHUSE" userId="abd46b16-7bf0-4c01-a850-92fb83f61f27" providerId="ADAL" clId="{067C7D3F-9573-4B1A-A9B0-3005DA5BAAAF}" dt="2024-02-01T16:38:23.620" v="14750"/>
          <ac:picMkLst>
            <pc:docMk/>
            <pc:sldMk cId="3263934951" sldId="2147482369"/>
            <ac:picMk id="3163" creationId="{D61A48E7-32A7-B761-DA67-DD386C76414F}"/>
          </ac:picMkLst>
        </pc:picChg>
        <pc:picChg chg="del mod">
          <ac:chgData name="Cyprien ARETHUSE" userId="abd46b16-7bf0-4c01-a850-92fb83f61f27" providerId="ADAL" clId="{067C7D3F-9573-4B1A-A9B0-3005DA5BAAAF}" dt="2024-02-01T15:57:28.531" v="14031" actId="478"/>
          <ac:picMkLst>
            <pc:docMk/>
            <pc:sldMk cId="3263934951" sldId="2147482369"/>
            <ac:picMk id="3165" creationId="{6FAE1C96-6FF9-84A7-FB6A-F7CF2BA1F96F}"/>
          </ac:picMkLst>
        </pc:picChg>
        <pc:picChg chg="add mod">
          <ac:chgData name="Cyprien ARETHUSE" userId="abd46b16-7bf0-4c01-a850-92fb83f61f27" providerId="ADAL" clId="{067C7D3F-9573-4B1A-A9B0-3005DA5BAAAF}" dt="2024-02-01T16:38:23.620" v="14750"/>
          <ac:picMkLst>
            <pc:docMk/>
            <pc:sldMk cId="3263934951" sldId="2147482369"/>
            <ac:picMk id="3166" creationId="{120B105C-B306-8184-0CF5-B82A9D764821}"/>
          </ac:picMkLst>
        </pc:picChg>
        <pc:picChg chg="add mod">
          <ac:chgData name="Cyprien ARETHUSE" userId="abd46b16-7bf0-4c01-a850-92fb83f61f27" providerId="ADAL" clId="{067C7D3F-9573-4B1A-A9B0-3005DA5BAAAF}" dt="2024-02-01T16:38:23.620" v="14750"/>
          <ac:picMkLst>
            <pc:docMk/>
            <pc:sldMk cId="3263934951" sldId="2147482369"/>
            <ac:picMk id="3167" creationId="{B8D6416F-15CC-FCD1-478E-1C61C4692D31}"/>
          </ac:picMkLst>
        </pc:picChg>
        <pc:picChg chg="add mod">
          <ac:chgData name="Cyprien ARETHUSE" userId="abd46b16-7bf0-4c01-a850-92fb83f61f27" providerId="ADAL" clId="{067C7D3F-9573-4B1A-A9B0-3005DA5BAAAF}" dt="2024-02-01T16:38:23.620" v="14750"/>
          <ac:picMkLst>
            <pc:docMk/>
            <pc:sldMk cId="3263934951" sldId="2147482369"/>
            <ac:picMk id="3168" creationId="{72075A76-9638-19C9-F046-40E85AA28F7B}"/>
          </ac:picMkLst>
        </pc:picChg>
        <pc:picChg chg="add mod">
          <ac:chgData name="Cyprien ARETHUSE" userId="abd46b16-7bf0-4c01-a850-92fb83f61f27" providerId="ADAL" clId="{067C7D3F-9573-4B1A-A9B0-3005DA5BAAAF}" dt="2024-02-01T16:38:23.620" v="14750"/>
          <ac:picMkLst>
            <pc:docMk/>
            <pc:sldMk cId="3263934951" sldId="2147482369"/>
            <ac:picMk id="3169" creationId="{929C0D83-940C-432D-C9A5-1239086876C0}"/>
          </ac:picMkLst>
        </pc:picChg>
        <pc:picChg chg="add mod">
          <ac:chgData name="Cyprien ARETHUSE" userId="abd46b16-7bf0-4c01-a850-92fb83f61f27" providerId="ADAL" clId="{067C7D3F-9573-4B1A-A9B0-3005DA5BAAAF}" dt="2024-02-01T16:38:23.620" v="14750"/>
          <ac:picMkLst>
            <pc:docMk/>
            <pc:sldMk cId="3263934951" sldId="2147482369"/>
            <ac:picMk id="3170" creationId="{84403300-4398-81DD-B2AB-BCCBD1C267F6}"/>
          </ac:picMkLst>
        </pc:picChg>
        <pc:cxnChg chg="add del mod">
          <ac:chgData name="Cyprien ARETHUSE" userId="abd46b16-7bf0-4c01-a850-92fb83f61f27" providerId="ADAL" clId="{067C7D3F-9573-4B1A-A9B0-3005DA5BAAAF}" dt="2024-02-01T16:38:32.658" v="14751" actId="478"/>
          <ac:cxnSpMkLst>
            <pc:docMk/>
            <pc:sldMk cId="3263934951" sldId="2147482369"/>
            <ac:cxnSpMk id="11" creationId="{6F8DEDF9-BA50-6DCA-460A-2C7082FB7949}"/>
          </ac:cxnSpMkLst>
        </pc:cxnChg>
        <pc:cxnChg chg="add mod">
          <ac:chgData name="Cyprien ARETHUSE" userId="abd46b16-7bf0-4c01-a850-92fb83f61f27" providerId="ADAL" clId="{067C7D3F-9573-4B1A-A9B0-3005DA5BAAAF}" dt="2024-02-01T16:17:41.199" v="14209"/>
          <ac:cxnSpMkLst>
            <pc:docMk/>
            <pc:sldMk cId="3263934951" sldId="2147482369"/>
            <ac:cxnSpMk id="46" creationId="{F719EB7C-9B16-FCBF-21B0-78540B570386}"/>
          </ac:cxnSpMkLst>
        </pc:cxnChg>
        <pc:cxnChg chg="add mod">
          <ac:chgData name="Cyprien ARETHUSE" userId="abd46b16-7bf0-4c01-a850-92fb83f61f27" providerId="ADAL" clId="{067C7D3F-9573-4B1A-A9B0-3005DA5BAAAF}" dt="2024-02-01T16:31:44.954" v="14720" actId="12788"/>
          <ac:cxnSpMkLst>
            <pc:docMk/>
            <pc:sldMk cId="3263934951" sldId="2147482369"/>
            <ac:cxnSpMk id="47" creationId="{2F252450-8C69-8916-A173-7181E3832C56}"/>
          </ac:cxnSpMkLst>
        </pc:cxnChg>
        <pc:cxnChg chg="add mod">
          <ac:chgData name="Cyprien ARETHUSE" userId="abd46b16-7bf0-4c01-a850-92fb83f61f27" providerId="ADAL" clId="{067C7D3F-9573-4B1A-A9B0-3005DA5BAAAF}" dt="2024-02-01T16:31:38.396" v="14719" actId="12788"/>
          <ac:cxnSpMkLst>
            <pc:docMk/>
            <pc:sldMk cId="3263934951" sldId="2147482369"/>
            <ac:cxnSpMk id="48" creationId="{2EF13003-8513-B02D-07C1-43F62BDDB7CF}"/>
          </ac:cxnSpMkLst>
        </pc:cxnChg>
        <pc:cxnChg chg="del mod">
          <ac:chgData name="Cyprien ARETHUSE" userId="abd46b16-7bf0-4c01-a850-92fb83f61f27" providerId="ADAL" clId="{067C7D3F-9573-4B1A-A9B0-3005DA5BAAAF}" dt="2024-02-01T15:57:28.531" v="14031" actId="478"/>
          <ac:cxnSpMkLst>
            <pc:docMk/>
            <pc:sldMk cId="3263934951" sldId="2147482369"/>
            <ac:cxnSpMk id="52" creationId="{08197D32-0A21-123F-9797-61DE636CC660}"/>
          </ac:cxnSpMkLst>
        </pc:cxnChg>
        <pc:cxnChg chg="add mod">
          <ac:chgData name="Cyprien ARETHUSE" userId="abd46b16-7bf0-4c01-a850-92fb83f61f27" providerId="ADAL" clId="{067C7D3F-9573-4B1A-A9B0-3005DA5BAAAF}" dt="2024-02-01T16:38:23.620" v="14750"/>
          <ac:cxnSpMkLst>
            <pc:docMk/>
            <pc:sldMk cId="3263934951" sldId="2147482369"/>
            <ac:cxnSpMk id="61" creationId="{9D1BDA14-AE8F-8AE9-D49C-75C796C435E7}"/>
          </ac:cxnSpMkLst>
        </pc:cxnChg>
        <pc:cxnChg chg="mod">
          <ac:chgData name="Cyprien ARETHUSE" userId="abd46b16-7bf0-4c01-a850-92fb83f61f27" providerId="ADAL" clId="{067C7D3F-9573-4B1A-A9B0-3005DA5BAAAF}" dt="2024-02-01T16:31:59.990" v="14721" actId="208"/>
          <ac:cxnSpMkLst>
            <pc:docMk/>
            <pc:sldMk cId="3263934951" sldId="2147482369"/>
            <ac:cxnSpMk id="3138" creationId="{29C282E9-E9AB-EE22-0E6F-5F89AE03F2DD}"/>
          </ac:cxnSpMkLst>
        </pc:cxnChg>
        <pc:cxnChg chg="mod">
          <ac:chgData name="Cyprien ARETHUSE" userId="abd46b16-7bf0-4c01-a850-92fb83f61f27" providerId="ADAL" clId="{067C7D3F-9573-4B1A-A9B0-3005DA5BAAAF}" dt="2024-02-01T16:31:59.990" v="14721" actId="208"/>
          <ac:cxnSpMkLst>
            <pc:docMk/>
            <pc:sldMk cId="3263934951" sldId="2147482369"/>
            <ac:cxnSpMk id="3139" creationId="{1127FBA1-A6AB-3CE3-93BE-F865F8E8C373}"/>
          </ac:cxnSpMkLst>
        </pc:cxnChg>
        <pc:cxnChg chg="mod">
          <ac:chgData name="Cyprien ARETHUSE" userId="abd46b16-7bf0-4c01-a850-92fb83f61f27" providerId="ADAL" clId="{067C7D3F-9573-4B1A-A9B0-3005DA5BAAAF}" dt="2024-02-01T16:31:59.990" v="14721" actId="208"/>
          <ac:cxnSpMkLst>
            <pc:docMk/>
            <pc:sldMk cId="3263934951" sldId="2147482369"/>
            <ac:cxnSpMk id="3140" creationId="{347A4031-348F-8878-9B9A-2392ED682CF4}"/>
          </ac:cxnSpMkLst>
        </pc:cxnChg>
      </pc:sldChg>
      <pc:sldChg chg="addSp modSp add del mod">
        <pc:chgData name="Cyprien ARETHUSE" userId="abd46b16-7bf0-4c01-a850-92fb83f61f27" providerId="ADAL" clId="{067C7D3F-9573-4B1A-A9B0-3005DA5BAAAF}" dt="2024-02-01T16:30:31.847" v="14711" actId="47"/>
        <pc:sldMkLst>
          <pc:docMk/>
          <pc:sldMk cId="1084187250" sldId="2147482370"/>
        </pc:sldMkLst>
        <pc:picChg chg="mod">
          <ac:chgData name="Cyprien ARETHUSE" userId="abd46b16-7bf0-4c01-a850-92fb83f61f27" providerId="ADAL" clId="{067C7D3F-9573-4B1A-A9B0-3005DA5BAAAF}" dt="2024-02-01T16:02:34.241" v="14097" actId="1076"/>
          <ac:picMkLst>
            <pc:docMk/>
            <pc:sldMk cId="1084187250" sldId="2147482370"/>
            <ac:picMk id="3142" creationId="{EE4CF9D4-A09F-3AFD-7B46-DF98FA372926}"/>
          </ac:picMkLst>
        </pc:picChg>
        <pc:cxnChg chg="add mod">
          <ac:chgData name="Cyprien ARETHUSE" userId="abd46b16-7bf0-4c01-a850-92fb83f61f27" providerId="ADAL" clId="{067C7D3F-9573-4B1A-A9B0-3005DA5BAAAF}" dt="2024-02-01T16:22:12.564" v="14409"/>
          <ac:cxnSpMkLst>
            <pc:docMk/>
            <pc:sldMk cId="1084187250" sldId="2147482370"/>
            <ac:cxnSpMk id="6" creationId="{66C925C4-0306-6C47-1C81-3DFFFD7FC51E}"/>
          </ac:cxnSpMkLst>
        </pc:cxnChg>
      </pc:sldChg>
      <pc:sldChg chg="addSp delSp modSp add mod modShow">
        <pc:chgData name="Cyprien ARETHUSE" userId="abd46b16-7bf0-4c01-a850-92fb83f61f27" providerId="ADAL" clId="{067C7D3F-9573-4B1A-A9B0-3005DA5BAAAF}" dt="2024-02-01T17:41:22.525" v="15842" actId="729"/>
        <pc:sldMkLst>
          <pc:docMk/>
          <pc:sldMk cId="4008919750" sldId="2147482372"/>
        </pc:sldMkLst>
        <pc:spChg chg="del">
          <ac:chgData name="Cyprien ARETHUSE" userId="abd46b16-7bf0-4c01-a850-92fb83f61f27" providerId="ADAL" clId="{067C7D3F-9573-4B1A-A9B0-3005DA5BAAAF}" dt="2024-02-01T16:32:15.795" v="14722" actId="478"/>
          <ac:spMkLst>
            <pc:docMk/>
            <pc:sldMk cId="4008919750" sldId="2147482372"/>
            <ac:spMk id="5" creationId="{FCA95897-6CE9-A167-8E89-B5A0CE4CF57B}"/>
          </ac:spMkLst>
        </pc:spChg>
        <pc:spChg chg="mod">
          <ac:chgData name="Cyprien ARETHUSE" userId="abd46b16-7bf0-4c01-a850-92fb83f61f27" providerId="ADAL" clId="{067C7D3F-9573-4B1A-A9B0-3005DA5BAAAF}" dt="2024-02-01T16:32:31.639" v="14731" actId="1035"/>
          <ac:spMkLst>
            <pc:docMk/>
            <pc:sldMk cId="4008919750" sldId="2147482372"/>
            <ac:spMk id="6" creationId="{67C6F395-AF0F-40C7-9BF4-34BE01AAA099}"/>
          </ac:spMkLst>
        </pc:spChg>
        <pc:spChg chg="add mod">
          <ac:chgData name="Cyprien ARETHUSE" userId="abd46b16-7bf0-4c01-a850-92fb83f61f27" providerId="ADAL" clId="{067C7D3F-9573-4B1A-A9B0-3005DA5BAAAF}" dt="2024-02-01T16:32:16.316" v="14723"/>
          <ac:spMkLst>
            <pc:docMk/>
            <pc:sldMk cId="4008919750" sldId="2147482372"/>
            <ac:spMk id="9" creationId="{97044C76-C880-8D5B-787E-74974773F73A}"/>
          </ac:spMkLst>
        </pc:spChg>
        <pc:spChg chg="add mod">
          <ac:chgData name="Cyprien ARETHUSE" userId="abd46b16-7bf0-4c01-a850-92fb83f61f27" providerId="ADAL" clId="{067C7D3F-9573-4B1A-A9B0-3005DA5BAAAF}" dt="2024-02-01T16:32:16.316" v="14723"/>
          <ac:spMkLst>
            <pc:docMk/>
            <pc:sldMk cId="4008919750" sldId="2147482372"/>
            <ac:spMk id="10" creationId="{DA3F607B-DD40-FD84-2DE6-449FD73F31A2}"/>
          </ac:spMkLst>
        </pc:spChg>
        <pc:spChg chg="mod">
          <ac:chgData name="Cyprien ARETHUSE" userId="abd46b16-7bf0-4c01-a850-92fb83f61f27" providerId="ADAL" clId="{067C7D3F-9573-4B1A-A9B0-3005DA5BAAAF}" dt="2024-02-01T16:30:17.115" v="14710" actId="12788"/>
          <ac:spMkLst>
            <pc:docMk/>
            <pc:sldMk cId="4008919750" sldId="2147482372"/>
            <ac:spMk id="12" creationId="{3F117BDD-C39E-2C8D-19B4-D77EB3FA4402}"/>
          </ac:spMkLst>
        </pc:spChg>
        <pc:spChg chg="del">
          <ac:chgData name="Cyprien ARETHUSE" userId="abd46b16-7bf0-4c01-a850-92fb83f61f27" providerId="ADAL" clId="{067C7D3F-9573-4B1A-A9B0-3005DA5BAAAF}" dt="2024-02-01T16:32:15.795" v="14722" actId="478"/>
          <ac:spMkLst>
            <pc:docMk/>
            <pc:sldMk cId="4008919750" sldId="2147482372"/>
            <ac:spMk id="13" creationId="{1F7EB1BB-5FBF-8724-7084-47FDF55BB8DD}"/>
          </ac:spMkLst>
        </pc:spChg>
        <pc:spChg chg="del">
          <ac:chgData name="Cyprien ARETHUSE" userId="abd46b16-7bf0-4c01-a850-92fb83f61f27" providerId="ADAL" clId="{067C7D3F-9573-4B1A-A9B0-3005DA5BAAAF}" dt="2024-02-01T16:32:15.795" v="14722" actId="478"/>
          <ac:spMkLst>
            <pc:docMk/>
            <pc:sldMk cId="4008919750" sldId="2147482372"/>
            <ac:spMk id="14" creationId="{6BAFD97C-7AFC-2921-A957-8393BBBD0DC4}"/>
          </ac:spMkLst>
        </pc:spChg>
        <pc:spChg chg="add mod">
          <ac:chgData name="Cyprien ARETHUSE" userId="abd46b16-7bf0-4c01-a850-92fb83f61f27" providerId="ADAL" clId="{067C7D3F-9573-4B1A-A9B0-3005DA5BAAAF}" dt="2024-02-01T16:32:16.316" v="14723"/>
          <ac:spMkLst>
            <pc:docMk/>
            <pc:sldMk cId="4008919750" sldId="2147482372"/>
            <ac:spMk id="15" creationId="{FDD600DA-CE25-0E33-C5F1-E94DD1E8267A}"/>
          </ac:spMkLst>
        </pc:spChg>
        <pc:spChg chg="add del mod">
          <ac:chgData name="Cyprien ARETHUSE" userId="abd46b16-7bf0-4c01-a850-92fb83f61f27" providerId="ADAL" clId="{067C7D3F-9573-4B1A-A9B0-3005DA5BAAAF}" dt="2024-02-01T16:58:28.779" v="15224" actId="478"/>
          <ac:spMkLst>
            <pc:docMk/>
            <pc:sldMk cId="4008919750" sldId="2147482372"/>
            <ac:spMk id="16" creationId="{F2E7F4AC-B5A1-A10B-082D-FF0EF6FEAE66}"/>
          </ac:spMkLst>
        </pc:spChg>
        <pc:spChg chg="add mod">
          <ac:chgData name="Cyprien ARETHUSE" userId="abd46b16-7bf0-4c01-a850-92fb83f61f27" providerId="ADAL" clId="{067C7D3F-9573-4B1A-A9B0-3005DA5BAAAF}" dt="2024-02-01T16:32:16.316" v="14723"/>
          <ac:spMkLst>
            <pc:docMk/>
            <pc:sldMk cId="4008919750" sldId="2147482372"/>
            <ac:spMk id="17" creationId="{14F77DB1-FDBA-515D-7B23-3685BC8C7B30}"/>
          </ac:spMkLst>
        </pc:spChg>
        <pc:spChg chg="del">
          <ac:chgData name="Cyprien ARETHUSE" userId="abd46b16-7bf0-4c01-a850-92fb83f61f27" providerId="ADAL" clId="{067C7D3F-9573-4B1A-A9B0-3005DA5BAAAF}" dt="2024-02-01T16:32:15.795" v="14722" actId="478"/>
          <ac:spMkLst>
            <pc:docMk/>
            <pc:sldMk cId="4008919750" sldId="2147482372"/>
            <ac:spMk id="18" creationId="{FC4E0B0A-F307-E8C8-8FB4-0EBD2D9ACBD9}"/>
          </ac:spMkLst>
        </pc:spChg>
        <pc:spChg chg="add mod">
          <ac:chgData name="Cyprien ARETHUSE" userId="abd46b16-7bf0-4c01-a850-92fb83f61f27" providerId="ADAL" clId="{067C7D3F-9573-4B1A-A9B0-3005DA5BAAAF}" dt="2024-02-01T16:37:15.182" v="14739" actId="1076"/>
          <ac:spMkLst>
            <pc:docMk/>
            <pc:sldMk cId="4008919750" sldId="2147482372"/>
            <ac:spMk id="19" creationId="{B50C3DDB-B9B1-9D86-C93D-6583CAFE9CDF}"/>
          </ac:spMkLst>
        </pc:spChg>
        <pc:spChg chg="del">
          <ac:chgData name="Cyprien ARETHUSE" userId="abd46b16-7bf0-4c01-a850-92fb83f61f27" providerId="ADAL" clId="{067C7D3F-9573-4B1A-A9B0-3005DA5BAAAF}" dt="2024-02-01T16:32:15.795" v="14722" actId="478"/>
          <ac:spMkLst>
            <pc:docMk/>
            <pc:sldMk cId="4008919750" sldId="2147482372"/>
            <ac:spMk id="21" creationId="{ADB9489A-92BA-57BE-DE75-645BD3DA04C5}"/>
          </ac:spMkLst>
        </pc:spChg>
        <pc:spChg chg="del">
          <ac:chgData name="Cyprien ARETHUSE" userId="abd46b16-7bf0-4c01-a850-92fb83f61f27" providerId="ADAL" clId="{067C7D3F-9573-4B1A-A9B0-3005DA5BAAAF}" dt="2024-02-01T16:32:15.795" v="14722" actId="478"/>
          <ac:spMkLst>
            <pc:docMk/>
            <pc:sldMk cId="4008919750" sldId="2147482372"/>
            <ac:spMk id="22" creationId="{87631BB5-32CA-F4DA-FA44-B931DC0647A2}"/>
          </ac:spMkLst>
        </pc:spChg>
        <pc:spChg chg="del">
          <ac:chgData name="Cyprien ARETHUSE" userId="abd46b16-7bf0-4c01-a850-92fb83f61f27" providerId="ADAL" clId="{067C7D3F-9573-4B1A-A9B0-3005DA5BAAAF}" dt="2024-02-01T16:32:15.795" v="14722" actId="478"/>
          <ac:spMkLst>
            <pc:docMk/>
            <pc:sldMk cId="4008919750" sldId="2147482372"/>
            <ac:spMk id="23" creationId="{B2B31008-6898-CEAF-D4D6-FCFFC276B9F2}"/>
          </ac:spMkLst>
        </pc:spChg>
        <pc:spChg chg="del">
          <ac:chgData name="Cyprien ARETHUSE" userId="abd46b16-7bf0-4c01-a850-92fb83f61f27" providerId="ADAL" clId="{067C7D3F-9573-4B1A-A9B0-3005DA5BAAAF}" dt="2024-02-01T16:32:15.795" v="14722" actId="478"/>
          <ac:spMkLst>
            <pc:docMk/>
            <pc:sldMk cId="4008919750" sldId="2147482372"/>
            <ac:spMk id="24" creationId="{2DF0DCAF-8C62-8D04-2345-245A9B7AE8A9}"/>
          </ac:spMkLst>
        </pc:spChg>
        <pc:spChg chg="add mod">
          <ac:chgData name="Cyprien ARETHUSE" userId="abd46b16-7bf0-4c01-a850-92fb83f61f27" providerId="ADAL" clId="{067C7D3F-9573-4B1A-A9B0-3005DA5BAAAF}" dt="2024-02-01T16:32:16.316" v="14723"/>
          <ac:spMkLst>
            <pc:docMk/>
            <pc:sldMk cId="4008919750" sldId="2147482372"/>
            <ac:spMk id="26" creationId="{B4E86A66-D251-9055-DD8F-2C0542691206}"/>
          </ac:spMkLst>
        </pc:spChg>
        <pc:spChg chg="add mod">
          <ac:chgData name="Cyprien ARETHUSE" userId="abd46b16-7bf0-4c01-a850-92fb83f61f27" providerId="ADAL" clId="{067C7D3F-9573-4B1A-A9B0-3005DA5BAAAF}" dt="2024-02-01T16:32:16.316" v="14723"/>
          <ac:spMkLst>
            <pc:docMk/>
            <pc:sldMk cId="4008919750" sldId="2147482372"/>
            <ac:spMk id="27" creationId="{CF6B0DA8-60EB-0219-FE10-1E923A309319}"/>
          </ac:spMkLst>
        </pc:spChg>
        <pc:spChg chg="mod">
          <ac:chgData name="Cyprien ARETHUSE" userId="abd46b16-7bf0-4c01-a850-92fb83f61f27" providerId="ADAL" clId="{067C7D3F-9573-4B1A-A9B0-3005DA5BAAAF}" dt="2024-02-01T16:29:58.483" v="14706" actId="555"/>
          <ac:spMkLst>
            <pc:docMk/>
            <pc:sldMk cId="4008919750" sldId="2147482372"/>
            <ac:spMk id="29" creationId="{1B7A27FE-BF97-B4CE-C978-83FC3307D569}"/>
          </ac:spMkLst>
        </pc:spChg>
        <pc:spChg chg="mod">
          <ac:chgData name="Cyprien ARETHUSE" userId="abd46b16-7bf0-4c01-a850-92fb83f61f27" providerId="ADAL" clId="{067C7D3F-9573-4B1A-A9B0-3005DA5BAAAF}" dt="2024-02-01T16:30:02.929" v="14707" actId="554"/>
          <ac:spMkLst>
            <pc:docMk/>
            <pc:sldMk cId="4008919750" sldId="2147482372"/>
            <ac:spMk id="30" creationId="{EA71B3C8-818D-25C4-5EA4-982EA87646E3}"/>
          </ac:spMkLst>
        </pc:spChg>
        <pc:spChg chg="add del mod">
          <ac:chgData name="Cyprien ARETHUSE" userId="abd46b16-7bf0-4c01-a850-92fb83f61f27" providerId="ADAL" clId="{067C7D3F-9573-4B1A-A9B0-3005DA5BAAAF}" dt="2024-02-01T16:58:28.779" v="15224" actId="478"/>
          <ac:spMkLst>
            <pc:docMk/>
            <pc:sldMk cId="4008919750" sldId="2147482372"/>
            <ac:spMk id="31" creationId="{FEEB0FEE-A19B-7BE2-E41A-8C76A9E47888}"/>
          </ac:spMkLst>
        </pc:spChg>
        <pc:spChg chg="mod">
          <ac:chgData name="Cyprien ARETHUSE" userId="abd46b16-7bf0-4c01-a850-92fb83f61f27" providerId="ADAL" clId="{067C7D3F-9573-4B1A-A9B0-3005DA5BAAAF}" dt="2024-02-01T16:29:58.483" v="14706" actId="555"/>
          <ac:spMkLst>
            <pc:docMk/>
            <pc:sldMk cId="4008919750" sldId="2147482372"/>
            <ac:spMk id="34" creationId="{C26CB84A-71A5-62BF-AB7D-17DE4EA1E775}"/>
          </ac:spMkLst>
        </pc:spChg>
        <pc:spChg chg="mod">
          <ac:chgData name="Cyprien ARETHUSE" userId="abd46b16-7bf0-4c01-a850-92fb83f61f27" providerId="ADAL" clId="{067C7D3F-9573-4B1A-A9B0-3005DA5BAAAF}" dt="2024-02-01T16:30:02.929" v="14707" actId="554"/>
          <ac:spMkLst>
            <pc:docMk/>
            <pc:sldMk cId="4008919750" sldId="2147482372"/>
            <ac:spMk id="38" creationId="{2DADD31F-CE97-1B20-0C7D-5AC3727E1652}"/>
          </ac:spMkLst>
        </pc:spChg>
        <pc:spChg chg="add mod">
          <ac:chgData name="Cyprien ARETHUSE" userId="abd46b16-7bf0-4c01-a850-92fb83f61f27" providerId="ADAL" clId="{067C7D3F-9573-4B1A-A9B0-3005DA5BAAAF}" dt="2024-02-01T16:32:16.316" v="14723"/>
          <ac:spMkLst>
            <pc:docMk/>
            <pc:sldMk cId="4008919750" sldId="2147482372"/>
            <ac:spMk id="40" creationId="{86A4F9CB-E1E3-7C23-E231-AD540837873F}"/>
          </ac:spMkLst>
        </pc:spChg>
        <pc:spChg chg="del">
          <ac:chgData name="Cyprien ARETHUSE" userId="abd46b16-7bf0-4c01-a850-92fb83f61f27" providerId="ADAL" clId="{067C7D3F-9573-4B1A-A9B0-3005DA5BAAAF}" dt="2024-02-01T16:37:34.381" v="14742" actId="478"/>
          <ac:spMkLst>
            <pc:docMk/>
            <pc:sldMk cId="4008919750" sldId="2147482372"/>
            <ac:spMk id="43" creationId="{8ECCB2C5-BB41-DC1E-65FB-3232F9B03612}"/>
          </ac:spMkLst>
        </pc:spChg>
        <pc:spChg chg="mod">
          <ac:chgData name="Cyprien ARETHUSE" userId="abd46b16-7bf0-4c01-a850-92fb83f61f27" providerId="ADAL" clId="{067C7D3F-9573-4B1A-A9B0-3005DA5BAAAF}" dt="2024-02-01T16:32:31.639" v="14731" actId="1035"/>
          <ac:spMkLst>
            <pc:docMk/>
            <pc:sldMk cId="4008919750" sldId="2147482372"/>
            <ac:spMk id="44" creationId="{24B2E04C-02B6-E0BB-28CD-46E238C100DF}"/>
          </ac:spMkLst>
        </pc:spChg>
        <pc:spChg chg="del">
          <ac:chgData name="Cyprien ARETHUSE" userId="abd46b16-7bf0-4c01-a850-92fb83f61f27" providerId="ADAL" clId="{067C7D3F-9573-4B1A-A9B0-3005DA5BAAAF}" dt="2024-02-01T16:37:24.239" v="14740" actId="478"/>
          <ac:spMkLst>
            <pc:docMk/>
            <pc:sldMk cId="4008919750" sldId="2147482372"/>
            <ac:spMk id="53" creationId="{9C00B5E0-DFAC-9704-1317-A2856BBDBA72}"/>
          </ac:spMkLst>
        </pc:spChg>
        <pc:spChg chg="del">
          <ac:chgData name="Cyprien ARETHUSE" userId="abd46b16-7bf0-4c01-a850-92fb83f61f27" providerId="ADAL" clId="{067C7D3F-9573-4B1A-A9B0-3005DA5BAAAF}" dt="2024-02-01T16:32:15.795" v="14722" actId="478"/>
          <ac:spMkLst>
            <pc:docMk/>
            <pc:sldMk cId="4008919750" sldId="2147482372"/>
            <ac:spMk id="54" creationId="{10233639-A07F-E177-A3FC-84EB92FF0023}"/>
          </ac:spMkLst>
        </pc:spChg>
        <pc:spChg chg="del">
          <ac:chgData name="Cyprien ARETHUSE" userId="abd46b16-7bf0-4c01-a850-92fb83f61f27" providerId="ADAL" clId="{067C7D3F-9573-4B1A-A9B0-3005DA5BAAAF}" dt="2024-02-01T16:32:15.795" v="14722" actId="478"/>
          <ac:spMkLst>
            <pc:docMk/>
            <pc:sldMk cId="4008919750" sldId="2147482372"/>
            <ac:spMk id="56" creationId="{916FDAE2-2B27-60EB-6062-73DF5B644833}"/>
          </ac:spMkLst>
        </pc:spChg>
        <pc:spChg chg="add mod ord">
          <ac:chgData name="Cyprien ARETHUSE" userId="abd46b16-7bf0-4c01-a850-92fb83f61f27" providerId="ADAL" clId="{067C7D3F-9573-4B1A-A9B0-3005DA5BAAAF}" dt="2024-02-01T16:37:28.722" v="14741" actId="167"/>
          <ac:spMkLst>
            <pc:docMk/>
            <pc:sldMk cId="4008919750" sldId="2147482372"/>
            <ac:spMk id="58" creationId="{174C39E5-F299-2458-C395-5EB028F52414}"/>
          </ac:spMkLst>
        </pc:spChg>
        <pc:spChg chg="add mod ord">
          <ac:chgData name="Cyprien ARETHUSE" userId="abd46b16-7bf0-4c01-a850-92fb83f61f27" providerId="ADAL" clId="{067C7D3F-9573-4B1A-A9B0-3005DA5BAAAF}" dt="2024-02-01T16:37:55.608" v="14748" actId="14100"/>
          <ac:spMkLst>
            <pc:docMk/>
            <pc:sldMk cId="4008919750" sldId="2147482372"/>
            <ac:spMk id="59" creationId="{17076793-E222-76EF-D763-AE95ABD6C15F}"/>
          </ac:spMkLst>
        </pc:spChg>
        <pc:spChg chg="add mod">
          <ac:chgData name="Cyprien ARETHUSE" userId="abd46b16-7bf0-4c01-a850-92fb83f61f27" providerId="ADAL" clId="{067C7D3F-9573-4B1A-A9B0-3005DA5BAAAF}" dt="2024-02-01T16:58:30.614" v="15225"/>
          <ac:spMkLst>
            <pc:docMk/>
            <pc:sldMk cId="4008919750" sldId="2147482372"/>
            <ac:spMk id="60" creationId="{0F34A009-20AA-4450-9B23-AD7BF9E86FBC}"/>
          </ac:spMkLst>
        </pc:spChg>
        <pc:spChg chg="add mod">
          <ac:chgData name="Cyprien ARETHUSE" userId="abd46b16-7bf0-4c01-a850-92fb83f61f27" providerId="ADAL" clId="{067C7D3F-9573-4B1A-A9B0-3005DA5BAAAF}" dt="2024-02-01T16:58:30.614" v="15225"/>
          <ac:spMkLst>
            <pc:docMk/>
            <pc:sldMk cId="4008919750" sldId="2147482372"/>
            <ac:spMk id="61" creationId="{F41C7F12-C20C-4FCE-31ED-7C0555BCCE9E}"/>
          </ac:spMkLst>
        </pc:spChg>
        <pc:picChg chg="mod">
          <ac:chgData name="Cyprien ARETHUSE" userId="abd46b16-7bf0-4c01-a850-92fb83f61f27" providerId="ADAL" clId="{067C7D3F-9573-4B1A-A9B0-3005DA5BAAAF}" dt="2024-02-01T16:32:31.639" v="14731" actId="1035"/>
          <ac:picMkLst>
            <pc:docMk/>
            <pc:sldMk cId="4008919750" sldId="2147482372"/>
            <ac:picMk id="7" creationId="{6E64AAC8-2A8E-9C54-D4FE-49A5E2BF6DC3}"/>
          </ac:picMkLst>
        </pc:picChg>
        <pc:picChg chg="mod">
          <ac:chgData name="Cyprien ARETHUSE" userId="abd46b16-7bf0-4c01-a850-92fb83f61f27" providerId="ADAL" clId="{067C7D3F-9573-4B1A-A9B0-3005DA5BAAAF}" dt="2024-02-01T16:30:17.115" v="14710" actId="12788"/>
          <ac:picMkLst>
            <pc:docMk/>
            <pc:sldMk cId="4008919750" sldId="2147482372"/>
            <ac:picMk id="20" creationId="{C1328683-4381-7CF7-5A0F-451F29C4E843}"/>
          </ac:picMkLst>
        </pc:picChg>
        <pc:picChg chg="mod">
          <ac:chgData name="Cyprien ARETHUSE" userId="abd46b16-7bf0-4c01-a850-92fb83f61f27" providerId="ADAL" clId="{067C7D3F-9573-4B1A-A9B0-3005DA5BAAAF}" dt="2024-02-01T16:32:58.581" v="14733" actId="555"/>
          <ac:picMkLst>
            <pc:docMk/>
            <pc:sldMk cId="4008919750" sldId="2147482372"/>
            <ac:picMk id="32" creationId="{9012407F-3D40-0B09-C64C-37E364704C6A}"/>
          </ac:picMkLst>
        </pc:picChg>
        <pc:picChg chg="mod">
          <ac:chgData name="Cyprien ARETHUSE" userId="abd46b16-7bf0-4c01-a850-92fb83f61f27" providerId="ADAL" clId="{067C7D3F-9573-4B1A-A9B0-3005DA5BAAAF}" dt="2024-02-01T16:30:06.773" v="14708" actId="554"/>
          <ac:picMkLst>
            <pc:docMk/>
            <pc:sldMk cId="4008919750" sldId="2147482372"/>
            <ac:picMk id="33" creationId="{106B1BA6-44FA-E08E-088E-711FA4ADD58C}"/>
          </ac:picMkLst>
        </pc:picChg>
        <pc:picChg chg="mod">
          <ac:chgData name="Cyprien ARETHUSE" userId="abd46b16-7bf0-4c01-a850-92fb83f61f27" providerId="ADAL" clId="{067C7D3F-9573-4B1A-A9B0-3005DA5BAAAF}" dt="2024-02-01T16:30:06.773" v="14708" actId="554"/>
          <ac:picMkLst>
            <pc:docMk/>
            <pc:sldMk cId="4008919750" sldId="2147482372"/>
            <ac:picMk id="39" creationId="{B2C3E833-A66E-6D6B-C231-F826ABED39F7}"/>
          </ac:picMkLst>
        </pc:picChg>
        <pc:picChg chg="mod">
          <ac:chgData name="Cyprien ARETHUSE" userId="abd46b16-7bf0-4c01-a850-92fb83f61f27" providerId="ADAL" clId="{067C7D3F-9573-4B1A-A9B0-3005DA5BAAAF}" dt="2024-02-01T16:29:54.771" v="14705" actId="554"/>
          <ac:picMkLst>
            <pc:docMk/>
            <pc:sldMk cId="4008919750" sldId="2147482372"/>
            <ac:picMk id="49" creationId="{65822E50-F78B-50A4-79B4-D95E34C304BB}"/>
          </ac:picMkLst>
        </pc:picChg>
        <pc:picChg chg="mod">
          <ac:chgData name="Cyprien ARETHUSE" userId="abd46b16-7bf0-4c01-a850-92fb83f61f27" providerId="ADAL" clId="{067C7D3F-9573-4B1A-A9B0-3005DA5BAAAF}" dt="2024-02-01T16:29:54.771" v="14705" actId="554"/>
          <ac:picMkLst>
            <pc:docMk/>
            <pc:sldMk cId="4008919750" sldId="2147482372"/>
            <ac:picMk id="50" creationId="{96AEEA87-3DA4-911F-0E00-00AA661DD8AD}"/>
          </ac:picMkLst>
        </pc:picChg>
        <pc:picChg chg="add mod">
          <ac:chgData name="Cyprien ARETHUSE" userId="abd46b16-7bf0-4c01-a850-92fb83f61f27" providerId="ADAL" clId="{067C7D3F-9573-4B1A-A9B0-3005DA5BAAAF}" dt="2024-02-01T16:32:58.581" v="14733" actId="555"/>
          <ac:picMkLst>
            <pc:docMk/>
            <pc:sldMk cId="4008919750" sldId="2147482372"/>
            <ac:picMk id="57" creationId="{C0FFEAAB-EFF8-DB63-5126-E82FF74159CD}"/>
          </ac:picMkLst>
        </pc:picChg>
        <pc:cxnChg chg="mod">
          <ac:chgData name="Cyprien ARETHUSE" userId="abd46b16-7bf0-4c01-a850-92fb83f61f27" providerId="ADAL" clId="{067C7D3F-9573-4B1A-A9B0-3005DA5BAAAF}" dt="2024-02-01T16:32:31.639" v="14731" actId="1035"/>
          <ac:cxnSpMkLst>
            <pc:docMk/>
            <pc:sldMk cId="4008919750" sldId="2147482372"/>
            <ac:cxnSpMk id="11" creationId="{6F8DEDF9-BA50-6DCA-460A-2C7082FB7949}"/>
          </ac:cxnSpMkLst>
        </pc:cxnChg>
        <pc:cxnChg chg="add mod">
          <ac:chgData name="Cyprien ARETHUSE" userId="abd46b16-7bf0-4c01-a850-92fb83f61f27" providerId="ADAL" clId="{067C7D3F-9573-4B1A-A9B0-3005DA5BAAAF}" dt="2024-02-01T16:32:16.316" v="14723"/>
          <ac:cxnSpMkLst>
            <pc:docMk/>
            <pc:sldMk cId="4008919750" sldId="2147482372"/>
            <ac:cxnSpMk id="41" creationId="{823CAED0-F74F-3DEA-E077-963F28488CDB}"/>
          </ac:cxnSpMkLst>
        </pc:cxnChg>
        <pc:cxnChg chg="add mod">
          <ac:chgData name="Cyprien ARETHUSE" userId="abd46b16-7bf0-4c01-a850-92fb83f61f27" providerId="ADAL" clId="{067C7D3F-9573-4B1A-A9B0-3005DA5BAAAF}" dt="2024-02-01T16:32:16.316" v="14723"/>
          <ac:cxnSpMkLst>
            <pc:docMk/>
            <pc:sldMk cId="4008919750" sldId="2147482372"/>
            <ac:cxnSpMk id="42" creationId="{115E1B94-588A-87F5-EACA-DBA58034B50C}"/>
          </ac:cxnSpMkLst>
        </pc:cxnChg>
        <pc:cxnChg chg="add mod">
          <ac:chgData name="Cyprien ARETHUSE" userId="abd46b16-7bf0-4c01-a850-92fb83f61f27" providerId="ADAL" clId="{067C7D3F-9573-4B1A-A9B0-3005DA5BAAAF}" dt="2024-02-01T16:32:16.316" v="14723"/>
          <ac:cxnSpMkLst>
            <pc:docMk/>
            <pc:sldMk cId="4008919750" sldId="2147482372"/>
            <ac:cxnSpMk id="46" creationId="{07FA6F2B-E1F5-99B3-CF6B-0BAF5AA6E11D}"/>
          </ac:cxnSpMkLst>
        </pc:cxnChg>
        <pc:cxnChg chg="del">
          <ac:chgData name="Cyprien ARETHUSE" userId="abd46b16-7bf0-4c01-a850-92fb83f61f27" providerId="ADAL" clId="{067C7D3F-9573-4B1A-A9B0-3005DA5BAAAF}" dt="2024-02-01T16:32:15.795" v="14722" actId="478"/>
          <ac:cxnSpMkLst>
            <pc:docMk/>
            <pc:sldMk cId="4008919750" sldId="2147482372"/>
            <ac:cxnSpMk id="47" creationId="{2F252450-8C69-8916-A173-7181E3832C56}"/>
          </ac:cxnSpMkLst>
        </pc:cxnChg>
        <pc:cxnChg chg="del">
          <ac:chgData name="Cyprien ARETHUSE" userId="abd46b16-7bf0-4c01-a850-92fb83f61f27" providerId="ADAL" clId="{067C7D3F-9573-4B1A-A9B0-3005DA5BAAAF}" dt="2024-02-01T16:32:15.795" v="14722" actId="478"/>
          <ac:cxnSpMkLst>
            <pc:docMk/>
            <pc:sldMk cId="4008919750" sldId="2147482372"/>
            <ac:cxnSpMk id="48" creationId="{2EF13003-8513-B02D-07C1-43F62BDDB7CF}"/>
          </ac:cxnSpMkLst>
        </pc:cxnChg>
        <pc:cxnChg chg="add mod">
          <ac:chgData name="Cyprien ARETHUSE" userId="abd46b16-7bf0-4c01-a850-92fb83f61f27" providerId="ADAL" clId="{067C7D3F-9573-4B1A-A9B0-3005DA5BAAAF}" dt="2024-02-01T16:32:16.316" v="14723"/>
          <ac:cxnSpMkLst>
            <pc:docMk/>
            <pc:sldMk cId="4008919750" sldId="2147482372"/>
            <ac:cxnSpMk id="52" creationId="{DFB9446C-7F32-F397-6B4F-19A9CEDAA82D}"/>
          </ac:cxnSpMkLst>
        </pc:cxnChg>
        <pc:cxnChg chg="add mod">
          <ac:chgData name="Cyprien ARETHUSE" userId="abd46b16-7bf0-4c01-a850-92fb83f61f27" providerId="ADAL" clId="{067C7D3F-9573-4B1A-A9B0-3005DA5BAAAF}" dt="2024-02-01T16:32:16.316" v="14723"/>
          <ac:cxnSpMkLst>
            <pc:docMk/>
            <pc:sldMk cId="4008919750" sldId="2147482372"/>
            <ac:cxnSpMk id="55" creationId="{5F69C7FD-C1C1-FAEC-0609-DC9C4D1426AC}"/>
          </ac:cxnSpMkLst>
        </pc:cxnChg>
        <pc:cxnChg chg="del">
          <ac:chgData name="Cyprien ARETHUSE" userId="abd46b16-7bf0-4c01-a850-92fb83f61f27" providerId="ADAL" clId="{067C7D3F-9573-4B1A-A9B0-3005DA5BAAAF}" dt="2024-02-01T16:32:15.795" v="14722" actId="478"/>
          <ac:cxnSpMkLst>
            <pc:docMk/>
            <pc:sldMk cId="4008919750" sldId="2147482372"/>
            <ac:cxnSpMk id="3138" creationId="{29C282E9-E9AB-EE22-0E6F-5F89AE03F2DD}"/>
          </ac:cxnSpMkLst>
        </pc:cxnChg>
        <pc:cxnChg chg="del">
          <ac:chgData name="Cyprien ARETHUSE" userId="abd46b16-7bf0-4c01-a850-92fb83f61f27" providerId="ADAL" clId="{067C7D3F-9573-4B1A-A9B0-3005DA5BAAAF}" dt="2024-02-01T16:32:15.795" v="14722" actId="478"/>
          <ac:cxnSpMkLst>
            <pc:docMk/>
            <pc:sldMk cId="4008919750" sldId="2147482372"/>
            <ac:cxnSpMk id="3139" creationId="{1127FBA1-A6AB-3CE3-93BE-F865F8E8C373}"/>
          </ac:cxnSpMkLst>
        </pc:cxnChg>
        <pc:cxnChg chg="del">
          <ac:chgData name="Cyprien ARETHUSE" userId="abd46b16-7bf0-4c01-a850-92fb83f61f27" providerId="ADAL" clId="{067C7D3F-9573-4B1A-A9B0-3005DA5BAAAF}" dt="2024-02-01T16:32:15.795" v="14722" actId="478"/>
          <ac:cxnSpMkLst>
            <pc:docMk/>
            <pc:sldMk cId="4008919750" sldId="2147482372"/>
            <ac:cxnSpMk id="3140" creationId="{347A4031-348F-8878-9B9A-2392ED682CF4}"/>
          </ac:cxnSpMkLst>
        </pc:cxnChg>
      </pc:sldChg>
      <pc:sldChg chg="del">
        <pc:chgData name="Cyprien ARETHUSE" userId="abd46b16-7bf0-4c01-a850-92fb83f61f27" providerId="ADAL" clId="{067C7D3F-9573-4B1A-A9B0-3005DA5BAAAF}" dt="2024-02-02T17:02:42.816" v="19520" actId="47"/>
        <pc:sldMkLst>
          <pc:docMk/>
          <pc:sldMk cId="4267293785" sldId="2147482372"/>
        </pc:sldMkLst>
      </pc:sldChg>
      <pc:sldChg chg="modSp mod">
        <pc:chgData name="Cyprien ARETHUSE" userId="abd46b16-7bf0-4c01-a850-92fb83f61f27" providerId="ADAL" clId="{067C7D3F-9573-4B1A-A9B0-3005DA5BAAAF}" dt="2024-02-14T14:28:38.213" v="19550" actId="1038"/>
        <pc:sldMkLst>
          <pc:docMk/>
          <pc:sldMk cId="536151402" sldId="2147482373"/>
        </pc:sldMkLst>
        <pc:spChg chg="mod">
          <ac:chgData name="Cyprien ARETHUSE" userId="abd46b16-7bf0-4c01-a850-92fb83f61f27" providerId="ADAL" clId="{067C7D3F-9573-4B1A-A9B0-3005DA5BAAAF}" dt="2024-02-14T14:28:38.213" v="19550" actId="1038"/>
          <ac:spMkLst>
            <pc:docMk/>
            <pc:sldMk cId="536151402" sldId="2147482373"/>
            <ac:spMk id="10" creationId="{54FC56AC-1FF0-C4D4-72B4-651C935AE403}"/>
          </ac:spMkLst>
        </pc:spChg>
        <pc:grpChg chg="mod">
          <ac:chgData name="Cyprien ARETHUSE" userId="abd46b16-7bf0-4c01-a850-92fb83f61f27" providerId="ADAL" clId="{067C7D3F-9573-4B1A-A9B0-3005DA5BAAAF}" dt="2024-02-14T14:24:41.380" v="19539" actId="1038"/>
          <ac:grpSpMkLst>
            <pc:docMk/>
            <pc:sldMk cId="536151402" sldId="2147482373"/>
            <ac:grpSpMk id="15" creationId="{D734F4F3-96DD-DC54-21AD-95ECAC437243}"/>
          </ac:grpSpMkLst>
        </pc:grpChg>
        <pc:grpChg chg="mod">
          <ac:chgData name="Cyprien ARETHUSE" userId="abd46b16-7bf0-4c01-a850-92fb83f61f27" providerId="ADAL" clId="{067C7D3F-9573-4B1A-A9B0-3005DA5BAAAF}" dt="2024-02-14T14:24:41.380" v="19539" actId="1038"/>
          <ac:grpSpMkLst>
            <pc:docMk/>
            <pc:sldMk cId="536151402" sldId="2147482373"/>
            <ac:grpSpMk id="16" creationId="{7F34555F-33FA-DAF1-7B0B-60BAE657BE21}"/>
          </ac:grpSpMkLst>
        </pc:grpChg>
        <pc:grpChg chg="mod">
          <ac:chgData name="Cyprien ARETHUSE" userId="abd46b16-7bf0-4c01-a850-92fb83f61f27" providerId="ADAL" clId="{067C7D3F-9573-4B1A-A9B0-3005DA5BAAAF}" dt="2024-02-14T14:24:41.380" v="19539" actId="1038"/>
          <ac:grpSpMkLst>
            <pc:docMk/>
            <pc:sldMk cId="536151402" sldId="2147482373"/>
            <ac:grpSpMk id="17" creationId="{D7B6A102-985A-B7E6-04A0-00C07736553D}"/>
          </ac:grpSpMkLst>
        </pc:grpChg>
        <pc:picChg chg="mod">
          <ac:chgData name="Cyprien ARETHUSE" userId="abd46b16-7bf0-4c01-a850-92fb83f61f27" providerId="ADAL" clId="{067C7D3F-9573-4B1A-A9B0-3005DA5BAAAF}" dt="2024-02-14T14:28:38.213" v="19550" actId="1038"/>
          <ac:picMkLst>
            <pc:docMk/>
            <pc:sldMk cId="536151402" sldId="2147482373"/>
            <ac:picMk id="20" creationId="{E179D7C6-65B7-B4E9-2803-E5D0CA1D6E11}"/>
          </ac:picMkLst>
        </pc:picChg>
      </pc:sldChg>
      <pc:sldChg chg="del">
        <pc:chgData name="Cyprien ARETHUSE" userId="abd46b16-7bf0-4c01-a850-92fb83f61f27" providerId="ADAL" clId="{067C7D3F-9573-4B1A-A9B0-3005DA5BAAAF}" dt="2024-02-02T17:02:42.816" v="19520" actId="47"/>
        <pc:sldMkLst>
          <pc:docMk/>
          <pc:sldMk cId="2671166103" sldId="2147482374"/>
        </pc:sldMkLst>
      </pc:sldChg>
      <pc:sldChg chg="addSp delSp modSp mod">
        <pc:chgData name="Cyprien ARETHUSE" userId="abd46b16-7bf0-4c01-a850-92fb83f61f27" providerId="ADAL" clId="{067C7D3F-9573-4B1A-A9B0-3005DA5BAAAF}" dt="2024-02-14T12:40:26.802" v="19528" actId="1076"/>
        <pc:sldMkLst>
          <pc:docMk/>
          <pc:sldMk cId="3722675707" sldId="2147482376"/>
        </pc:sldMkLst>
        <pc:picChg chg="add mod">
          <ac:chgData name="Cyprien ARETHUSE" userId="abd46b16-7bf0-4c01-a850-92fb83f61f27" providerId="ADAL" clId="{067C7D3F-9573-4B1A-A9B0-3005DA5BAAAF}" dt="2024-02-14T12:40:26.802" v="19528" actId="1076"/>
          <ac:picMkLst>
            <pc:docMk/>
            <pc:sldMk cId="3722675707" sldId="2147482376"/>
            <ac:picMk id="4" creationId="{E1C5C347-50EE-01A5-8606-258A0340C5A2}"/>
          </ac:picMkLst>
        </pc:picChg>
        <pc:picChg chg="del">
          <ac:chgData name="Cyprien ARETHUSE" userId="abd46b16-7bf0-4c01-a850-92fb83f61f27" providerId="ADAL" clId="{067C7D3F-9573-4B1A-A9B0-3005DA5BAAAF}" dt="2024-02-14T12:40:13.397" v="19521" actId="478"/>
          <ac:picMkLst>
            <pc:docMk/>
            <pc:sldMk cId="3722675707" sldId="2147482376"/>
            <ac:picMk id="154" creationId="{89FF0C5A-BD5F-16B5-93AF-03E229AC1CF1}"/>
          </ac:picMkLst>
        </pc:picChg>
      </pc:sldChg>
      <pc:sldChg chg="del">
        <pc:chgData name="Cyprien ARETHUSE" userId="abd46b16-7bf0-4c01-a850-92fb83f61f27" providerId="ADAL" clId="{067C7D3F-9573-4B1A-A9B0-3005DA5BAAAF}" dt="2024-02-02T17:02:42.816" v="19520" actId="47"/>
        <pc:sldMkLst>
          <pc:docMk/>
          <pc:sldMk cId="1084704492" sldId="2147482378"/>
        </pc:sldMkLst>
      </pc:sldChg>
      <pc:sldChg chg="del">
        <pc:chgData name="Cyprien ARETHUSE" userId="abd46b16-7bf0-4c01-a850-92fb83f61f27" providerId="ADAL" clId="{067C7D3F-9573-4B1A-A9B0-3005DA5BAAAF}" dt="2024-02-02T17:02:42.816" v="19520" actId="47"/>
        <pc:sldMkLst>
          <pc:docMk/>
          <pc:sldMk cId="3741438624" sldId="2147482379"/>
        </pc:sldMkLst>
      </pc:sldChg>
      <pc:sldChg chg="del">
        <pc:chgData name="Cyprien ARETHUSE" userId="abd46b16-7bf0-4c01-a850-92fb83f61f27" providerId="ADAL" clId="{067C7D3F-9573-4B1A-A9B0-3005DA5BAAAF}" dt="2024-02-02T17:02:42.816" v="19520" actId="47"/>
        <pc:sldMkLst>
          <pc:docMk/>
          <pc:sldMk cId="3284455612" sldId="2147482381"/>
        </pc:sldMkLst>
      </pc:sldChg>
      <pc:sldChg chg="del">
        <pc:chgData name="Cyprien ARETHUSE" userId="abd46b16-7bf0-4c01-a850-92fb83f61f27" providerId="ADAL" clId="{067C7D3F-9573-4B1A-A9B0-3005DA5BAAAF}" dt="2024-02-02T17:02:42.816" v="19520" actId="47"/>
        <pc:sldMkLst>
          <pc:docMk/>
          <pc:sldMk cId="2011007016" sldId="2147482382"/>
        </pc:sldMkLst>
      </pc:sldChg>
      <pc:sldChg chg="del">
        <pc:chgData name="Cyprien ARETHUSE" userId="abd46b16-7bf0-4c01-a850-92fb83f61f27" providerId="ADAL" clId="{067C7D3F-9573-4B1A-A9B0-3005DA5BAAAF}" dt="2024-02-02T17:02:42.816" v="19520" actId="47"/>
        <pc:sldMkLst>
          <pc:docMk/>
          <pc:sldMk cId="2691653681" sldId="2147482383"/>
        </pc:sldMkLst>
      </pc:sldChg>
      <pc:sldChg chg="del">
        <pc:chgData name="Cyprien ARETHUSE" userId="abd46b16-7bf0-4c01-a850-92fb83f61f27" providerId="ADAL" clId="{067C7D3F-9573-4B1A-A9B0-3005DA5BAAAF}" dt="2024-02-02T17:02:42.816" v="19520" actId="47"/>
        <pc:sldMkLst>
          <pc:docMk/>
          <pc:sldMk cId="3497514719" sldId="2147482384"/>
        </pc:sldMkLst>
      </pc:sldChg>
      <pc:sldChg chg="addSp modSp mod">
        <pc:chgData name="Cyprien ARETHUSE" userId="abd46b16-7bf0-4c01-a850-92fb83f61f27" providerId="ADAL" clId="{067C7D3F-9573-4B1A-A9B0-3005DA5BAAAF}" dt="2024-02-02T15:32:07.580" v="18844" actId="12788"/>
        <pc:sldMkLst>
          <pc:docMk/>
          <pc:sldMk cId="1396490910" sldId="2147482385"/>
        </pc:sldMkLst>
        <pc:spChg chg="mod">
          <ac:chgData name="Cyprien ARETHUSE" userId="abd46b16-7bf0-4c01-a850-92fb83f61f27" providerId="ADAL" clId="{067C7D3F-9573-4B1A-A9B0-3005DA5BAAAF}" dt="2024-02-02T14:16:53.716" v="16614" actId="404"/>
          <ac:spMkLst>
            <pc:docMk/>
            <pc:sldMk cId="1396490910" sldId="2147482385"/>
            <ac:spMk id="2" creationId="{B1FEC22B-43DA-180B-BF7E-55151744CFC3}"/>
          </ac:spMkLst>
        </pc:spChg>
        <pc:graphicFrameChg chg="mod modGraphic">
          <ac:chgData name="Cyprien ARETHUSE" userId="abd46b16-7bf0-4c01-a850-92fb83f61f27" providerId="ADAL" clId="{067C7D3F-9573-4B1A-A9B0-3005DA5BAAAF}" dt="2024-02-02T14:43:18.153" v="17929" actId="403"/>
          <ac:graphicFrameMkLst>
            <pc:docMk/>
            <pc:sldMk cId="1396490910" sldId="2147482385"/>
            <ac:graphicFrameMk id="3" creationId="{F270CDAA-BAAA-2937-85E8-1589C26B8BBC}"/>
          </ac:graphicFrameMkLst>
        </pc:graphicFrameChg>
        <pc:picChg chg="add mod">
          <ac:chgData name="Cyprien ARETHUSE" userId="abd46b16-7bf0-4c01-a850-92fb83f61f27" providerId="ADAL" clId="{067C7D3F-9573-4B1A-A9B0-3005DA5BAAAF}" dt="2024-02-02T12:58:25.571" v="16171"/>
          <ac:picMkLst>
            <pc:docMk/>
            <pc:sldMk cId="1396490910" sldId="2147482385"/>
            <ac:picMk id="5" creationId="{EB53D56E-B654-AC1A-85D0-605D5DD25538}"/>
          </ac:picMkLst>
        </pc:picChg>
        <pc:picChg chg="mod">
          <ac:chgData name="Cyprien ARETHUSE" userId="abd46b16-7bf0-4c01-a850-92fb83f61f27" providerId="ADAL" clId="{067C7D3F-9573-4B1A-A9B0-3005DA5BAAAF}" dt="2024-02-02T14:43:35.598" v="17946" actId="1036"/>
          <ac:picMkLst>
            <pc:docMk/>
            <pc:sldMk cId="1396490910" sldId="2147482385"/>
            <ac:picMk id="7" creationId="{09055014-15B6-1F81-E3EA-02AA879C7CA0}"/>
          </ac:picMkLst>
        </pc:picChg>
        <pc:picChg chg="mod">
          <ac:chgData name="Cyprien ARETHUSE" userId="abd46b16-7bf0-4c01-a850-92fb83f61f27" providerId="ADAL" clId="{067C7D3F-9573-4B1A-A9B0-3005DA5BAAAF}" dt="2024-02-02T14:43:41.094" v="17967" actId="1036"/>
          <ac:picMkLst>
            <pc:docMk/>
            <pc:sldMk cId="1396490910" sldId="2147482385"/>
            <ac:picMk id="13" creationId="{2A2AD6C3-70B1-D353-1BFE-DEA6F810BB96}"/>
          </ac:picMkLst>
        </pc:picChg>
        <pc:picChg chg="mod">
          <ac:chgData name="Cyprien ARETHUSE" userId="abd46b16-7bf0-4c01-a850-92fb83f61f27" providerId="ADAL" clId="{067C7D3F-9573-4B1A-A9B0-3005DA5BAAAF}" dt="2024-02-02T14:43:41.094" v="17967" actId="1036"/>
          <ac:picMkLst>
            <pc:docMk/>
            <pc:sldMk cId="1396490910" sldId="2147482385"/>
            <ac:picMk id="14" creationId="{4B400E2C-CED6-AFD9-1CF6-0407CB3C08EF}"/>
          </ac:picMkLst>
        </pc:picChg>
        <pc:picChg chg="mod">
          <ac:chgData name="Cyprien ARETHUSE" userId="abd46b16-7bf0-4c01-a850-92fb83f61f27" providerId="ADAL" clId="{067C7D3F-9573-4B1A-A9B0-3005DA5BAAAF}" dt="2024-02-02T15:32:07.580" v="18844" actId="12788"/>
          <ac:picMkLst>
            <pc:docMk/>
            <pc:sldMk cId="1396490910" sldId="2147482385"/>
            <ac:picMk id="17" creationId="{E854BC60-6380-8EFB-C2EE-350976DC32CE}"/>
          </ac:picMkLst>
        </pc:picChg>
        <pc:picChg chg="mod">
          <ac:chgData name="Cyprien ARETHUSE" userId="abd46b16-7bf0-4c01-a850-92fb83f61f27" providerId="ADAL" clId="{067C7D3F-9573-4B1A-A9B0-3005DA5BAAAF}" dt="2024-02-02T15:32:07.580" v="18844" actId="12788"/>
          <ac:picMkLst>
            <pc:docMk/>
            <pc:sldMk cId="1396490910" sldId="2147482385"/>
            <ac:picMk id="18" creationId="{F326AE16-7771-1E62-73F7-CF08441B8FDA}"/>
          </ac:picMkLst>
        </pc:picChg>
        <pc:picChg chg="mod">
          <ac:chgData name="Cyprien ARETHUSE" userId="abd46b16-7bf0-4c01-a850-92fb83f61f27" providerId="ADAL" clId="{067C7D3F-9573-4B1A-A9B0-3005DA5BAAAF}" dt="2024-02-02T14:43:29.139" v="17939" actId="1036"/>
          <ac:picMkLst>
            <pc:docMk/>
            <pc:sldMk cId="1396490910" sldId="2147482385"/>
            <ac:picMk id="20" creationId="{0D944784-2072-3129-1BB7-E594FAD09AF6}"/>
          </ac:picMkLst>
        </pc:picChg>
        <pc:picChg chg="mod">
          <ac:chgData name="Cyprien ARETHUSE" userId="abd46b16-7bf0-4c01-a850-92fb83f61f27" providerId="ADAL" clId="{067C7D3F-9573-4B1A-A9B0-3005DA5BAAAF}" dt="2024-02-02T14:43:29.139" v="17939" actId="1036"/>
          <ac:picMkLst>
            <pc:docMk/>
            <pc:sldMk cId="1396490910" sldId="2147482385"/>
            <ac:picMk id="21" creationId="{30921F61-1B29-F571-1AF3-D693D0B6B859}"/>
          </ac:picMkLst>
        </pc:picChg>
        <pc:picChg chg="mod">
          <ac:chgData name="Cyprien ARETHUSE" userId="abd46b16-7bf0-4c01-a850-92fb83f61f27" providerId="ADAL" clId="{067C7D3F-9573-4B1A-A9B0-3005DA5BAAAF}" dt="2024-02-02T15:32:07.580" v="18844" actId="12788"/>
          <ac:picMkLst>
            <pc:docMk/>
            <pc:sldMk cId="1396490910" sldId="2147482385"/>
            <ac:picMk id="22" creationId="{F6954DC8-F37D-61E8-5DA6-E80A8F6BE7A5}"/>
          </ac:picMkLst>
        </pc:picChg>
        <pc:picChg chg="mod">
          <ac:chgData name="Cyprien ARETHUSE" userId="abd46b16-7bf0-4c01-a850-92fb83f61f27" providerId="ADAL" clId="{067C7D3F-9573-4B1A-A9B0-3005DA5BAAAF}" dt="2024-02-02T15:32:07.580" v="18844" actId="12788"/>
          <ac:picMkLst>
            <pc:docMk/>
            <pc:sldMk cId="1396490910" sldId="2147482385"/>
            <ac:picMk id="23" creationId="{0295FF68-277F-C48B-D269-CD66275B2200}"/>
          </ac:picMkLst>
        </pc:picChg>
        <pc:picChg chg="mod">
          <ac:chgData name="Cyprien ARETHUSE" userId="abd46b16-7bf0-4c01-a850-92fb83f61f27" providerId="ADAL" clId="{067C7D3F-9573-4B1A-A9B0-3005DA5BAAAF}" dt="2024-02-02T15:32:07.580" v="18844" actId="12788"/>
          <ac:picMkLst>
            <pc:docMk/>
            <pc:sldMk cId="1396490910" sldId="2147482385"/>
            <ac:picMk id="24" creationId="{F4A54EF9-9ECD-847F-F010-2959F2111BD7}"/>
          </ac:picMkLst>
        </pc:picChg>
        <pc:picChg chg="mod">
          <ac:chgData name="Cyprien ARETHUSE" userId="abd46b16-7bf0-4c01-a850-92fb83f61f27" providerId="ADAL" clId="{067C7D3F-9573-4B1A-A9B0-3005DA5BAAAF}" dt="2024-02-02T15:32:07.580" v="18844" actId="12788"/>
          <ac:picMkLst>
            <pc:docMk/>
            <pc:sldMk cId="1396490910" sldId="2147482385"/>
            <ac:picMk id="25" creationId="{4E19B4D2-56B4-A5A3-828F-6E5C2710E6E8}"/>
          </ac:picMkLst>
        </pc:picChg>
        <pc:picChg chg="mod">
          <ac:chgData name="Cyprien ARETHUSE" userId="abd46b16-7bf0-4c01-a850-92fb83f61f27" providerId="ADAL" clId="{067C7D3F-9573-4B1A-A9B0-3005DA5BAAAF}" dt="2024-02-02T15:32:07.580" v="18844" actId="12788"/>
          <ac:picMkLst>
            <pc:docMk/>
            <pc:sldMk cId="1396490910" sldId="2147482385"/>
            <ac:picMk id="26" creationId="{DC24E0E7-8569-BCA4-4275-DD0011D50619}"/>
          </ac:picMkLst>
        </pc:picChg>
      </pc:sldChg>
      <pc:sldChg chg="del">
        <pc:chgData name="Cyprien ARETHUSE" userId="abd46b16-7bf0-4c01-a850-92fb83f61f27" providerId="ADAL" clId="{067C7D3F-9573-4B1A-A9B0-3005DA5BAAAF}" dt="2024-02-02T17:02:42.816" v="19520" actId="47"/>
        <pc:sldMkLst>
          <pc:docMk/>
          <pc:sldMk cId="3803582852" sldId="2147482386"/>
        </pc:sldMkLst>
      </pc:sldChg>
      <pc:sldChg chg="addSp delSp modSp mod ord">
        <pc:chgData name="Cyprien ARETHUSE" userId="abd46b16-7bf0-4c01-a850-92fb83f61f27" providerId="ADAL" clId="{067C7D3F-9573-4B1A-A9B0-3005DA5BAAAF}" dt="2024-02-02T16:52:52.930" v="19499" actId="478"/>
        <pc:sldMkLst>
          <pc:docMk/>
          <pc:sldMk cId="1842583434" sldId="2147482388"/>
        </pc:sldMkLst>
        <pc:spChg chg="mod">
          <ac:chgData name="Cyprien ARETHUSE" userId="abd46b16-7bf0-4c01-a850-92fb83f61f27" providerId="ADAL" clId="{067C7D3F-9573-4B1A-A9B0-3005DA5BAAAF}" dt="2024-02-02T15:44:39.424" v="18927" actId="20577"/>
          <ac:spMkLst>
            <pc:docMk/>
            <pc:sldMk cId="1842583434" sldId="2147482388"/>
            <ac:spMk id="2" creationId="{AFEE6C69-7897-49F0-7AEF-DEC38AEB483B}"/>
          </ac:spMkLst>
        </pc:spChg>
        <pc:spChg chg="mod">
          <ac:chgData name="Cyprien ARETHUSE" userId="abd46b16-7bf0-4c01-a850-92fb83f61f27" providerId="ADAL" clId="{067C7D3F-9573-4B1A-A9B0-3005DA5BAAAF}" dt="2024-02-02T16:52:12.498" v="19493" actId="20577"/>
          <ac:spMkLst>
            <pc:docMk/>
            <pc:sldMk cId="1842583434" sldId="2147482388"/>
            <ac:spMk id="3" creationId="{FC466FF3-69E1-489D-8492-1C11425BD16C}"/>
          </ac:spMkLst>
        </pc:spChg>
        <pc:spChg chg="add mod">
          <ac:chgData name="Cyprien ARETHUSE" userId="abd46b16-7bf0-4c01-a850-92fb83f61f27" providerId="ADAL" clId="{067C7D3F-9573-4B1A-A9B0-3005DA5BAAAF}" dt="2024-02-02T16:51:44.600" v="19489" actId="14100"/>
          <ac:spMkLst>
            <pc:docMk/>
            <pc:sldMk cId="1842583434" sldId="2147482388"/>
            <ac:spMk id="11" creationId="{DCDF0A8D-27A4-0226-E8D8-8291B32C19B1}"/>
          </ac:spMkLst>
        </pc:spChg>
        <pc:spChg chg="add mod">
          <ac:chgData name="Cyprien ARETHUSE" userId="abd46b16-7bf0-4c01-a850-92fb83f61f27" providerId="ADAL" clId="{067C7D3F-9573-4B1A-A9B0-3005DA5BAAAF}" dt="2024-02-02T16:50:54.485" v="19439" actId="1037"/>
          <ac:spMkLst>
            <pc:docMk/>
            <pc:sldMk cId="1842583434" sldId="2147482388"/>
            <ac:spMk id="13" creationId="{5C8B8B7F-5EF0-C25A-3AEA-51EAD8B690F3}"/>
          </ac:spMkLst>
        </pc:spChg>
        <pc:spChg chg="add mod">
          <ac:chgData name="Cyprien ARETHUSE" userId="abd46b16-7bf0-4c01-a850-92fb83f61f27" providerId="ADAL" clId="{067C7D3F-9573-4B1A-A9B0-3005DA5BAAAF}" dt="2024-02-02T16:50:54.485" v="19439" actId="1037"/>
          <ac:spMkLst>
            <pc:docMk/>
            <pc:sldMk cId="1842583434" sldId="2147482388"/>
            <ac:spMk id="14" creationId="{B2F0F65E-19E5-DFF0-9820-698D5DD97F81}"/>
          </ac:spMkLst>
        </pc:spChg>
        <pc:spChg chg="add mod">
          <ac:chgData name="Cyprien ARETHUSE" userId="abd46b16-7bf0-4c01-a850-92fb83f61f27" providerId="ADAL" clId="{067C7D3F-9573-4B1A-A9B0-3005DA5BAAAF}" dt="2024-02-02T16:50:54.485" v="19439" actId="1037"/>
          <ac:spMkLst>
            <pc:docMk/>
            <pc:sldMk cId="1842583434" sldId="2147482388"/>
            <ac:spMk id="17" creationId="{28435EB3-3625-7431-2C91-1E7024A9F108}"/>
          </ac:spMkLst>
        </pc:spChg>
        <pc:spChg chg="add mod">
          <ac:chgData name="Cyprien ARETHUSE" userId="abd46b16-7bf0-4c01-a850-92fb83f61f27" providerId="ADAL" clId="{067C7D3F-9573-4B1A-A9B0-3005DA5BAAAF}" dt="2024-02-02T16:50:54.485" v="19439" actId="1037"/>
          <ac:spMkLst>
            <pc:docMk/>
            <pc:sldMk cId="1842583434" sldId="2147482388"/>
            <ac:spMk id="18" creationId="{12A62F87-3FCE-FDF4-A3E8-FD91D5B7B87D}"/>
          </ac:spMkLst>
        </pc:spChg>
        <pc:spChg chg="add mod">
          <ac:chgData name="Cyprien ARETHUSE" userId="abd46b16-7bf0-4c01-a850-92fb83f61f27" providerId="ADAL" clId="{067C7D3F-9573-4B1A-A9B0-3005DA5BAAAF}" dt="2024-02-02T16:51:05.435" v="19468" actId="1035"/>
          <ac:spMkLst>
            <pc:docMk/>
            <pc:sldMk cId="1842583434" sldId="2147482388"/>
            <ac:spMk id="21" creationId="{9610D408-93CA-AA6C-35AD-AC0384DA3081}"/>
          </ac:spMkLst>
        </pc:spChg>
        <pc:spChg chg="add mod">
          <ac:chgData name="Cyprien ARETHUSE" userId="abd46b16-7bf0-4c01-a850-92fb83f61f27" providerId="ADAL" clId="{067C7D3F-9573-4B1A-A9B0-3005DA5BAAAF}" dt="2024-02-02T16:51:05.435" v="19468" actId="1035"/>
          <ac:spMkLst>
            <pc:docMk/>
            <pc:sldMk cId="1842583434" sldId="2147482388"/>
            <ac:spMk id="22" creationId="{382CD4CF-97E3-13A8-131C-1C6742EFCF3D}"/>
          </ac:spMkLst>
        </pc:spChg>
        <pc:spChg chg="add mod">
          <ac:chgData name="Cyprien ARETHUSE" userId="abd46b16-7bf0-4c01-a850-92fb83f61f27" providerId="ADAL" clId="{067C7D3F-9573-4B1A-A9B0-3005DA5BAAAF}" dt="2024-02-02T16:51:01.951" v="19456" actId="1037"/>
          <ac:spMkLst>
            <pc:docMk/>
            <pc:sldMk cId="1842583434" sldId="2147482388"/>
            <ac:spMk id="25" creationId="{1E5915D7-C85D-823E-9883-4EFC981B52ED}"/>
          </ac:spMkLst>
        </pc:spChg>
        <pc:spChg chg="add mod">
          <ac:chgData name="Cyprien ARETHUSE" userId="abd46b16-7bf0-4c01-a850-92fb83f61f27" providerId="ADAL" clId="{067C7D3F-9573-4B1A-A9B0-3005DA5BAAAF}" dt="2024-02-02T16:51:01.951" v="19456" actId="1037"/>
          <ac:spMkLst>
            <pc:docMk/>
            <pc:sldMk cId="1842583434" sldId="2147482388"/>
            <ac:spMk id="26" creationId="{35DE9C13-A3CE-9245-B91B-BC10FBBE45FE}"/>
          </ac:spMkLst>
        </pc:spChg>
        <pc:graphicFrameChg chg="add del mod modGraphic">
          <ac:chgData name="Cyprien ARETHUSE" userId="abd46b16-7bf0-4c01-a850-92fb83f61f27" providerId="ADAL" clId="{067C7D3F-9573-4B1A-A9B0-3005DA5BAAAF}" dt="2024-02-02T16:52:18.147" v="19496" actId="20577"/>
          <ac:graphicFrameMkLst>
            <pc:docMk/>
            <pc:sldMk cId="1842583434" sldId="2147482388"/>
            <ac:graphicFrameMk id="5" creationId="{23C91FC6-AA19-F227-3A53-EB9801CD6640}"/>
          </ac:graphicFrameMkLst>
        </pc:graphicFrameChg>
        <pc:graphicFrameChg chg="add mod">
          <ac:chgData name="Cyprien ARETHUSE" userId="abd46b16-7bf0-4c01-a850-92fb83f61f27" providerId="ADAL" clId="{067C7D3F-9573-4B1A-A9B0-3005DA5BAAAF}" dt="2024-02-02T16:52:00.714" v="19490"/>
          <ac:graphicFrameMkLst>
            <pc:docMk/>
            <pc:sldMk cId="1842583434" sldId="2147482388"/>
            <ac:graphicFrameMk id="12" creationId="{0A45BEEE-9370-373D-E058-3DE30F8E79C9}"/>
          </ac:graphicFrameMkLst>
        </pc:graphicFrameChg>
        <pc:graphicFrameChg chg="mod modGraphic">
          <ac:chgData name="Cyprien ARETHUSE" userId="abd46b16-7bf0-4c01-a850-92fb83f61f27" providerId="ADAL" clId="{067C7D3F-9573-4B1A-A9B0-3005DA5BAAAF}" dt="2024-02-02T16:48:59.176" v="19328" actId="14100"/>
          <ac:graphicFrameMkLst>
            <pc:docMk/>
            <pc:sldMk cId="1842583434" sldId="2147482388"/>
            <ac:graphicFrameMk id="28" creationId="{325430F4-DFF6-4179-6403-420FC4DA74C7}"/>
          </ac:graphicFrameMkLst>
        </pc:graphicFrameChg>
        <pc:picChg chg="add mod">
          <ac:chgData name="Cyprien ARETHUSE" userId="abd46b16-7bf0-4c01-a850-92fb83f61f27" providerId="ADAL" clId="{067C7D3F-9573-4B1A-A9B0-3005DA5BAAAF}" dt="2024-02-02T16:50:54.485" v="19439" actId="1037"/>
          <ac:picMkLst>
            <pc:docMk/>
            <pc:sldMk cId="1842583434" sldId="2147482388"/>
            <ac:picMk id="4" creationId="{0B19BA0A-6576-915E-D6CE-F0377A4E907B}"/>
          </ac:picMkLst>
        </pc:picChg>
        <pc:picChg chg="add mod">
          <ac:chgData name="Cyprien ARETHUSE" userId="abd46b16-7bf0-4c01-a850-92fb83f61f27" providerId="ADAL" clId="{067C7D3F-9573-4B1A-A9B0-3005DA5BAAAF}" dt="2024-02-02T16:50:54.485" v="19439" actId="1037"/>
          <ac:picMkLst>
            <pc:docMk/>
            <pc:sldMk cId="1842583434" sldId="2147482388"/>
            <ac:picMk id="6" creationId="{1A167B89-7C28-F65C-BE5B-4066FC7F0610}"/>
          </ac:picMkLst>
        </pc:picChg>
        <pc:picChg chg="del">
          <ac:chgData name="Cyprien ARETHUSE" userId="abd46b16-7bf0-4c01-a850-92fb83f61f27" providerId="ADAL" clId="{067C7D3F-9573-4B1A-A9B0-3005DA5BAAAF}" dt="2024-02-02T15:46:25.929" v="18954" actId="478"/>
          <ac:picMkLst>
            <pc:docMk/>
            <pc:sldMk cId="1842583434" sldId="2147482388"/>
            <ac:picMk id="7" creationId="{0482B796-A1B5-75DC-EA4C-50AED882A43B}"/>
          </ac:picMkLst>
        </pc:picChg>
        <pc:picChg chg="add del mod">
          <ac:chgData name="Cyprien ARETHUSE" userId="abd46b16-7bf0-4c01-a850-92fb83f61f27" providerId="ADAL" clId="{067C7D3F-9573-4B1A-A9B0-3005DA5BAAAF}" dt="2024-02-02T15:52:54.375" v="19191" actId="478"/>
          <ac:picMkLst>
            <pc:docMk/>
            <pc:sldMk cId="1842583434" sldId="2147482388"/>
            <ac:picMk id="7" creationId="{BCA26CC6-F7D5-9E75-5B20-1AE8BE3F25D7}"/>
          </ac:picMkLst>
        </pc:picChg>
        <pc:picChg chg="add mod">
          <ac:chgData name="Cyprien ARETHUSE" userId="abd46b16-7bf0-4c01-a850-92fb83f61f27" providerId="ADAL" clId="{067C7D3F-9573-4B1A-A9B0-3005DA5BAAAF}" dt="2024-02-02T16:49:19.209" v="19338" actId="1076"/>
          <ac:picMkLst>
            <pc:docMk/>
            <pc:sldMk cId="1842583434" sldId="2147482388"/>
            <ac:picMk id="7" creationId="{F410F6D0-7964-9675-10FA-48B047073189}"/>
          </ac:picMkLst>
        </pc:picChg>
        <pc:picChg chg="add mod">
          <ac:chgData name="Cyprien ARETHUSE" userId="abd46b16-7bf0-4c01-a850-92fb83f61f27" providerId="ADAL" clId="{067C7D3F-9573-4B1A-A9B0-3005DA5BAAAF}" dt="2024-02-02T16:49:03.485" v="19330" actId="1076"/>
          <ac:picMkLst>
            <pc:docMk/>
            <pc:sldMk cId="1842583434" sldId="2147482388"/>
            <ac:picMk id="8" creationId="{B6667420-E8FF-5A86-1002-65D940323E9E}"/>
          </ac:picMkLst>
        </pc:picChg>
        <pc:picChg chg="add del mod">
          <ac:chgData name="Cyprien ARETHUSE" userId="abd46b16-7bf0-4c01-a850-92fb83f61f27" providerId="ADAL" clId="{067C7D3F-9573-4B1A-A9B0-3005DA5BAAAF}" dt="2024-02-02T15:52:54.375" v="19191" actId="478"/>
          <ac:picMkLst>
            <pc:docMk/>
            <pc:sldMk cId="1842583434" sldId="2147482388"/>
            <ac:picMk id="8" creationId="{D92031B7-FD43-17C0-91D5-31DAC7527CE2}"/>
          </ac:picMkLst>
        </pc:picChg>
        <pc:picChg chg="add mod">
          <ac:chgData name="Cyprien ARETHUSE" userId="abd46b16-7bf0-4c01-a850-92fb83f61f27" providerId="ADAL" clId="{067C7D3F-9573-4B1A-A9B0-3005DA5BAAAF}" dt="2024-02-02T16:49:12.376" v="19334" actId="1076"/>
          <ac:picMkLst>
            <pc:docMk/>
            <pc:sldMk cId="1842583434" sldId="2147482388"/>
            <ac:picMk id="9" creationId="{000A58D3-1E6A-7B9E-FF1F-F1C019293895}"/>
          </ac:picMkLst>
        </pc:picChg>
        <pc:picChg chg="add del mod">
          <ac:chgData name="Cyprien ARETHUSE" userId="abd46b16-7bf0-4c01-a850-92fb83f61f27" providerId="ADAL" clId="{067C7D3F-9573-4B1A-A9B0-3005DA5BAAAF}" dt="2024-02-02T15:52:54.375" v="19191" actId="478"/>
          <ac:picMkLst>
            <pc:docMk/>
            <pc:sldMk cId="1842583434" sldId="2147482388"/>
            <ac:picMk id="9" creationId="{C3DD9851-AA84-BF68-0CB8-DE842C683904}"/>
          </ac:picMkLst>
        </pc:picChg>
        <pc:picChg chg="add del mod">
          <ac:chgData name="Cyprien ARETHUSE" userId="abd46b16-7bf0-4c01-a850-92fb83f61f27" providerId="ADAL" clId="{067C7D3F-9573-4B1A-A9B0-3005DA5BAAAF}" dt="2024-02-02T15:52:54.375" v="19191" actId="478"/>
          <ac:picMkLst>
            <pc:docMk/>
            <pc:sldMk cId="1842583434" sldId="2147482388"/>
            <ac:picMk id="10" creationId="{34E2C121-D793-6FFE-EE23-FFA75DBD86E9}"/>
          </ac:picMkLst>
        </pc:picChg>
        <pc:picChg chg="add mod">
          <ac:chgData name="Cyprien ARETHUSE" userId="abd46b16-7bf0-4c01-a850-92fb83f61f27" providerId="ADAL" clId="{067C7D3F-9573-4B1A-A9B0-3005DA5BAAAF}" dt="2024-02-02T16:49:06.288" v="19331" actId="1076"/>
          <ac:picMkLst>
            <pc:docMk/>
            <pc:sldMk cId="1842583434" sldId="2147482388"/>
            <ac:picMk id="10" creationId="{38E4F184-2DF0-FC2D-3A3D-ABFDD46159F8}"/>
          </ac:picMkLst>
        </pc:picChg>
        <pc:picChg chg="add del mod">
          <ac:chgData name="Cyprien ARETHUSE" userId="abd46b16-7bf0-4c01-a850-92fb83f61f27" providerId="ADAL" clId="{067C7D3F-9573-4B1A-A9B0-3005DA5BAAAF}" dt="2024-02-02T15:52:54.375" v="19191" actId="478"/>
          <ac:picMkLst>
            <pc:docMk/>
            <pc:sldMk cId="1842583434" sldId="2147482388"/>
            <ac:picMk id="11" creationId="{FD2777B6-CBE7-0147-3B29-A0693E3A99CF}"/>
          </ac:picMkLst>
        </pc:picChg>
        <pc:picChg chg="add del mod">
          <ac:chgData name="Cyprien ARETHUSE" userId="abd46b16-7bf0-4c01-a850-92fb83f61f27" providerId="ADAL" clId="{067C7D3F-9573-4B1A-A9B0-3005DA5BAAAF}" dt="2024-02-02T15:52:54.375" v="19191" actId="478"/>
          <ac:picMkLst>
            <pc:docMk/>
            <pc:sldMk cId="1842583434" sldId="2147482388"/>
            <ac:picMk id="12" creationId="{9D188F08-1F6A-E043-AE27-C1B4E6EAE24A}"/>
          </ac:picMkLst>
        </pc:picChg>
        <pc:picChg chg="add mod">
          <ac:chgData name="Cyprien ARETHUSE" userId="abd46b16-7bf0-4c01-a850-92fb83f61f27" providerId="ADAL" clId="{067C7D3F-9573-4B1A-A9B0-3005DA5BAAAF}" dt="2024-02-02T16:50:54.485" v="19439" actId="1037"/>
          <ac:picMkLst>
            <pc:docMk/>
            <pc:sldMk cId="1842583434" sldId="2147482388"/>
            <ac:picMk id="15" creationId="{AAE44414-6B09-601E-9724-2A00F1C9B4CD}"/>
          </ac:picMkLst>
        </pc:picChg>
        <pc:picChg chg="add mod">
          <ac:chgData name="Cyprien ARETHUSE" userId="abd46b16-7bf0-4c01-a850-92fb83f61f27" providerId="ADAL" clId="{067C7D3F-9573-4B1A-A9B0-3005DA5BAAAF}" dt="2024-02-02T16:50:54.485" v="19439" actId="1037"/>
          <ac:picMkLst>
            <pc:docMk/>
            <pc:sldMk cId="1842583434" sldId="2147482388"/>
            <ac:picMk id="16" creationId="{07F74299-8E14-D24B-0ADE-1298BC73829B}"/>
          </ac:picMkLst>
        </pc:picChg>
        <pc:picChg chg="add mod">
          <ac:chgData name="Cyprien ARETHUSE" userId="abd46b16-7bf0-4c01-a850-92fb83f61f27" providerId="ADAL" clId="{067C7D3F-9573-4B1A-A9B0-3005DA5BAAAF}" dt="2024-02-02T16:51:05.435" v="19468" actId="1035"/>
          <ac:picMkLst>
            <pc:docMk/>
            <pc:sldMk cId="1842583434" sldId="2147482388"/>
            <ac:picMk id="19" creationId="{A6FFFE5E-0337-1217-7707-A86B56891EF6}"/>
          </ac:picMkLst>
        </pc:picChg>
        <pc:picChg chg="add mod">
          <ac:chgData name="Cyprien ARETHUSE" userId="abd46b16-7bf0-4c01-a850-92fb83f61f27" providerId="ADAL" clId="{067C7D3F-9573-4B1A-A9B0-3005DA5BAAAF}" dt="2024-02-02T16:51:05.435" v="19468" actId="1035"/>
          <ac:picMkLst>
            <pc:docMk/>
            <pc:sldMk cId="1842583434" sldId="2147482388"/>
            <ac:picMk id="20" creationId="{0EFFD495-FF89-CBEF-F20B-5DF09A87DBFC}"/>
          </ac:picMkLst>
        </pc:picChg>
        <pc:picChg chg="add mod">
          <ac:chgData name="Cyprien ARETHUSE" userId="abd46b16-7bf0-4c01-a850-92fb83f61f27" providerId="ADAL" clId="{067C7D3F-9573-4B1A-A9B0-3005DA5BAAAF}" dt="2024-02-02T16:51:01.951" v="19456" actId="1037"/>
          <ac:picMkLst>
            <pc:docMk/>
            <pc:sldMk cId="1842583434" sldId="2147482388"/>
            <ac:picMk id="23" creationId="{4A5A2F60-4AAB-28BA-5C67-21D6F734F40E}"/>
          </ac:picMkLst>
        </pc:picChg>
        <pc:picChg chg="add mod">
          <ac:chgData name="Cyprien ARETHUSE" userId="abd46b16-7bf0-4c01-a850-92fb83f61f27" providerId="ADAL" clId="{067C7D3F-9573-4B1A-A9B0-3005DA5BAAAF}" dt="2024-02-02T16:51:01.951" v="19456" actId="1037"/>
          <ac:picMkLst>
            <pc:docMk/>
            <pc:sldMk cId="1842583434" sldId="2147482388"/>
            <ac:picMk id="24" creationId="{2BA40E29-D3E2-EC73-692A-21DEFD2B0F13}"/>
          </ac:picMkLst>
        </pc:picChg>
        <pc:picChg chg="add del mod">
          <ac:chgData name="Cyprien ARETHUSE" userId="abd46b16-7bf0-4c01-a850-92fb83f61f27" providerId="ADAL" clId="{067C7D3F-9573-4B1A-A9B0-3005DA5BAAAF}" dt="2024-02-02T16:52:52.930" v="19499" actId="478"/>
          <ac:picMkLst>
            <pc:docMk/>
            <pc:sldMk cId="1842583434" sldId="2147482388"/>
            <ac:picMk id="27" creationId="{CD3D1758-B33F-0C38-BEE6-089D09C21E0C}"/>
          </ac:picMkLst>
        </pc:picChg>
        <pc:picChg chg="add mod">
          <ac:chgData name="Cyprien ARETHUSE" userId="abd46b16-7bf0-4c01-a850-92fb83f61f27" providerId="ADAL" clId="{067C7D3F-9573-4B1A-A9B0-3005DA5BAAAF}" dt="2024-02-02T16:52:49.723" v="19498" actId="1076"/>
          <ac:picMkLst>
            <pc:docMk/>
            <pc:sldMk cId="1842583434" sldId="2147482388"/>
            <ac:picMk id="29" creationId="{6FF8758F-202B-2C9B-3456-30395113F3EF}"/>
          </ac:picMkLst>
        </pc:picChg>
        <pc:picChg chg="del mod">
          <ac:chgData name="Cyprien ARETHUSE" userId="abd46b16-7bf0-4c01-a850-92fb83f61f27" providerId="ADAL" clId="{067C7D3F-9573-4B1A-A9B0-3005DA5BAAAF}" dt="2024-02-02T15:46:25.929" v="18954" actId="478"/>
          <ac:picMkLst>
            <pc:docMk/>
            <pc:sldMk cId="1842583434" sldId="2147482388"/>
            <ac:picMk id="29" creationId="{E26A1F60-CB47-8E92-4344-FDBF4FB35682}"/>
          </ac:picMkLst>
        </pc:picChg>
        <pc:picChg chg="del mod">
          <ac:chgData name="Cyprien ARETHUSE" userId="abd46b16-7bf0-4c01-a850-92fb83f61f27" providerId="ADAL" clId="{067C7D3F-9573-4B1A-A9B0-3005DA5BAAAF}" dt="2024-02-02T15:46:25.929" v="18954" actId="478"/>
          <ac:picMkLst>
            <pc:docMk/>
            <pc:sldMk cId="1842583434" sldId="2147482388"/>
            <ac:picMk id="30" creationId="{EA93F607-D90A-BF1F-092F-F45049082715}"/>
          </ac:picMkLst>
        </pc:picChg>
        <pc:picChg chg="del mod">
          <ac:chgData name="Cyprien ARETHUSE" userId="abd46b16-7bf0-4c01-a850-92fb83f61f27" providerId="ADAL" clId="{067C7D3F-9573-4B1A-A9B0-3005DA5BAAAF}" dt="2024-02-02T15:46:25.929" v="18954" actId="478"/>
          <ac:picMkLst>
            <pc:docMk/>
            <pc:sldMk cId="1842583434" sldId="2147482388"/>
            <ac:picMk id="31" creationId="{4D44A480-EC59-AD19-738D-4D519C89E9F1}"/>
          </ac:picMkLst>
        </pc:picChg>
        <pc:picChg chg="del">
          <ac:chgData name="Cyprien ARETHUSE" userId="abd46b16-7bf0-4c01-a850-92fb83f61f27" providerId="ADAL" clId="{067C7D3F-9573-4B1A-A9B0-3005DA5BAAAF}" dt="2024-02-02T15:46:12.219" v="18949" actId="478"/>
          <ac:picMkLst>
            <pc:docMk/>
            <pc:sldMk cId="1842583434" sldId="2147482388"/>
            <ac:picMk id="32" creationId="{CD394441-B67D-06E8-62F6-AF6E69EF7787}"/>
          </ac:picMkLst>
        </pc:picChg>
        <pc:picChg chg="del">
          <ac:chgData name="Cyprien ARETHUSE" userId="abd46b16-7bf0-4c01-a850-92fb83f61f27" providerId="ADAL" clId="{067C7D3F-9573-4B1A-A9B0-3005DA5BAAAF}" dt="2024-02-02T15:46:12.219" v="18949" actId="478"/>
          <ac:picMkLst>
            <pc:docMk/>
            <pc:sldMk cId="1842583434" sldId="2147482388"/>
            <ac:picMk id="33" creationId="{B0CD840E-9E1E-AA89-E777-EB5BD6417EE1}"/>
          </ac:picMkLst>
        </pc:picChg>
        <pc:picChg chg="del">
          <ac:chgData name="Cyprien ARETHUSE" userId="abd46b16-7bf0-4c01-a850-92fb83f61f27" providerId="ADAL" clId="{067C7D3F-9573-4B1A-A9B0-3005DA5BAAAF}" dt="2024-02-02T15:46:14.163" v="18950" actId="478"/>
          <ac:picMkLst>
            <pc:docMk/>
            <pc:sldMk cId="1842583434" sldId="2147482388"/>
            <ac:picMk id="36" creationId="{62FA64E1-D4B3-B67A-3899-D4BC9F9C5D83}"/>
          </ac:picMkLst>
        </pc:picChg>
        <pc:picChg chg="del">
          <ac:chgData name="Cyprien ARETHUSE" userId="abd46b16-7bf0-4c01-a850-92fb83f61f27" providerId="ADAL" clId="{067C7D3F-9573-4B1A-A9B0-3005DA5BAAAF}" dt="2024-02-02T15:46:14.163" v="18950" actId="478"/>
          <ac:picMkLst>
            <pc:docMk/>
            <pc:sldMk cId="1842583434" sldId="2147482388"/>
            <ac:picMk id="2050" creationId="{12FB3EDA-76F9-ED54-718F-0F408E8548AF}"/>
          </ac:picMkLst>
        </pc:picChg>
        <pc:picChg chg="del">
          <ac:chgData name="Cyprien ARETHUSE" userId="abd46b16-7bf0-4c01-a850-92fb83f61f27" providerId="ADAL" clId="{067C7D3F-9573-4B1A-A9B0-3005DA5BAAAF}" dt="2024-02-02T15:46:14.163" v="18950" actId="478"/>
          <ac:picMkLst>
            <pc:docMk/>
            <pc:sldMk cId="1842583434" sldId="2147482388"/>
            <ac:picMk id="2056" creationId="{1ECC0582-4EB6-A74C-4490-62FAC826815C}"/>
          </ac:picMkLst>
        </pc:picChg>
        <pc:picChg chg="del">
          <ac:chgData name="Cyprien ARETHUSE" userId="abd46b16-7bf0-4c01-a850-92fb83f61f27" providerId="ADAL" clId="{067C7D3F-9573-4B1A-A9B0-3005DA5BAAAF}" dt="2024-02-02T15:46:14.163" v="18950" actId="478"/>
          <ac:picMkLst>
            <pc:docMk/>
            <pc:sldMk cId="1842583434" sldId="2147482388"/>
            <ac:picMk id="2058" creationId="{DE3AF6C2-F7D1-62F9-AC28-C534E7CCD69C}"/>
          </ac:picMkLst>
        </pc:picChg>
        <pc:picChg chg="del">
          <ac:chgData name="Cyprien ARETHUSE" userId="abd46b16-7bf0-4c01-a850-92fb83f61f27" providerId="ADAL" clId="{067C7D3F-9573-4B1A-A9B0-3005DA5BAAAF}" dt="2024-02-02T15:46:14.163" v="18950" actId="478"/>
          <ac:picMkLst>
            <pc:docMk/>
            <pc:sldMk cId="1842583434" sldId="2147482388"/>
            <ac:picMk id="2060" creationId="{B4113694-B817-133E-C00D-F3EAD802AC85}"/>
          </ac:picMkLst>
        </pc:picChg>
        <pc:picChg chg="del">
          <ac:chgData name="Cyprien ARETHUSE" userId="abd46b16-7bf0-4c01-a850-92fb83f61f27" providerId="ADAL" clId="{067C7D3F-9573-4B1A-A9B0-3005DA5BAAAF}" dt="2024-02-02T15:46:14.163" v="18950" actId="478"/>
          <ac:picMkLst>
            <pc:docMk/>
            <pc:sldMk cId="1842583434" sldId="2147482388"/>
            <ac:picMk id="2062" creationId="{D9DAD584-2171-B6A9-0028-1F932C89B9ED}"/>
          </ac:picMkLst>
        </pc:picChg>
      </pc:sldChg>
      <pc:sldChg chg="addSp delSp modSp add mod ord">
        <pc:chgData name="Cyprien ARETHUSE" userId="abd46b16-7bf0-4c01-a850-92fb83f61f27" providerId="ADAL" clId="{067C7D3F-9573-4B1A-A9B0-3005DA5BAAAF}" dt="2024-02-02T15:39:01.456" v="18870" actId="404"/>
        <pc:sldMkLst>
          <pc:docMk/>
          <pc:sldMk cId="658512743" sldId="2147482390"/>
        </pc:sldMkLst>
        <pc:spChg chg="add mod">
          <ac:chgData name="Cyprien ARETHUSE" userId="abd46b16-7bf0-4c01-a850-92fb83f61f27" providerId="ADAL" clId="{067C7D3F-9573-4B1A-A9B0-3005DA5BAAAF}" dt="2024-02-02T14:57:42.073" v="18208" actId="1036"/>
          <ac:spMkLst>
            <pc:docMk/>
            <pc:sldMk cId="658512743" sldId="2147482390"/>
            <ac:spMk id="3" creationId="{A81F6E46-88F1-4780-1C5E-4003BB1D407F}"/>
          </ac:spMkLst>
        </pc:spChg>
        <pc:spChg chg="del">
          <ac:chgData name="Cyprien ARETHUSE" userId="abd46b16-7bf0-4c01-a850-92fb83f61f27" providerId="ADAL" clId="{067C7D3F-9573-4B1A-A9B0-3005DA5BAAAF}" dt="2024-02-02T14:30:04.530" v="17346" actId="478"/>
          <ac:spMkLst>
            <pc:docMk/>
            <pc:sldMk cId="658512743" sldId="2147482390"/>
            <ac:spMk id="3" creationId="{E748E0B5-C195-AC33-310F-0A8386CC23A9}"/>
          </ac:spMkLst>
        </pc:spChg>
        <pc:spChg chg="del">
          <ac:chgData name="Cyprien ARETHUSE" userId="abd46b16-7bf0-4c01-a850-92fb83f61f27" providerId="ADAL" clId="{067C7D3F-9573-4B1A-A9B0-3005DA5BAAAF}" dt="2024-02-02T14:30:04.530" v="17346" actId="478"/>
          <ac:spMkLst>
            <pc:docMk/>
            <pc:sldMk cId="658512743" sldId="2147482390"/>
            <ac:spMk id="5" creationId="{B71F450B-4AC1-C892-AECC-9B0F1AB12681}"/>
          </ac:spMkLst>
        </pc:spChg>
        <pc:spChg chg="del">
          <ac:chgData name="Cyprien ARETHUSE" userId="abd46b16-7bf0-4c01-a850-92fb83f61f27" providerId="ADAL" clId="{067C7D3F-9573-4B1A-A9B0-3005DA5BAAAF}" dt="2024-02-02T14:30:04.530" v="17346" actId="478"/>
          <ac:spMkLst>
            <pc:docMk/>
            <pc:sldMk cId="658512743" sldId="2147482390"/>
            <ac:spMk id="6" creationId="{1F630698-C136-AE99-FFB4-9759DE47E6D9}"/>
          </ac:spMkLst>
        </pc:spChg>
        <pc:spChg chg="add del mod">
          <ac:chgData name="Cyprien ARETHUSE" userId="abd46b16-7bf0-4c01-a850-92fb83f61f27" providerId="ADAL" clId="{067C7D3F-9573-4B1A-A9B0-3005DA5BAAAF}" dt="2024-02-02T14:37:45.382" v="17771" actId="478"/>
          <ac:spMkLst>
            <pc:docMk/>
            <pc:sldMk cId="658512743" sldId="2147482390"/>
            <ac:spMk id="6" creationId="{3E73CFF9-FF27-1088-D360-4CB0B1352D3D}"/>
          </ac:spMkLst>
        </pc:spChg>
        <pc:spChg chg="add mod">
          <ac:chgData name="Cyprien ARETHUSE" userId="abd46b16-7bf0-4c01-a850-92fb83f61f27" providerId="ADAL" clId="{067C7D3F-9573-4B1A-A9B0-3005DA5BAAAF}" dt="2024-02-02T14:57:42.073" v="18208" actId="1036"/>
          <ac:spMkLst>
            <pc:docMk/>
            <pc:sldMk cId="658512743" sldId="2147482390"/>
            <ac:spMk id="8" creationId="{12716885-4608-0D82-9372-F6BF41C7DA34}"/>
          </ac:spMkLst>
        </pc:spChg>
        <pc:spChg chg="del">
          <ac:chgData name="Cyprien ARETHUSE" userId="abd46b16-7bf0-4c01-a850-92fb83f61f27" providerId="ADAL" clId="{067C7D3F-9573-4B1A-A9B0-3005DA5BAAAF}" dt="2024-02-02T14:30:04.530" v="17346" actId="478"/>
          <ac:spMkLst>
            <pc:docMk/>
            <pc:sldMk cId="658512743" sldId="2147482390"/>
            <ac:spMk id="8" creationId="{BD917ADC-89C5-0539-0F97-20EE14D8B87F}"/>
          </ac:spMkLst>
        </pc:spChg>
        <pc:spChg chg="add mod">
          <ac:chgData name="Cyprien ARETHUSE" userId="abd46b16-7bf0-4c01-a850-92fb83f61f27" providerId="ADAL" clId="{067C7D3F-9573-4B1A-A9B0-3005DA5BAAAF}" dt="2024-02-02T14:57:42.073" v="18208" actId="1036"/>
          <ac:spMkLst>
            <pc:docMk/>
            <pc:sldMk cId="658512743" sldId="2147482390"/>
            <ac:spMk id="9" creationId="{B38496E1-4090-CFA7-5EBE-D99B8D2F24E7}"/>
          </ac:spMkLst>
        </pc:spChg>
        <pc:spChg chg="add mod">
          <ac:chgData name="Cyprien ARETHUSE" userId="abd46b16-7bf0-4c01-a850-92fb83f61f27" providerId="ADAL" clId="{067C7D3F-9573-4B1A-A9B0-3005DA5BAAAF}" dt="2024-02-02T14:57:48.012" v="18211" actId="1036"/>
          <ac:spMkLst>
            <pc:docMk/>
            <pc:sldMk cId="658512743" sldId="2147482390"/>
            <ac:spMk id="14" creationId="{87DAD0CB-BA53-0307-2077-60A506CA4FD7}"/>
          </ac:spMkLst>
        </pc:spChg>
        <pc:spChg chg="add del mod">
          <ac:chgData name="Cyprien ARETHUSE" userId="abd46b16-7bf0-4c01-a850-92fb83f61f27" providerId="ADAL" clId="{067C7D3F-9573-4B1A-A9B0-3005DA5BAAAF}" dt="2024-02-02T14:32:28.065" v="17404" actId="478"/>
          <ac:spMkLst>
            <pc:docMk/>
            <pc:sldMk cId="658512743" sldId="2147482390"/>
            <ac:spMk id="15" creationId="{5392E2CE-8139-5428-07F6-8774A7802B90}"/>
          </ac:spMkLst>
        </pc:spChg>
        <pc:spChg chg="add del mod">
          <ac:chgData name="Cyprien ARETHUSE" userId="abd46b16-7bf0-4c01-a850-92fb83f61f27" providerId="ADAL" clId="{067C7D3F-9573-4B1A-A9B0-3005DA5BAAAF}" dt="2024-02-02T14:32:28.065" v="17404" actId="478"/>
          <ac:spMkLst>
            <pc:docMk/>
            <pc:sldMk cId="658512743" sldId="2147482390"/>
            <ac:spMk id="16" creationId="{61C47B05-A5DD-BC56-4C46-F4F48CEA0C61}"/>
          </ac:spMkLst>
        </pc:spChg>
        <pc:spChg chg="add del mod">
          <ac:chgData name="Cyprien ARETHUSE" userId="abd46b16-7bf0-4c01-a850-92fb83f61f27" providerId="ADAL" clId="{067C7D3F-9573-4B1A-A9B0-3005DA5BAAAF}" dt="2024-02-02T14:37:48.412" v="17772" actId="478"/>
          <ac:spMkLst>
            <pc:docMk/>
            <pc:sldMk cId="658512743" sldId="2147482390"/>
            <ac:spMk id="16" creationId="{934B37D3-0C16-9D81-F93E-3EA1C2394027}"/>
          </ac:spMkLst>
        </pc:spChg>
        <pc:spChg chg="add del mod">
          <ac:chgData name="Cyprien ARETHUSE" userId="abd46b16-7bf0-4c01-a850-92fb83f61f27" providerId="ADAL" clId="{067C7D3F-9573-4B1A-A9B0-3005DA5BAAAF}" dt="2024-02-02T14:32:28.065" v="17404" actId="478"/>
          <ac:spMkLst>
            <pc:docMk/>
            <pc:sldMk cId="658512743" sldId="2147482390"/>
            <ac:spMk id="17" creationId="{3BC3748B-EAC4-8B0C-6D0E-B4305F378CBA}"/>
          </ac:spMkLst>
        </pc:spChg>
        <pc:spChg chg="add mod">
          <ac:chgData name="Cyprien ARETHUSE" userId="abd46b16-7bf0-4c01-a850-92fb83f61f27" providerId="ADAL" clId="{067C7D3F-9573-4B1A-A9B0-3005DA5BAAAF}" dt="2024-02-02T14:57:42.073" v="18208" actId="1036"/>
          <ac:spMkLst>
            <pc:docMk/>
            <pc:sldMk cId="658512743" sldId="2147482390"/>
            <ac:spMk id="18" creationId="{690CB5BE-295A-7BD0-59DE-542FC4AF7F69}"/>
          </ac:spMkLst>
        </pc:spChg>
        <pc:spChg chg="add del mod">
          <ac:chgData name="Cyprien ARETHUSE" userId="abd46b16-7bf0-4c01-a850-92fb83f61f27" providerId="ADAL" clId="{067C7D3F-9573-4B1A-A9B0-3005DA5BAAAF}" dt="2024-02-02T14:32:28.065" v="17404" actId="478"/>
          <ac:spMkLst>
            <pc:docMk/>
            <pc:sldMk cId="658512743" sldId="2147482390"/>
            <ac:spMk id="18" creationId="{D4EEE388-C764-1F34-F1F3-677FA603E418}"/>
          </ac:spMkLst>
        </pc:spChg>
        <pc:spChg chg="del">
          <ac:chgData name="Cyprien ARETHUSE" userId="abd46b16-7bf0-4c01-a850-92fb83f61f27" providerId="ADAL" clId="{067C7D3F-9573-4B1A-A9B0-3005DA5BAAAF}" dt="2024-02-02T14:30:04.530" v="17346" actId="478"/>
          <ac:spMkLst>
            <pc:docMk/>
            <pc:sldMk cId="658512743" sldId="2147482390"/>
            <ac:spMk id="19" creationId="{BBC93055-643A-4775-93A0-1BD0C9CA9394}"/>
          </ac:spMkLst>
        </pc:spChg>
        <pc:spChg chg="add mod">
          <ac:chgData name="Cyprien ARETHUSE" userId="abd46b16-7bf0-4c01-a850-92fb83f61f27" providerId="ADAL" clId="{067C7D3F-9573-4B1A-A9B0-3005DA5BAAAF}" dt="2024-02-02T14:57:42.073" v="18208" actId="1036"/>
          <ac:spMkLst>
            <pc:docMk/>
            <pc:sldMk cId="658512743" sldId="2147482390"/>
            <ac:spMk id="20" creationId="{4914C355-D376-33F4-1D9E-694460F82876}"/>
          </ac:spMkLst>
        </pc:spChg>
        <pc:spChg chg="add del mod">
          <ac:chgData name="Cyprien ARETHUSE" userId="abd46b16-7bf0-4c01-a850-92fb83f61f27" providerId="ADAL" clId="{067C7D3F-9573-4B1A-A9B0-3005DA5BAAAF}" dt="2024-02-02T14:32:28.065" v="17404" actId="478"/>
          <ac:spMkLst>
            <pc:docMk/>
            <pc:sldMk cId="658512743" sldId="2147482390"/>
            <ac:spMk id="20" creationId="{53EDBEE4-4EBD-CB7B-676C-9FE9D54AAFBF}"/>
          </ac:spMkLst>
        </pc:spChg>
        <pc:spChg chg="add del mod">
          <ac:chgData name="Cyprien ARETHUSE" userId="abd46b16-7bf0-4c01-a850-92fb83f61f27" providerId="ADAL" clId="{067C7D3F-9573-4B1A-A9B0-3005DA5BAAAF}" dt="2024-02-02T14:32:28.065" v="17404" actId="478"/>
          <ac:spMkLst>
            <pc:docMk/>
            <pc:sldMk cId="658512743" sldId="2147482390"/>
            <ac:spMk id="23" creationId="{7A0A33B2-2380-EF06-C894-9FD414926AB6}"/>
          </ac:spMkLst>
        </pc:spChg>
        <pc:spChg chg="add mod">
          <ac:chgData name="Cyprien ARETHUSE" userId="abd46b16-7bf0-4c01-a850-92fb83f61f27" providerId="ADAL" clId="{067C7D3F-9573-4B1A-A9B0-3005DA5BAAAF}" dt="2024-02-02T14:30:39.813" v="17358" actId="1036"/>
          <ac:spMkLst>
            <pc:docMk/>
            <pc:sldMk cId="658512743" sldId="2147482390"/>
            <ac:spMk id="25" creationId="{8A2F8B1B-3339-38FB-F9DF-DB263BC89C15}"/>
          </ac:spMkLst>
        </pc:spChg>
        <pc:graphicFrameChg chg="del">
          <ac:chgData name="Cyprien ARETHUSE" userId="abd46b16-7bf0-4c01-a850-92fb83f61f27" providerId="ADAL" clId="{067C7D3F-9573-4B1A-A9B0-3005DA5BAAAF}" dt="2024-02-02T14:30:04.530" v="17346" actId="478"/>
          <ac:graphicFrameMkLst>
            <pc:docMk/>
            <pc:sldMk cId="658512743" sldId="2147482390"/>
            <ac:graphicFrameMk id="4" creationId="{9770B5C9-789A-450B-BEFE-7FE09605F540}"/>
          </ac:graphicFrameMkLst>
        </pc:graphicFrameChg>
        <pc:graphicFrameChg chg="del">
          <ac:chgData name="Cyprien ARETHUSE" userId="abd46b16-7bf0-4c01-a850-92fb83f61f27" providerId="ADAL" clId="{067C7D3F-9573-4B1A-A9B0-3005DA5BAAAF}" dt="2024-02-02T14:30:04.530" v="17346" actId="478"/>
          <ac:graphicFrameMkLst>
            <pc:docMk/>
            <pc:sldMk cId="658512743" sldId="2147482390"/>
            <ac:graphicFrameMk id="21" creationId="{187B67DD-4F81-4889-A8FC-7A0CDB82050E}"/>
          </ac:graphicFrameMkLst>
        </pc:graphicFrameChg>
        <pc:graphicFrameChg chg="add mod modGraphic">
          <ac:chgData name="Cyprien ARETHUSE" userId="abd46b16-7bf0-4c01-a850-92fb83f61f27" providerId="ADAL" clId="{067C7D3F-9573-4B1A-A9B0-3005DA5BAAAF}" dt="2024-02-02T15:37:55.920" v="18860" actId="404"/>
          <ac:graphicFrameMkLst>
            <pc:docMk/>
            <pc:sldMk cId="658512743" sldId="2147482390"/>
            <ac:graphicFrameMk id="26" creationId="{E46E653B-2228-0C61-B591-32A444DFE713}"/>
          </ac:graphicFrameMkLst>
        </pc:graphicFrameChg>
        <pc:graphicFrameChg chg="add mod modGraphic">
          <ac:chgData name="Cyprien ARETHUSE" userId="abd46b16-7bf0-4c01-a850-92fb83f61f27" providerId="ADAL" clId="{067C7D3F-9573-4B1A-A9B0-3005DA5BAAAF}" dt="2024-02-02T15:39:01.456" v="18870" actId="404"/>
          <ac:graphicFrameMkLst>
            <pc:docMk/>
            <pc:sldMk cId="658512743" sldId="2147482390"/>
            <ac:graphicFrameMk id="27" creationId="{88018A84-A561-22CC-D86C-1BBF7B169F3A}"/>
          </ac:graphicFrameMkLst>
        </pc:graphicFrameChg>
        <pc:picChg chg="del">
          <ac:chgData name="Cyprien ARETHUSE" userId="abd46b16-7bf0-4c01-a850-92fb83f61f27" providerId="ADAL" clId="{067C7D3F-9573-4B1A-A9B0-3005DA5BAAAF}" dt="2024-02-02T14:30:04.530" v="17346" actId="478"/>
          <ac:picMkLst>
            <pc:docMk/>
            <pc:sldMk cId="658512743" sldId="2147482390"/>
            <ac:picMk id="2" creationId="{4E12CBAB-424D-480A-6D54-1FF8E366BA7C}"/>
          </ac:picMkLst>
        </pc:picChg>
        <pc:picChg chg="add mod">
          <ac:chgData name="Cyprien ARETHUSE" userId="abd46b16-7bf0-4c01-a850-92fb83f61f27" providerId="ADAL" clId="{067C7D3F-9573-4B1A-A9B0-3005DA5BAAAF}" dt="2024-02-02T14:57:42.073" v="18208" actId="1036"/>
          <ac:picMkLst>
            <pc:docMk/>
            <pc:sldMk cId="658512743" sldId="2147482390"/>
            <ac:picMk id="2" creationId="{F9A6CD75-D540-5955-B30D-7A63C4841E22}"/>
          </ac:picMkLst>
        </pc:picChg>
        <pc:picChg chg="add mod">
          <ac:chgData name="Cyprien ARETHUSE" userId="abd46b16-7bf0-4c01-a850-92fb83f61f27" providerId="ADAL" clId="{067C7D3F-9573-4B1A-A9B0-3005DA5BAAAF}" dt="2024-02-02T14:57:42.073" v="18208" actId="1036"/>
          <ac:picMkLst>
            <pc:docMk/>
            <pc:sldMk cId="658512743" sldId="2147482390"/>
            <ac:picMk id="4" creationId="{921531C1-1862-AF50-EC38-2361C13EA7F5}"/>
          </ac:picMkLst>
        </pc:picChg>
        <pc:picChg chg="add del mod">
          <ac:chgData name="Cyprien ARETHUSE" userId="abd46b16-7bf0-4c01-a850-92fb83f61f27" providerId="ADAL" clId="{067C7D3F-9573-4B1A-A9B0-3005DA5BAAAF}" dt="2024-02-02T14:37:45.382" v="17771" actId="478"/>
          <ac:picMkLst>
            <pc:docMk/>
            <pc:sldMk cId="658512743" sldId="2147482390"/>
            <ac:picMk id="5" creationId="{F7418C5E-4FF5-B6F5-71C9-BB7F836CD922}"/>
          </ac:picMkLst>
        </pc:picChg>
        <pc:picChg chg="add mod">
          <ac:chgData name="Cyprien ARETHUSE" userId="abd46b16-7bf0-4c01-a850-92fb83f61f27" providerId="ADAL" clId="{067C7D3F-9573-4B1A-A9B0-3005DA5BAAAF}" dt="2024-02-02T14:57:42.073" v="18208" actId="1036"/>
          <ac:picMkLst>
            <pc:docMk/>
            <pc:sldMk cId="658512743" sldId="2147482390"/>
            <ac:picMk id="7" creationId="{2ECD6760-6360-CDFF-B078-7A4831FE63DA}"/>
          </ac:picMkLst>
        </pc:picChg>
        <pc:picChg chg="del">
          <ac:chgData name="Cyprien ARETHUSE" userId="abd46b16-7bf0-4c01-a850-92fb83f61f27" providerId="ADAL" clId="{067C7D3F-9573-4B1A-A9B0-3005DA5BAAAF}" dt="2024-02-02T14:30:04.530" v="17346" actId="478"/>
          <ac:picMkLst>
            <pc:docMk/>
            <pc:sldMk cId="658512743" sldId="2147482390"/>
            <ac:picMk id="7" creationId="{9A0AFC1C-7BD0-D98F-9168-A5BC94F22245}"/>
          </ac:picMkLst>
        </pc:picChg>
        <pc:picChg chg="del">
          <ac:chgData name="Cyprien ARETHUSE" userId="abd46b16-7bf0-4c01-a850-92fb83f61f27" providerId="ADAL" clId="{067C7D3F-9573-4B1A-A9B0-3005DA5BAAAF}" dt="2024-02-02T14:30:04.530" v="17346" actId="478"/>
          <ac:picMkLst>
            <pc:docMk/>
            <pc:sldMk cId="658512743" sldId="2147482390"/>
            <ac:picMk id="9" creationId="{D1729B3F-A3BA-C13B-3B2D-109F6BB9DFEF}"/>
          </ac:picMkLst>
        </pc:picChg>
        <pc:picChg chg="add mod">
          <ac:chgData name="Cyprien ARETHUSE" userId="abd46b16-7bf0-4c01-a850-92fb83f61f27" providerId="ADAL" clId="{067C7D3F-9573-4B1A-A9B0-3005DA5BAAAF}" dt="2024-02-02T14:57:42.073" v="18208" actId="1036"/>
          <ac:picMkLst>
            <pc:docMk/>
            <pc:sldMk cId="658512743" sldId="2147482390"/>
            <ac:picMk id="10" creationId="{BED0FA13-48E3-B060-8E22-E55B86C0C8BD}"/>
          </ac:picMkLst>
        </pc:picChg>
        <pc:picChg chg="add mod">
          <ac:chgData name="Cyprien ARETHUSE" userId="abd46b16-7bf0-4c01-a850-92fb83f61f27" providerId="ADAL" clId="{067C7D3F-9573-4B1A-A9B0-3005DA5BAAAF}" dt="2024-02-02T14:57:42.073" v="18208" actId="1036"/>
          <ac:picMkLst>
            <pc:docMk/>
            <pc:sldMk cId="658512743" sldId="2147482390"/>
            <ac:picMk id="12" creationId="{D83F7AF3-D0F4-520A-9EC8-FF505DE8F120}"/>
          </ac:picMkLst>
        </pc:picChg>
        <pc:picChg chg="add mod">
          <ac:chgData name="Cyprien ARETHUSE" userId="abd46b16-7bf0-4c01-a850-92fb83f61f27" providerId="ADAL" clId="{067C7D3F-9573-4B1A-A9B0-3005DA5BAAAF}" dt="2024-02-02T14:57:42.073" v="18208" actId="1036"/>
          <ac:picMkLst>
            <pc:docMk/>
            <pc:sldMk cId="658512743" sldId="2147482390"/>
            <ac:picMk id="13" creationId="{55EAE0BE-5B8D-594F-F760-4CC52DBF142B}"/>
          </ac:picMkLst>
        </pc:picChg>
        <pc:picChg chg="add del mod">
          <ac:chgData name="Cyprien ARETHUSE" userId="abd46b16-7bf0-4c01-a850-92fb83f61f27" providerId="ADAL" clId="{067C7D3F-9573-4B1A-A9B0-3005DA5BAAAF}" dt="2024-02-02T14:37:48.412" v="17772" actId="478"/>
          <ac:picMkLst>
            <pc:docMk/>
            <pc:sldMk cId="658512743" sldId="2147482390"/>
            <ac:picMk id="15" creationId="{F29FF95D-63ED-F586-AC91-433629D173F0}"/>
          </ac:picMkLst>
        </pc:picChg>
        <pc:picChg chg="add mod">
          <ac:chgData name="Cyprien ARETHUSE" userId="abd46b16-7bf0-4c01-a850-92fb83f61f27" providerId="ADAL" clId="{067C7D3F-9573-4B1A-A9B0-3005DA5BAAAF}" dt="2024-02-02T14:57:42.073" v="18208" actId="1036"/>
          <ac:picMkLst>
            <pc:docMk/>
            <pc:sldMk cId="658512743" sldId="2147482390"/>
            <ac:picMk id="17" creationId="{6BA14544-AB5D-054A-9B87-62B0706BA2F8}"/>
          </ac:picMkLst>
        </pc:picChg>
        <pc:picChg chg="add mod">
          <ac:chgData name="Cyprien ARETHUSE" userId="abd46b16-7bf0-4c01-a850-92fb83f61f27" providerId="ADAL" clId="{067C7D3F-9573-4B1A-A9B0-3005DA5BAAAF}" dt="2024-02-02T14:57:42.073" v="18208" actId="1036"/>
          <ac:picMkLst>
            <pc:docMk/>
            <pc:sldMk cId="658512743" sldId="2147482390"/>
            <ac:picMk id="19" creationId="{22BCD53D-4DF6-EE14-2B25-4C847342EAF5}"/>
          </ac:picMkLst>
        </pc:picChg>
        <pc:picChg chg="del">
          <ac:chgData name="Cyprien ARETHUSE" userId="abd46b16-7bf0-4c01-a850-92fb83f61f27" providerId="ADAL" clId="{067C7D3F-9573-4B1A-A9B0-3005DA5BAAAF}" dt="2024-02-02T14:30:08.012" v="17347" actId="478"/>
          <ac:picMkLst>
            <pc:docMk/>
            <pc:sldMk cId="658512743" sldId="2147482390"/>
            <ac:picMk id="22" creationId="{70401BAF-E170-FCE7-F533-882B284457E5}"/>
          </ac:picMkLst>
        </pc:picChg>
        <pc:picChg chg="add mod">
          <ac:chgData name="Cyprien ARETHUSE" userId="abd46b16-7bf0-4c01-a850-92fb83f61f27" providerId="ADAL" clId="{067C7D3F-9573-4B1A-A9B0-3005DA5BAAAF}" dt="2024-02-02T14:30:14.401" v="17348"/>
          <ac:picMkLst>
            <pc:docMk/>
            <pc:sldMk cId="658512743" sldId="2147482390"/>
            <ac:picMk id="24" creationId="{50C17F41-EAFC-2DCE-4472-FD52A33B0901}"/>
          </ac:picMkLst>
        </pc:picChg>
        <pc:picChg chg="del">
          <ac:chgData name="Cyprien ARETHUSE" userId="abd46b16-7bf0-4c01-a850-92fb83f61f27" providerId="ADAL" clId="{067C7D3F-9573-4B1A-A9B0-3005DA5BAAAF}" dt="2024-02-02T14:30:04.530" v="17346" actId="478"/>
          <ac:picMkLst>
            <pc:docMk/>
            <pc:sldMk cId="658512743" sldId="2147482390"/>
            <ac:picMk id="46083" creationId="{D5359D95-FF97-4EB3-8C65-2EB2B28C4DD8}"/>
          </ac:picMkLst>
        </pc:picChg>
      </pc:sldChg>
      <pc:sldChg chg="addSp modSp add mod">
        <pc:chgData name="Cyprien ARETHUSE" userId="abd46b16-7bf0-4c01-a850-92fb83f61f27" providerId="ADAL" clId="{067C7D3F-9573-4B1A-A9B0-3005DA5BAAAF}" dt="2024-02-02T16:52:59.762" v="19503" actId="1036"/>
        <pc:sldMkLst>
          <pc:docMk/>
          <pc:sldMk cId="2989955826" sldId="2147482391"/>
        </pc:sldMkLst>
        <pc:picChg chg="add mod">
          <ac:chgData name="Cyprien ARETHUSE" userId="abd46b16-7bf0-4c01-a850-92fb83f61f27" providerId="ADAL" clId="{067C7D3F-9573-4B1A-A9B0-3005DA5BAAAF}" dt="2024-02-02T16:52:59.762" v="19503" actId="1036"/>
          <ac:picMkLst>
            <pc:docMk/>
            <pc:sldMk cId="2989955826" sldId="2147482391"/>
            <ac:picMk id="8" creationId="{2B2C8AB1-09B2-D685-4648-33BCEECA158A}"/>
          </ac:picMkLst>
        </pc:picChg>
      </pc:sldChg>
      <pc:sldMasterChg chg="addSldLayout delSldLayout">
        <pc:chgData name="Cyprien ARETHUSE" userId="abd46b16-7bf0-4c01-a850-92fb83f61f27" providerId="ADAL" clId="{067C7D3F-9573-4B1A-A9B0-3005DA5BAAAF}" dt="2024-01-23T08:39:52.833" v="5724" actId="47"/>
        <pc:sldMasterMkLst>
          <pc:docMk/>
          <pc:sldMasterMk cId="2334669681" sldId="2147483669"/>
        </pc:sldMasterMkLst>
        <pc:sldLayoutChg chg="add del">
          <pc:chgData name="Cyprien ARETHUSE" userId="abd46b16-7bf0-4c01-a850-92fb83f61f27" providerId="ADAL" clId="{067C7D3F-9573-4B1A-A9B0-3005DA5BAAAF}" dt="2024-01-23T08:39:52.833" v="5724" actId="47"/>
          <pc:sldLayoutMkLst>
            <pc:docMk/>
            <pc:sldMasterMk cId="2334669681" sldId="2147483669"/>
            <pc:sldLayoutMk cId="1611349809" sldId="2147483695"/>
          </pc:sldLayoutMkLst>
        </pc:sldLayoutChg>
        <pc:sldLayoutChg chg="del">
          <pc:chgData name="Cyprien ARETHUSE" userId="abd46b16-7bf0-4c01-a850-92fb83f61f27" providerId="ADAL" clId="{067C7D3F-9573-4B1A-A9B0-3005DA5BAAAF}" dt="2024-01-23T08:37:48.768" v="5670" actId="47"/>
          <pc:sldLayoutMkLst>
            <pc:docMk/>
            <pc:sldMasterMk cId="2334669681" sldId="2147483669"/>
            <pc:sldLayoutMk cId="667514912" sldId="2147483696"/>
          </pc:sldLayoutMkLst>
        </pc:sldLayoutChg>
      </pc:sldMasterChg>
      <pc:sldMasterChg chg="delSldLayout">
        <pc:chgData name="Cyprien ARETHUSE" userId="abd46b16-7bf0-4c01-a850-92fb83f61f27" providerId="ADAL" clId="{067C7D3F-9573-4B1A-A9B0-3005DA5BAAAF}" dt="2024-02-02T17:02:42.816" v="19520" actId="47"/>
        <pc:sldMasterMkLst>
          <pc:docMk/>
          <pc:sldMasterMk cId="2531651770" sldId="2147483701"/>
        </pc:sldMasterMkLst>
        <pc:sldLayoutChg chg="del">
          <pc:chgData name="Cyprien ARETHUSE" userId="abd46b16-7bf0-4c01-a850-92fb83f61f27" providerId="ADAL" clId="{067C7D3F-9573-4B1A-A9B0-3005DA5BAAAF}" dt="2024-02-02T17:02:42.816" v="19520" actId="47"/>
          <pc:sldLayoutMkLst>
            <pc:docMk/>
            <pc:sldMasterMk cId="2531651770" sldId="2147483701"/>
            <pc:sldLayoutMk cId="3079842835" sldId="2147483756"/>
          </pc:sldLayoutMkLst>
        </pc:sldLayoutChg>
        <pc:sldLayoutChg chg="del">
          <pc:chgData name="Cyprien ARETHUSE" userId="abd46b16-7bf0-4c01-a850-92fb83f61f27" providerId="ADAL" clId="{067C7D3F-9573-4B1A-A9B0-3005DA5BAAAF}" dt="2024-01-26T13:26:19.605" v="7866" actId="47"/>
          <pc:sldLayoutMkLst>
            <pc:docMk/>
            <pc:sldMasterMk cId="2531651770" sldId="2147483701"/>
            <pc:sldLayoutMk cId="3132116254" sldId="2147483848"/>
          </pc:sldLayoutMkLst>
        </pc:sldLayoutChg>
        <pc:sldLayoutChg chg="del">
          <pc:chgData name="Cyprien ARETHUSE" userId="abd46b16-7bf0-4c01-a850-92fb83f61f27" providerId="ADAL" clId="{067C7D3F-9573-4B1A-A9B0-3005DA5BAAAF}" dt="2024-02-02T17:02:42.816" v="19520" actId="47"/>
          <pc:sldLayoutMkLst>
            <pc:docMk/>
            <pc:sldMasterMk cId="2531651770" sldId="2147483701"/>
            <pc:sldLayoutMk cId="861941463" sldId="2147483849"/>
          </pc:sldLayoutMkLst>
        </pc:sldLayoutChg>
        <pc:sldLayoutChg chg="del">
          <pc:chgData name="Cyprien ARETHUSE" userId="abd46b16-7bf0-4c01-a850-92fb83f61f27" providerId="ADAL" clId="{067C7D3F-9573-4B1A-A9B0-3005DA5BAAAF}" dt="2024-01-31T13:41:09.709" v="10039" actId="47"/>
          <pc:sldLayoutMkLst>
            <pc:docMk/>
            <pc:sldMasterMk cId="2531651770" sldId="2147483701"/>
            <pc:sldLayoutMk cId="2872799684" sldId="2147483850"/>
          </pc:sldLayoutMkLst>
        </pc:sldLayoutChg>
        <pc:sldLayoutChg chg="del">
          <pc:chgData name="Cyprien ARETHUSE" userId="abd46b16-7bf0-4c01-a850-92fb83f61f27" providerId="ADAL" clId="{067C7D3F-9573-4B1A-A9B0-3005DA5BAAAF}" dt="2024-01-31T13:07:09.205" v="9737" actId="47"/>
          <pc:sldLayoutMkLst>
            <pc:docMk/>
            <pc:sldMasterMk cId="2531651770" sldId="2147483701"/>
            <pc:sldLayoutMk cId="1201092370" sldId="2147483864"/>
          </pc:sldLayoutMkLst>
        </pc:sldLayoutChg>
        <pc:sldLayoutChg chg="del">
          <pc:chgData name="Cyprien ARETHUSE" userId="abd46b16-7bf0-4c01-a850-92fb83f61f27" providerId="ADAL" clId="{067C7D3F-9573-4B1A-A9B0-3005DA5BAAAF}" dt="2024-01-31T13:10:25.537" v="9777" actId="47"/>
          <pc:sldLayoutMkLst>
            <pc:docMk/>
            <pc:sldMasterMk cId="2531651770" sldId="2147483701"/>
            <pc:sldLayoutMk cId="490719293" sldId="2147483865"/>
          </pc:sldLayoutMkLst>
        </pc:sldLayoutChg>
        <pc:sldLayoutChg chg="del">
          <pc:chgData name="Cyprien ARETHUSE" userId="abd46b16-7bf0-4c01-a850-92fb83f61f27" providerId="ADAL" clId="{067C7D3F-9573-4B1A-A9B0-3005DA5BAAAF}" dt="2024-02-02T17:02:42.816" v="19520" actId="47"/>
          <pc:sldLayoutMkLst>
            <pc:docMk/>
            <pc:sldMasterMk cId="2531651770" sldId="2147483701"/>
            <pc:sldLayoutMk cId="3350282903" sldId="2147483988"/>
          </pc:sldLayoutMkLst>
        </pc:sldLayoutChg>
        <pc:sldLayoutChg chg="del">
          <pc:chgData name="Cyprien ARETHUSE" userId="abd46b16-7bf0-4c01-a850-92fb83f61f27" providerId="ADAL" clId="{067C7D3F-9573-4B1A-A9B0-3005DA5BAAAF}" dt="2024-02-02T16:48:20.744" v="19325" actId="47"/>
          <pc:sldLayoutMkLst>
            <pc:docMk/>
            <pc:sldMasterMk cId="2531651770" sldId="2147483701"/>
            <pc:sldLayoutMk cId="370257773" sldId="2147483989"/>
          </pc:sldLayoutMkLst>
        </pc:sldLayoutChg>
        <pc:sldLayoutChg chg="del">
          <pc:chgData name="Cyprien ARETHUSE" userId="abd46b16-7bf0-4c01-a850-92fb83f61f27" providerId="ADAL" clId="{067C7D3F-9573-4B1A-A9B0-3005DA5BAAAF}" dt="2024-02-02T16:51:21.251" v="19474" actId="47"/>
          <pc:sldLayoutMkLst>
            <pc:docMk/>
            <pc:sldMasterMk cId="2531651770" sldId="2147483701"/>
            <pc:sldLayoutMk cId="3557556558" sldId="2147483989"/>
          </pc:sldLayoutMkLst>
        </pc:sldLayoutChg>
      </pc:sldMasterChg>
      <pc:sldMasterChg chg="del delSldLayout">
        <pc:chgData name="Cyprien ARETHUSE" userId="abd46b16-7bf0-4c01-a850-92fb83f61f27" providerId="ADAL" clId="{067C7D3F-9573-4B1A-A9B0-3005DA5BAAAF}" dt="2024-01-22T15:09:15.111" v="3890" actId="47"/>
        <pc:sldMasterMkLst>
          <pc:docMk/>
          <pc:sldMasterMk cId="1585336962" sldId="2147483788"/>
        </pc:sldMasterMkLst>
        <pc:sldLayoutChg chg="del">
          <pc:chgData name="Cyprien ARETHUSE" userId="abd46b16-7bf0-4c01-a850-92fb83f61f27" providerId="ADAL" clId="{067C7D3F-9573-4B1A-A9B0-3005DA5BAAAF}" dt="2024-01-22T15:09:15.111" v="3890" actId="47"/>
          <pc:sldLayoutMkLst>
            <pc:docMk/>
            <pc:sldMasterMk cId="1585336962" sldId="2147483788"/>
            <pc:sldLayoutMk cId="2133962728" sldId="2147483789"/>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2648509755" sldId="2147483790"/>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564904382" sldId="2147483791"/>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3727211174" sldId="2147483792"/>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1016632870" sldId="2147483793"/>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760910483" sldId="2147483794"/>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4192685830" sldId="2147483795"/>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1598670239" sldId="2147483796"/>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2846839579" sldId="2147483797"/>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1353497650" sldId="2147483798"/>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1213471057" sldId="2147483799"/>
          </pc:sldLayoutMkLst>
        </pc:sldLayoutChg>
        <pc:sldLayoutChg chg="del">
          <pc:chgData name="Cyprien ARETHUSE" userId="abd46b16-7bf0-4c01-a850-92fb83f61f27" providerId="ADAL" clId="{067C7D3F-9573-4B1A-A9B0-3005DA5BAAAF}" dt="2024-01-22T15:09:15.111" v="3890" actId="47"/>
          <pc:sldLayoutMkLst>
            <pc:docMk/>
            <pc:sldMasterMk cId="1585336962" sldId="2147483788"/>
            <pc:sldLayoutMk cId="827613992" sldId="2147483800"/>
          </pc:sldLayoutMkLst>
        </pc:sldLayoutChg>
      </pc:sldMasterChg>
      <pc:sldMasterChg chg="delSldLayout">
        <pc:chgData name="Cyprien ARETHUSE" userId="abd46b16-7bf0-4c01-a850-92fb83f61f27" providerId="ADAL" clId="{067C7D3F-9573-4B1A-A9B0-3005DA5BAAAF}" dt="2024-02-02T14:30:31.477" v="17350" actId="47"/>
        <pc:sldMasterMkLst>
          <pc:docMk/>
          <pc:sldMasterMk cId="265491669" sldId="2147483851"/>
        </pc:sldMasterMkLst>
        <pc:sldLayoutChg chg="del">
          <pc:chgData name="Cyprien ARETHUSE" userId="abd46b16-7bf0-4c01-a850-92fb83f61f27" providerId="ADAL" clId="{067C7D3F-9573-4B1A-A9B0-3005DA5BAAAF}" dt="2024-02-02T14:30:31.477" v="17350" actId="47"/>
          <pc:sldLayoutMkLst>
            <pc:docMk/>
            <pc:sldMasterMk cId="265491669" sldId="2147483851"/>
            <pc:sldLayoutMk cId="2444745561" sldId="2147483859"/>
          </pc:sldLayoutMkLst>
        </pc:sldLayoutChg>
        <pc:sldLayoutChg chg="del">
          <pc:chgData name="Cyprien ARETHUSE" userId="abd46b16-7bf0-4c01-a850-92fb83f61f27" providerId="ADAL" clId="{067C7D3F-9573-4B1A-A9B0-3005DA5BAAAF}" dt="2024-01-31T15:54:03.253" v="10945" actId="47"/>
          <pc:sldLayoutMkLst>
            <pc:docMk/>
            <pc:sldMasterMk cId="265491669" sldId="2147483851"/>
            <pc:sldLayoutMk cId="2324139376" sldId="2147483861"/>
          </pc:sldLayoutMkLst>
        </pc:sldLayoutChg>
      </pc:sldMasterChg>
      <pc:sldMasterChg chg="del delSldLayout">
        <pc:chgData name="Cyprien ARETHUSE" userId="abd46b16-7bf0-4c01-a850-92fb83f61f27" providerId="ADAL" clId="{067C7D3F-9573-4B1A-A9B0-3005DA5BAAAF}" dt="2024-02-02T15:54:22.395" v="19224" actId="47"/>
        <pc:sldMasterMkLst>
          <pc:docMk/>
          <pc:sldMasterMk cId="3657910715" sldId="2147483989"/>
        </pc:sldMasterMkLst>
        <pc:sldLayoutChg chg="del">
          <pc:chgData name="Cyprien ARETHUSE" userId="abd46b16-7bf0-4c01-a850-92fb83f61f27" providerId="ADAL" clId="{067C7D3F-9573-4B1A-A9B0-3005DA5BAAAF}" dt="2024-02-02T15:54:22.395" v="19224" actId="47"/>
          <pc:sldLayoutMkLst>
            <pc:docMk/>
            <pc:sldMasterMk cId="3657910715" sldId="2147483989"/>
            <pc:sldLayoutMk cId="3343020588" sldId="214748399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FF2E2_CA0DF389.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Primes</c:v>
                </c:pt>
              </c:strCache>
            </c:strRef>
          </c:tx>
          <c:spPr>
            <a:solidFill>
              <a:schemeClr val="accent1"/>
            </a:solidFill>
            <a:ln>
              <a:noFill/>
            </a:ln>
            <a:effectLst/>
          </c:spPr>
          <c:invertIfNegative val="0"/>
          <c:cat>
            <c:strRef>
              <c:f>Feuil1!$A$2:$A$3</c:f>
              <c:strCache>
                <c:ptCount val="2"/>
                <c:pt idx="0">
                  <c:v>Revenus</c:v>
                </c:pt>
                <c:pt idx="1">
                  <c:v>Coûts</c:v>
                </c:pt>
              </c:strCache>
            </c:strRef>
          </c:cat>
          <c:val>
            <c:numRef>
              <c:f>Feuil1!$B$2:$B$3</c:f>
              <c:numCache>
                <c:formatCode>General</c:formatCode>
                <c:ptCount val="2"/>
                <c:pt idx="0" formatCode="0%">
                  <c:v>1</c:v>
                </c:pt>
              </c:numCache>
            </c:numRef>
          </c:val>
          <c:extLst>
            <c:ext xmlns:c16="http://schemas.microsoft.com/office/drawing/2014/chart" uri="{C3380CC4-5D6E-409C-BE32-E72D297353CC}">
              <c16:uniqueId val="{00000000-AE19-428C-AE66-5C77D94A861A}"/>
            </c:ext>
          </c:extLst>
        </c:ser>
        <c:ser>
          <c:idx val="1"/>
          <c:order val="1"/>
          <c:tx>
            <c:strRef>
              <c:f>Feuil1!$C$1</c:f>
              <c:strCache>
                <c:ptCount val="1"/>
                <c:pt idx="0">
                  <c:v>Réassurance</c:v>
                </c:pt>
              </c:strCache>
            </c:strRef>
          </c:tx>
          <c:spPr>
            <a:solidFill>
              <a:schemeClr val="accent2"/>
            </a:solidFill>
            <a:ln>
              <a:noFill/>
            </a:ln>
            <a:effectLst/>
          </c:spPr>
          <c:invertIfNegative val="0"/>
          <c:cat>
            <c:strRef>
              <c:f>Feuil1!$A$2:$A$3</c:f>
              <c:strCache>
                <c:ptCount val="2"/>
                <c:pt idx="0">
                  <c:v>Revenus</c:v>
                </c:pt>
                <c:pt idx="1">
                  <c:v>Coûts</c:v>
                </c:pt>
              </c:strCache>
            </c:strRef>
          </c:cat>
          <c:val>
            <c:numRef>
              <c:f>Feuil1!$C$2:$C$3</c:f>
              <c:numCache>
                <c:formatCode>0%</c:formatCode>
                <c:ptCount val="2"/>
                <c:pt idx="1">
                  <c:v>-0.03</c:v>
                </c:pt>
              </c:numCache>
            </c:numRef>
          </c:val>
          <c:extLst>
            <c:ext xmlns:c16="http://schemas.microsoft.com/office/drawing/2014/chart" uri="{C3380CC4-5D6E-409C-BE32-E72D297353CC}">
              <c16:uniqueId val="{00000001-AE19-428C-AE66-5C77D94A861A}"/>
            </c:ext>
          </c:extLst>
        </c:ser>
        <c:ser>
          <c:idx val="2"/>
          <c:order val="2"/>
          <c:tx>
            <c:strRef>
              <c:f>Feuil1!$D$1</c:f>
              <c:strCache>
                <c:ptCount val="1"/>
                <c:pt idx="0">
                  <c:v>Acquisition</c:v>
                </c:pt>
              </c:strCache>
            </c:strRef>
          </c:tx>
          <c:spPr>
            <a:solidFill>
              <a:schemeClr val="accent3"/>
            </a:solidFill>
            <a:ln>
              <a:noFill/>
            </a:ln>
            <a:effectLst/>
          </c:spPr>
          <c:invertIfNegative val="0"/>
          <c:cat>
            <c:strRef>
              <c:f>Feuil1!$A$2:$A$3</c:f>
              <c:strCache>
                <c:ptCount val="2"/>
                <c:pt idx="0">
                  <c:v>Revenus</c:v>
                </c:pt>
                <c:pt idx="1">
                  <c:v>Coûts</c:v>
                </c:pt>
              </c:strCache>
            </c:strRef>
          </c:cat>
          <c:val>
            <c:numRef>
              <c:f>Feuil1!$D$2:$D$3</c:f>
              <c:numCache>
                <c:formatCode>0%</c:formatCode>
                <c:ptCount val="2"/>
                <c:pt idx="1">
                  <c:v>0.16933333333333334</c:v>
                </c:pt>
              </c:numCache>
            </c:numRef>
          </c:val>
          <c:extLst>
            <c:ext xmlns:c16="http://schemas.microsoft.com/office/drawing/2014/chart" uri="{C3380CC4-5D6E-409C-BE32-E72D297353CC}">
              <c16:uniqueId val="{00000002-AE19-428C-AE66-5C77D94A861A}"/>
            </c:ext>
          </c:extLst>
        </c:ser>
        <c:ser>
          <c:idx val="3"/>
          <c:order val="3"/>
          <c:tx>
            <c:strRef>
              <c:f>Feuil1!$E$1</c:f>
              <c:strCache>
                <c:ptCount val="1"/>
                <c:pt idx="0">
                  <c:v>Gestion contrat</c:v>
                </c:pt>
              </c:strCache>
            </c:strRef>
          </c:tx>
          <c:spPr>
            <a:solidFill>
              <a:schemeClr val="accent4"/>
            </a:solidFill>
            <a:ln>
              <a:noFill/>
            </a:ln>
            <a:effectLst/>
          </c:spPr>
          <c:invertIfNegative val="0"/>
          <c:cat>
            <c:strRef>
              <c:f>Feuil1!$A$2:$A$3</c:f>
              <c:strCache>
                <c:ptCount val="2"/>
                <c:pt idx="0">
                  <c:v>Revenus</c:v>
                </c:pt>
                <c:pt idx="1">
                  <c:v>Coûts</c:v>
                </c:pt>
              </c:strCache>
            </c:strRef>
          </c:cat>
          <c:val>
            <c:numRef>
              <c:f>Feuil1!$E$2:$E$3</c:f>
              <c:numCache>
                <c:formatCode>0%</c:formatCode>
                <c:ptCount val="2"/>
                <c:pt idx="1">
                  <c:v>0.04</c:v>
                </c:pt>
              </c:numCache>
            </c:numRef>
          </c:val>
          <c:extLst>
            <c:ext xmlns:c16="http://schemas.microsoft.com/office/drawing/2014/chart" uri="{C3380CC4-5D6E-409C-BE32-E72D297353CC}">
              <c16:uniqueId val="{00000003-AE19-428C-AE66-5C77D94A861A}"/>
            </c:ext>
          </c:extLst>
        </c:ser>
        <c:ser>
          <c:idx val="4"/>
          <c:order val="4"/>
          <c:tx>
            <c:strRef>
              <c:f>Feuil1!$F$1</c:f>
              <c:strCache>
                <c:ptCount val="1"/>
                <c:pt idx="0">
                  <c:v>Gestion sinistre</c:v>
                </c:pt>
              </c:strCache>
            </c:strRef>
          </c:tx>
          <c:spPr>
            <a:solidFill>
              <a:schemeClr val="accent5"/>
            </a:solidFill>
            <a:ln>
              <a:noFill/>
            </a:ln>
            <a:effectLst/>
          </c:spPr>
          <c:invertIfNegative val="0"/>
          <c:cat>
            <c:strRef>
              <c:f>Feuil1!$A$2:$A$3</c:f>
              <c:strCache>
                <c:ptCount val="2"/>
                <c:pt idx="0">
                  <c:v>Revenus</c:v>
                </c:pt>
                <c:pt idx="1">
                  <c:v>Coûts</c:v>
                </c:pt>
              </c:strCache>
            </c:strRef>
          </c:cat>
          <c:val>
            <c:numRef>
              <c:f>Feuil1!$F$2:$F$3</c:f>
              <c:numCache>
                <c:formatCode>0%</c:formatCode>
                <c:ptCount val="2"/>
                <c:pt idx="1">
                  <c:v>8.6000000000000007E-2</c:v>
                </c:pt>
              </c:numCache>
            </c:numRef>
          </c:val>
          <c:extLst>
            <c:ext xmlns:c16="http://schemas.microsoft.com/office/drawing/2014/chart" uri="{C3380CC4-5D6E-409C-BE32-E72D297353CC}">
              <c16:uniqueId val="{00000004-AE19-428C-AE66-5C77D94A861A}"/>
            </c:ext>
          </c:extLst>
        </c:ser>
        <c:ser>
          <c:idx val="5"/>
          <c:order val="5"/>
          <c:tx>
            <c:strRef>
              <c:f>Feuil1!$G$1</c:f>
              <c:strCache>
                <c:ptCount val="1"/>
                <c:pt idx="0">
                  <c:v>Honoraires sinistre</c:v>
                </c:pt>
              </c:strCache>
            </c:strRef>
          </c:tx>
          <c:spPr>
            <a:solidFill>
              <a:schemeClr val="accent6"/>
            </a:solidFill>
            <a:ln>
              <a:noFill/>
            </a:ln>
            <a:effectLst/>
          </c:spPr>
          <c:invertIfNegative val="0"/>
          <c:cat>
            <c:strRef>
              <c:f>Feuil1!$A$2:$A$3</c:f>
              <c:strCache>
                <c:ptCount val="2"/>
                <c:pt idx="0">
                  <c:v>Revenus</c:v>
                </c:pt>
                <c:pt idx="1">
                  <c:v>Coûts</c:v>
                </c:pt>
              </c:strCache>
            </c:strRef>
          </c:cat>
          <c:val>
            <c:numRef>
              <c:f>Feuil1!$G$2:$G$3</c:f>
              <c:numCache>
                <c:formatCode>0%</c:formatCode>
                <c:ptCount val="2"/>
                <c:pt idx="1">
                  <c:v>0.04</c:v>
                </c:pt>
              </c:numCache>
            </c:numRef>
          </c:val>
          <c:extLst>
            <c:ext xmlns:c16="http://schemas.microsoft.com/office/drawing/2014/chart" uri="{C3380CC4-5D6E-409C-BE32-E72D297353CC}">
              <c16:uniqueId val="{00000005-AE19-428C-AE66-5C77D94A861A}"/>
            </c:ext>
          </c:extLst>
        </c:ser>
        <c:ser>
          <c:idx val="6"/>
          <c:order val="6"/>
          <c:tx>
            <c:strRef>
              <c:f>Feuil1!$H$1</c:f>
              <c:strCache>
                <c:ptCount val="1"/>
                <c:pt idx="0">
                  <c:v>Indemnités sinistre2</c:v>
                </c:pt>
              </c:strCache>
            </c:strRef>
          </c:tx>
          <c:spPr>
            <a:solidFill>
              <a:schemeClr val="accent1">
                <a:lumMod val="60000"/>
              </a:schemeClr>
            </a:solidFill>
            <a:ln>
              <a:noFill/>
            </a:ln>
            <a:effectLst/>
          </c:spPr>
          <c:invertIfNegative val="0"/>
          <c:cat>
            <c:strRef>
              <c:f>Feuil1!$A$2:$A$3</c:f>
              <c:strCache>
                <c:ptCount val="2"/>
                <c:pt idx="0">
                  <c:v>Revenus</c:v>
                </c:pt>
                <c:pt idx="1">
                  <c:v>Coûts</c:v>
                </c:pt>
              </c:strCache>
            </c:strRef>
          </c:cat>
          <c:val>
            <c:numRef>
              <c:f>Feuil1!$H$2:$H$3</c:f>
              <c:numCache>
                <c:formatCode>0%</c:formatCode>
                <c:ptCount val="2"/>
                <c:pt idx="1">
                  <c:v>0.38</c:v>
                </c:pt>
              </c:numCache>
            </c:numRef>
          </c:val>
          <c:extLst>
            <c:ext xmlns:c16="http://schemas.microsoft.com/office/drawing/2014/chart" uri="{C3380CC4-5D6E-409C-BE32-E72D297353CC}">
              <c16:uniqueId val="{00000006-AE19-428C-AE66-5C77D94A861A}"/>
            </c:ext>
          </c:extLst>
        </c:ser>
        <c:dLbls>
          <c:showLegendKey val="0"/>
          <c:showVal val="0"/>
          <c:showCatName val="0"/>
          <c:showSerName val="0"/>
          <c:showPercent val="0"/>
          <c:showBubbleSize val="0"/>
        </c:dLbls>
        <c:gapWidth val="150"/>
        <c:overlap val="100"/>
        <c:axId val="1125848592"/>
        <c:axId val="985685568"/>
      </c:barChart>
      <c:catAx>
        <c:axId val="1125848592"/>
        <c:scaling>
          <c:orientation val="minMax"/>
        </c:scaling>
        <c:delete val="1"/>
        <c:axPos val="b"/>
        <c:numFmt formatCode="General" sourceLinked="1"/>
        <c:majorTickMark val="none"/>
        <c:minorTickMark val="none"/>
        <c:tickLblPos val="nextTo"/>
        <c:crossAx val="985685568"/>
        <c:crosses val="autoZero"/>
        <c:auto val="1"/>
        <c:lblAlgn val="ctr"/>
        <c:lblOffset val="100"/>
        <c:noMultiLvlLbl val="0"/>
      </c:catAx>
      <c:valAx>
        <c:axId val="985685568"/>
        <c:scaling>
          <c:orientation val="minMax"/>
        </c:scaling>
        <c:delete val="1"/>
        <c:axPos val="l"/>
        <c:numFmt formatCode="0%" sourceLinked="1"/>
        <c:majorTickMark val="none"/>
        <c:minorTickMark val="none"/>
        <c:tickLblPos val="nextTo"/>
        <c:crossAx val="1125848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C9003044-CA07-36EC-6728-D9A7E83B2750}"/>
              </a:ext>
            </a:extLst>
          </p:cNvPr>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7FFEAF1-A5BB-E378-B7A4-D5D7D0B2D7B8}"/>
              </a:ext>
            </a:extLst>
          </p:cNvPr>
          <p:cNvSpPr>
            <a:spLocks noGrp="1"/>
          </p:cNvSpPr>
          <p:nvPr>
            <p:ph type="dt" sz="quarter" idx="1"/>
          </p:nvPr>
        </p:nvSpPr>
        <p:spPr>
          <a:xfrm>
            <a:off x="3851342" y="0"/>
            <a:ext cx="2946347" cy="498215"/>
          </a:xfrm>
          <a:prstGeom prst="rect">
            <a:avLst/>
          </a:prstGeom>
        </p:spPr>
        <p:txBody>
          <a:bodyPr vert="horz" lIns="91440" tIns="45720" rIns="91440" bIns="45720" rtlCol="0"/>
          <a:lstStyle>
            <a:lvl1pPr algn="r">
              <a:defRPr sz="1200"/>
            </a:lvl1pPr>
          </a:lstStyle>
          <a:p>
            <a:fld id="{4E8B0642-7EA4-4B06-8F02-AA7A59C05804}" type="datetimeFigureOut">
              <a:rPr lang="fr-FR" smtClean="0"/>
              <a:t>15/02/2024</a:t>
            </a:fld>
            <a:endParaRPr lang="fr-FR"/>
          </a:p>
        </p:txBody>
      </p:sp>
      <p:sp>
        <p:nvSpPr>
          <p:cNvPr id="4" name="Espace réservé du pied de page 3">
            <a:extLst>
              <a:ext uri="{FF2B5EF4-FFF2-40B4-BE49-F238E27FC236}">
                <a16:creationId xmlns:a16="http://schemas.microsoft.com/office/drawing/2014/main" id="{3DBCE361-979C-FADE-A650-D434672081EB}"/>
              </a:ext>
            </a:extLst>
          </p:cNvPr>
          <p:cNvSpPr>
            <a:spLocks noGrp="1"/>
          </p:cNvSpPr>
          <p:nvPr>
            <p:ph type="ftr" sz="quarter" idx="2"/>
          </p:nvPr>
        </p:nvSpPr>
        <p:spPr>
          <a:xfrm>
            <a:off x="0" y="9431600"/>
            <a:ext cx="2946347" cy="49821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43AFCE2C-B116-FABA-D576-53212C801CAB}"/>
              </a:ext>
            </a:extLst>
          </p:cNvPr>
          <p:cNvSpPr>
            <a:spLocks noGrp="1"/>
          </p:cNvSpPr>
          <p:nvPr>
            <p:ph type="sldNum" sz="quarter" idx="3"/>
          </p:nvPr>
        </p:nvSpPr>
        <p:spPr>
          <a:xfrm>
            <a:off x="3851342" y="9431600"/>
            <a:ext cx="2946347" cy="498214"/>
          </a:xfrm>
          <a:prstGeom prst="rect">
            <a:avLst/>
          </a:prstGeom>
        </p:spPr>
        <p:txBody>
          <a:bodyPr vert="horz" lIns="91440" tIns="45720" rIns="91440" bIns="45720" rtlCol="0" anchor="b"/>
          <a:lstStyle>
            <a:lvl1pPr algn="r">
              <a:defRPr sz="1200"/>
            </a:lvl1pPr>
          </a:lstStyle>
          <a:p>
            <a:fld id="{FD824E82-6BEB-4F02-ABE8-A567C757ABF7}" type="slidenum">
              <a:rPr lang="fr-FR" smtClean="0"/>
              <a:t>‹#›</a:t>
            </a:fld>
            <a:endParaRPr lang="fr-FR"/>
          </a:p>
        </p:txBody>
      </p:sp>
    </p:spTree>
    <p:extLst>
      <p:ext uri="{BB962C8B-B14F-4D97-AF65-F5344CB8AC3E}">
        <p14:creationId xmlns:p14="http://schemas.microsoft.com/office/powerpoint/2010/main" val="469986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F6E9A4C2-E9AA-4B60-BA42-13CFBC3361B5}" type="datetimeFigureOut">
              <a:rPr lang="fr-FR" smtClean="0"/>
              <a:t>15/02/2024</a:t>
            </a:fld>
            <a:endParaRPr lang="fr-FR"/>
          </a:p>
        </p:txBody>
      </p:sp>
      <p:sp>
        <p:nvSpPr>
          <p:cNvPr id="4" name="Espace réservé de l'image des diapositives 3"/>
          <p:cNvSpPr>
            <a:spLocks noGrp="1" noRot="1" noChangeAspect="1"/>
          </p:cNvSpPr>
          <p:nvPr>
            <p:ph type="sldImg" idx="2"/>
          </p:nvPr>
        </p:nvSpPr>
        <p:spPr>
          <a:xfrm>
            <a:off x="422275" y="1241425"/>
            <a:ext cx="5954713" cy="3351213"/>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65135EA3-A974-4373-B14B-91F3863F13FC}" type="slidenum">
              <a:rPr lang="fr-FR" smtClean="0"/>
              <a:t>‹#›</a:t>
            </a:fld>
            <a:endParaRPr lang="fr-FR"/>
          </a:p>
        </p:txBody>
      </p:sp>
    </p:spTree>
    <p:extLst>
      <p:ext uri="{BB962C8B-B14F-4D97-AF65-F5344CB8AC3E}">
        <p14:creationId xmlns:p14="http://schemas.microsoft.com/office/powerpoint/2010/main" val="870272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5"/>
        <p:cNvGrpSpPr/>
        <p:nvPr/>
      </p:nvGrpSpPr>
      <p:grpSpPr>
        <a:xfrm>
          <a:off x="0" y="0"/>
          <a:ext cx="0" cy="0"/>
          <a:chOff x="0" y="0"/>
          <a:chExt cx="0" cy="0"/>
        </a:xfrm>
      </p:grpSpPr>
      <p:sp>
        <p:nvSpPr>
          <p:cNvPr id="356" name="Google Shape;356;p1:notes"/>
          <p:cNvSpPr>
            <a:spLocks noGrp="1" noRot="1" noChangeAspect="1"/>
          </p:cNvSpPr>
          <p:nvPr>
            <p:ph type="sldImg" idx="2"/>
          </p:nvPr>
        </p:nvSpPr>
        <p:spPr>
          <a:xfrm>
            <a:off x="90488" y="744538"/>
            <a:ext cx="6618287"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57" name="Google Shape;357;p1:notes"/>
          <p:cNvSpPr txBox="1">
            <a:spLocks noGrp="1"/>
          </p:cNvSpPr>
          <p:nvPr>
            <p:ph type="body" idx="1"/>
          </p:nvPr>
        </p:nvSpPr>
        <p:spPr>
          <a:xfrm>
            <a:off x="679927" y="4716661"/>
            <a:ext cx="5439410" cy="4468416"/>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2</a:t>
            </a:fld>
            <a:endParaRPr lang="fr-FR"/>
          </a:p>
        </p:txBody>
      </p:sp>
    </p:spTree>
    <p:extLst>
      <p:ext uri="{BB962C8B-B14F-4D97-AF65-F5344CB8AC3E}">
        <p14:creationId xmlns:p14="http://schemas.microsoft.com/office/powerpoint/2010/main" val="3572200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3</a:t>
            </a:fld>
            <a:endParaRPr lang="fr-FR"/>
          </a:p>
        </p:txBody>
      </p:sp>
    </p:spTree>
    <p:extLst>
      <p:ext uri="{BB962C8B-B14F-4D97-AF65-F5344CB8AC3E}">
        <p14:creationId xmlns:p14="http://schemas.microsoft.com/office/powerpoint/2010/main" val="450083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4</a:t>
            </a:fld>
            <a:endParaRPr lang="fr-FR"/>
          </a:p>
        </p:txBody>
      </p:sp>
    </p:spTree>
    <p:extLst>
      <p:ext uri="{BB962C8B-B14F-4D97-AF65-F5344CB8AC3E}">
        <p14:creationId xmlns:p14="http://schemas.microsoft.com/office/powerpoint/2010/main" val="1392680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5</a:t>
            </a:fld>
            <a:endParaRPr lang="fr-FR"/>
          </a:p>
        </p:txBody>
      </p:sp>
    </p:spTree>
    <p:extLst>
      <p:ext uri="{BB962C8B-B14F-4D97-AF65-F5344CB8AC3E}">
        <p14:creationId xmlns:p14="http://schemas.microsoft.com/office/powerpoint/2010/main" val="1426954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6</a:t>
            </a:fld>
            <a:endParaRPr lang="fr-FR"/>
          </a:p>
        </p:txBody>
      </p:sp>
    </p:spTree>
    <p:extLst>
      <p:ext uri="{BB962C8B-B14F-4D97-AF65-F5344CB8AC3E}">
        <p14:creationId xmlns:p14="http://schemas.microsoft.com/office/powerpoint/2010/main" val="29241344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7</a:t>
            </a:fld>
            <a:endParaRPr lang="fr-FR"/>
          </a:p>
        </p:txBody>
      </p:sp>
    </p:spTree>
    <p:extLst>
      <p:ext uri="{BB962C8B-B14F-4D97-AF65-F5344CB8AC3E}">
        <p14:creationId xmlns:p14="http://schemas.microsoft.com/office/powerpoint/2010/main" val="1211756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A9425-1A89-4836-950A-30043975CF0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453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A9425-1A89-4836-950A-30043975CF0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6145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pPr marL="158750" indent="0">
              <a:buNone/>
            </a:pPr>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A9425-1A89-4836-950A-30043975CF0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886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pPr marL="158750" indent="0">
              <a:buNone/>
            </a:pPr>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A9425-1A89-4836-950A-30043975CF0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103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4538"/>
            <a:ext cx="6618287" cy="3724275"/>
          </a:xfrm>
        </p:spPr>
      </p:sp>
      <p:sp>
        <p:nvSpPr>
          <p:cNvPr id="3" name="Espace réservé des notes 2"/>
          <p:cNvSpPr>
            <a:spLocks noGrp="1"/>
          </p:cNvSpPr>
          <p:nvPr>
            <p:ph type="body" idx="1"/>
          </p:nvPr>
        </p:nvSpPr>
        <p:spPr/>
        <p:txBody>
          <a:bodyPr/>
          <a:lstStyle/>
          <a:p>
            <a:endParaRPr lang="fr-FR"/>
          </a:p>
        </p:txBody>
      </p:sp>
    </p:spTree>
    <p:extLst>
      <p:ext uri="{BB962C8B-B14F-4D97-AF65-F5344CB8AC3E}">
        <p14:creationId xmlns:p14="http://schemas.microsoft.com/office/powerpoint/2010/main" val="2111517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23825" y="763588"/>
            <a:ext cx="6794500" cy="3821112"/>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84698" rtl="0" eaLnBrk="1" fontAlgn="auto" latinLnBrk="0" hangingPunct="1">
              <a:lnSpc>
                <a:spcPct val="100000"/>
              </a:lnSpc>
              <a:spcBef>
                <a:spcPts val="0"/>
              </a:spcBef>
              <a:spcAft>
                <a:spcPts val="0"/>
              </a:spcAft>
              <a:buClr>
                <a:srgbClr val="000000"/>
              </a:buClr>
              <a:buSzTx/>
              <a:buFont typeface="Arial"/>
              <a:buNone/>
              <a:tabLst/>
              <a:defRPr/>
            </a:pPr>
            <a:fld id="{A6807808-DC1A-4374-88B8-0E77055B582C}" type="slidenum">
              <a:rPr kumimoji="0" lang="fr-FR" sz="1500" b="0" i="0" u="none" strike="noStrike" kern="0" cap="none" spc="0" normalizeH="0" baseline="0" noProof="0">
                <a:ln>
                  <a:noFill/>
                </a:ln>
                <a:solidFill>
                  <a:srgbClr val="000000"/>
                </a:solidFill>
                <a:effectLst/>
                <a:uLnTx/>
                <a:uFillTx/>
                <a:latin typeface="Arial"/>
                <a:cs typeface="Arial"/>
                <a:sym typeface="Arial"/>
              </a:rPr>
              <a:pPr marL="0" marR="0" lvl="0" indent="0" algn="r" defTabSz="984698" rtl="0" eaLnBrk="1" fontAlgn="auto" latinLnBrk="0" hangingPunct="1">
                <a:lnSpc>
                  <a:spcPct val="100000"/>
                </a:lnSpc>
                <a:spcBef>
                  <a:spcPts val="0"/>
                </a:spcBef>
                <a:spcAft>
                  <a:spcPts val="0"/>
                </a:spcAft>
                <a:buClr>
                  <a:srgbClr val="000000"/>
                </a:buClr>
                <a:buSzTx/>
                <a:buFont typeface="Arial"/>
                <a:buNone/>
                <a:tabLst/>
                <a:defRPr/>
              </a:pPr>
              <a:t>52</a:t>
            </a:fld>
            <a:endParaRPr kumimoji="0" lang="fr-FR" sz="15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95279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5135EA3-A974-4373-B14B-91F3863F13FC}" type="slidenum">
              <a:rPr lang="fr-FR" smtClean="0"/>
              <a:t>7</a:t>
            </a:fld>
            <a:endParaRPr lang="fr-FR"/>
          </a:p>
        </p:txBody>
      </p:sp>
    </p:spTree>
    <p:extLst>
      <p:ext uri="{BB962C8B-B14F-4D97-AF65-F5344CB8AC3E}">
        <p14:creationId xmlns:p14="http://schemas.microsoft.com/office/powerpoint/2010/main" val="2146727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1200" b="0" i="0" u="none" strike="noStrike" kern="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49238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prstClr val="white"/>
                </a:solidFill>
                <a:latin typeface="Calibri" panose="020F0502020204030204"/>
                <a:sym typeface="Arial"/>
              </a:rPr>
              <a:t>Analyser les processus met en évidence les pratiques d’organisation et les outils, en focalisant sur les pain points actuels ou les pistes d’amélioration du </a:t>
            </a:r>
            <a:r>
              <a:rPr lang="fr-FR" sz="1200">
                <a:solidFill>
                  <a:prstClr val="white"/>
                </a:solidFill>
                <a:latin typeface="Calibri" panose="020F0502020204030204"/>
              </a:rPr>
              <a:t>niveau de service, de la performance, via l’identification des « causes racines » des dysfonctionnements et l’exploration des principales solutions</a:t>
            </a:r>
            <a:endParaRPr lang="fr-FR" sz="1200">
              <a:solidFill>
                <a:prstClr val="white"/>
              </a:solidFill>
              <a:latin typeface="Calibri" panose="020F0502020204030204"/>
              <a:sym typeface="Arial"/>
            </a:endParaRPr>
          </a:p>
          <a:p>
            <a:endParaRPr lang="fr-F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prstClr val="white"/>
                </a:solidFill>
                <a:latin typeface="Calibri" panose="020F0502020204030204"/>
                <a:sym typeface="Arial"/>
              </a:rPr>
              <a:t>L’adoption de cette méthodologie permettra de définir </a:t>
            </a:r>
            <a:r>
              <a:rPr lang="fr-FR" sz="1200">
                <a:solidFill>
                  <a:prstClr val="white"/>
                </a:solidFill>
                <a:latin typeface="Calibri" panose="020F0502020204030204"/>
              </a:rPr>
              <a:t>le niveau de service attendu,  de mesurer la performance réelle des processus, d’identifier les causes sources des dysfonctionnements, de repérer les tâches sans valeur ajoutée et d’identifier des gisements de performance </a:t>
            </a:r>
            <a:endParaRPr lang="fr-FR" sz="1200">
              <a:solidFill>
                <a:prstClr val="white"/>
              </a:solidFill>
              <a:latin typeface="Calibri" panose="020F0502020204030204"/>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chemeClr val="bg1"/>
                </a:solidFill>
                <a:latin typeface="Calibri" panose="020F0502020204030204" pitchFamily="34" charset="0"/>
              </a:rPr>
              <a:t>Adopter une  démarche de travail « </a:t>
            </a:r>
            <a:r>
              <a:rPr kumimoji="0" lang="fr-FR" sz="1200" b="0" i="0" u="none" strike="noStrike" kern="1200" cap="none" spc="0" normalizeH="0" baseline="0" noProof="0">
                <a:ln>
                  <a:noFill/>
                </a:ln>
                <a:solidFill>
                  <a:prstClr val="white"/>
                </a:solidFill>
                <a:effectLst/>
                <a:uLnTx/>
                <a:uFillTx/>
                <a:latin typeface="Calibri" panose="020F0502020204030204"/>
                <a:ea typeface="+mn-ea"/>
                <a:cs typeface="+mn-cs"/>
              </a:rPr>
              <a:t>Design to time », </a:t>
            </a:r>
            <a:r>
              <a:rPr lang="fr-FR" sz="1200">
                <a:solidFill>
                  <a:schemeClr val="bg1"/>
                </a:solidFill>
                <a:latin typeface="Calibri" panose="020F0502020204030204" pitchFamily="34" charset="0"/>
              </a:rPr>
              <a:t>permettant de traiter les sujets dans le bon timing , en veillant à utiliser </a:t>
            </a:r>
            <a:r>
              <a:rPr lang="fr-FR" sz="1200" kern="1200">
                <a:solidFill>
                  <a:schemeClr val="bg1"/>
                </a:solidFill>
                <a:latin typeface="Calibri" panose="020F0502020204030204" pitchFamily="34" charset="0"/>
              </a:rPr>
              <a:t>les méthodes et outils retenus, être systématiques</a:t>
            </a:r>
            <a:endParaRPr lang="fr-FR" sz="1200" b="1" cap="small">
              <a:solidFill>
                <a:prstClr val="white"/>
              </a:solidFill>
              <a:latin typeface="Calibri" panose="020F0502020204030204" pitchFamily="34" charset="0"/>
              <a:cs typeface="Calibri" panose="020F0502020204030204" pitchFamily="34" charset="0"/>
            </a:endParaRPr>
          </a:p>
          <a:p>
            <a:endParaRPr lang="fr-F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white"/>
                </a:solidFill>
                <a:effectLst/>
                <a:uLnTx/>
                <a:uFillTx/>
                <a:latin typeface="Calibri" panose="020F0502020204030204"/>
                <a:ea typeface="+mn-ea"/>
                <a:cs typeface="+mn-cs"/>
              </a:rPr>
              <a:t>Des guides d’entretien structurés pour la réalisation des entretiens individuels, des techniques d’animation d’ateliers adaptées aux enjeux et s’appuyant sur des outils facilitant l’adhésion et la collaboration et enfin le recours à l</a:t>
            </a:r>
            <a:r>
              <a:rPr kumimoji="0" lang="fr-FR" sz="12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outil </a:t>
            </a:r>
            <a:r>
              <a:rPr kumimoji="0" lang="fr-FR" sz="1200" b="1"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SynapsCore</a:t>
            </a:r>
            <a:r>
              <a:rPr kumimoji="0" lang="fr-FR" sz="12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fr-FR" sz="1200" b="0" i="0" u="none" strike="noStrike" kern="1200" cap="none" spc="0" normalizeH="0" baseline="0" noProof="0">
                <a:ln>
                  <a:noFill/>
                </a:ln>
                <a:solidFill>
                  <a:prstClr val="white"/>
                </a:solidFill>
                <a:effectLst/>
                <a:uLnTx/>
                <a:uFillTx/>
                <a:latin typeface="Calibri" panose="020F0502020204030204"/>
                <a:ea typeface="+mn-ea"/>
                <a:cs typeface="+mn-cs"/>
              </a:rPr>
              <a:t>pour analyser les résultats a posteriori, identifier les opportunités et réaliser des synthèses en s’appuyant sur l’IA</a:t>
            </a: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a:p>
            <a:endParaRPr lang="fr-FR"/>
          </a:p>
        </p:txBody>
      </p:sp>
      <p:sp>
        <p:nvSpPr>
          <p:cNvPr id="4" name="Espace réservé du numéro de diapositive 3"/>
          <p:cNvSpPr>
            <a:spLocks noGrp="1"/>
          </p:cNvSpPr>
          <p:nvPr>
            <p:ph type="sldNum" sz="quarter" idx="5"/>
          </p:nvPr>
        </p:nvSpPr>
        <p:spPr/>
        <p:txBody>
          <a:bodyPr/>
          <a:lstStyle/>
          <a:p>
            <a:fld id="{65135EA3-A974-4373-B14B-91F3863F13FC}" type="slidenum">
              <a:rPr lang="fr-FR" smtClean="0"/>
              <a:t>15</a:t>
            </a:fld>
            <a:endParaRPr lang="fr-FR"/>
          </a:p>
        </p:txBody>
      </p:sp>
    </p:spTree>
    <p:extLst>
      <p:ext uri="{BB962C8B-B14F-4D97-AF65-F5344CB8AC3E}">
        <p14:creationId xmlns:p14="http://schemas.microsoft.com/office/powerpoint/2010/main" val="72817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5135EA3-A974-4373-B14B-91F3863F13FC}" type="slidenum">
              <a:rPr lang="fr-FR" smtClean="0"/>
              <a:t>18</a:t>
            </a:fld>
            <a:endParaRPr lang="fr-FR"/>
          </a:p>
        </p:txBody>
      </p:sp>
    </p:spTree>
    <p:extLst>
      <p:ext uri="{BB962C8B-B14F-4D97-AF65-F5344CB8AC3E}">
        <p14:creationId xmlns:p14="http://schemas.microsoft.com/office/powerpoint/2010/main" val="398876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5135EA3-A974-4373-B14B-91F3863F13FC}" type="slidenum">
              <a:rPr lang="fr-FR" smtClean="0"/>
              <a:t>19</a:t>
            </a:fld>
            <a:endParaRPr lang="fr-FR"/>
          </a:p>
        </p:txBody>
      </p:sp>
    </p:spTree>
    <p:extLst>
      <p:ext uri="{BB962C8B-B14F-4D97-AF65-F5344CB8AC3E}">
        <p14:creationId xmlns:p14="http://schemas.microsoft.com/office/powerpoint/2010/main" val="2158944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0</a:t>
            </a:fld>
            <a:endParaRPr lang="fr-FR"/>
          </a:p>
        </p:txBody>
      </p:sp>
    </p:spTree>
    <p:extLst>
      <p:ext uri="{BB962C8B-B14F-4D97-AF65-F5344CB8AC3E}">
        <p14:creationId xmlns:p14="http://schemas.microsoft.com/office/powerpoint/2010/main" val="1060252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65962E7-97BB-4208-8C22-1B874BFF7060}" type="slidenum">
              <a:rPr lang="fr-FR" smtClean="0"/>
              <a:t>21</a:t>
            </a:fld>
            <a:endParaRPr lang="fr-FR"/>
          </a:p>
        </p:txBody>
      </p:sp>
    </p:spTree>
    <p:extLst>
      <p:ext uri="{BB962C8B-B14F-4D97-AF65-F5344CB8AC3E}">
        <p14:creationId xmlns:p14="http://schemas.microsoft.com/office/powerpoint/2010/main" val="31574875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6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65.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66.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67.xml"/><Relationship Id="rId5" Type="http://schemas.openxmlformats.org/officeDocument/2006/relationships/image" Target="../media/image44.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70.xml"/><Relationship Id="rId5" Type="http://schemas.openxmlformats.org/officeDocument/2006/relationships/image" Target="../media/image45.pn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72.xml"/><Relationship Id="rId6" Type="http://schemas.openxmlformats.org/officeDocument/2006/relationships/image" Target="../media/image7.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1.bin"/><Relationship Id="rId7"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74.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tags" Target="../tags/tag75.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6.xml"/><Relationship Id="rId1" Type="http://schemas.openxmlformats.org/officeDocument/2006/relationships/tags" Target="../tags/tag81.xml"/><Relationship Id="rId5" Type="http://schemas.openxmlformats.org/officeDocument/2006/relationships/image" Target="../media/image49.png"/><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6.xml"/><Relationship Id="rId1" Type="http://schemas.openxmlformats.org/officeDocument/2006/relationships/tags" Target="../tags/tag82.xml"/><Relationship Id="rId5" Type="http://schemas.openxmlformats.org/officeDocument/2006/relationships/image" Target="../media/image23.png"/><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8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23.png"/><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22.png"/><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8.xml"/><Relationship Id="rId4" Type="http://schemas.openxmlformats.org/officeDocument/2006/relationships/image" Target="../media/image32.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8.xml"/><Relationship Id="rId1" Type="http://schemas.openxmlformats.org/officeDocument/2006/relationships/tags" Target="../tags/tag84.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5.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86.xml"/><Relationship Id="rId4" Type="http://schemas.openxmlformats.org/officeDocument/2006/relationships/image" Target="../media/image1.emf"/></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9.xml"/><Relationship Id="rId7" Type="http://schemas.openxmlformats.org/officeDocument/2006/relationships/image" Target="../media/image3.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9.xml"/><Relationship Id="rId1" Type="http://schemas.openxmlformats.org/officeDocument/2006/relationships/tags" Target="../tags/tag92.xml"/><Relationship Id="rId6" Type="http://schemas.openxmlformats.org/officeDocument/2006/relationships/image" Target="../media/image39.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9.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9.xml"/><Relationship Id="rId1" Type="http://schemas.openxmlformats.org/officeDocument/2006/relationships/tags" Target="../tags/tag9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9.xml"/><Relationship Id="rId1" Type="http://schemas.openxmlformats.org/officeDocument/2006/relationships/tags" Target="../tags/tag9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9.xml"/><Relationship Id="rId1" Type="http://schemas.openxmlformats.org/officeDocument/2006/relationships/tags" Target="../tags/tag98.xml"/><Relationship Id="rId6" Type="http://schemas.openxmlformats.org/officeDocument/2006/relationships/image" Target="../media/image7.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24.png"/><Relationship Id="rId4" Type="http://schemas.openxmlformats.org/officeDocument/2006/relationships/image" Target="../media/image1.emf"/></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9.xml"/><Relationship Id="rId1" Type="http://schemas.openxmlformats.org/officeDocument/2006/relationships/tags" Target="../tags/tag99.xml"/><Relationship Id="rId4" Type="http://schemas.openxmlformats.org/officeDocument/2006/relationships/image" Target="../media/image1.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78.bin"/><Relationship Id="rId7" Type="http://schemas.openxmlformats.org/officeDocument/2006/relationships/image" Target="../media/image11.png"/><Relationship Id="rId2" Type="http://schemas.openxmlformats.org/officeDocument/2006/relationships/slideMaster" Target="../slideMasters/slideMaster9.xml"/><Relationship Id="rId1" Type="http://schemas.openxmlformats.org/officeDocument/2006/relationships/tags" Target="../tags/tag100.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27.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27.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27.png"/><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3.png"/><Relationship Id="rId5" Type="http://schemas.openxmlformats.org/officeDocument/2006/relationships/image" Target="../media/image13.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43.xml"/><Relationship Id="rId5" Type="http://schemas.openxmlformats.org/officeDocument/2006/relationships/image" Target="../media/image2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3.jpe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5.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39.pn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51.xml"/><Relationship Id="rId5" Type="http://schemas.openxmlformats.org/officeDocument/2006/relationships/image" Target="../media/image39.pn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5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53.xml"/><Relationship Id="rId5" Type="http://schemas.openxmlformats.org/officeDocument/2006/relationships/image" Target="../media/image40.png"/><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4.xml"/><Relationship Id="rId5" Type="http://schemas.openxmlformats.org/officeDocument/2006/relationships/image" Target="../media/image40.pn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5.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4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6"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7">
            <a:alphaModFix/>
            <a:extLst>
              <a:ext uri="{28A0092B-C50C-407E-A947-70E740481C1C}">
                <a14:useLocalDpi xmlns:a14="http://schemas.microsoft.com/office/drawing/2010/main" val="0"/>
              </a:ext>
            </a:extLst>
          </a:blip>
          <a:srcRect/>
          <a:stretch/>
        </p:blipFill>
        <p:spPr>
          <a:xfrm>
            <a:off x="-1" y="-1"/>
            <a:ext cx="12087492" cy="6858000"/>
          </a:xfrm>
          <a:prstGeom prst="rect">
            <a:avLst/>
          </a:prstGeom>
          <a:noFill/>
          <a:ln>
            <a:noFill/>
          </a:ln>
        </p:spPr>
      </p:pic>
      <p:sp>
        <p:nvSpPr>
          <p:cNvPr id="2" name="Titre 1">
            <a:extLst>
              <a:ext uri="{FF2B5EF4-FFF2-40B4-BE49-F238E27FC236}">
                <a16:creationId xmlns:a16="http://schemas.microsoft.com/office/drawing/2014/main" id="{97F4ECCA-ED68-478D-B970-E02E953A2CD6}"/>
              </a:ext>
            </a:extLst>
          </p:cNvPr>
          <p:cNvSpPr>
            <a:spLocks noGrp="1"/>
          </p:cNvSpPr>
          <p:nvPr>
            <p:ph type="ctrTitle" hasCustomPrompt="1"/>
          </p:nvPr>
        </p:nvSpPr>
        <p:spPr>
          <a:xfrm>
            <a:off x="350533" y="697583"/>
            <a:ext cx="9144000" cy="443199"/>
          </a:xfrm>
          <a:prstGeom prst="rect">
            <a:avLst/>
          </a:prstGeom>
        </p:spPr>
        <p:txBody>
          <a:bodyPr lIns="0" tIns="0" rIns="0" bIns="0" anchor="b">
            <a:spAutoFit/>
          </a:bodyPr>
          <a:lstStyle>
            <a:lvl1pPr algn="l">
              <a:defRPr sz="3200" b="1">
                <a:solidFill>
                  <a:schemeClr val="bg1"/>
                </a:solidFill>
                <a:latin typeface="Montserrat" panose="00000500000000000000" pitchFamily="2" charset="0"/>
              </a:defRPr>
            </a:lvl1pPr>
          </a:lstStyle>
          <a:p>
            <a:r>
              <a:rPr lang="fr-FR"/>
              <a:t>Titre de la présentation</a:t>
            </a:r>
            <a:endParaRPr lang="en-US"/>
          </a:p>
        </p:txBody>
      </p:sp>
      <p:sp>
        <p:nvSpPr>
          <p:cNvPr id="3" name="Sous-titre 2">
            <a:extLst>
              <a:ext uri="{FF2B5EF4-FFF2-40B4-BE49-F238E27FC236}">
                <a16:creationId xmlns:a16="http://schemas.microsoft.com/office/drawing/2014/main" id="{7B0EF1DE-CC7A-4F58-84C3-E4D68AD9AA3C}"/>
              </a:ext>
            </a:extLst>
          </p:cNvPr>
          <p:cNvSpPr>
            <a:spLocks noGrp="1"/>
          </p:cNvSpPr>
          <p:nvPr>
            <p:ph type="subTitle" idx="1" hasCustomPrompt="1"/>
          </p:nvPr>
        </p:nvSpPr>
        <p:spPr>
          <a:xfrm>
            <a:off x="350533" y="1687291"/>
            <a:ext cx="9144000" cy="387799"/>
          </a:xfrm>
          <a:prstGeom prst="rect">
            <a:avLst/>
          </a:prstGeom>
        </p:spPr>
        <p:txBody>
          <a:bodyPr lIns="0" tIns="0" rIns="0" bIns="0">
            <a:spAutoFit/>
          </a:bodyPr>
          <a:lstStyle>
            <a:lvl1pPr marL="0" indent="0" algn="l">
              <a:buNone/>
              <a:defRPr sz="2800" b="0">
                <a:solidFill>
                  <a:schemeClr val="bg1"/>
                </a:solidFill>
                <a:latin typeface="Montserrat" panose="00000500000000000000" pitchFamily="2" charset="0"/>
              </a:defRPr>
            </a:lvl1pPr>
            <a:lvl2pPr marL="609523" indent="0" algn="ctr">
              <a:buNone/>
              <a:defRPr sz="2667"/>
            </a:lvl2pPr>
            <a:lvl3pPr marL="1219050" indent="0" algn="ctr">
              <a:buNone/>
              <a:defRPr sz="2400"/>
            </a:lvl3pPr>
            <a:lvl4pPr marL="1828573" indent="0" algn="ctr">
              <a:buNone/>
              <a:defRPr sz="2133"/>
            </a:lvl4pPr>
            <a:lvl5pPr marL="2438098" indent="0" algn="ctr">
              <a:buNone/>
              <a:defRPr sz="2133"/>
            </a:lvl5pPr>
            <a:lvl6pPr marL="3047620" indent="0" algn="ctr">
              <a:buNone/>
              <a:defRPr sz="2133"/>
            </a:lvl6pPr>
            <a:lvl7pPr marL="3657143" indent="0" algn="ctr">
              <a:buNone/>
              <a:defRPr sz="2133"/>
            </a:lvl7pPr>
            <a:lvl8pPr marL="4266667" indent="0" algn="ctr">
              <a:buNone/>
              <a:defRPr sz="2133"/>
            </a:lvl8pPr>
            <a:lvl9pPr marL="4876191" indent="0" algn="ctr">
              <a:buNone/>
              <a:defRPr sz="2133"/>
            </a:lvl9pPr>
          </a:lstStyle>
          <a:p>
            <a:r>
              <a:rPr lang="fr-FR"/>
              <a:t>Date</a:t>
            </a:r>
            <a:endParaRPr lang="en-US"/>
          </a:p>
        </p:txBody>
      </p:sp>
      <p:cxnSp>
        <p:nvCxnSpPr>
          <p:cNvPr id="14" name="Connecteur droit 13">
            <a:extLst>
              <a:ext uri="{FF2B5EF4-FFF2-40B4-BE49-F238E27FC236}">
                <a16:creationId xmlns:a16="http://schemas.microsoft.com/office/drawing/2014/main" id="{1F57DF4D-28C9-407C-B409-CBE3FAE9E3BA}"/>
              </a:ext>
            </a:extLst>
          </p:cNvPr>
          <p:cNvCxnSpPr/>
          <p:nvPr userDrawn="1"/>
        </p:nvCxnSpPr>
        <p:spPr>
          <a:xfrm>
            <a:off x="350533" y="495299"/>
            <a:ext cx="40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4"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pic>
        <p:nvPicPr>
          <p:cNvPr id="5" name="Image 4" descr="Une image contenant dessin&#10;&#10;Description générée automatiquement">
            <a:extLst>
              <a:ext uri="{FF2B5EF4-FFF2-40B4-BE49-F238E27FC236}">
                <a16:creationId xmlns:a16="http://schemas.microsoft.com/office/drawing/2014/main" id="{B0776186-9AD0-400D-9157-577DB7F6CD7C}"/>
              </a:ext>
            </a:extLst>
          </p:cNvPr>
          <p:cNvPicPr>
            <a:picLocks noChangeAspect="1"/>
          </p:cNvPicPr>
          <p:nvPr userDrawn="1"/>
        </p:nvPicPr>
        <p:blipFill>
          <a:blip r:embed="rId8"/>
          <a:stretch>
            <a:fillRect/>
          </a:stretch>
        </p:blipFill>
        <p:spPr>
          <a:xfrm>
            <a:off x="8737459" y="2621598"/>
            <a:ext cx="3073296" cy="1728729"/>
          </a:xfrm>
          <a:prstGeom prst="rect">
            <a:avLst/>
          </a:prstGeom>
        </p:spPr>
      </p:pic>
    </p:spTree>
    <p:extLst>
      <p:ext uri="{BB962C8B-B14F-4D97-AF65-F5344CB8AC3E}">
        <p14:creationId xmlns:p14="http://schemas.microsoft.com/office/powerpoint/2010/main" val="185837313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ommaire">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40E6028F-B1E4-467E-84BF-98D288DC6518}"/>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12" name="Objet 11" hidden="1">
                        <a:extLst>
                          <a:ext uri="{FF2B5EF4-FFF2-40B4-BE49-F238E27FC236}">
                            <a16:creationId xmlns:a16="http://schemas.microsoft.com/office/drawing/2014/main" id="{40E6028F-B1E4-467E-84BF-98D288DC6518}"/>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4" name="Image 13">
            <a:extLst>
              <a:ext uri="{FF2B5EF4-FFF2-40B4-BE49-F238E27FC236}">
                <a16:creationId xmlns:a16="http://schemas.microsoft.com/office/drawing/2014/main" id="{C20E9B0F-F267-43A5-A9C0-548FDECFD34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Google Shape;243;p38">
            <a:extLst>
              <a:ext uri="{FF2B5EF4-FFF2-40B4-BE49-F238E27FC236}">
                <a16:creationId xmlns:a16="http://schemas.microsoft.com/office/drawing/2014/main" id="{19AC8978-B22C-43FD-A8E5-232D99437B70}"/>
              </a:ext>
            </a:extLst>
          </p:cNvPr>
          <p:cNvPicPr preferRelativeResize="0"/>
          <p:nvPr userDrawn="1"/>
        </p:nvPicPr>
        <p:blipFill rotWithShape="1">
          <a:blip r:embed="rId6" cstate="screen">
            <a:alphaModFix/>
            <a:extLst>
              <a:ext uri="{28A0092B-C50C-407E-A947-70E740481C1C}">
                <a14:useLocalDpi xmlns:a14="http://schemas.microsoft.com/office/drawing/2010/main"/>
              </a:ext>
            </a:extLst>
          </a:blip>
          <a:srcRect/>
          <a:stretch/>
        </p:blipFill>
        <p:spPr>
          <a:xfrm>
            <a:off x="9002637" y="5855356"/>
            <a:ext cx="1781824" cy="1002649"/>
          </a:xfrm>
          <a:prstGeom prst="rect">
            <a:avLst/>
          </a:prstGeom>
          <a:noFill/>
          <a:ln>
            <a:noFill/>
          </a:ln>
        </p:spPr>
      </p:pic>
      <p:sp>
        <p:nvSpPr>
          <p:cNvPr id="2" name="Titre 1">
            <a:extLst>
              <a:ext uri="{FF2B5EF4-FFF2-40B4-BE49-F238E27FC236}">
                <a16:creationId xmlns:a16="http://schemas.microsoft.com/office/drawing/2014/main" id="{D56A2780-DED2-4572-9DB4-F2C67BB7AE1C}"/>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accent1"/>
                </a:solidFill>
                <a:latin typeface="Montserrat" panose="00000500000000000000" pitchFamily="2" charset="0"/>
                <a:sym typeface="Montserrat" panose="00000500000000000000" pitchFamily="2" charset="0"/>
              </a:defRPr>
            </a:lvl1pPr>
          </a:lstStyle>
          <a:p>
            <a:r>
              <a:rPr lang="fr-FR"/>
              <a:t>SOMMAIRE</a:t>
            </a:r>
            <a:endParaRPr lang="en-US"/>
          </a:p>
        </p:txBody>
      </p:sp>
      <p:cxnSp>
        <p:nvCxnSpPr>
          <p:cNvPr id="17" name="Connecteur droit 16">
            <a:extLst>
              <a:ext uri="{FF2B5EF4-FFF2-40B4-BE49-F238E27FC236}">
                <a16:creationId xmlns:a16="http://schemas.microsoft.com/office/drawing/2014/main" id="{7DADD991-AA4F-4885-BFC0-04BBC858DEB1}"/>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a:extLst>
              <a:ext uri="{FF2B5EF4-FFF2-40B4-BE49-F238E27FC236}">
                <a16:creationId xmlns:a16="http://schemas.microsoft.com/office/drawing/2014/main" id="{39B6A5A2-7DE9-4E90-9433-FF121AE1B139}"/>
              </a:ext>
            </a:extLst>
          </p:cNvPr>
          <p:cNvSpPr>
            <a:spLocks noGrp="1"/>
          </p:cNvSpPr>
          <p:nvPr>
            <p:ph idx="1"/>
          </p:nvPr>
        </p:nvSpPr>
        <p:spPr>
          <a:xfrm>
            <a:off x="444500" y="3568930"/>
            <a:ext cx="6120000" cy="215444"/>
          </a:xfrm>
          <a:prstGeom prst="rect">
            <a:avLst/>
          </a:prstGeom>
        </p:spPr>
        <p:txBody>
          <a:bodyPr wrap="square" lIns="0" tIns="0" rIns="0" bIns="0" anchor="ctr" anchorCtr="0">
            <a:spAutoFit/>
          </a:bodyPr>
          <a:lstStyle>
            <a:lvl1pPr marL="0" indent="0">
              <a:lnSpc>
                <a:spcPct val="100000"/>
              </a:lnSpc>
              <a:spcBef>
                <a:spcPts val="0"/>
              </a:spcBef>
              <a:spcAft>
                <a:spcPts val="151"/>
              </a:spcAft>
              <a:buNone/>
              <a:defRPr sz="1400" b="1">
                <a:solidFill>
                  <a:schemeClr val="accent4"/>
                </a:solidFill>
                <a:latin typeface="Montserrat" panose="00000500000000000000" pitchFamily="2" charset="0"/>
              </a:defRPr>
            </a:lvl1pPr>
            <a:lvl2pPr marL="609539" indent="0">
              <a:buNone/>
              <a:defRPr/>
            </a:lvl2pPr>
          </a:lstStyle>
          <a:p>
            <a:pPr lvl="0"/>
            <a:r>
              <a:rPr lang="fr-FR"/>
              <a:t>Modifier les styles du texte du masque</a:t>
            </a:r>
          </a:p>
        </p:txBody>
      </p:sp>
      <p:sp>
        <p:nvSpPr>
          <p:cNvPr id="9" name="Espace réservé du pied de page 24">
            <a:extLst>
              <a:ext uri="{FF2B5EF4-FFF2-40B4-BE49-F238E27FC236}">
                <a16:creationId xmlns:a16="http://schemas.microsoft.com/office/drawing/2014/main" id="{081F731C-35C6-4B7F-8B2B-4787A4EAF6D4}"/>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Tree>
    <p:extLst>
      <p:ext uri="{BB962C8B-B14F-4D97-AF65-F5344CB8AC3E}">
        <p14:creationId xmlns:p14="http://schemas.microsoft.com/office/powerpoint/2010/main" val="3628206531"/>
      </p:ext>
    </p:extLst>
  </p:cSld>
  <p:clrMapOvr>
    <a:masterClrMapping/>
  </p:clrMapOvr>
  <p:extLst>
    <p:ext uri="{DCECCB84-F9BA-43D5-87BE-67443E8EF086}">
      <p15:sldGuideLst xmlns:p15="http://schemas.microsoft.com/office/powerpoint/2012/main">
        <p15:guide id="1" orient="horz" pos="595">
          <p15:clr>
            <a:srgbClr val="FBAE40"/>
          </p15:clr>
        </p15:guide>
        <p15:guide id="3" orient="horz" pos="404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lan Operation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3363997310"/>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71E995-8CAC-4A74-A677-5A59FC0CAD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sp>
        <p:nvSpPr>
          <p:cNvPr id="28" name="Espace réservé du texte 9">
            <a:extLst>
              <a:ext uri="{FF2B5EF4-FFF2-40B4-BE49-F238E27FC236}">
                <a16:creationId xmlns:a16="http://schemas.microsoft.com/office/drawing/2014/main" id="{29C0BE77-41F0-4DC8-94AA-363A61905298}"/>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1" name="ZoneTexte 30">
            <a:extLst>
              <a:ext uri="{FF2B5EF4-FFF2-40B4-BE49-F238E27FC236}">
                <a16:creationId xmlns:a16="http://schemas.microsoft.com/office/drawing/2014/main" id="{14D994E9-6D7D-43B3-8E5A-BE6E319F34A1}"/>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2" name="Espace réservé du pied de page 24">
            <a:extLst>
              <a:ext uri="{FF2B5EF4-FFF2-40B4-BE49-F238E27FC236}">
                <a16:creationId xmlns:a16="http://schemas.microsoft.com/office/drawing/2014/main" id="{0839D8FE-90C2-4A0F-97FC-59D432D3F109}"/>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5" name="Espace réservé du titre 22">
            <a:extLst>
              <a:ext uri="{FF2B5EF4-FFF2-40B4-BE49-F238E27FC236}">
                <a16:creationId xmlns:a16="http://schemas.microsoft.com/office/drawing/2014/main" id="{F1920192-41D9-4D11-BECE-D3BD0AD08F1B}"/>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2">
                    <a:lumMod val="40000"/>
                    <a:lumOff val="60000"/>
                  </a:schemeClr>
                </a:solidFill>
                <a:latin typeface="Montserrat" panose="00000500000000000000" pitchFamily="2" charset="0"/>
              </a:defRPr>
            </a:lvl1pPr>
          </a:lstStyle>
          <a:p>
            <a:r>
              <a:rPr lang="fr-FR"/>
              <a:t>MODIFIEZ LE STYLE DU TITRE</a:t>
            </a:r>
            <a:endParaRPr lang="en-US"/>
          </a:p>
        </p:txBody>
      </p:sp>
      <p:sp>
        <p:nvSpPr>
          <p:cNvPr id="20" name="Rectangle 15">
            <a:extLst>
              <a:ext uri="{FF2B5EF4-FFF2-40B4-BE49-F238E27FC236}">
                <a16:creationId xmlns:a16="http://schemas.microsoft.com/office/drawing/2014/main" id="{C9082202-9D04-4450-BCCB-A3A63948920C}"/>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EC00F849-2BF7-4E27-8D48-88D26475E097}"/>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2" name="Espace réservé du texte 9">
            <a:extLst>
              <a:ext uri="{FF2B5EF4-FFF2-40B4-BE49-F238E27FC236}">
                <a16:creationId xmlns:a16="http://schemas.microsoft.com/office/drawing/2014/main" id="{2C603AF8-6EC0-4EDB-8250-6BD412120B75}"/>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1BF90F45-C78F-4F11-BB5E-4EA57FF7B750}"/>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cxnSp>
        <p:nvCxnSpPr>
          <p:cNvPr id="26" name="Connecteur droit 25">
            <a:extLst>
              <a:ext uri="{FF2B5EF4-FFF2-40B4-BE49-F238E27FC236}">
                <a16:creationId xmlns:a16="http://schemas.microsoft.com/office/drawing/2014/main" id="{38322079-20F2-4A4E-85E3-FFCFD0151BA3}"/>
              </a:ext>
            </a:extLst>
          </p:cNvPr>
          <p:cNvCxnSpPr/>
          <p:nvPr userDrawn="1"/>
        </p:nvCxnSpPr>
        <p:spPr>
          <a:xfrm>
            <a:off x="444500" y="334432"/>
            <a:ext cx="216000" cy="0"/>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7" name="Espace réservé du pied de page 24">
            <a:extLst>
              <a:ext uri="{FF2B5EF4-FFF2-40B4-BE49-F238E27FC236}">
                <a16:creationId xmlns:a16="http://schemas.microsoft.com/office/drawing/2014/main" id="{6E5267A7-DD69-4325-98BD-ED3CEB74601C}"/>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53" name="Image 52">
            <a:extLst>
              <a:ext uri="{FF2B5EF4-FFF2-40B4-BE49-F238E27FC236}">
                <a16:creationId xmlns:a16="http://schemas.microsoft.com/office/drawing/2014/main" id="{8F901FEA-A781-42AC-83CD-9E9B2E0EDE4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54511" y="322410"/>
            <a:ext cx="1266014" cy="587219"/>
          </a:xfrm>
          <a:prstGeom prst="rect">
            <a:avLst/>
          </a:prstGeom>
        </p:spPr>
      </p:pic>
    </p:spTree>
    <p:extLst>
      <p:ext uri="{BB962C8B-B14F-4D97-AF65-F5344CB8AC3E}">
        <p14:creationId xmlns:p14="http://schemas.microsoft.com/office/powerpoint/2010/main" val="1970186225"/>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lan Operations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403690823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51CE7C-276F-4FF6-9DA9-4EC1BA3A7B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28" name="Image 27">
            <a:extLst>
              <a:ext uri="{FF2B5EF4-FFF2-40B4-BE49-F238E27FC236}">
                <a16:creationId xmlns:a16="http://schemas.microsoft.com/office/drawing/2014/main" id="{2D2CB7B4-8139-4D62-894C-14DB13503E5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54511" y="322410"/>
            <a:ext cx="1266014" cy="587219"/>
          </a:xfrm>
          <a:prstGeom prst="rect">
            <a:avLst/>
          </a:prstGeom>
        </p:spPr>
      </p:pic>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2">
                    <a:lumMod val="40000"/>
                    <a:lumOff val="60000"/>
                  </a:schemeClr>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0" name="ZoneTexte 19">
            <a:extLst>
              <a:ext uri="{FF2B5EF4-FFF2-40B4-BE49-F238E27FC236}">
                <a16:creationId xmlns:a16="http://schemas.microsoft.com/office/drawing/2014/main" id="{ED35E7C4-94BC-454C-A1F7-9C5188D37F6D}"/>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FDFC5659-1CEC-4E65-8ECD-F7BFEFC4601C}"/>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2" name="Espace réservé du pied de page 24">
            <a:extLst>
              <a:ext uri="{FF2B5EF4-FFF2-40B4-BE49-F238E27FC236}">
                <a16:creationId xmlns:a16="http://schemas.microsoft.com/office/drawing/2014/main" id="{3ABF547F-00C3-4B48-8CAF-262DB5D0977C}"/>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30" name="Espace réservé du texte 9">
            <a:extLst>
              <a:ext uri="{FF2B5EF4-FFF2-40B4-BE49-F238E27FC236}">
                <a16:creationId xmlns:a16="http://schemas.microsoft.com/office/drawing/2014/main" id="{04842588-1A56-422F-8910-EF8E8FFCE4E0}"/>
              </a:ext>
            </a:extLst>
          </p:cNvPr>
          <p:cNvSpPr>
            <a:spLocks noGrp="1"/>
          </p:cNvSpPr>
          <p:nvPr>
            <p:ph type="body" sz="quarter" idx="11" hasCustomPrompt="1"/>
          </p:nvPr>
        </p:nvSpPr>
        <p:spPr>
          <a:xfrm>
            <a:off x="444500" y="2016655"/>
            <a:ext cx="1137602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172076866"/>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alan Consulting 1">
    <p:spTree>
      <p:nvGrpSpPr>
        <p:cNvPr id="1" name=""/>
        <p:cNvGrpSpPr/>
        <p:nvPr/>
      </p:nvGrpSpPr>
      <p:grpSpPr>
        <a:xfrm>
          <a:off x="0" y="0"/>
          <a:ext cx="0" cy="0"/>
          <a:chOff x="0" y="0"/>
          <a:chExt cx="0" cy="0"/>
        </a:xfrm>
      </p:grpSpPr>
      <p:sp>
        <p:nvSpPr>
          <p:cNvPr id="11" name="Rectangle 15">
            <a:extLst>
              <a:ext uri="{FF2B5EF4-FFF2-40B4-BE49-F238E27FC236}">
                <a16:creationId xmlns:a16="http://schemas.microsoft.com/office/drawing/2014/main" id="{1BC07B77-E986-4C78-8491-F6A437647F08}"/>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7" name="Google Shape;147;p23">
            <a:extLst>
              <a:ext uri="{FF2B5EF4-FFF2-40B4-BE49-F238E27FC236}">
                <a16:creationId xmlns:a16="http://schemas.microsoft.com/office/drawing/2014/main" id="{CCEA6D3D-72DF-4E43-B9D3-F30B8A251970}"/>
              </a:ext>
            </a:extLst>
          </p:cNvPr>
          <p:cNvPicPr preferRelativeResize="0"/>
          <p:nvPr userDrawn="1"/>
        </p:nvPicPr>
        <p:blipFill rotWithShape="1">
          <a:blip r:embed="rId3">
            <a:alphaModFix/>
            <a:extLst>
              <a:ext uri="{28A0092B-C50C-407E-A947-70E740481C1C}">
                <a14:useLocalDpi xmlns:a14="http://schemas.microsoft.com/office/drawing/2010/main" val="0"/>
              </a:ext>
            </a:extLst>
          </a:blip>
          <a:srcRect/>
          <a:stretch/>
        </p:blipFill>
        <p:spPr>
          <a:xfrm>
            <a:off x="398304" y="476496"/>
            <a:ext cx="3038797" cy="762000"/>
          </a:xfrm>
          <a:prstGeom prst="rect">
            <a:avLst/>
          </a:prstGeom>
          <a:noFill/>
          <a:ln>
            <a:noFill/>
          </a:ln>
        </p:spPr>
      </p:pic>
      <p:sp>
        <p:nvSpPr>
          <p:cNvPr id="15" name="Rectangle 15">
            <a:extLst>
              <a:ext uri="{FF2B5EF4-FFF2-40B4-BE49-F238E27FC236}">
                <a16:creationId xmlns:a16="http://schemas.microsoft.com/office/drawing/2014/main" id="{233ED570-848C-47A2-99DC-47D5AD6F423E}"/>
              </a:ext>
            </a:extLst>
          </p:cNvPr>
          <p:cNvSpPr/>
          <p:nvPr userDrawn="1"/>
        </p:nvSpPr>
        <p:spPr>
          <a:xfrm>
            <a:off x="0" y="1772594"/>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486558159"/>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5CD58951-E686-46FA-8D77-7337D9341579}"/>
              </a:ext>
            </a:extLst>
          </p:cNvPr>
          <p:cNvSpPr>
            <a:spLocks noGrp="1"/>
          </p:cNvSpPr>
          <p:nvPr>
            <p:ph sz="quarter" idx="12"/>
          </p:nvPr>
        </p:nvSpPr>
        <p:spPr>
          <a:xfrm>
            <a:off x="4165603" y="772055"/>
            <a:ext cx="7654922"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6" name="ZoneTexte 15">
            <a:extLst>
              <a:ext uri="{FF2B5EF4-FFF2-40B4-BE49-F238E27FC236}">
                <a16:creationId xmlns:a16="http://schemas.microsoft.com/office/drawing/2014/main" id="{58977A8E-B2FD-410C-87AF-91B0EE6957B6}"/>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EAB1BC98-851D-48EB-A20D-A45A237416E0}"/>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1" name="Espace réservé du pied de page 24">
            <a:extLst>
              <a:ext uri="{FF2B5EF4-FFF2-40B4-BE49-F238E27FC236}">
                <a16:creationId xmlns:a16="http://schemas.microsoft.com/office/drawing/2014/main" id="{BB71659A-C7A5-4E2E-85DD-B0412AFBD19D}"/>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5" name="Connecteur droit 24">
            <a:extLst>
              <a:ext uri="{FF2B5EF4-FFF2-40B4-BE49-F238E27FC236}">
                <a16:creationId xmlns:a16="http://schemas.microsoft.com/office/drawing/2014/main" id="{4C3F8030-1902-4DA5-964D-682B5BD828B8}"/>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Espace réservé du texte 9">
            <a:extLst>
              <a:ext uri="{FF2B5EF4-FFF2-40B4-BE49-F238E27FC236}">
                <a16:creationId xmlns:a16="http://schemas.microsoft.com/office/drawing/2014/main" id="{30B5B18E-7002-4308-A701-FE91402C9F92}"/>
              </a:ext>
            </a:extLst>
          </p:cNvPr>
          <p:cNvSpPr>
            <a:spLocks noGrp="1"/>
          </p:cNvSpPr>
          <p:nvPr>
            <p:ph type="body" sz="quarter" idx="11"/>
          </p:nvPr>
        </p:nvSpPr>
        <p:spPr>
          <a:xfrm>
            <a:off x="444499" y="2513169"/>
            <a:ext cx="2922815" cy="754566"/>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8" indent="-152388">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543426211"/>
      </p:ext>
    </p:extLst>
  </p:cSld>
  <p:clrMapOvr>
    <a:masterClrMapping/>
  </p:clrMapOvr>
  <p:extLst>
    <p:ext uri="{DCECCB84-F9BA-43D5-87BE-67443E8EF086}">
      <p15:sldGuideLst xmlns:p15="http://schemas.microsoft.com/office/powerpoint/2012/main">
        <p15:guide id="1" orient="horz" pos="4042">
          <p15:clr>
            <a:srgbClr val="FBAE40"/>
          </p15:clr>
        </p15:guide>
        <p15:guide id="2" pos="2615">
          <p15:clr>
            <a:srgbClr val="FBAE40"/>
          </p15:clr>
        </p15:guide>
        <p15:guide id="3" pos="7446">
          <p15:clr>
            <a:srgbClr val="FBAE40"/>
          </p15:clr>
        </p15:guide>
        <p15:guide id="4" orient="horz" pos="1253">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lan Consulting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22476798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6" name="Espace réservé du titre 22">
            <a:extLst>
              <a:ext uri="{FF2B5EF4-FFF2-40B4-BE49-F238E27FC236}">
                <a16:creationId xmlns:a16="http://schemas.microsoft.com/office/drawing/2014/main" id="{CCF31706-E145-4E7D-B83C-C0334C8EED05}"/>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cxnSp>
        <p:nvCxnSpPr>
          <p:cNvPr id="17" name="Connecteur droit 16">
            <a:extLst>
              <a:ext uri="{FF2B5EF4-FFF2-40B4-BE49-F238E27FC236}">
                <a16:creationId xmlns:a16="http://schemas.microsoft.com/office/drawing/2014/main" id="{46926131-99BA-4327-A389-980DD3B6B787}"/>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Rectangle 15">
            <a:extLst>
              <a:ext uri="{FF2B5EF4-FFF2-40B4-BE49-F238E27FC236}">
                <a16:creationId xmlns:a16="http://schemas.microsoft.com/office/drawing/2014/main" id="{CC75F318-9EB5-4967-A50E-1FF06DC7DAB0}"/>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9" name="Rectangle 15">
            <a:extLst>
              <a:ext uri="{FF2B5EF4-FFF2-40B4-BE49-F238E27FC236}">
                <a16:creationId xmlns:a16="http://schemas.microsoft.com/office/drawing/2014/main" id="{6C2316CE-A618-44A3-AFED-4D77145EAB3D}"/>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Espace réservé du texte 9">
            <a:extLst>
              <a:ext uri="{FF2B5EF4-FFF2-40B4-BE49-F238E27FC236}">
                <a16:creationId xmlns:a16="http://schemas.microsoft.com/office/drawing/2014/main" id="{8B6ED691-9351-4E2A-B074-B2DCE2B5E46C}"/>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5" name="Espace réservé du texte 9">
            <a:extLst>
              <a:ext uri="{FF2B5EF4-FFF2-40B4-BE49-F238E27FC236}">
                <a16:creationId xmlns:a16="http://schemas.microsoft.com/office/drawing/2014/main" id="{741C5B27-1EB9-4430-8059-B4F6EE8B97FB}"/>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7" name="Espace réservé du texte 9">
            <a:extLst>
              <a:ext uri="{FF2B5EF4-FFF2-40B4-BE49-F238E27FC236}">
                <a16:creationId xmlns:a16="http://schemas.microsoft.com/office/drawing/2014/main" id="{C99D7AC0-CE46-4D7A-A6A9-38473FF5A907}"/>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4" name="ZoneTexte 33">
            <a:extLst>
              <a:ext uri="{FF2B5EF4-FFF2-40B4-BE49-F238E27FC236}">
                <a16:creationId xmlns:a16="http://schemas.microsoft.com/office/drawing/2014/main" id="{D7FC11EA-F0DD-4CBB-A1FD-1462B3F7733A}"/>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7" name="Espace réservé du pied de page 24">
            <a:extLst>
              <a:ext uri="{FF2B5EF4-FFF2-40B4-BE49-F238E27FC236}">
                <a16:creationId xmlns:a16="http://schemas.microsoft.com/office/drawing/2014/main" id="{9E9D6FEF-A3C6-4381-B426-ACCA29FAAD73}"/>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44" name="Image 43">
            <a:extLst>
              <a:ext uri="{FF2B5EF4-FFF2-40B4-BE49-F238E27FC236}">
                <a16:creationId xmlns:a16="http://schemas.microsoft.com/office/drawing/2014/main" id="{56EB7535-15AD-457F-9699-6EA148F792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229681" cy="587219"/>
          </a:xfrm>
          <a:prstGeom prst="rect">
            <a:avLst/>
          </a:prstGeom>
        </p:spPr>
      </p:pic>
    </p:spTree>
    <p:extLst>
      <p:ext uri="{BB962C8B-B14F-4D97-AF65-F5344CB8AC3E}">
        <p14:creationId xmlns:p14="http://schemas.microsoft.com/office/powerpoint/2010/main" val="1522861019"/>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lan Consulting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241137781"/>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AD9143-7BF5-49DC-B830-A5B407B4008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23" name="Image 22">
            <a:extLst>
              <a:ext uri="{FF2B5EF4-FFF2-40B4-BE49-F238E27FC236}">
                <a16:creationId xmlns:a16="http://schemas.microsoft.com/office/drawing/2014/main" id="{1253CA35-52B0-40B6-8A31-E972587A65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54511" y="322410"/>
            <a:ext cx="1229681" cy="587219"/>
          </a:xfrm>
          <a:prstGeom prst="rect">
            <a:avLst/>
          </a:prstGeom>
        </p:spPr>
      </p:pic>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2" name="ZoneTexte 11">
            <a:extLst>
              <a:ext uri="{FF2B5EF4-FFF2-40B4-BE49-F238E27FC236}">
                <a16:creationId xmlns:a16="http://schemas.microsoft.com/office/drawing/2014/main" id="{86344C2C-0907-4756-8E85-17EC70A94238}"/>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9" name="Espace réservé du pied de page 24">
            <a:extLst>
              <a:ext uri="{FF2B5EF4-FFF2-40B4-BE49-F238E27FC236}">
                <a16:creationId xmlns:a16="http://schemas.microsoft.com/office/drawing/2014/main" id="{04509BA1-B0E2-430C-AC5B-EE1EA642C251}"/>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871FD112-A2A8-46F3-A2A7-B766050BE5AB}"/>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28" name="Espace réservé du texte 9">
            <a:extLst>
              <a:ext uri="{FF2B5EF4-FFF2-40B4-BE49-F238E27FC236}">
                <a16:creationId xmlns:a16="http://schemas.microsoft.com/office/drawing/2014/main" id="{AD76F8E0-E424-4BC6-AA6F-D2B3C34DFAAB}"/>
              </a:ext>
            </a:extLst>
          </p:cNvPr>
          <p:cNvSpPr>
            <a:spLocks noGrp="1"/>
          </p:cNvSpPr>
          <p:nvPr>
            <p:ph type="body" sz="quarter" idx="11" hasCustomPrompt="1"/>
          </p:nvPr>
        </p:nvSpPr>
        <p:spPr>
          <a:xfrm>
            <a:off x="444500" y="2016655"/>
            <a:ext cx="11366234"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818954206"/>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lan Labs 1">
    <p:spTree>
      <p:nvGrpSpPr>
        <p:cNvPr id="1" name=""/>
        <p:cNvGrpSpPr/>
        <p:nvPr/>
      </p:nvGrpSpPr>
      <p:grpSpPr>
        <a:xfrm>
          <a:off x="0" y="0"/>
          <a:ext cx="0" cy="0"/>
          <a:chOff x="0" y="0"/>
          <a:chExt cx="0" cy="0"/>
        </a:xfrm>
      </p:grpSpPr>
      <p:sp>
        <p:nvSpPr>
          <p:cNvPr id="14" name="Rectangle 15">
            <a:extLst>
              <a:ext uri="{FF2B5EF4-FFF2-40B4-BE49-F238E27FC236}">
                <a16:creationId xmlns:a16="http://schemas.microsoft.com/office/drawing/2014/main" id="{2FFCE354-0668-42CC-B4A4-D78B27AF6904}"/>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Rectangle 15">
            <a:extLst>
              <a:ext uri="{FF2B5EF4-FFF2-40B4-BE49-F238E27FC236}">
                <a16:creationId xmlns:a16="http://schemas.microsoft.com/office/drawing/2014/main" id="{233ED570-848C-47A2-99DC-47D5AD6F423E}"/>
              </a:ext>
            </a:extLst>
          </p:cNvPr>
          <p:cNvSpPr/>
          <p:nvPr userDrawn="1"/>
        </p:nvSpPr>
        <p:spPr>
          <a:xfrm>
            <a:off x="0" y="1772594"/>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9" name="Google Shape;205;p40">
            <a:extLst>
              <a:ext uri="{FF2B5EF4-FFF2-40B4-BE49-F238E27FC236}">
                <a16:creationId xmlns:a16="http://schemas.microsoft.com/office/drawing/2014/main" id="{9984465B-7E9C-4C7A-B2D4-412E4295967C}"/>
              </a:ext>
            </a:extLst>
          </p:cNvPr>
          <p:cNvPicPr preferRelativeResize="0">
            <a:picLocks noChangeAspect="1"/>
          </p:cNvPicPr>
          <p:nvPr userDrawn="1"/>
        </p:nvPicPr>
        <p:blipFill rotWithShape="1">
          <a:blip r:embed="rId3">
            <a:alphaModFix/>
            <a:extLst>
              <a:ext uri="{28A0092B-C50C-407E-A947-70E740481C1C}">
                <a14:useLocalDpi xmlns:a14="http://schemas.microsoft.com/office/drawing/2010/main" val="0"/>
              </a:ext>
            </a:extLst>
          </a:blip>
          <a:srcRect t="23766" b="21534"/>
          <a:stretch/>
        </p:blipFill>
        <p:spPr>
          <a:xfrm>
            <a:off x="854927" y="507209"/>
            <a:ext cx="2112000" cy="640751"/>
          </a:xfrm>
          <a:prstGeom prst="rect">
            <a:avLst/>
          </a:prstGeom>
          <a:noFill/>
          <a:ln>
            <a:noFill/>
          </a:ln>
        </p:spPr>
      </p:pic>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43779646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68E37DEE-43DE-419E-8F87-4D81168353AC}"/>
              </a:ext>
            </a:extLst>
          </p:cNvPr>
          <p:cNvSpPr>
            <a:spLocks noGrp="1"/>
          </p:cNvSpPr>
          <p:nvPr>
            <p:ph sz="quarter" idx="12"/>
          </p:nvPr>
        </p:nvSpPr>
        <p:spPr>
          <a:xfrm>
            <a:off x="4165600" y="772055"/>
            <a:ext cx="7645134" cy="664284"/>
          </a:xfrm>
          <a:prstGeom prst="rect">
            <a:avLst/>
          </a:prstGeom>
        </p:spPr>
        <p:txBody>
          <a:bodyPr wrap="square" lIns="0" tIns="0" rIns="0" bIns="0">
            <a:spAutoFit/>
          </a:bodyPr>
          <a:lstStyle>
            <a:lvl1pPr>
              <a:defRPr sz="1200">
                <a:solidFill>
                  <a:schemeClr val="accent4"/>
                </a:solidFill>
                <a:latin typeface="Montserrat" panose="00000500000000000000" pitchFamily="2" charset="0"/>
              </a:defRPr>
            </a:lvl1pPr>
            <a:lvl2pPr>
              <a:defRPr sz="1100">
                <a:latin typeface="Montserrat" panose="00000500000000000000" pitchFamily="2" charset="0"/>
              </a:defRPr>
            </a:lvl2pPr>
            <a:lvl3pPr>
              <a:buClr>
                <a:schemeClr val="accent4"/>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8" name="ZoneTexte 17">
            <a:extLst>
              <a:ext uri="{FF2B5EF4-FFF2-40B4-BE49-F238E27FC236}">
                <a16:creationId xmlns:a16="http://schemas.microsoft.com/office/drawing/2014/main" id="{CF1B196E-6099-48D6-BB71-933023401365}"/>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3063DFAC-4686-4BB0-A148-C8ED88EF9CF1}"/>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2BEDDAC4-5308-42A4-9CE9-CE18526C3151}"/>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4" name="Connecteur droit 23">
            <a:extLst>
              <a:ext uri="{FF2B5EF4-FFF2-40B4-BE49-F238E27FC236}">
                <a16:creationId xmlns:a16="http://schemas.microsoft.com/office/drawing/2014/main" id="{AFCCF51B-52B3-41BC-8A12-3A3D95ADF809}"/>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9">
            <a:extLst>
              <a:ext uri="{FF2B5EF4-FFF2-40B4-BE49-F238E27FC236}">
                <a16:creationId xmlns:a16="http://schemas.microsoft.com/office/drawing/2014/main" id="{1D08CFD4-3D20-4F17-95F2-534F95255AF0}"/>
              </a:ext>
            </a:extLst>
          </p:cNvPr>
          <p:cNvSpPr>
            <a:spLocks noGrp="1"/>
          </p:cNvSpPr>
          <p:nvPr>
            <p:ph type="body" sz="quarter" idx="11"/>
          </p:nvPr>
        </p:nvSpPr>
        <p:spPr>
          <a:xfrm>
            <a:off x="444499" y="2513169"/>
            <a:ext cx="2922815" cy="754566"/>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8" indent="-152388">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368144353"/>
      </p:ext>
    </p:extLst>
  </p:cSld>
  <p:clrMapOvr>
    <a:masterClrMapping/>
  </p:clrMapOvr>
  <p:extLst>
    <p:ext uri="{DCECCB84-F9BA-43D5-87BE-67443E8EF086}">
      <p15:sldGuideLst xmlns:p15="http://schemas.microsoft.com/office/powerpoint/2012/main">
        <p15:guide id="1" orient="horz" pos="1253">
          <p15:clr>
            <a:srgbClr val="FBAE40"/>
          </p15:clr>
        </p15:guide>
        <p15:guide id="2" pos="2638">
          <p15:clr>
            <a:srgbClr val="FBAE40"/>
          </p15:clr>
        </p15:guide>
        <p15:guide id="3" pos="7446">
          <p15:clr>
            <a:srgbClr val="FBAE40"/>
          </p15:clr>
        </p15:guide>
        <p15:guide id="4" orient="horz" pos="404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lan Lab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746713484"/>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Espace réservé du titre 22">
            <a:extLst>
              <a:ext uri="{FF2B5EF4-FFF2-40B4-BE49-F238E27FC236}">
                <a16:creationId xmlns:a16="http://schemas.microsoft.com/office/drawing/2014/main" id="{BD9629CE-B42E-4B0B-ACFC-152056E29116}"/>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4"/>
                </a:solidFill>
                <a:latin typeface="Montserrat" panose="00000500000000000000" pitchFamily="2" charset="0"/>
              </a:defRPr>
            </a:lvl1pPr>
          </a:lstStyle>
          <a:p>
            <a:r>
              <a:rPr lang="fr-FR"/>
              <a:t>MODIFIEZ LE STYLE DU TITRE</a:t>
            </a:r>
            <a:endParaRPr lang="en-US"/>
          </a:p>
        </p:txBody>
      </p:sp>
      <p:cxnSp>
        <p:nvCxnSpPr>
          <p:cNvPr id="15" name="Connecteur droit 14">
            <a:extLst>
              <a:ext uri="{FF2B5EF4-FFF2-40B4-BE49-F238E27FC236}">
                <a16:creationId xmlns:a16="http://schemas.microsoft.com/office/drawing/2014/main" id="{CDA975C9-9FBD-49AE-B585-50CE5AB63697}"/>
              </a:ext>
            </a:extLst>
          </p:cNvPr>
          <p:cNvCxnSpPr/>
          <p:nvPr userDrawn="1"/>
        </p:nvCxnSpPr>
        <p:spPr>
          <a:xfrm>
            <a:off x="444500" y="334432"/>
            <a:ext cx="216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007F9C21-F11C-4FC3-9163-9FC3C3FC0A35}"/>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6FAF1E48-DDFA-48EF-8E38-2C8CE3C6A4C5}"/>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2" name="Espace réservé du texte 9">
            <a:extLst>
              <a:ext uri="{FF2B5EF4-FFF2-40B4-BE49-F238E27FC236}">
                <a16:creationId xmlns:a16="http://schemas.microsoft.com/office/drawing/2014/main" id="{E2AA7746-CEDD-43D4-AC66-F0EAA60AC77B}"/>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AA2DE3BE-A03C-4012-8E68-708F64EFEA62}"/>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6" name="Espace réservé du texte 9">
            <a:extLst>
              <a:ext uri="{FF2B5EF4-FFF2-40B4-BE49-F238E27FC236}">
                <a16:creationId xmlns:a16="http://schemas.microsoft.com/office/drawing/2014/main" id="{4ED25BD3-AA3F-4096-B897-39BE2607CE23}"/>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0" name="ZoneTexte 29">
            <a:extLst>
              <a:ext uri="{FF2B5EF4-FFF2-40B4-BE49-F238E27FC236}">
                <a16:creationId xmlns:a16="http://schemas.microsoft.com/office/drawing/2014/main" id="{6FDA4914-796D-46C8-8388-9328C19C22BD}"/>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1" name="Espace réservé du pied de page 24">
            <a:extLst>
              <a:ext uri="{FF2B5EF4-FFF2-40B4-BE49-F238E27FC236}">
                <a16:creationId xmlns:a16="http://schemas.microsoft.com/office/drawing/2014/main" id="{2B28B7BE-142C-4F43-B8ED-D805773B9E4B}"/>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32" name="Espace réservé du pied de page 24">
            <a:extLst>
              <a:ext uri="{FF2B5EF4-FFF2-40B4-BE49-F238E27FC236}">
                <a16:creationId xmlns:a16="http://schemas.microsoft.com/office/drawing/2014/main" id="{4F0406F3-FA02-442B-A1A0-937E88173C40}"/>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43" name="Image 42">
            <a:extLst>
              <a:ext uri="{FF2B5EF4-FFF2-40B4-BE49-F238E27FC236}">
                <a16:creationId xmlns:a16="http://schemas.microsoft.com/office/drawing/2014/main" id="{23002BE8-4335-4E66-8B00-56FF66BD457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050810" cy="546337"/>
          </a:xfrm>
          <a:prstGeom prst="rect">
            <a:avLst/>
          </a:prstGeom>
        </p:spPr>
      </p:pic>
    </p:spTree>
    <p:extLst>
      <p:ext uri="{BB962C8B-B14F-4D97-AF65-F5344CB8AC3E}">
        <p14:creationId xmlns:p14="http://schemas.microsoft.com/office/powerpoint/2010/main" val="3027238662"/>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lan Labs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2810658416"/>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4"/>
                </a:solidFill>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7" name="ZoneTexte 16">
            <a:extLst>
              <a:ext uri="{FF2B5EF4-FFF2-40B4-BE49-F238E27FC236}">
                <a16:creationId xmlns:a16="http://schemas.microsoft.com/office/drawing/2014/main" id="{D74ACE3F-9B9C-4246-AA03-38C2F92EB9B0}"/>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51849EE3-BFF5-464A-9F70-E73D02DA7914}"/>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9" name="Espace réservé du pied de page 24">
            <a:extLst>
              <a:ext uri="{FF2B5EF4-FFF2-40B4-BE49-F238E27FC236}">
                <a16:creationId xmlns:a16="http://schemas.microsoft.com/office/drawing/2014/main" id="{A4ECABE4-A806-475D-8839-592C64B83DB9}"/>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28" name="Image 27">
            <a:extLst>
              <a:ext uri="{FF2B5EF4-FFF2-40B4-BE49-F238E27FC236}">
                <a16:creationId xmlns:a16="http://schemas.microsoft.com/office/drawing/2014/main" id="{AAE5A17A-943F-4C6A-872B-C63CDCD4777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050810" cy="546337"/>
          </a:xfrm>
          <a:prstGeom prst="rect">
            <a:avLst/>
          </a:prstGeom>
        </p:spPr>
      </p:pic>
      <p:sp>
        <p:nvSpPr>
          <p:cNvPr id="29" name="Espace réservé du texte 9">
            <a:extLst>
              <a:ext uri="{FF2B5EF4-FFF2-40B4-BE49-F238E27FC236}">
                <a16:creationId xmlns:a16="http://schemas.microsoft.com/office/drawing/2014/main" id="{095AC84E-54EB-4788-A9C7-34635A905AAB}"/>
              </a:ext>
            </a:extLst>
          </p:cNvPr>
          <p:cNvSpPr>
            <a:spLocks noGrp="1"/>
          </p:cNvSpPr>
          <p:nvPr>
            <p:ph type="body" sz="quarter" idx="11" hasCustomPrompt="1"/>
          </p:nvPr>
        </p:nvSpPr>
        <p:spPr>
          <a:xfrm>
            <a:off x="444500" y="2016655"/>
            <a:ext cx="1137602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975344272"/>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lan Shore 1">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85087057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7" name="Rectangle 15">
            <a:extLst>
              <a:ext uri="{FF2B5EF4-FFF2-40B4-BE49-F238E27FC236}">
                <a16:creationId xmlns:a16="http://schemas.microsoft.com/office/drawing/2014/main" id="{51566385-A015-4370-9648-188B801B03F6}"/>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8" name="Rectangle 15">
            <a:extLst>
              <a:ext uri="{FF2B5EF4-FFF2-40B4-BE49-F238E27FC236}">
                <a16:creationId xmlns:a16="http://schemas.microsoft.com/office/drawing/2014/main" id="{70C209E0-3B2D-4AAD-86ED-26771D9C5147}"/>
              </a:ext>
            </a:extLst>
          </p:cNvPr>
          <p:cNvSpPr/>
          <p:nvPr userDrawn="1"/>
        </p:nvSpPr>
        <p:spPr>
          <a:xfrm>
            <a:off x="0" y="1772594"/>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5" name="Image 24">
            <a:extLst>
              <a:ext uri="{FF2B5EF4-FFF2-40B4-BE49-F238E27FC236}">
                <a16:creationId xmlns:a16="http://schemas.microsoft.com/office/drawing/2014/main" id="{BDC52242-3B2F-478C-AA54-EC7A8229079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02487" y="189653"/>
            <a:ext cx="2216887" cy="1247120"/>
          </a:xfrm>
          <a:prstGeom prst="rect">
            <a:avLst/>
          </a:prstGeom>
        </p:spPr>
      </p:pic>
      <p:sp>
        <p:nvSpPr>
          <p:cNvPr id="3" name="Espace réservé du contenu 2">
            <a:extLst>
              <a:ext uri="{FF2B5EF4-FFF2-40B4-BE49-F238E27FC236}">
                <a16:creationId xmlns:a16="http://schemas.microsoft.com/office/drawing/2014/main" id="{1B51688D-8481-4F11-984D-661BE8F24570}"/>
              </a:ext>
            </a:extLst>
          </p:cNvPr>
          <p:cNvSpPr>
            <a:spLocks noGrp="1"/>
          </p:cNvSpPr>
          <p:nvPr>
            <p:ph sz="quarter" idx="12"/>
          </p:nvPr>
        </p:nvSpPr>
        <p:spPr>
          <a:xfrm>
            <a:off x="4165599" y="772055"/>
            <a:ext cx="7654925" cy="664284"/>
          </a:xfrm>
          <a:prstGeom prst="rect">
            <a:avLst/>
          </a:prstGeom>
        </p:spPr>
        <p:txBody>
          <a:bodyPr wrap="square" lIns="0" tIns="0" rIns="0" bIns="0">
            <a:spAutoFit/>
          </a:bodyPr>
          <a:lstStyle>
            <a:lvl1pPr>
              <a:defRPr sz="1200">
                <a:latin typeface="Montserrat" panose="00000500000000000000" pitchFamily="2" charset="0"/>
              </a:defRPr>
            </a:lvl1pPr>
            <a:lvl2pPr>
              <a:defRPr sz="1100">
                <a:latin typeface="Montserrat" panose="00000500000000000000" pitchFamily="2" charset="0"/>
              </a:defRPr>
            </a:lvl2pPr>
            <a:lvl3pP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5" name="ZoneTexte 14">
            <a:extLst>
              <a:ext uri="{FF2B5EF4-FFF2-40B4-BE49-F238E27FC236}">
                <a16:creationId xmlns:a16="http://schemas.microsoft.com/office/drawing/2014/main" id="{9D3043BA-08CA-46D8-A6B5-1FE7228D48D1}"/>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9" name="Espace réservé du pied de page 24">
            <a:extLst>
              <a:ext uri="{FF2B5EF4-FFF2-40B4-BE49-F238E27FC236}">
                <a16:creationId xmlns:a16="http://schemas.microsoft.com/office/drawing/2014/main" id="{EC55312B-9B46-419D-9DE7-24EAAF5236D0}"/>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DBAD87EE-CC1E-49A4-B5E7-37D78BEE62C9}"/>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1" name="Connecteur droit 20">
            <a:extLst>
              <a:ext uri="{FF2B5EF4-FFF2-40B4-BE49-F238E27FC236}">
                <a16:creationId xmlns:a16="http://schemas.microsoft.com/office/drawing/2014/main" id="{260D9AF6-5584-4FE7-9429-CE3A617E2841}"/>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Espace réservé du texte 9">
            <a:extLst>
              <a:ext uri="{FF2B5EF4-FFF2-40B4-BE49-F238E27FC236}">
                <a16:creationId xmlns:a16="http://schemas.microsoft.com/office/drawing/2014/main" id="{82038319-F0C9-4051-91B0-98B5A03119D7}"/>
              </a:ext>
            </a:extLst>
          </p:cNvPr>
          <p:cNvSpPr>
            <a:spLocks noGrp="1"/>
          </p:cNvSpPr>
          <p:nvPr>
            <p:ph type="body" sz="quarter" idx="11"/>
          </p:nvPr>
        </p:nvSpPr>
        <p:spPr>
          <a:xfrm>
            <a:off x="444499" y="2513169"/>
            <a:ext cx="2922815" cy="754566"/>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8" indent="-152388">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202520603"/>
      </p:ext>
    </p:extLst>
  </p:cSld>
  <p:clrMapOvr>
    <a:masterClrMapping/>
  </p:clrMapOvr>
  <p:extLst>
    <p:ext uri="{DCECCB84-F9BA-43D5-87BE-67443E8EF086}">
      <p15:sldGuideLst xmlns:p15="http://schemas.microsoft.com/office/powerpoint/2012/main">
        <p15:guide id="1" orient="horz" pos="482">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lan Shore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939551095"/>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D96BC2-36A5-4A54-B2D6-D6ADF8B162A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52" name="Image 51">
            <a:extLst>
              <a:ext uri="{FF2B5EF4-FFF2-40B4-BE49-F238E27FC236}">
                <a16:creationId xmlns:a16="http://schemas.microsoft.com/office/drawing/2014/main" id="{FCA93EA0-8646-46AF-8E4E-83A22D31887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54511" y="322410"/>
            <a:ext cx="1050440" cy="546337"/>
          </a:xfrm>
          <a:prstGeom prst="rect">
            <a:avLst/>
          </a:prstGeom>
        </p:spPr>
      </p:pic>
      <p:sp>
        <p:nvSpPr>
          <p:cNvPr id="36" name="Espace réservé du titre 22">
            <a:extLst>
              <a:ext uri="{FF2B5EF4-FFF2-40B4-BE49-F238E27FC236}">
                <a16:creationId xmlns:a16="http://schemas.microsoft.com/office/drawing/2014/main" id="{BCCC5FBA-878A-43A6-A27B-C96124642A3E}"/>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1"/>
                </a:solidFill>
                <a:latin typeface="Montserrat" panose="00000500000000000000" pitchFamily="2" charset="0"/>
              </a:defRPr>
            </a:lvl1pPr>
          </a:lstStyle>
          <a:p>
            <a:r>
              <a:rPr lang="fr-FR"/>
              <a:t>MODIFIEZ LE STYLE DU TITRE</a:t>
            </a:r>
            <a:endParaRPr lang="en-US"/>
          </a:p>
        </p:txBody>
      </p:sp>
      <p:cxnSp>
        <p:nvCxnSpPr>
          <p:cNvPr id="37" name="Connecteur droit 36">
            <a:extLst>
              <a:ext uri="{FF2B5EF4-FFF2-40B4-BE49-F238E27FC236}">
                <a16:creationId xmlns:a16="http://schemas.microsoft.com/office/drawing/2014/main" id="{52825738-3913-4B66-A6A6-ECB55D4A9106}"/>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15">
            <a:extLst>
              <a:ext uri="{FF2B5EF4-FFF2-40B4-BE49-F238E27FC236}">
                <a16:creationId xmlns:a16="http://schemas.microsoft.com/office/drawing/2014/main" id="{F0D2ADFD-4E8B-4699-BDE7-14B0B17F1500}"/>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39" name="Rectangle 15">
            <a:extLst>
              <a:ext uri="{FF2B5EF4-FFF2-40B4-BE49-F238E27FC236}">
                <a16:creationId xmlns:a16="http://schemas.microsoft.com/office/drawing/2014/main" id="{621978B8-78F6-443A-8617-8FC0DE8A979D}"/>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40" name="Espace réservé du texte 9">
            <a:extLst>
              <a:ext uri="{FF2B5EF4-FFF2-40B4-BE49-F238E27FC236}">
                <a16:creationId xmlns:a16="http://schemas.microsoft.com/office/drawing/2014/main" id="{F788F6CE-8EBB-4C53-8932-2A8E269EC40A}"/>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6"/>
                </a:solidFill>
                <a:latin typeface="Montserrat" panose="00000500000000000000" pitchFamily="2" charset="0"/>
              </a:defRPr>
            </a:lvl1pPr>
            <a:lvl2pPr>
              <a:defRPr sz="1100">
                <a:latin typeface="Montserrat" panose="00000500000000000000" pitchFamily="2" charset="0"/>
              </a:defRPr>
            </a:lvl2pPr>
            <a:lvl3pPr>
              <a:buClr>
                <a:schemeClr val="accent6"/>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41" name="Espace réservé du texte 9">
            <a:extLst>
              <a:ext uri="{FF2B5EF4-FFF2-40B4-BE49-F238E27FC236}">
                <a16:creationId xmlns:a16="http://schemas.microsoft.com/office/drawing/2014/main" id="{5D33A76D-E569-4338-849A-CB2FC03D6C6F}"/>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6"/>
                </a:solidFill>
                <a:latin typeface="Montserrat" panose="00000500000000000000" pitchFamily="2" charset="0"/>
              </a:defRPr>
            </a:lvl1pPr>
            <a:lvl2pPr>
              <a:defRPr sz="1100">
                <a:latin typeface="Montserrat" panose="00000500000000000000" pitchFamily="2" charset="0"/>
              </a:defRPr>
            </a:lvl2pPr>
            <a:lvl3pPr>
              <a:buClr>
                <a:schemeClr val="accent6"/>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42" name="Espace réservé du texte 9">
            <a:extLst>
              <a:ext uri="{FF2B5EF4-FFF2-40B4-BE49-F238E27FC236}">
                <a16:creationId xmlns:a16="http://schemas.microsoft.com/office/drawing/2014/main" id="{6D254C52-3176-4B30-BC51-AE2F8B92DAD6}"/>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45" name="ZoneTexte 44">
            <a:extLst>
              <a:ext uri="{FF2B5EF4-FFF2-40B4-BE49-F238E27FC236}">
                <a16:creationId xmlns:a16="http://schemas.microsoft.com/office/drawing/2014/main" id="{9F8F17C4-23ED-4DC2-B3EF-E9977223AF5D}"/>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46" name="Espace réservé du pied de page 24">
            <a:extLst>
              <a:ext uri="{FF2B5EF4-FFF2-40B4-BE49-F238E27FC236}">
                <a16:creationId xmlns:a16="http://schemas.microsoft.com/office/drawing/2014/main" id="{472CAD6F-E38B-4E93-9F4E-46B4F7775370}"/>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47" name="Espace réservé du pied de page 24">
            <a:extLst>
              <a:ext uri="{FF2B5EF4-FFF2-40B4-BE49-F238E27FC236}">
                <a16:creationId xmlns:a16="http://schemas.microsoft.com/office/drawing/2014/main" id="{F7462EFF-6604-416D-87F1-08E510A1A83B}"/>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268098431"/>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4" orient="horz" pos="4042">
          <p15:clr>
            <a:srgbClr val="FBAE40"/>
          </p15:clr>
        </p15:guide>
        <p15:guide id="5" pos="744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lan General">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sym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sym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sym typeface="Montserrat" panose="00000500000000000000" pitchFamily="2" charset="0"/>
            </a:endParaRPr>
          </a:p>
        </p:txBody>
      </p:sp>
      <p:sp>
        <p:nvSpPr>
          <p:cNvPr id="22" name="Espace réservé du texte 9">
            <a:extLst>
              <a:ext uri="{FF2B5EF4-FFF2-40B4-BE49-F238E27FC236}">
                <a16:creationId xmlns:a16="http://schemas.microsoft.com/office/drawing/2014/main" id="{659FB0CE-9023-4572-A9EB-FF8DCD36C9A7}"/>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4">
                    <a:lumMod val="60000"/>
                    <a:lumOff val="40000"/>
                  </a:schemeClr>
                </a:solidFill>
                <a:latin typeface="Montserrat" panose="00000500000000000000" pitchFamily="2" charset="0"/>
                <a:sym typeface="Montserrat" panose="00000500000000000000" pitchFamily="2" charset="0"/>
              </a:defRPr>
            </a:lvl1pPr>
            <a:lvl2pPr>
              <a:defRPr sz="1100">
                <a:latin typeface="Montserrat" panose="00000500000000000000" pitchFamily="2" charset="0"/>
                <a:sym typeface="Montserrat" panose="00000500000000000000" pitchFamily="2" charset="0"/>
              </a:defRPr>
            </a:lvl2pPr>
            <a:lvl3pPr>
              <a:buClr>
                <a:schemeClr val="accent4">
                  <a:lumMod val="60000"/>
                  <a:lumOff val="40000"/>
                </a:schemeClr>
              </a:buClr>
              <a:defRPr sz="1100">
                <a:latin typeface="Montserrat" panose="00000500000000000000" pitchFamily="2" charset="0"/>
                <a:sym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4FF74512-8B58-4AD4-BD57-01C746E8885B}"/>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4">
                    <a:lumMod val="60000"/>
                    <a:lumOff val="40000"/>
                  </a:schemeClr>
                </a:solidFill>
                <a:latin typeface="Montserrat" panose="00000500000000000000" pitchFamily="2" charset="0"/>
                <a:sym typeface="Montserrat" panose="00000500000000000000" pitchFamily="2" charset="0"/>
              </a:defRPr>
            </a:lvl1pPr>
            <a:lvl2pPr>
              <a:defRPr sz="1100">
                <a:latin typeface="Montserrat" panose="00000500000000000000" pitchFamily="2" charset="0"/>
                <a:sym typeface="Montserrat" panose="00000500000000000000" pitchFamily="2" charset="0"/>
              </a:defRPr>
            </a:lvl2pPr>
            <a:lvl3pPr>
              <a:buClr>
                <a:schemeClr val="accent4">
                  <a:lumMod val="60000"/>
                  <a:lumOff val="40000"/>
                </a:schemeClr>
              </a:buClr>
              <a:defRPr sz="1100">
                <a:latin typeface="Montserrat" panose="00000500000000000000" pitchFamily="2" charset="0"/>
                <a:sym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6" name="ZoneTexte 25">
            <a:extLst>
              <a:ext uri="{FF2B5EF4-FFF2-40B4-BE49-F238E27FC236}">
                <a16:creationId xmlns:a16="http://schemas.microsoft.com/office/drawing/2014/main" id="{D49C318F-4419-4BDC-926E-632BD79CFBE5}"/>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sym typeface="Montserrat" panose="00000500000000000000" pitchFamily="2" charset="0"/>
              </a:rPr>
              <a:pPr algn="ctr"/>
              <a:t>‹#›</a:t>
            </a:fld>
            <a:endParaRPr lang="en-US" sz="1100">
              <a:solidFill>
                <a:schemeClr val="tx2"/>
              </a:solidFill>
              <a:latin typeface="Montserrat" panose="00000500000000000000" pitchFamily="2" charset="0"/>
              <a:sym typeface="Montserrat" panose="00000500000000000000" pitchFamily="2" charset="0"/>
            </a:endParaRPr>
          </a:p>
        </p:txBody>
      </p:sp>
      <p:sp>
        <p:nvSpPr>
          <p:cNvPr id="27" name="Espace réservé du texte 9">
            <a:extLst>
              <a:ext uri="{FF2B5EF4-FFF2-40B4-BE49-F238E27FC236}">
                <a16:creationId xmlns:a16="http://schemas.microsoft.com/office/drawing/2014/main" id="{C64635A6-9829-457D-84DD-66F8E973D0C5}"/>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sym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4" name="Espace réservé du pied de page 24">
            <a:extLst>
              <a:ext uri="{FF2B5EF4-FFF2-40B4-BE49-F238E27FC236}">
                <a16:creationId xmlns:a16="http://schemas.microsoft.com/office/drawing/2014/main" id="{8BA75D24-8DC5-481D-8192-809BC7D3B272}"/>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
        <p:nvSpPr>
          <p:cNvPr id="16" name="Espace réservé du pied de page 24">
            <a:extLst>
              <a:ext uri="{FF2B5EF4-FFF2-40B4-BE49-F238E27FC236}">
                <a16:creationId xmlns:a16="http://schemas.microsoft.com/office/drawing/2014/main" id="{41D2C29B-0860-431B-AE34-0B635BB91292}"/>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j-lt"/>
              </a:defRPr>
            </a:lvl1pPr>
          </a:lstStyle>
          <a:p>
            <a:r>
              <a:rPr lang="en-US">
                <a:solidFill>
                  <a:schemeClr val="tx2"/>
                </a:solidFill>
                <a:latin typeface="Montserrat" panose="00000500000000000000" pitchFamily="2" charset="0"/>
              </a:rPr>
              <a:t>Pied de page | </a:t>
            </a:r>
            <a:fld id="{7E74C1EB-D0C9-4102-9435-B97D94E7CC62}" type="datetime4">
              <a:rPr lang="fr-FR" smtClean="0">
                <a:solidFill>
                  <a:schemeClr val="tx2"/>
                </a:solidFill>
                <a:latin typeface="Montserrat" panose="00000500000000000000" pitchFamily="2" charset="0"/>
              </a:rPr>
              <a:pPr/>
              <a:t>15 février 2024</a:t>
            </a:fld>
            <a:r>
              <a:rPr lang="en-US">
                <a:solidFill>
                  <a:schemeClr val="tx2"/>
                </a:solidFill>
                <a:latin typeface="Montserrat" panose="00000500000000000000" pitchFamily="2" charset="0"/>
              </a:rPr>
              <a:t> |</a:t>
            </a:r>
          </a:p>
        </p:txBody>
      </p:sp>
      <p:pic>
        <p:nvPicPr>
          <p:cNvPr id="19" name="Google Shape;127;p20">
            <a:extLst>
              <a:ext uri="{FF2B5EF4-FFF2-40B4-BE49-F238E27FC236}">
                <a16:creationId xmlns:a16="http://schemas.microsoft.com/office/drawing/2014/main" id="{05FDC7E3-5103-40D7-8426-A57D74BBEDE6}"/>
              </a:ext>
            </a:extLst>
          </p:cNvPr>
          <p:cNvPicPr preferRelativeResize="0">
            <a:picLocks noChangeAspect="1"/>
          </p:cNvPicPr>
          <p:nvPr userDrawn="1"/>
        </p:nvPicPr>
        <p:blipFill rotWithShape="1">
          <a:blip r:embed="rId5" cstate="screen">
            <a:alphaModFix/>
            <a:extLst>
              <a:ext uri="{28A0092B-C50C-407E-A947-70E740481C1C}">
                <a14:useLocalDpi xmlns:a14="http://schemas.microsoft.com/office/drawing/2010/main"/>
              </a:ext>
            </a:extLst>
          </a:blip>
          <a:srcRect/>
          <a:stretch/>
        </p:blipFill>
        <p:spPr>
          <a:xfrm>
            <a:off x="10461341" y="211709"/>
            <a:ext cx="1238400" cy="696860"/>
          </a:xfrm>
          <a:prstGeom prst="rect">
            <a:avLst/>
          </a:prstGeom>
          <a:noFill/>
          <a:ln>
            <a:noFill/>
          </a:ln>
        </p:spPr>
      </p:pic>
    </p:spTree>
    <p:extLst>
      <p:ext uri="{BB962C8B-B14F-4D97-AF65-F5344CB8AC3E}">
        <p14:creationId xmlns:p14="http://schemas.microsoft.com/office/powerpoint/2010/main" val="501125150"/>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4" orient="horz" pos="4042">
          <p15:clr>
            <a:srgbClr val="FBAE40"/>
          </p15:clr>
        </p15:guide>
        <p15:guide id="5" pos="744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lan Shore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81369020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1"/>
                </a:solidFill>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7" name="ZoneTexte 16">
            <a:extLst>
              <a:ext uri="{FF2B5EF4-FFF2-40B4-BE49-F238E27FC236}">
                <a16:creationId xmlns:a16="http://schemas.microsoft.com/office/drawing/2014/main" id="{09084107-D56F-4534-8671-CCA4D596EF84}"/>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A8746B37-CE46-4863-828B-B3CCB5CC3FBA}"/>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9" name="Espace réservé du pied de page 24">
            <a:extLst>
              <a:ext uri="{FF2B5EF4-FFF2-40B4-BE49-F238E27FC236}">
                <a16:creationId xmlns:a16="http://schemas.microsoft.com/office/drawing/2014/main" id="{149FF4F4-DA74-4C07-A310-6BFE18AA4905}"/>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28" name="Espace réservé du texte 9">
            <a:extLst>
              <a:ext uri="{FF2B5EF4-FFF2-40B4-BE49-F238E27FC236}">
                <a16:creationId xmlns:a16="http://schemas.microsoft.com/office/drawing/2014/main" id="{64D8C0F0-C8DC-44D8-807F-8B5B17B28C1E}"/>
              </a:ext>
            </a:extLst>
          </p:cNvPr>
          <p:cNvSpPr>
            <a:spLocks noGrp="1"/>
          </p:cNvSpPr>
          <p:nvPr>
            <p:ph type="body" sz="quarter" idx="11" hasCustomPrompt="1"/>
          </p:nvPr>
        </p:nvSpPr>
        <p:spPr>
          <a:xfrm>
            <a:off x="444500" y="2016655"/>
            <a:ext cx="11376025" cy="664284"/>
          </a:xfrm>
          <a:prstGeom prst="rect">
            <a:avLst/>
          </a:prstGeom>
        </p:spPr>
        <p:txBody>
          <a:bodyPr wrap="square" lIns="0" tIns="0" rIns="0" bIns="0">
            <a:spAutoFit/>
          </a:bodyPr>
          <a:lstStyle>
            <a:lvl1pPr>
              <a:defRPr sz="1200">
                <a:solidFill>
                  <a:schemeClr val="accent6"/>
                </a:solidFill>
                <a:latin typeface="Montserrat" panose="00000500000000000000" pitchFamily="2" charset="0"/>
              </a:defRPr>
            </a:lvl1pPr>
            <a:lvl2pPr>
              <a:defRPr sz="1100">
                <a:latin typeface="Montserrat" panose="00000500000000000000" pitchFamily="2" charset="0"/>
              </a:defRPr>
            </a:lvl2pPr>
            <a:lvl3pPr>
              <a:buClr>
                <a:schemeClr val="accent6"/>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pic>
        <p:nvPicPr>
          <p:cNvPr id="29" name="Image 28">
            <a:extLst>
              <a:ext uri="{FF2B5EF4-FFF2-40B4-BE49-F238E27FC236}">
                <a16:creationId xmlns:a16="http://schemas.microsoft.com/office/drawing/2014/main" id="{9085CB56-9D57-474A-B50E-9ACC4E5392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050440" cy="546337"/>
          </a:xfrm>
          <a:prstGeom prst="rect">
            <a:avLst/>
          </a:prstGeom>
        </p:spPr>
      </p:pic>
    </p:spTree>
    <p:extLst>
      <p:ext uri="{BB962C8B-B14F-4D97-AF65-F5344CB8AC3E}">
        <p14:creationId xmlns:p14="http://schemas.microsoft.com/office/powerpoint/2010/main" val="2294370157"/>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re de section" preserve="1" userDrawn="1">
  <p:cSld name="Titre de section">
    <p:bg>
      <p:bgPr>
        <a:solidFill>
          <a:schemeClr val="accent3"/>
        </a:solidFill>
        <a:effectLst/>
      </p:bgPr>
    </p:bg>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extLst>
              <p:ext uri="{D42A27DB-BD31-4B8C-83A1-F6EECF244321}">
                <p14:modId xmlns:p14="http://schemas.microsoft.com/office/powerpoint/2010/main" val="4219443851"/>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85B9AAE5-49CF-4F1D-8409-5D67EFCD7D1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45" b="20577"/>
          <a:stretch/>
        </p:blipFill>
        <p:spPr>
          <a:xfrm>
            <a:off x="133660" y="0"/>
            <a:ext cx="12058339" cy="6858000"/>
          </a:xfrm>
          <a:prstGeom prst="rect">
            <a:avLst/>
          </a:prstGeom>
        </p:spPr>
      </p:pic>
      <p:sp>
        <p:nvSpPr>
          <p:cNvPr id="16" name="Titre 1">
            <a:extLst>
              <a:ext uri="{FF2B5EF4-FFF2-40B4-BE49-F238E27FC236}">
                <a16:creationId xmlns:a16="http://schemas.microsoft.com/office/drawing/2014/main" id="{4EEA0782-6A05-4EF7-B879-E7965733B97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cxnSp>
        <p:nvCxnSpPr>
          <p:cNvPr id="17" name="Connecteur droit 16">
            <a:extLst>
              <a:ext uri="{FF2B5EF4-FFF2-40B4-BE49-F238E27FC236}">
                <a16:creationId xmlns:a16="http://schemas.microsoft.com/office/drawing/2014/main" id="{BAFDEC18-F7AF-4F8A-980B-42978FEB6647}"/>
              </a:ext>
            </a:extLst>
          </p:cNvPr>
          <p:cNvCxnSpPr/>
          <p:nvPr userDrawn="1"/>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178599B4-09A0-4732-9C6B-3AA48B9246BB}"/>
              </a:ext>
            </a:extLst>
          </p:cNvPr>
          <p:cNvSpPr>
            <a:spLocks noGrp="1"/>
          </p:cNvSpPr>
          <p:nvPr>
            <p:ph type="body" sz="quarter" idx="11"/>
          </p:nvPr>
        </p:nvSpPr>
        <p:spPr>
          <a:xfrm>
            <a:off x="133661" y="3133538"/>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22" name="Rectangle 15">
            <a:extLst>
              <a:ext uri="{FF2B5EF4-FFF2-40B4-BE49-F238E27FC236}">
                <a16:creationId xmlns:a16="http://schemas.microsoft.com/office/drawing/2014/main" id="{E2157304-EC74-43D6-AEA3-466B535CC51C}"/>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Rectangle 15">
            <a:extLst>
              <a:ext uri="{FF2B5EF4-FFF2-40B4-BE49-F238E27FC236}">
                <a16:creationId xmlns:a16="http://schemas.microsoft.com/office/drawing/2014/main" id="{31564DE9-6942-4E0E-BBCF-AA13E048DA46}"/>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4" name="Google Shape;118;p18">
            <a:extLst>
              <a:ext uri="{FF2B5EF4-FFF2-40B4-BE49-F238E27FC236}">
                <a16:creationId xmlns:a16="http://schemas.microsoft.com/office/drawing/2014/main" id="{BB4F97A6-F7CE-4228-AEDD-C7CD95AD2C60}"/>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12" name="ZoneTexte 11">
            <a:extLst>
              <a:ext uri="{FF2B5EF4-FFF2-40B4-BE49-F238E27FC236}">
                <a16:creationId xmlns:a16="http://schemas.microsoft.com/office/drawing/2014/main" id="{B1E2509A-C884-4063-AE71-44264783C5CD}"/>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3" name="Espace réservé du pied de page 24">
            <a:extLst>
              <a:ext uri="{FF2B5EF4-FFF2-40B4-BE49-F238E27FC236}">
                <a16:creationId xmlns:a16="http://schemas.microsoft.com/office/drawing/2014/main" id="{C180B10F-6DA4-446F-AF71-2F64D3C10CBF}"/>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4" name="Espace réservé du pied de page 24">
            <a:extLst>
              <a:ext uri="{FF2B5EF4-FFF2-40B4-BE49-F238E27FC236}">
                <a16:creationId xmlns:a16="http://schemas.microsoft.com/office/drawing/2014/main" id="{ADBB0F6B-0B6C-4A16-8C37-85943A0A3F60}"/>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Tree>
    <p:extLst>
      <p:ext uri="{BB962C8B-B14F-4D97-AF65-F5344CB8AC3E}">
        <p14:creationId xmlns:p14="http://schemas.microsoft.com/office/powerpoint/2010/main" val="15927382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re de section" preserve="1" userDrawn="1">
  <p:cSld name="1_Titre de section">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extLst>
              <p:ext uri="{D42A27DB-BD31-4B8C-83A1-F6EECF244321}">
                <p14:modId xmlns:p14="http://schemas.microsoft.com/office/powerpoint/2010/main" val="1334409455"/>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3" name="Google Shape;114;p18">
            <a:extLst>
              <a:ext uri="{FF2B5EF4-FFF2-40B4-BE49-F238E27FC236}">
                <a16:creationId xmlns:a16="http://schemas.microsoft.com/office/drawing/2014/main" id="{FB982B76-0042-408D-9AA4-FD82DCE5A1B5}"/>
              </a:ext>
            </a:extLst>
          </p:cNvPr>
          <p:cNvPicPr preferRelativeResize="0"/>
          <p:nvPr userDrawn="1"/>
        </p:nvPicPr>
        <p:blipFill rotWithShape="1">
          <a:blip r:embed="rId5" cstate="screen">
            <a:alphaModFix/>
            <a:extLst>
              <a:ext uri="{28A0092B-C50C-407E-A947-70E740481C1C}">
                <a14:useLocalDpi xmlns:a14="http://schemas.microsoft.com/office/drawing/2010/main" val="0"/>
              </a:ext>
            </a:extLst>
          </a:blip>
          <a:srcRect/>
          <a:stretch/>
        </p:blipFill>
        <p:spPr>
          <a:xfrm>
            <a:off x="106530" y="0"/>
            <a:ext cx="12085473" cy="6858000"/>
          </a:xfrm>
          <a:prstGeom prst="rect">
            <a:avLst/>
          </a:prstGeom>
          <a:noFill/>
          <a:ln>
            <a:noFill/>
          </a:ln>
        </p:spPr>
      </p:pic>
      <p:sp>
        <p:nvSpPr>
          <p:cNvPr id="12" name="Google Shape;115;p18">
            <a:extLst>
              <a:ext uri="{FF2B5EF4-FFF2-40B4-BE49-F238E27FC236}">
                <a16:creationId xmlns:a16="http://schemas.microsoft.com/office/drawing/2014/main" id="{60C30AD3-691F-411A-AF71-0E3F16B4DE87}"/>
              </a:ext>
            </a:extLst>
          </p:cNvPr>
          <p:cNvSpPr/>
          <p:nvPr userDrawn="1"/>
        </p:nvSpPr>
        <p:spPr>
          <a:xfrm>
            <a:off x="133657" y="0"/>
            <a:ext cx="12085475" cy="6858000"/>
          </a:xfrm>
          <a:prstGeom prst="rect">
            <a:avLst/>
          </a:prstGeom>
          <a:solidFill>
            <a:schemeClr val="dk1">
              <a:alpha val="20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Montserrat" panose="00000500000000000000" pitchFamily="2" charset="0"/>
              <a:ea typeface="Arial"/>
              <a:cs typeface="Arial"/>
              <a:sym typeface="Arial"/>
            </a:endParaRPr>
          </a:p>
        </p:txBody>
      </p:sp>
      <p:sp>
        <p:nvSpPr>
          <p:cNvPr id="22" name="Google Shape;115;p18">
            <a:extLst>
              <a:ext uri="{FF2B5EF4-FFF2-40B4-BE49-F238E27FC236}">
                <a16:creationId xmlns:a16="http://schemas.microsoft.com/office/drawing/2014/main" id="{D6073C7C-4806-45E2-94BA-B65BBA008043}"/>
              </a:ext>
            </a:extLst>
          </p:cNvPr>
          <p:cNvSpPr/>
          <p:nvPr userDrawn="1"/>
        </p:nvSpPr>
        <p:spPr>
          <a:xfrm>
            <a:off x="100243" y="0"/>
            <a:ext cx="12085472" cy="6858000"/>
          </a:xfrm>
          <a:prstGeom prst="rect">
            <a:avLst/>
          </a:prstGeom>
          <a:solidFill>
            <a:srgbClr val="000000">
              <a:alpha val="2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Montserrat" panose="00000500000000000000" pitchFamily="2" charset="0"/>
              <a:ea typeface="Arial"/>
              <a:cs typeface="Arial"/>
              <a:sym typeface="Arial"/>
            </a:endParaRPr>
          </a:p>
        </p:txBody>
      </p:sp>
      <p:sp>
        <p:nvSpPr>
          <p:cNvPr id="8" name="Rectangle 15">
            <a:extLst>
              <a:ext uri="{FF2B5EF4-FFF2-40B4-BE49-F238E27FC236}">
                <a16:creationId xmlns:a16="http://schemas.microsoft.com/office/drawing/2014/main" id="{1A711A19-CB60-4AB0-A903-1EAAAFD1925F}"/>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pic>
        <p:nvPicPr>
          <p:cNvPr id="14" name="Google Shape;118;p18">
            <a:extLst>
              <a:ext uri="{FF2B5EF4-FFF2-40B4-BE49-F238E27FC236}">
                <a16:creationId xmlns:a16="http://schemas.microsoft.com/office/drawing/2014/main" id="{DE882872-320B-4B5E-8257-77F279B51876}"/>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9" name="Rectangle 15">
            <a:extLst>
              <a:ext uri="{FF2B5EF4-FFF2-40B4-BE49-F238E27FC236}">
                <a16:creationId xmlns:a16="http://schemas.microsoft.com/office/drawing/2014/main" id="{717961F4-DDCA-4A68-A35C-A54EA126081C}"/>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Espace réservé du pied de page 24">
            <a:extLst>
              <a:ext uri="{FF2B5EF4-FFF2-40B4-BE49-F238E27FC236}">
                <a16:creationId xmlns:a16="http://schemas.microsoft.com/office/drawing/2014/main" id="{671B5B78-8172-4448-B285-C57955420D4B}"/>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5" name="ZoneTexte 14">
            <a:extLst>
              <a:ext uri="{FF2B5EF4-FFF2-40B4-BE49-F238E27FC236}">
                <a16:creationId xmlns:a16="http://schemas.microsoft.com/office/drawing/2014/main" id="{A5C7DA1C-B88C-491D-B70B-D6914EAFE669}"/>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7F0D4EE0-3BED-4C74-B602-1BAE1E420557}"/>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1" y="3133538"/>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Tree>
    <p:extLst>
      <p:ext uri="{BB962C8B-B14F-4D97-AF65-F5344CB8AC3E}">
        <p14:creationId xmlns:p14="http://schemas.microsoft.com/office/powerpoint/2010/main" val="9972187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7EE330CA-F8A0-4A5A-AA6A-016776CCF21D}"/>
              </a:ext>
            </a:extLst>
          </p:cNvPr>
          <p:cNvGraphicFramePr>
            <a:graphicFrameLocks noChangeAspect="1"/>
          </p:cNvGraphicFramePr>
          <p:nvPr userDrawn="1">
            <p:custDataLst>
              <p:tags r:id="rId1"/>
            </p:custDataLst>
            <p:extLst>
              <p:ext uri="{D42A27DB-BD31-4B8C-83A1-F6EECF244321}">
                <p14:modId xmlns:p14="http://schemas.microsoft.com/office/powerpoint/2010/main" val="3228840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5" name="Objet 4" hidden="1">
                        <a:extLst>
                          <a:ext uri="{FF2B5EF4-FFF2-40B4-BE49-F238E27FC236}">
                            <a16:creationId xmlns:a16="http://schemas.microsoft.com/office/drawing/2014/main" id="{7EE330CA-F8A0-4A5A-AA6A-016776CCF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ZoneTexte 1">
            <a:extLst>
              <a:ext uri="{FF2B5EF4-FFF2-40B4-BE49-F238E27FC236}">
                <a16:creationId xmlns:a16="http://schemas.microsoft.com/office/drawing/2014/main" id="{8E058DD8-9086-4AB3-B133-AEDB3776CA68}"/>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sym typeface="Montserrat" panose="00000500000000000000" pitchFamily="2" charset="0"/>
              </a:rPr>
              <a:pPr algn="ctr"/>
              <a:t>‹#›</a:t>
            </a:fld>
            <a:endParaRPr lang="en-US" sz="1100">
              <a:solidFill>
                <a:schemeClr val="tx2"/>
              </a:solidFill>
              <a:latin typeface="Montserrat" panose="00000500000000000000" pitchFamily="2" charset="0"/>
              <a:sym typeface="Montserrat" panose="00000500000000000000" pitchFamily="2" charset="0"/>
            </a:endParaRPr>
          </a:p>
        </p:txBody>
      </p:sp>
      <p:sp>
        <p:nvSpPr>
          <p:cNvPr id="3" name="Espace réservé du pied de page 24">
            <a:extLst>
              <a:ext uri="{FF2B5EF4-FFF2-40B4-BE49-F238E27FC236}">
                <a16:creationId xmlns:a16="http://schemas.microsoft.com/office/drawing/2014/main" id="{368C0D64-4B59-4EC7-BA4D-930D1E37583A}"/>
              </a:ext>
            </a:extLst>
          </p:cNvPr>
          <p:cNvSpPr txBox="1">
            <a:spLocks/>
          </p:cNvSpPr>
          <p:nvPr userDrawn="1"/>
        </p:nvSpPr>
        <p:spPr>
          <a:xfrm>
            <a:off x="350533"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
        <p:nvSpPr>
          <p:cNvPr id="4" name="Espace réservé du pied de page 24">
            <a:extLst>
              <a:ext uri="{FF2B5EF4-FFF2-40B4-BE49-F238E27FC236}">
                <a16:creationId xmlns:a16="http://schemas.microsoft.com/office/drawing/2014/main" id="{F5558E70-ACF4-476E-92F2-319118286F92}"/>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40559928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extLst>
              <p:ext uri="{D42A27DB-BD31-4B8C-83A1-F6EECF244321}">
                <p14:modId xmlns:p14="http://schemas.microsoft.com/office/powerpoint/2010/main" val="172483229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5">
            <a:alphaModFix/>
            <a:extLst>
              <a:ext uri="{28A0092B-C50C-407E-A947-70E740481C1C}">
                <a14:useLocalDpi xmlns:a14="http://schemas.microsoft.com/office/drawing/2010/main" val="0"/>
              </a:ext>
            </a:extLst>
          </a:blip>
          <a:srcRect/>
          <a:stretch/>
        </p:blipFill>
        <p:spPr>
          <a:xfrm>
            <a:off x="3"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l="11873"/>
          <a:stretch/>
        </p:blipFill>
        <p:spPr>
          <a:xfrm>
            <a:off x="-1" y="-1"/>
            <a:ext cx="10652391"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7">
            <a:alphaModFix/>
            <a:extLst>
              <a:ext uri="{28A0092B-C50C-407E-A947-70E740481C1C}">
                <a14:useLocalDpi xmlns:a14="http://schemas.microsoft.com/office/drawing/2010/main" val="0"/>
              </a:ext>
            </a:extLst>
          </a:blip>
          <a:srcRect/>
          <a:stretch/>
        </p:blipFill>
        <p:spPr>
          <a:xfrm>
            <a:off x="7186547" y="2498213"/>
            <a:ext cx="3309151" cy="1861577"/>
          </a:xfrm>
          <a:prstGeom prst="rect">
            <a:avLst/>
          </a:prstGeom>
          <a:noFill/>
          <a:ln>
            <a:noFill/>
          </a:ln>
        </p:spPr>
      </p:pic>
    </p:spTree>
    <p:extLst>
      <p:ext uri="{BB962C8B-B14F-4D97-AF65-F5344CB8AC3E}">
        <p14:creationId xmlns:p14="http://schemas.microsoft.com/office/powerpoint/2010/main" val="94868922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Disposition personnalisée">
  <p:cSld name="Disposition personnalisée">
    <p:spTree>
      <p:nvGrpSpPr>
        <p:cNvPr id="1" name="Shape 202"/>
        <p:cNvGrpSpPr/>
        <p:nvPr/>
      </p:nvGrpSpPr>
      <p:grpSpPr>
        <a:xfrm>
          <a:off x="0" y="0"/>
          <a:ext cx="0" cy="0"/>
          <a:chOff x="0" y="0"/>
          <a:chExt cx="0" cy="0"/>
        </a:xfrm>
      </p:grpSpPr>
    </p:spTree>
    <p:extLst>
      <p:ext uri="{BB962C8B-B14F-4D97-AF65-F5344CB8AC3E}">
        <p14:creationId xmlns:p14="http://schemas.microsoft.com/office/powerpoint/2010/main" val="19389887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BLEU_Slide Titre double &amp; vide">
    <p:spTree>
      <p:nvGrpSpPr>
        <p:cNvPr id="1" name=""/>
        <p:cNvGrpSpPr/>
        <p:nvPr/>
      </p:nvGrpSpPr>
      <p:grpSpPr>
        <a:xfrm>
          <a:off x="0" y="0"/>
          <a:ext cx="0" cy="0"/>
          <a:chOff x="0" y="0"/>
          <a:chExt cx="0" cy="0"/>
        </a:xfrm>
      </p:grpSpPr>
      <p:sp>
        <p:nvSpPr>
          <p:cNvPr id="6" name="Rectangle 5"/>
          <p:cNvSpPr/>
          <p:nvPr/>
        </p:nvSpPr>
        <p:spPr bwMode="white">
          <a:xfrm>
            <a:off x="0" y="6113088"/>
            <a:ext cx="12192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89"/>
          </a:p>
        </p:txBody>
      </p:sp>
      <p:sp>
        <p:nvSpPr>
          <p:cNvPr id="7" name="Rectangle 6"/>
          <p:cNvSpPr/>
          <p:nvPr userDrawn="1"/>
        </p:nvSpPr>
        <p:spPr bwMode="white">
          <a:xfrm>
            <a:off x="0" y="0"/>
            <a:ext cx="112541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89"/>
          </a:p>
        </p:txBody>
      </p:sp>
      <p:sp>
        <p:nvSpPr>
          <p:cNvPr id="8" name="Forme libre 7"/>
          <p:cNvSpPr/>
          <p:nvPr/>
        </p:nvSpPr>
        <p:spPr bwMode="white">
          <a:xfrm>
            <a:off x="1088671" y="0"/>
            <a:ext cx="11103332" cy="6858000"/>
          </a:xfrm>
          <a:custGeom>
            <a:avLst/>
            <a:gdLst>
              <a:gd name="connsiteX0" fmla="*/ 0 w 9021457"/>
              <a:gd name="connsiteY0" fmla="*/ 0 h 6858000"/>
              <a:gd name="connsiteX1" fmla="*/ 7761778 w 9021457"/>
              <a:gd name="connsiteY1" fmla="*/ 0 h 6858000"/>
              <a:gd name="connsiteX2" fmla="*/ 7785873 w 9021457"/>
              <a:gd name="connsiteY2" fmla="*/ 0 h 6858000"/>
              <a:gd name="connsiteX3" fmla="*/ 8354695 w 9021457"/>
              <a:gd name="connsiteY3" fmla="*/ 0 h 6858000"/>
              <a:gd name="connsiteX4" fmla="*/ 9021457 w 9021457"/>
              <a:gd name="connsiteY4" fmla="*/ 0 h 6858000"/>
              <a:gd name="connsiteX5" fmla="*/ 9021457 w 9021457"/>
              <a:gd name="connsiteY5" fmla="*/ 5541841 h 6858000"/>
              <a:gd name="connsiteX6" fmla="*/ 8656512 w 9021457"/>
              <a:gd name="connsiteY6" fmla="*/ 6858000 h 6858000"/>
              <a:gd name="connsiteX7" fmla="*/ 8354695 w 9021457"/>
              <a:gd name="connsiteY7" fmla="*/ 6858000 h 6858000"/>
              <a:gd name="connsiteX8" fmla="*/ 7785873 w 9021457"/>
              <a:gd name="connsiteY8" fmla="*/ 6858000 h 6858000"/>
              <a:gd name="connsiteX9" fmla="*/ 7761778 w 9021457"/>
              <a:gd name="connsiteY9" fmla="*/ 6858000 h 6858000"/>
              <a:gd name="connsiteX10" fmla="*/ 0 w 9021457"/>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1457" h="6858000">
                <a:moveTo>
                  <a:pt x="0" y="0"/>
                </a:moveTo>
                <a:lnTo>
                  <a:pt x="7761778" y="0"/>
                </a:lnTo>
                <a:lnTo>
                  <a:pt x="7785873" y="0"/>
                </a:lnTo>
                <a:lnTo>
                  <a:pt x="8354695" y="0"/>
                </a:lnTo>
                <a:lnTo>
                  <a:pt x="9021457" y="0"/>
                </a:lnTo>
                <a:lnTo>
                  <a:pt x="9021457" y="5541841"/>
                </a:lnTo>
                <a:lnTo>
                  <a:pt x="8656512" y="6858000"/>
                </a:lnTo>
                <a:lnTo>
                  <a:pt x="8354695" y="6858000"/>
                </a:lnTo>
                <a:lnTo>
                  <a:pt x="7785873" y="6858000"/>
                </a:lnTo>
                <a:lnTo>
                  <a:pt x="7761778" y="6858000"/>
                </a:lnTo>
                <a:lnTo>
                  <a:pt x="0" y="6858000"/>
                </a:ln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189"/>
          </a:p>
        </p:txBody>
      </p:sp>
      <p:sp>
        <p:nvSpPr>
          <p:cNvPr id="9" name="Forme libre 8"/>
          <p:cNvSpPr/>
          <p:nvPr userDrawn="1"/>
        </p:nvSpPr>
        <p:spPr bwMode="white">
          <a:xfrm>
            <a:off x="1086324" y="0"/>
            <a:ext cx="11105676" cy="6858000"/>
          </a:xfrm>
          <a:custGeom>
            <a:avLst/>
            <a:gdLst>
              <a:gd name="connsiteX0" fmla="*/ 0 w 9023362"/>
              <a:gd name="connsiteY0" fmla="*/ 0 h 6858000"/>
              <a:gd name="connsiteX1" fmla="*/ 7763683 w 9023362"/>
              <a:gd name="connsiteY1" fmla="*/ 0 h 6858000"/>
              <a:gd name="connsiteX2" fmla="*/ 7864482 w 9023362"/>
              <a:gd name="connsiteY2" fmla="*/ 0 h 6858000"/>
              <a:gd name="connsiteX3" fmla="*/ 9023362 w 9023362"/>
              <a:gd name="connsiteY3" fmla="*/ 0 h 6858000"/>
              <a:gd name="connsiteX4" fmla="*/ 9023362 w 9023362"/>
              <a:gd name="connsiteY4" fmla="*/ 4202133 h 6858000"/>
              <a:gd name="connsiteX5" fmla="*/ 8286942 w 9023362"/>
              <a:gd name="connsiteY5" fmla="*/ 6858000 h 6858000"/>
              <a:gd name="connsiteX6" fmla="*/ 7864482 w 9023362"/>
              <a:gd name="connsiteY6" fmla="*/ 6858000 h 6858000"/>
              <a:gd name="connsiteX7" fmla="*/ 7763683 w 9023362"/>
              <a:gd name="connsiteY7" fmla="*/ 6858000 h 6858000"/>
              <a:gd name="connsiteX8" fmla="*/ 0 w 902336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3362" h="6858000">
                <a:moveTo>
                  <a:pt x="0" y="0"/>
                </a:moveTo>
                <a:lnTo>
                  <a:pt x="7763683" y="0"/>
                </a:lnTo>
                <a:lnTo>
                  <a:pt x="7864482" y="0"/>
                </a:lnTo>
                <a:lnTo>
                  <a:pt x="9023362" y="0"/>
                </a:lnTo>
                <a:lnTo>
                  <a:pt x="9023362" y="4202133"/>
                </a:lnTo>
                <a:lnTo>
                  <a:pt x="8286942" y="6858000"/>
                </a:lnTo>
                <a:lnTo>
                  <a:pt x="7864482" y="6858000"/>
                </a:lnTo>
                <a:lnTo>
                  <a:pt x="776368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189"/>
          </a:p>
        </p:txBody>
      </p:sp>
      <p:sp>
        <p:nvSpPr>
          <p:cNvPr id="40" name="Rectangle 39"/>
          <p:cNvSpPr/>
          <p:nvPr/>
        </p:nvSpPr>
        <p:spPr bwMode="white">
          <a:xfrm>
            <a:off x="0" y="5849410"/>
            <a:ext cx="12192000" cy="27199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89"/>
          </a:p>
        </p:txBody>
      </p:sp>
      <p:sp>
        <p:nvSpPr>
          <p:cNvPr id="41" name="Rectangle 40"/>
          <p:cNvSpPr/>
          <p:nvPr/>
        </p:nvSpPr>
        <p:spPr bwMode="white">
          <a:xfrm>
            <a:off x="0" y="0"/>
            <a:ext cx="12192000"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89"/>
          </a:p>
        </p:txBody>
      </p:sp>
      <p:grpSp>
        <p:nvGrpSpPr>
          <p:cNvPr id="42" name="Groupe 41"/>
          <p:cNvGrpSpPr/>
          <p:nvPr/>
        </p:nvGrpSpPr>
        <p:grpSpPr>
          <a:xfrm>
            <a:off x="504395" y="404854"/>
            <a:ext cx="1287099" cy="250499"/>
            <a:chOff x="1797921" y="3532660"/>
            <a:chExt cx="524101" cy="125541"/>
          </a:xfrm>
        </p:grpSpPr>
        <p:sp>
          <p:nvSpPr>
            <p:cNvPr id="43" name="Freeform 9"/>
            <p:cNvSpPr>
              <a:spLocks/>
            </p:cNvSpPr>
            <p:nvPr/>
          </p:nvSpPr>
          <p:spPr bwMode="auto">
            <a:xfrm>
              <a:off x="1797921" y="3532660"/>
              <a:ext cx="124512" cy="125541"/>
            </a:xfrm>
            <a:custGeom>
              <a:avLst/>
              <a:gdLst>
                <a:gd name="T0" fmla="*/ 0 w 253"/>
                <a:gd name="T1" fmla="*/ 127 h 253"/>
                <a:gd name="T2" fmla="*/ 127 w 253"/>
                <a:gd name="T3" fmla="*/ 0 h 253"/>
                <a:gd name="T4" fmla="*/ 253 w 253"/>
                <a:gd name="T5" fmla="*/ 127 h 253"/>
                <a:gd name="T6" fmla="*/ 127 w 253"/>
                <a:gd name="T7" fmla="*/ 253 h 253"/>
                <a:gd name="T8" fmla="*/ 0 w 253"/>
                <a:gd name="T9" fmla="*/ 127 h 253"/>
              </a:gdLst>
              <a:ahLst/>
              <a:cxnLst>
                <a:cxn ang="0">
                  <a:pos x="T0" y="T1"/>
                </a:cxn>
                <a:cxn ang="0">
                  <a:pos x="T2" y="T3"/>
                </a:cxn>
                <a:cxn ang="0">
                  <a:pos x="T4" y="T5"/>
                </a:cxn>
                <a:cxn ang="0">
                  <a:pos x="T6" y="T7"/>
                </a:cxn>
                <a:cxn ang="0">
                  <a:pos x="T8" y="T9"/>
                </a:cxn>
              </a:cxnLst>
              <a:rect l="0" t="0" r="r" b="b"/>
              <a:pathLst>
                <a:path w="253" h="253">
                  <a:moveTo>
                    <a:pt x="0" y="127"/>
                  </a:moveTo>
                  <a:cubicBezTo>
                    <a:pt x="0" y="57"/>
                    <a:pt x="56" y="0"/>
                    <a:pt x="127" y="0"/>
                  </a:cubicBezTo>
                  <a:cubicBezTo>
                    <a:pt x="196" y="0"/>
                    <a:pt x="253" y="57"/>
                    <a:pt x="253" y="127"/>
                  </a:cubicBezTo>
                  <a:cubicBezTo>
                    <a:pt x="253" y="197"/>
                    <a:pt x="196" y="253"/>
                    <a:pt x="127" y="253"/>
                  </a:cubicBezTo>
                  <a:cubicBezTo>
                    <a:pt x="56" y="253"/>
                    <a:pt x="0" y="197"/>
                    <a:pt x="0" y="127"/>
                  </a:cubicBezTo>
                  <a:close/>
                </a:path>
              </a:pathLst>
            </a:custGeom>
            <a:solidFill>
              <a:srgbClr val="6896AF"/>
            </a:solidFill>
            <a:ln>
              <a:noFill/>
            </a:ln>
          </p:spPr>
          <p:txBody>
            <a:bodyPr vert="horz" wrap="square" lIns="91440" tIns="45720" rIns="91440" bIns="45720" numCol="1" anchor="t" anchorCtr="0" compatLnSpc="1">
              <a:prstTxWarp prst="textNoShape">
                <a:avLst/>
              </a:prstTxWarp>
            </a:bodyPr>
            <a:lstStyle/>
            <a:p>
              <a:endParaRPr lang="fr-FR" sz="1189"/>
            </a:p>
          </p:txBody>
        </p:sp>
        <p:sp>
          <p:nvSpPr>
            <p:cNvPr id="44" name="Freeform 12"/>
            <p:cNvSpPr>
              <a:spLocks/>
            </p:cNvSpPr>
            <p:nvPr/>
          </p:nvSpPr>
          <p:spPr bwMode="auto">
            <a:xfrm>
              <a:off x="1978328" y="3532660"/>
              <a:ext cx="343694" cy="122454"/>
            </a:xfrm>
            <a:custGeom>
              <a:avLst/>
              <a:gdLst>
                <a:gd name="T0" fmla="*/ 190 w 334"/>
                <a:gd name="T1" fmla="*/ 0 h 119"/>
                <a:gd name="T2" fmla="*/ 0 w 334"/>
                <a:gd name="T3" fmla="*/ 119 h 119"/>
                <a:gd name="T4" fmla="*/ 142 w 334"/>
                <a:gd name="T5" fmla="*/ 119 h 119"/>
                <a:gd name="T6" fmla="*/ 334 w 334"/>
                <a:gd name="T7" fmla="*/ 0 h 119"/>
                <a:gd name="T8" fmla="*/ 190 w 334"/>
                <a:gd name="T9" fmla="*/ 0 h 119"/>
              </a:gdLst>
              <a:ahLst/>
              <a:cxnLst>
                <a:cxn ang="0">
                  <a:pos x="T0" y="T1"/>
                </a:cxn>
                <a:cxn ang="0">
                  <a:pos x="T2" y="T3"/>
                </a:cxn>
                <a:cxn ang="0">
                  <a:pos x="T4" y="T5"/>
                </a:cxn>
                <a:cxn ang="0">
                  <a:pos x="T6" y="T7"/>
                </a:cxn>
                <a:cxn ang="0">
                  <a:pos x="T8" y="T9"/>
                </a:cxn>
              </a:cxnLst>
              <a:rect l="0" t="0" r="r" b="b"/>
              <a:pathLst>
                <a:path w="334" h="119">
                  <a:moveTo>
                    <a:pt x="190" y="0"/>
                  </a:moveTo>
                  <a:lnTo>
                    <a:pt x="0" y="119"/>
                  </a:lnTo>
                  <a:lnTo>
                    <a:pt x="142" y="119"/>
                  </a:lnTo>
                  <a:lnTo>
                    <a:pt x="334" y="0"/>
                  </a:lnTo>
                  <a:lnTo>
                    <a:pt x="190" y="0"/>
                  </a:lnTo>
                  <a:close/>
                </a:path>
              </a:pathLst>
            </a:custGeom>
            <a:solidFill>
              <a:srgbClr val="9B8B95"/>
            </a:solidFill>
            <a:ln>
              <a:noFill/>
            </a:ln>
          </p:spPr>
          <p:txBody>
            <a:bodyPr vert="horz" wrap="square" lIns="91440" tIns="45720" rIns="91440" bIns="45720" numCol="1" anchor="t" anchorCtr="0" compatLnSpc="1">
              <a:prstTxWarp prst="textNoShape">
                <a:avLst/>
              </a:prstTxWarp>
            </a:bodyPr>
            <a:lstStyle/>
            <a:p>
              <a:endParaRPr lang="fr-FR" sz="1189"/>
            </a:p>
          </p:txBody>
        </p:sp>
      </p:grpSp>
      <p:sp>
        <p:nvSpPr>
          <p:cNvPr id="10" name="Espace réservé du titre 39"/>
          <p:cNvSpPr>
            <a:spLocks noGrp="1"/>
          </p:cNvSpPr>
          <p:nvPr>
            <p:ph type="title"/>
          </p:nvPr>
        </p:nvSpPr>
        <p:spPr>
          <a:xfrm>
            <a:off x="2067644" y="57248"/>
            <a:ext cx="9286156" cy="693092"/>
          </a:xfrm>
          <a:prstGeom prst="rect">
            <a:avLst/>
          </a:prstGeom>
        </p:spPr>
        <p:txBody>
          <a:bodyPr vert="horz" lIns="91440" tIns="45720" rIns="91440" bIns="45720" rtlCol="0" anchor="ctr">
            <a:normAutofit/>
          </a:bodyPr>
          <a:lstStyle/>
          <a:p>
            <a:r>
              <a:rPr lang="fr-FR"/>
              <a:t>Modifiez le style du titre</a:t>
            </a:r>
          </a:p>
        </p:txBody>
      </p:sp>
      <p:sp>
        <p:nvSpPr>
          <p:cNvPr id="12" name="Espace réservé du texte 11"/>
          <p:cNvSpPr>
            <a:spLocks noGrp="1"/>
          </p:cNvSpPr>
          <p:nvPr>
            <p:ph type="body" sz="quarter" idx="13"/>
          </p:nvPr>
        </p:nvSpPr>
        <p:spPr>
          <a:xfrm>
            <a:off x="2067169" y="523875"/>
            <a:ext cx="9286631" cy="381000"/>
          </a:xfrm>
          <a:prstGeom prst="rect">
            <a:avLst/>
          </a:prstGeom>
        </p:spPr>
        <p:txBody>
          <a:bodyPr/>
          <a:lstStyle>
            <a:lvl1pPr marL="0" indent="0">
              <a:buNone/>
              <a:defRPr sz="1189" b="1">
                <a:solidFill>
                  <a:srgbClr val="9B8B95"/>
                </a:solidFill>
              </a:defRPr>
            </a:lvl1pPr>
          </a:lstStyle>
          <a:p>
            <a:pPr lvl="0"/>
            <a:r>
              <a:rPr lang="fr-FR"/>
              <a:t>Modifier les styles du texte du masque</a:t>
            </a:r>
          </a:p>
        </p:txBody>
      </p:sp>
      <p:sp>
        <p:nvSpPr>
          <p:cNvPr id="45" name="Slide Number Placeholder 5">
            <a:extLst>
              <a:ext uri="{FF2B5EF4-FFF2-40B4-BE49-F238E27FC236}">
                <a16:creationId xmlns:a16="http://schemas.microsoft.com/office/drawing/2014/main" id="{925802FD-4087-4FA2-A493-C670E6BAFF03}"/>
              </a:ext>
            </a:extLst>
          </p:cNvPr>
          <p:cNvSpPr txBox="1">
            <a:spLocks/>
          </p:cNvSpPr>
          <p:nvPr/>
        </p:nvSpPr>
        <p:spPr>
          <a:xfrm>
            <a:off x="8610601" y="6356355"/>
            <a:ext cx="2743200" cy="365125"/>
          </a:xfrm>
          <a:prstGeom prst="rect">
            <a:avLst/>
          </a:prstGeom>
        </p:spPr>
        <p:txBody>
          <a:bodyPr vert="horz" lIns="60365" tIns="30183" rIns="60365" bIns="30183" rtlCol="0" anchor="ctr"/>
          <a:lstStyle>
            <a:defPPr>
              <a:defRPr lang="fr-FR"/>
            </a:defPPr>
            <a:lvl1pPr marL="0" algn="r" defTabSz="914400" rtl="0" eaLnBrk="1" latinLnBrk="0" hangingPunct="1">
              <a:defRPr sz="16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C0EE411-AECA-4783-9A81-CBBD8DD998E2}" type="slidenum">
              <a:rPr lang="fr-FR" sz="1056" smtClean="0"/>
              <a:pPr/>
              <a:t>‹#›</a:t>
            </a:fld>
            <a:endParaRPr lang="fr-FR" sz="1056"/>
          </a:p>
        </p:txBody>
      </p:sp>
      <p:pic>
        <p:nvPicPr>
          <p:cNvPr id="48" name="Image 47">
            <a:extLst>
              <a:ext uri="{FF2B5EF4-FFF2-40B4-BE49-F238E27FC236}">
                <a16:creationId xmlns:a16="http://schemas.microsoft.com/office/drawing/2014/main" id="{74DFD30B-3827-4F7C-BE78-F7D1AC2514C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9120" y="6112624"/>
            <a:ext cx="799079" cy="722424"/>
          </a:xfrm>
          <a:prstGeom prst="rect">
            <a:avLst/>
          </a:prstGeom>
        </p:spPr>
      </p:pic>
    </p:spTree>
    <p:extLst>
      <p:ext uri="{BB962C8B-B14F-4D97-AF65-F5344CB8AC3E}">
        <p14:creationId xmlns:p14="http://schemas.microsoft.com/office/powerpoint/2010/main" val="33466598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EU_Slide Titre double &amp; contenu">
    <p:spTree>
      <p:nvGrpSpPr>
        <p:cNvPr id="1" name=""/>
        <p:cNvGrpSpPr/>
        <p:nvPr/>
      </p:nvGrpSpPr>
      <p:grpSpPr>
        <a:xfrm>
          <a:off x="0" y="0"/>
          <a:ext cx="0" cy="0"/>
          <a:chOff x="0" y="0"/>
          <a:chExt cx="0" cy="0"/>
        </a:xfrm>
      </p:grpSpPr>
      <p:sp>
        <p:nvSpPr>
          <p:cNvPr id="14" name="Rectangle 13"/>
          <p:cNvSpPr/>
          <p:nvPr userDrawn="1"/>
        </p:nvSpPr>
        <p:spPr bwMode="white">
          <a:xfrm>
            <a:off x="0" y="6113088"/>
            <a:ext cx="12192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5" name="Rectangle 14"/>
          <p:cNvSpPr/>
          <p:nvPr userDrawn="1"/>
        </p:nvSpPr>
        <p:spPr bwMode="white">
          <a:xfrm>
            <a:off x="0" y="0"/>
            <a:ext cx="112541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6" name="Forme libre 15"/>
          <p:cNvSpPr/>
          <p:nvPr userDrawn="1"/>
        </p:nvSpPr>
        <p:spPr bwMode="white">
          <a:xfrm>
            <a:off x="1088670" y="0"/>
            <a:ext cx="11103332" cy="6858000"/>
          </a:xfrm>
          <a:custGeom>
            <a:avLst/>
            <a:gdLst>
              <a:gd name="connsiteX0" fmla="*/ 0 w 9021457"/>
              <a:gd name="connsiteY0" fmla="*/ 0 h 6858000"/>
              <a:gd name="connsiteX1" fmla="*/ 7761778 w 9021457"/>
              <a:gd name="connsiteY1" fmla="*/ 0 h 6858000"/>
              <a:gd name="connsiteX2" fmla="*/ 7785873 w 9021457"/>
              <a:gd name="connsiteY2" fmla="*/ 0 h 6858000"/>
              <a:gd name="connsiteX3" fmla="*/ 8354695 w 9021457"/>
              <a:gd name="connsiteY3" fmla="*/ 0 h 6858000"/>
              <a:gd name="connsiteX4" fmla="*/ 9021457 w 9021457"/>
              <a:gd name="connsiteY4" fmla="*/ 0 h 6858000"/>
              <a:gd name="connsiteX5" fmla="*/ 9021457 w 9021457"/>
              <a:gd name="connsiteY5" fmla="*/ 5541841 h 6858000"/>
              <a:gd name="connsiteX6" fmla="*/ 8656512 w 9021457"/>
              <a:gd name="connsiteY6" fmla="*/ 6858000 h 6858000"/>
              <a:gd name="connsiteX7" fmla="*/ 8354695 w 9021457"/>
              <a:gd name="connsiteY7" fmla="*/ 6858000 h 6858000"/>
              <a:gd name="connsiteX8" fmla="*/ 7785873 w 9021457"/>
              <a:gd name="connsiteY8" fmla="*/ 6858000 h 6858000"/>
              <a:gd name="connsiteX9" fmla="*/ 7761778 w 9021457"/>
              <a:gd name="connsiteY9" fmla="*/ 6858000 h 6858000"/>
              <a:gd name="connsiteX10" fmla="*/ 0 w 9021457"/>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1457" h="6858000">
                <a:moveTo>
                  <a:pt x="0" y="0"/>
                </a:moveTo>
                <a:lnTo>
                  <a:pt x="7761778" y="0"/>
                </a:lnTo>
                <a:lnTo>
                  <a:pt x="7785873" y="0"/>
                </a:lnTo>
                <a:lnTo>
                  <a:pt x="8354695" y="0"/>
                </a:lnTo>
                <a:lnTo>
                  <a:pt x="9021457" y="0"/>
                </a:lnTo>
                <a:lnTo>
                  <a:pt x="9021457" y="5541841"/>
                </a:lnTo>
                <a:lnTo>
                  <a:pt x="8656512" y="6858000"/>
                </a:lnTo>
                <a:lnTo>
                  <a:pt x="8354695" y="6858000"/>
                </a:lnTo>
                <a:lnTo>
                  <a:pt x="7785873" y="6858000"/>
                </a:lnTo>
                <a:lnTo>
                  <a:pt x="7761778" y="6858000"/>
                </a:lnTo>
                <a:lnTo>
                  <a:pt x="0" y="6858000"/>
                </a:ln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a:p>
        </p:txBody>
      </p:sp>
      <p:sp>
        <p:nvSpPr>
          <p:cNvPr id="17" name="Forme libre 16"/>
          <p:cNvSpPr/>
          <p:nvPr userDrawn="1"/>
        </p:nvSpPr>
        <p:spPr bwMode="white">
          <a:xfrm>
            <a:off x="1086324" y="0"/>
            <a:ext cx="11105676" cy="6858000"/>
          </a:xfrm>
          <a:custGeom>
            <a:avLst/>
            <a:gdLst>
              <a:gd name="connsiteX0" fmla="*/ 0 w 9023362"/>
              <a:gd name="connsiteY0" fmla="*/ 0 h 6858000"/>
              <a:gd name="connsiteX1" fmla="*/ 7763683 w 9023362"/>
              <a:gd name="connsiteY1" fmla="*/ 0 h 6858000"/>
              <a:gd name="connsiteX2" fmla="*/ 7864482 w 9023362"/>
              <a:gd name="connsiteY2" fmla="*/ 0 h 6858000"/>
              <a:gd name="connsiteX3" fmla="*/ 9023362 w 9023362"/>
              <a:gd name="connsiteY3" fmla="*/ 0 h 6858000"/>
              <a:gd name="connsiteX4" fmla="*/ 9023362 w 9023362"/>
              <a:gd name="connsiteY4" fmla="*/ 4202133 h 6858000"/>
              <a:gd name="connsiteX5" fmla="*/ 8286942 w 9023362"/>
              <a:gd name="connsiteY5" fmla="*/ 6858000 h 6858000"/>
              <a:gd name="connsiteX6" fmla="*/ 7864482 w 9023362"/>
              <a:gd name="connsiteY6" fmla="*/ 6858000 h 6858000"/>
              <a:gd name="connsiteX7" fmla="*/ 7763683 w 9023362"/>
              <a:gd name="connsiteY7" fmla="*/ 6858000 h 6858000"/>
              <a:gd name="connsiteX8" fmla="*/ 0 w 902336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3362" h="6858000">
                <a:moveTo>
                  <a:pt x="0" y="0"/>
                </a:moveTo>
                <a:lnTo>
                  <a:pt x="7763683" y="0"/>
                </a:lnTo>
                <a:lnTo>
                  <a:pt x="7864482" y="0"/>
                </a:lnTo>
                <a:lnTo>
                  <a:pt x="9023362" y="0"/>
                </a:lnTo>
                <a:lnTo>
                  <a:pt x="9023362" y="4202133"/>
                </a:lnTo>
                <a:lnTo>
                  <a:pt x="8286942" y="6858000"/>
                </a:lnTo>
                <a:lnTo>
                  <a:pt x="7864482" y="6858000"/>
                </a:lnTo>
                <a:lnTo>
                  <a:pt x="776368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a:p>
        </p:txBody>
      </p:sp>
      <p:sp>
        <p:nvSpPr>
          <p:cNvPr id="46" name="Rectangle 45"/>
          <p:cNvSpPr/>
          <p:nvPr userDrawn="1"/>
        </p:nvSpPr>
        <p:spPr bwMode="white">
          <a:xfrm>
            <a:off x="0" y="5849410"/>
            <a:ext cx="12192000" cy="27199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47" name="Rectangle 46"/>
          <p:cNvSpPr/>
          <p:nvPr userDrawn="1"/>
        </p:nvSpPr>
        <p:spPr bwMode="white">
          <a:xfrm>
            <a:off x="0" y="0"/>
            <a:ext cx="12192000"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nvGrpSpPr>
          <p:cNvPr id="48" name="Groupe 47"/>
          <p:cNvGrpSpPr/>
          <p:nvPr userDrawn="1"/>
        </p:nvGrpSpPr>
        <p:grpSpPr>
          <a:xfrm>
            <a:off x="504394" y="404850"/>
            <a:ext cx="1287099" cy="250499"/>
            <a:chOff x="1797921" y="3532660"/>
            <a:chExt cx="524101" cy="125541"/>
          </a:xfrm>
        </p:grpSpPr>
        <p:sp>
          <p:nvSpPr>
            <p:cNvPr id="49" name="Freeform 9"/>
            <p:cNvSpPr>
              <a:spLocks/>
            </p:cNvSpPr>
            <p:nvPr userDrawn="1"/>
          </p:nvSpPr>
          <p:spPr bwMode="auto">
            <a:xfrm>
              <a:off x="1797921" y="3532660"/>
              <a:ext cx="124512" cy="125541"/>
            </a:xfrm>
            <a:custGeom>
              <a:avLst/>
              <a:gdLst>
                <a:gd name="T0" fmla="*/ 0 w 253"/>
                <a:gd name="T1" fmla="*/ 127 h 253"/>
                <a:gd name="T2" fmla="*/ 127 w 253"/>
                <a:gd name="T3" fmla="*/ 0 h 253"/>
                <a:gd name="T4" fmla="*/ 253 w 253"/>
                <a:gd name="T5" fmla="*/ 127 h 253"/>
                <a:gd name="T6" fmla="*/ 127 w 253"/>
                <a:gd name="T7" fmla="*/ 253 h 253"/>
                <a:gd name="T8" fmla="*/ 0 w 253"/>
                <a:gd name="T9" fmla="*/ 127 h 253"/>
              </a:gdLst>
              <a:ahLst/>
              <a:cxnLst>
                <a:cxn ang="0">
                  <a:pos x="T0" y="T1"/>
                </a:cxn>
                <a:cxn ang="0">
                  <a:pos x="T2" y="T3"/>
                </a:cxn>
                <a:cxn ang="0">
                  <a:pos x="T4" y="T5"/>
                </a:cxn>
                <a:cxn ang="0">
                  <a:pos x="T6" y="T7"/>
                </a:cxn>
                <a:cxn ang="0">
                  <a:pos x="T8" y="T9"/>
                </a:cxn>
              </a:cxnLst>
              <a:rect l="0" t="0" r="r" b="b"/>
              <a:pathLst>
                <a:path w="253" h="253">
                  <a:moveTo>
                    <a:pt x="0" y="127"/>
                  </a:moveTo>
                  <a:cubicBezTo>
                    <a:pt x="0" y="57"/>
                    <a:pt x="56" y="0"/>
                    <a:pt x="127" y="0"/>
                  </a:cubicBezTo>
                  <a:cubicBezTo>
                    <a:pt x="196" y="0"/>
                    <a:pt x="253" y="57"/>
                    <a:pt x="253" y="127"/>
                  </a:cubicBezTo>
                  <a:cubicBezTo>
                    <a:pt x="253" y="197"/>
                    <a:pt x="196" y="253"/>
                    <a:pt x="127" y="253"/>
                  </a:cubicBezTo>
                  <a:cubicBezTo>
                    <a:pt x="56" y="253"/>
                    <a:pt x="0" y="197"/>
                    <a:pt x="0" y="127"/>
                  </a:cubicBezTo>
                  <a:close/>
                </a:path>
              </a:pathLst>
            </a:custGeom>
            <a:solidFill>
              <a:srgbClr val="6896AF"/>
            </a:solidFill>
            <a:ln>
              <a:noFill/>
            </a:ln>
          </p:spPr>
          <p:txBody>
            <a:bodyPr vert="horz" wrap="square" lIns="91440" tIns="45720" rIns="91440" bIns="45720" numCol="1" anchor="t" anchorCtr="0" compatLnSpc="1">
              <a:prstTxWarp prst="textNoShape">
                <a:avLst/>
              </a:prstTxWarp>
            </a:bodyPr>
            <a:lstStyle/>
            <a:p>
              <a:endParaRPr lang="fr-FR" sz="1800"/>
            </a:p>
          </p:txBody>
        </p:sp>
        <p:sp>
          <p:nvSpPr>
            <p:cNvPr id="50" name="Freeform 12"/>
            <p:cNvSpPr>
              <a:spLocks/>
            </p:cNvSpPr>
            <p:nvPr userDrawn="1"/>
          </p:nvSpPr>
          <p:spPr bwMode="auto">
            <a:xfrm>
              <a:off x="1978328" y="3532660"/>
              <a:ext cx="343694" cy="122454"/>
            </a:xfrm>
            <a:custGeom>
              <a:avLst/>
              <a:gdLst>
                <a:gd name="T0" fmla="*/ 190 w 334"/>
                <a:gd name="T1" fmla="*/ 0 h 119"/>
                <a:gd name="T2" fmla="*/ 0 w 334"/>
                <a:gd name="T3" fmla="*/ 119 h 119"/>
                <a:gd name="T4" fmla="*/ 142 w 334"/>
                <a:gd name="T5" fmla="*/ 119 h 119"/>
                <a:gd name="T6" fmla="*/ 334 w 334"/>
                <a:gd name="T7" fmla="*/ 0 h 119"/>
                <a:gd name="T8" fmla="*/ 190 w 334"/>
                <a:gd name="T9" fmla="*/ 0 h 119"/>
              </a:gdLst>
              <a:ahLst/>
              <a:cxnLst>
                <a:cxn ang="0">
                  <a:pos x="T0" y="T1"/>
                </a:cxn>
                <a:cxn ang="0">
                  <a:pos x="T2" y="T3"/>
                </a:cxn>
                <a:cxn ang="0">
                  <a:pos x="T4" y="T5"/>
                </a:cxn>
                <a:cxn ang="0">
                  <a:pos x="T6" y="T7"/>
                </a:cxn>
                <a:cxn ang="0">
                  <a:pos x="T8" y="T9"/>
                </a:cxn>
              </a:cxnLst>
              <a:rect l="0" t="0" r="r" b="b"/>
              <a:pathLst>
                <a:path w="334" h="119">
                  <a:moveTo>
                    <a:pt x="190" y="0"/>
                  </a:moveTo>
                  <a:lnTo>
                    <a:pt x="0" y="119"/>
                  </a:lnTo>
                  <a:lnTo>
                    <a:pt x="142" y="119"/>
                  </a:lnTo>
                  <a:lnTo>
                    <a:pt x="334" y="0"/>
                  </a:lnTo>
                  <a:lnTo>
                    <a:pt x="190" y="0"/>
                  </a:lnTo>
                  <a:close/>
                </a:path>
              </a:pathLst>
            </a:custGeom>
            <a:solidFill>
              <a:srgbClr val="9B8B95"/>
            </a:solidFill>
            <a:ln>
              <a:noFill/>
            </a:ln>
          </p:spPr>
          <p:txBody>
            <a:bodyPr vert="horz" wrap="square" lIns="91440" tIns="45720" rIns="91440" bIns="45720" numCol="1" anchor="t" anchorCtr="0" compatLnSpc="1">
              <a:prstTxWarp prst="textNoShape">
                <a:avLst/>
              </a:prstTxWarp>
            </a:bodyPr>
            <a:lstStyle/>
            <a:p>
              <a:endParaRPr lang="fr-FR" sz="1800"/>
            </a:p>
          </p:txBody>
        </p:sp>
      </p:grpSp>
      <p:sp>
        <p:nvSpPr>
          <p:cNvPr id="10" name="Espace réservé du titre 39"/>
          <p:cNvSpPr>
            <a:spLocks noGrp="1"/>
          </p:cNvSpPr>
          <p:nvPr>
            <p:ph type="title"/>
          </p:nvPr>
        </p:nvSpPr>
        <p:spPr>
          <a:xfrm>
            <a:off x="2067644" y="57248"/>
            <a:ext cx="9286156" cy="693092"/>
          </a:xfrm>
          <a:prstGeom prst="rect">
            <a:avLst/>
          </a:prstGeom>
        </p:spPr>
        <p:txBody>
          <a:bodyPr vert="horz" lIns="91440" tIns="45720" rIns="91440" bIns="45720" rtlCol="0" anchor="ctr">
            <a:normAutofit/>
          </a:bodyPr>
          <a:lstStyle/>
          <a:p>
            <a:r>
              <a:rPr lang="fr-FR"/>
              <a:t>Modifiez le style du titre</a:t>
            </a:r>
          </a:p>
        </p:txBody>
      </p:sp>
      <p:sp>
        <p:nvSpPr>
          <p:cNvPr id="5" name="Espace réservé du numéro de diapositive 4"/>
          <p:cNvSpPr>
            <a:spLocks noGrp="1"/>
          </p:cNvSpPr>
          <p:nvPr>
            <p:ph type="sldNum" sz="quarter" idx="12"/>
          </p:nvPr>
        </p:nvSpPr>
        <p:spPr/>
        <p:txBody>
          <a:bodyPr/>
          <a:lstStyle/>
          <a:p>
            <a:fld id="{5B4987FC-2F94-45E8-8597-AF58EA2EC5B5}" type="slidenum">
              <a:rPr lang="fr-FR" smtClean="0"/>
              <a:t>‹#›</a:t>
            </a:fld>
            <a:endParaRPr lang="fr-FR"/>
          </a:p>
        </p:txBody>
      </p:sp>
      <p:sp>
        <p:nvSpPr>
          <p:cNvPr id="12" name="Espace réservé du texte 11"/>
          <p:cNvSpPr>
            <a:spLocks noGrp="1"/>
          </p:cNvSpPr>
          <p:nvPr>
            <p:ph type="body" sz="quarter" idx="13"/>
          </p:nvPr>
        </p:nvSpPr>
        <p:spPr>
          <a:xfrm>
            <a:off x="2067169" y="523875"/>
            <a:ext cx="9286631" cy="381000"/>
          </a:xfrm>
          <a:prstGeom prst="rect">
            <a:avLst/>
          </a:prstGeom>
        </p:spPr>
        <p:txBody>
          <a:bodyPr/>
          <a:lstStyle>
            <a:lvl1pPr marL="0" indent="0">
              <a:buNone/>
              <a:defRPr sz="1800" b="1">
                <a:solidFill>
                  <a:srgbClr val="9B8B95"/>
                </a:solidFill>
              </a:defRPr>
            </a:lvl1pPr>
          </a:lstStyle>
          <a:p>
            <a:pPr lvl="0"/>
            <a:r>
              <a:rPr lang="fr-FR"/>
              <a:t>Modifiez les styles du texte du masque</a:t>
            </a:r>
          </a:p>
        </p:txBody>
      </p:sp>
      <p:sp>
        <p:nvSpPr>
          <p:cNvPr id="13" name="Espace réservé du texte 10"/>
          <p:cNvSpPr>
            <a:spLocks noGrp="1"/>
          </p:cNvSpPr>
          <p:nvPr>
            <p:ph type="body" sz="quarter" idx="14"/>
          </p:nvPr>
        </p:nvSpPr>
        <p:spPr>
          <a:xfrm>
            <a:off x="633257" y="1370769"/>
            <a:ext cx="10720544" cy="4731230"/>
          </a:xfrm>
          <a:prstGeom prst="rect">
            <a:avLst/>
          </a:prstGeom>
        </p:spPr>
        <p:txBody>
          <a:bodyPr/>
          <a:lstStyle>
            <a:lvl1pPr marL="228600" indent="-228600">
              <a:buClr>
                <a:srgbClr val="63CEF4"/>
              </a:buClr>
              <a:buFontTx/>
              <a:buBlip>
                <a:blip r:embed="rId2"/>
              </a:buBlip>
              <a:defRPr sz="2000">
                <a:solidFill>
                  <a:schemeClr val="tx1">
                    <a:lumMod val="75000"/>
                    <a:lumOff val="25000"/>
                  </a:schemeClr>
                </a:solidFill>
              </a:defRPr>
            </a:lvl1pPr>
            <a:lvl2pPr>
              <a:buClr>
                <a:srgbClr val="63CEF4"/>
              </a:buClr>
              <a:defRPr sz="1800">
                <a:solidFill>
                  <a:schemeClr val="tx1">
                    <a:lumMod val="75000"/>
                    <a:lumOff val="25000"/>
                  </a:schemeClr>
                </a:solidFill>
              </a:defRPr>
            </a:lvl2pPr>
            <a:lvl3pPr marL="1143000" indent="-228600">
              <a:buClr>
                <a:srgbClr val="63CEF4"/>
              </a:buClr>
              <a:buFont typeface="Courier New" panose="02070309020205020404" pitchFamily="49" charset="0"/>
              <a:buChar char="o"/>
              <a:defRPr sz="1600">
                <a:solidFill>
                  <a:schemeClr val="tx1">
                    <a:lumMod val="75000"/>
                    <a:lumOff val="25000"/>
                  </a:schemeClr>
                </a:solidFill>
              </a:defRPr>
            </a:lvl3pPr>
            <a:lvl4pPr>
              <a:buClr>
                <a:srgbClr val="63CEF4"/>
              </a:buClr>
              <a:defRPr sz="1400">
                <a:solidFill>
                  <a:schemeClr val="tx1">
                    <a:lumMod val="75000"/>
                    <a:lumOff val="25000"/>
                  </a:schemeClr>
                </a:solidFill>
              </a:defRPr>
            </a:lvl4pPr>
            <a:lvl5pPr marL="2057400" indent="-228600">
              <a:buClr>
                <a:srgbClr val="63CEF4"/>
              </a:buClr>
              <a:buFont typeface="Courier New" panose="02070309020205020404" pitchFamily="49" charset="0"/>
              <a:buChar char="o"/>
              <a:defRPr sz="1200">
                <a:solidFill>
                  <a:schemeClr val="tx1">
                    <a:lumMod val="75000"/>
                    <a:lumOff val="25000"/>
                  </a:schemeClr>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52" name="Image 51">
            <a:extLst>
              <a:ext uri="{FF2B5EF4-FFF2-40B4-BE49-F238E27FC236}">
                <a16:creationId xmlns:a16="http://schemas.microsoft.com/office/drawing/2014/main" id="{C31E78D0-E7E5-4B79-AB81-BE5B6E1E9548}"/>
              </a:ext>
            </a:extLst>
          </p:cNvPr>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9120" y="6112624"/>
            <a:ext cx="799079" cy="722424"/>
          </a:xfrm>
          <a:prstGeom prst="rect">
            <a:avLst/>
          </a:prstGeom>
        </p:spPr>
      </p:pic>
    </p:spTree>
    <p:extLst>
      <p:ext uri="{BB962C8B-B14F-4D97-AF65-F5344CB8AC3E}">
        <p14:creationId xmlns:p14="http://schemas.microsoft.com/office/powerpoint/2010/main" val="13202616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VIOLET_Slide Titre &amp; contenu">
    <p:spTree>
      <p:nvGrpSpPr>
        <p:cNvPr id="1" name=""/>
        <p:cNvGrpSpPr/>
        <p:nvPr/>
      </p:nvGrpSpPr>
      <p:grpSpPr>
        <a:xfrm>
          <a:off x="0" y="0"/>
          <a:ext cx="0" cy="0"/>
          <a:chOff x="0" y="0"/>
          <a:chExt cx="0" cy="0"/>
        </a:xfrm>
      </p:grpSpPr>
      <p:sp>
        <p:nvSpPr>
          <p:cNvPr id="56" name="Rectangle 55"/>
          <p:cNvSpPr/>
          <p:nvPr/>
        </p:nvSpPr>
        <p:spPr bwMode="white">
          <a:xfrm>
            <a:off x="0" y="6113088"/>
            <a:ext cx="12192000" cy="7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57" name="Rectangle 56"/>
          <p:cNvSpPr/>
          <p:nvPr/>
        </p:nvSpPr>
        <p:spPr bwMode="white">
          <a:xfrm>
            <a:off x="0" y="0"/>
            <a:ext cx="112541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58" name="Forme libre 57"/>
          <p:cNvSpPr/>
          <p:nvPr/>
        </p:nvSpPr>
        <p:spPr bwMode="white">
          <a:xfrm>
            <a:off x="1088670" y="0"/>
            <a:ext cx="11103332" cy="6858000"/>
          </a:xfrm>
          <a:custGeom>
            <a:avLst/>
            <a:gdLst>
              <a:gd name="connsiteX0" fmla="*/ 0 w 9021457"/>
              <a:gd name="connsiteY0" fmla="*/ 0 h 6858000"/>
              <a:gd name="connsiteX1" fmla="*/ 7761778 w 9021457"/>
              <a:gd name="connsiteY1" fmla="*/ 0 h 6858000"/>
              <a:gd name="connsiteX2" fmla="*/ 7785873 w 9021457"/>
              <a:gd name="connsiteY2" fmla="*/ 0 h 6858000"/>
              <a:gd name="connsiteX3" fmla="*/ 8354695 w 9021457"/>
              <a:gd name="connsiteY3" fmla="*/ 0 h 6858000"/>
              <a:gd name="connsiteX4" fmla="*/ 9021457 w 9021457"/>
              <a:gd name="connsiteY4" fmla="*/ 0 h 6858000"/>
              <a:gd name="connsiteX5" fmla="*/ 9021457 w 9021457"/>
              <a:gd name="connsiteY5" fmla="*/ 5541841 h 6858000"/>
              <a:gd name="connsiteX6" fmla="*/ 8656512 w 9021457"/>
              <a:gd name="connsiteY6" fmla="*/ 6858000 h 6858000"/>
              <a:gd name="connsiteX7" fmla="*/ 8354695 w 9021457"/>
              <a:gd name="connsiteY7" fmla="*/ 6858000 h 6858000"/>
              <a:gd name="connsiteX8" fmla="*/ 7785873 w 9021457"/>
              <a:gd name="connsiteY8" fmla="*/ 6858000 h 6858000"/>
              <a:gd name="connsiteX9" fmla="*/ 7761778 w 9021457"/>
              <a:gd name="connsiteY9" fmla="*/ 6858000 h 6858000"/>
              <a:gd name="connsiteX10" fmla="*/ 0 w 9021457"/>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1457" h="6858000">
                <a:moveTo>
                  <a:pt x="0" y="0"/>
                </a:moveTo>
                <a:lnTo>
                  <a:pt x="7761778" y="0"/>
                </a:lnTo>
                <a:lnTo>
                  <a:pt x="7785873" y="0"/>
                </a:lnTo>
                <a:lnTo>
                  <a:pt x="8354695" y="0"/>
                </a:lnTo>
                <a:lnTo>
                  <a:pt x="9021457" y="0"/>
                </a:lnTo>
                <a:lnTo>
                  <a:pt x="9021457" y="5541841"/>
                </a:lnTo>
                <a:lnTo>
                  <a:pt x="8656512" y="6858000"/>
                </a:lnTo>
                <a:lnTo>
                  <a:pt x="8354695" y="6858000"/>
                </a:lnTo>
                <a:lnTo>
                  <a:pt x="7785873" y="6858000"/>
                </a:lnTo>
                <a:lnTo>
                  <a:pt x="7761778" y="6858000"/>
                </a:lnTo>
                <a:lnTo>
                  <a:pt x="0" y="6858000"/>
                </a:ln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a:p>
        </p:txBody>
      </p:sp>
      <p:sp>
        <p:nvSpPr>
          <p:cNvPr id="59" name="Forme libre 58"/>
          <p:cNvSpPr/>
          <p:nvPr/>
        </p:nvSpPr>
        <p:spPr bwMode="white">
          <a:xfrm>
            <a:off x="1086324" y="0"/>
            <a:ext cx="11105676" cy="6858000"/>
          </a:xfrm>
          <a:custGeom>
            <a:avLst/>
            <a:gdLst>
              <a:gd name="connsiteX0" fmla="*/ 0 w 9023362"/>
              <a:gd name="connsiteY0" fmla="*/ 0 h 6858000"/>
              <a:gd name="connsiteX1" fmla="*/ 7763683 w 9023362"/>
              <a:gd name="connsiteY1" fmla="*/ 0 h 6858000"/>
              <a:gd name="connsiteX2" fmla="*/ 7864482 w 9023362"/>
              <a:gd name="connsiteY2" fmla="*/ 0 h 6858000"/>
              <a:gd name="connsiteX3" fmla="*/ 9023362 w 9023362"/>
              <a:gd name="connsiteY3" fmla="*/ 0 h 6858000"/>
              <a:gd name="connsiteX4" fmla="*/ 9023362 w 9023362"/>
              <a:gd name="connsiteY4" fmla="*/ 4202133 h 6858000"/>
              <a:gd name="connsiteX5" fmla="*/ 8286942 w 9023362"/>
              <a:gd name="connsiteY5" fmla="*/ 6858000 h 6858000"/>
              <a:gd name="connsiteX6" fmla="*/ 7864482 w 9023362"/>
              <a:gd name="connsiteY6" fmla="*/ 6858000 h 6858000"/>
              <a:gd name="connsiteX7" fmla="*/ 7763683 w 9023362"/>
              <a:gd name="connsiteY7" fmla="*/ 6858000 h 6858000"/>
              <a:gd name="connsiteX8" fmla="*/ 0 w 902336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3362" h="6858000">
                <a:moveTo>
                  <a:pt x="0" y="0"/>
                </a:moveTo>
                <a:lnTo>
                  <a:pt x="7763683" y="0"/>
                </a:lnTo>
                <a:lnTo>
                  <a:pt x="7864482" y="0"/>
                </a:lnTo>
                <a:lnTo>
                  <a:pt x="9023362" y="0"/>
                </a:lnTo>
                <a:lnTo>
                  <a:pt x="9023362" y="4202133"/>
                </a:lnTo>
                <a:lnTo>
                  <a:pt x="8286942" y="6858000"/>
                </a:lnTo>
                <a:lnTo>
                  <a:pt x="7864482" y="6858000"/>
                </a:lnTo>
                <a:lnTo>
                  <a:pt x="776368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a:p>
        </p:txBody>
      </p:sp>
      <p:sp>
        <p:nvSpPr>
          <p:cNvPr id="88" name="Rectangle 87"/>
          <p:cNvSpPr/>
          <p:nvPr/>
        </p:nvSpPr>
        <p:spPr bwMode="white">
          <a:xfrm>
            <a:off x="0" y="5849410"/>
            <a:ext cx="12192000" cy="27199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89" name="Rectangle 88"/>
          <p:cNvSpPr/>
          <p:nvPr/>
        </p:nvSpPr>
        <p:spPr bwMode="white">
          <a:xfrm>
            <a:off x="0" y="0"/>
            <a:ext cx="12192000"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grpSp>
        <p:nvGrpSpPr>
          <p:cNvPr id="90" name="Groupe 89"/>
          <p:cNvGrpSpPr/>
          <p:nvPr/>
        </p:nvGrpSpPr>
        <p:grpSpPr>
          <a:xfrm>
            <a:off x="504394" y="404850"/>
            <a:ext cx="1287099" cy="250499"/>
            <a:chOff x="1797921" y="3532660"/>
            <a:chExt cx="524101" cy="125541"/>
          </a:xfrm>
        </p:grpSpPr>
        <p:sp>
          <p:nvSpPr>
            <p:cNvPr id="91" name="Freeform 9"/>
            <p:cNvSpPr>
              <a:spLocks/>
            </p:cNvSpPr>
            <p:nvPr/>
          </p:nvSpPr>
          <p:spPr bwMode="auto">
            <a:xfrm>
              <a:off x="1797921" y="3532660"/>
              <a:ext cx="124512" cy="125541"/>
            </a:xfrm>
            <a:custGeom>
              <a:avLst/>
              <a:gdLst>
                <a:gd name="T0" fmla="*/ 0 w 253"/>
                <a:gd name="T1" fmla="*/ 127 h 253"/>
                <a:gd name="T2" fmla="*/ 127 w 253"/>
                <a:gd name="T3" fmla="*/ 0 h 253"/>
                <a:gd name="T4" fmla="*/ 253 w 253"/>
                <a:gd name="T5" fmla="*/ 127 h 253"/>
                <a:gd name="T6" fmla="*/ 127 w 253"/>
                <a:gd name="T7" fmla="*/ 253 h 253"/>
                <a:gd name="T8" fmla="*/ 0 w 253"/>
                <a:gd name="T9" fmla="*/ 127 h 253"/>
              </a:gdLst>
              <a:ahLst/>
              <a:cxnLst>
                <a:cxn ang="0">
                  <a:pos x="T0" y="T1"/>
                </a:cxn>
                <a:cxn ang="0">
                  <a:pos x="T2" y="T3"/>
                </a:cxn>
                <a:cxn ang="0">
                  <a:pos x="T4" y="T5"/>
                </a:cxn>
                <a:cxn ang="0">
                  <a:pos x="T6" y="T7"/>
                </a:cxn>
                <a:cxn ang="0">
                  <a:pos x="T8" y="T9"/>
                </a:cxn>
              </a:cxnLst>
              <a:rect l="0" t="0" r="r" b="b"/>
              <a:pathLst>
                <a:path w="253" h="253">
                  <a:moveTo>
                    <a:pt x="0" y="127"/>
                  </a:moveTo>
                  <a:cubicBezTo>
                    <a:pt x="0" y="57"/>
                    <a:pt x="56" y="0"/>
                    <a:pt x="127" y="0"/>
                  </a:cubicBezTo>
                  <a:cubicBezTo>
                    <a:pt x="196" y="0"/>
                    <a:pt x="253" y="57"/>
                    <a:pt x="253" y="127"/>
                  </a:cubicBezTo>
                  <a:cubicBezTo>
                    <a:pt x="253" y="197"/>
                    <a:pt x="196" y="253"/>
                    <a:pt x="127" y="253"/>
                  </a:cubicBezTo>
                  <a:cubicBezTo>
                    <a:pt x="56" y="253"/>
                    <a:pt x="0" y="197"/>
                    <a:pt x="0" y="127"/>
                  </a:cubicBezTo>
                  <a:close/>
                </a:path>
              </a:pathLst>
            </a:custGeom>
            <a:solidFill>
              <a:srgbClr val="6896AF"/>
            </a:solidFill>
            <a:ln>
              <a:noFill/>
            </a:ln>
          </p:spPr>
          <p:txBody>
            <a:bodyPr vert="horz" wrap="square" lIns="91440" tIns="45720" rIns="91440" bIns="45720" numCol="1" anchor="t" anchorCtr="0" compatLnSpc="1">
              <a:prstTxWarp prst="textNoShape">
                <a:avLst/>
              </a:prstTxWarp>
            </a:bodyPr>
            <a:lstStyle/>
            <a:p>
              <a:endParaRPr lang="fr-FR" sz="1800"/>
            </a:p>
          </p:txBody>
        </p:sp>
        <p:sp>
          <p:nvSpPr>
            <p:cNvPr id="92" name="Freeform 12"/>
            <p:cNvSpPr>
              <a:spLocks/>
            </p:cNvSpPr>
            <p:nvPr/>
          </p:nvSpPr>
          <p:spPr bwMode="auto">
            <a:xfrm>
              <a:off x="1978328" y="3532660"/>
              <a:ext cx="343694" cy="122454"/>
            </a:xfrm>
            <a:custGeom>
              <a:avLst/>
              <a:gdLst>
                <a:gd name="T0" fmla="*/ 190 w 334"/>
                <a:gd name="T1" fmla="*/ 0 h 119"/>
                <a:gd name="T2" fmla="*/ 0 w 334"/>
                <a:gd name="T3" fmla="*/ 119 h 119"/>
                <a:gd name="T4" fmla="*/ 142 w 334"/>
                <a:gd name="T5" fmla="*/ 119 h 119"/>
                <a:gd name="T6" fmla="*/ 334 w 334"/>
                <a:gd name="T7" fmla="*/ 0 h 119"/>
                <a:gd name="T8" fmla="*/ 190 w 334"/>
                <a:gd name="T9" fmla="*/ 0 h 119"/>
              </a:gdLst>
              <a:ahLst/>
              <a:cxnLst>
                <a:cxn ang="0">
                  <a:pos x="T0" y="T1"/>
                </a:cxn>
                <a:cxn ang="0">
                  <a:pos x="T2" y="T3"/>
                </a:cxn>
                <a:cxn ang="0">
                  <a:pos x="T4" y="T5"/>
                </a:cxn>
                <a:cxn ang="0">
                  <a:pos x="T6" y="T7"/>
                </a:cxn>
                <a:cxn ang="0">
                  <a:pos x="T8" y="T9"/>
                </a:cxn>
              </a:cxnLst>
              <a:rect l="0" t="0" r="r" b="b"/>
              <a:pathLst>
                <a:path w="334" h="119">
                  <a:moveTo>
                    <a:pt x="190" y="0"/>
                  </a:moveTo>
                  <a:lnTo>
                    <a:pt x="0" y="119"/>
                  </a:lnTo>
                  <a:lnTo>
                    <a:pt x="142" y="119"/>
                  </a:lnTo>
                  <a:lnTo>
                    <a:pt x="334" y="0"/>
                  </a:lnTo>
                  <a:lnTo>
                    <a:pt x="190" y="0"/>
                  </a:lnTo>
                  <a:close/>
                </a:path>
              </a:pathLst>
            </a:custGeom>
            <a:solidFill>
              <a:srgbClr val="9B8B95"/>
            </a:solidFill>
            <a:ln>
              <a:noFill/>
            </a:ln>
          </p:spPr>
          <p:txBody>
            <a:bodyPr vert="horz" wrap="square" lIns="91440" tIns="45720" rIns="91440" bIns="45720" numCol="1" anchor="t" anchorCtr="0" compatLnSpc="1">
              <a:prstTxWarp prst="textNoShape">
                <a:avLst/>
              </a:prstTxWarp>
            </a:bodyPr>
            <a:lstStyle/>
            <a:p>
              <a:endParaRPr lang="fr-FR" sz="1800"/>
            </a:p>
          </p:txBody>
        </p:sp>
      </p:grpSp>
      <p:sp>
        <p:nvSpPr>
          <p:cNvPr id="6" name="Espace réservé du numéro de diapositive 5"/>
          <p:cNvSpPr>
            <a:spLocks noGrp="1"/>
          </p:cNvSpPr>
          <p:nvPr>
            <p:ph type="sldNum" sz="quarter" idx="12"/>
          </p:nvPr>
        </p:nvSpPr>
        <p:spPr/>
        <p:txBody>
          <a:bodyPr/>
          <a:lstStyle/>
          <a:p>
            <a:fld id="{5B4987FC-2F94-45E8-8597-AF58EA2EC5B5}" type="slidenum">
              <a:rPr lang="fr-FR" smtClean="0"/>
              <a:t>‹#›</a:t>
            </a:fld>
            <a:endParaRPr lang="fr-FR"/>
          </a:p>
        </p:txBody>
      </p:sp>
      <p:sp>
        <p:nvSpPr>
          <p:cNvPr id="7" name="Espace réservé du titre 39"/>
          <p:cNvSpPr>
            <a:spLocks noGrp="1"/>
          </p:cNvSpPr>
          <p:nvPr>
            <p:ph type="title"/>
          </p:nvPr>
        </p:nvSpPr>
        <p:spPr>
          <a:xfrm>
            <a:off x="2067643" y="201626"/>
            <a:ext cx="9286158" cy="693092"/>
          </a:xfrm>
          <a:prstGeom prst="rect">
            <a:avLst/>
          </a:prstGeom>
        </p:spPr>
        <p:txBody>
          <a:bodyPr vert="horz" lIns="91440" tIns="45720" rIns="91440" bIns="45720" rtlCol="0" anchor="ctr">
            <a:normAutofit/>
          </a:bodyPr>
          <a:lstStyle/>
          <a:p>
            <a:r>
              <a:rPr lang="fr-FR"/>
              <a:t>Modifiez le style du titre</a:t>
            </a:r>
          </a:p>
        </p:txBody>
      </p:sp>
      <p:sp>
        <p:nvSpPr>
          <p:cNvPr id="11" name="Espace réservé du texte 10"/>
          <p:cNvSpPr>
            <a:spLocks noGrp="1"/>
          </p:cNvSpPr>
          <p:nvPr>
            <p:ph type="body" sz="quarter" idx="13"/>
          </p:nvPr>
        </p:nvSpPr>
        <p:spPr>
          <a:xfrm>
            <a:off x="633257" y="1370769"/>
            <a:ext cx="10720544" cy="4731230"/>
          </a:xfrm>
          <a:prstGeom prst="rect">
            <a:avLst/>
          </a:prstGeom>
        </p:spPr>
        <p:txBody>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200">
                <a:solidFill>
                  <a:schemeClr val="tx1">
                    <a:lumMod val="75000"/>
                    <a:lumOff val="25000"/>
                  </a:schemeClr>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42" name="Image 41">
            <a:extLst>
              <a:ext uri="{FF2B5EF4-FFF2-40B4-BE49-F238E27FC236}">
                <a16:creationId xmlns:a16="http://schemas.microsoft.com/office/drawing/2014/main" id="{E687356A-CC5D-4125-9084-CEE92059217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279393" y="6027367"/>
            <a:ext cx="913776" cy="867662"/>
          </a:xfrm>
          <a:prstGeom prst="rect">
            <a:avLst/>
          </a:prstGeom>
        </p:spPr>
      </p:pic>
    </p:spTree>
    <p:extLst>
      <p:ext uri="{BB962C8B-B14F-4D97-AF65-F5344CB8AC3E}">
        <p14:creationId xmlns:p14="http://schemas.microsoft.com/office/powerpoint/2010/main" val="5607865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12273231" y="178643"/>
            <a:ext cx="48090"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2"/>
            </p:custDataLst>
          </p:nvPr>
        </p:nvSpPr>
        <p:spPr>
          <a:xfrm>
            <a:off x="12273231"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2" name="Title 1"/>
          <p:cNvSpPr>
            <a:spLocks noGrp="1"/>
          </p:cNvSpPr>
          <p:nvPr>
            <p:ph type="title"/>
          </p:nvPr>
        </p:nvSpPr>
        <p:spPr>
          <a:xfrm>
            <a:off x="908308" y="720001"/>
            <a:ext cx="10505831" cy="747897"/>
          </a:xfrm>
        </p:spPr>
        <p:txBody>
          <a:bodyPr/>
          <a:lstStyle>
            <a:lvl1pPr>
              <a:tabLst>
                <a:tab pos="1252538" algn="l"/>
              </a:tabLst>
              <a:defRPr>
                <a:latin typeface="+mj-lt"/>
                <a:sym typeface="+mn-lt"/>
              </a:defRPr>
            </a:lvl1pPr>
          </a:lstStyle>
          <a:p>
            <a:r>
              <a:rPr lang="en-US"/>
              <a:t>Click to edit Master title style</a:t>
            </a:r>
          </a:p>
        </p:txBody>
      </p:sp>
    </p:spTree>
    <p:extLst>
      <p:ext uri="{BB962C8B-B14F-4D97-AF65-F5344CB8AC3E}">
        <p14:creationId xmlns:p14="http://schemas.microsoft.com/office/powerpoint/2010/main" val="3068222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lan general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4" name="ZoneTexte 13">
            <a:extLst>
              <a:ext uri="{FF2B5EF4-FFF2-40B4-BE49-F238E27FC236}">
                <a16:creationId xmlns:a16="http://schemas.microsoft.com/office/drawing/2014/main" id="{8AE0677C-846C-4748-AA66-E6A0FC91D714}"/>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6" name="Espace réservé du pied de page 24">
            <a:extLst>
              <a:ext uri="{FF2B5EF4-FFF2-40B4-BE49-F238E27FC236}">
                <a16:creationId xmlns:a16="http://schemas.microsoft.com/office/drawing/2014/main" id="{A16512B2-9983-457D-80BD-9361F35133A7}"/>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7" name="Espace réservé du pied de page 24">
            <a:extLst>
              <a:ext uri="{FF2B5EF4-FFF2-40B4-BE49-F238E27FC236}">
                <a16:creationId xmlns:a16="http://schemas.microsoft.com/office/drawing/2014/main" id="{26D3DE87-EE78-4D50-BE28-323EF1C4ED9E}"/>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23" name="Google Shape;127;p20">
            <a:extLst>
              <a:ext uri="{FF2B5EF4-FFF2-40B4-BE49-F238E27FC236}">
                <a16:creationId xmlns:a16="http://schemas.microsoft.com/office/drawing/2014/main" id="{102688C9-6DE1-4272-8469-39EDCCF16761}"/>
              </a:ext>
            </a:extLst>
          </p:cNvPr>
          <p:cNvPicPr preferRelativeResize="0">
            <a:picLocks noChangeAspect="1"/>
          </p:cNvPicPr>
          <p:nvPr userDrawn="1"/>
        </p:nvPicPr>
        <p:blipFill rotWithShape="1">
          <a:blip r:embed="rId5" cstate="screen">
            <a:alphaModFix/>
            <a:extLst>
              <a:ext uri="{28A0092B-C50C-407E-A947-70E740481C1C}">
                <a14:useLocalDpi xmlns:a14="http://schemas.microsoft.com/office/drawing/2010/main"/>
              </a:ext>
            </a:extLst>
          </a:blip>
          <a:srcRect/>
          <a:stretch/>
        </p:blipFill>
        <p:spPr>
          <a:xfrm>
            <a:off x="10461341" y="211709"/>
            <a:ext cx="1238400" cy="696860"/>
          </a:xfrm>
          <a:prstGeom prst="rect">
            <a:avLst/>
          </a:prstGeom>
          <a:noFill/>
          <a:ln>
            <a:noFill/>
          </a:ln>
        </p:spPr>
      </p:pic>
      <p:sp>
        <p:nvSpPr>
          <p:cNvPr id="30" name="Espace réservé du texte 9">
            <a:extLst>
              <a:ext uri="{FF2B5EF4-FFF2-40B4-BE49-F238E27FC236}">
                <a16:creationId xmlns:a16="http://schemas.microsoft.com/office/drawing/2014/main" id="{47716D85-CF90-41D9-8221-FB92CC208B2A}"/>
              </a:ext>
            </a:extLst>
          </p:cNvPr>
          <p:cNvSpPr>
            <a:spLocks noGrp="1"/>
          </p:cNvSpPr>
          <p:nvPr>
            <p:ph type="body" sz="quarter" idx="11" hasCustomPrompt="1"/>
          </p:nvPr>
        </p:nvSpPr>
        <p:spPr>
          <a:xfrm>
            <a:off x="444501" y="2016655"/>
            <a:ext cx="11376025" cy="664284"/>
          </a:xfrm>
          <a:prstGeom prst="rect">
            <a:avLst/>
          </a:prstGeom>
        </p:spPr>
        <p:txBody>
          <a:bodyPr wrap="square" lIns="0" tIns="0" rIns="0" bIns="0">
            <a:spAutoFit/>
          </a:bodyPr>
          <a:lstStyle>
            <a:lvl1pPr>
              <a:defRPr sz="1200">
                <a:solidFill>
                  <a:schemeClr val="accent4">
                    <a:lumMod val="60000"/>
                    <a:lumOff val="40000"/>
                  </a:schemeClr>
                </a:solidFill>
                <a:latin typeface="Montserrat" panose="00000500000000000000" pitchFamily="2" charset="0"/>
              </a:defRPr>
            </a:lvl1pPr>
            <a:lvl2pPr>
              <a:defRPr sz="1100">
                <a:latin typeface="Montserrat" panose="00000500000000000000" pitchFamily="2" charset="0"/>
              </a:defRPr>
            </a:lvl2pPr>
            <a:lvl3pPr>
              <a:buClr>
                <a:schemeClr val="accent4">
                  <a:lumMod val="60000"/>
                  <a:lumOff val="40000"/>
                </a:schemeClr>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765409763"/>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Couverture" type="title">
  <p:cSld name="Couvertur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 name="Google Shape;16;p41"/>
          <p:cNvSpPr txBox="1">
            <a:spLocks noGrp="1"/>
          </p:cNvSpPr>
          <p:nvPr>
            <p:ph type="subTitle" idx="1"/>
          </p:nvPr>
        </p:nvSpPr>
        <p:spPr>
          <a:xfrm>
            <a:off x="350533" y="1687289"/>
            <a:ext cx="9144000" cy="554511"/>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0" name="Google Shape;45;p44">
            <a:extLst>
              <a:ext uri="{FF2B5EF4-FFF2-40B4-BE49-F238E27FC236}">
                <a16:creationId xmlns:a16="http://schemas.microsoft.com/office/drawing/2014/main" id="{53121298-A827-0748-809B-5AA7E6CAE23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pic>
        <p:nvPicPr>
          <p:cNvPr id="2" name="Google Shape;14;p41">
            <a:extLst>
              <a:ext uri="{FF2B5EF4-FFF2-40B4-BE49-F238E27FC236}">
                <a16:creationId xmlns:a16="http://schemas.microsoft.com/office/drawing/2014/main" id="{2CF33D32-2FE6-FF25-7E52-3328A7448CA5}"/>
              </a:ext>
            </a:extLst>
          </p:cNvPr>
          <p:cNvPicPr preferRelativeResize="0"/>
          <p:nvPr userDrawn="1"/>
        </p:nvPicPr>
        <p:blipFill>
          <a:blip r:embed="rId4"/>
          <a:srcRect/>
          <a:stretch/>
        </p:blipFill>
        <p:spPr>
          <a:xfrm>
            <a:off x="8621647" y="2498303"/>
            <a:ext cx="3309151" cy="1861397"/>
          </a:xfrm>
          <a:prstGeom prst="rect">
            <a:avLst/>
          </a:prstGeom>
          <a:noFill/>
          <a:ln>
            <a:noFill/>
          </a:ln>
        </p:spPr>
      </p:pic>
    </p:spTree>
    <p:extLst>
      <p:ext uri="{BB962C8B-B14F-4D97-AF65-F5344CB8AC3E}">
        <p14:creationId xmlns:p14="http://schemas.microsoft.com/office/powerpoint/2010/main" val="10119287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ommaire">
    <p:bg>
      <p:bgPr>
        <a:solidFill>
          <a:srgbClr val="20408E"/>
        </a:solidFill>
        <a:effectLst/>
      </p:bgPr>
    </p:bg>
    <p:spTree>
      <p:nvGrpSpPr>
        <p:cNvPr id="1" name=""/>
        <p:cNvGrpSpPr/>
        <p:nvPr/>
      </p:nvGrpSpPr>
      <p:grpSpPr>
        <a:xfrm>
          <a:off x="0" y="0"/>
          <a:ext cx="0" cy="0"/>
          <a:chOff x="0" y="0"/>
          <a:chExt cx="0" cy="0"/>
        </a:xfrm>
      </p:grpSpPr>
      <p:grpSp>
        <p:nvGrpSpPr>
          <p:cNvPr id="3" name="Google Shape;22;p4">
            <a:extLst>
              <a:ext uri="{FF2B5EF4-FFF2-40B4-BE49-F238E27FC236}">
                <a16:creationId xmlns:a16="http://schemas.microsoft.com/office/drawing/2014/main" id="{C54BBB0B-2A78-4C44-9D29-6ACFD449A11C}"/>
              </a:ext>
            </a:extLst>
          </p:cNvPr>
          <p:cNvGrpSpPr/>
          <p:nvPr userDrawn="1"/>
        </p:nvGrpSpPr>
        <p:grpSpPr>
          <a:xfrm>
            <a:off x="348667" y="484767"/>
            <a:ext cx="2811600" cy="705467"/>
            <a:chOff x="261500" y="525100"/>
            <a:chExt cx="2108700" cy="852150"/>
          </a:xfrm>
        </p:grpSpPr>
        <p:sp>
          <p:nvSpPr>
            <p:cNvPr id="4" name="Google Shape;23;p4">
              <a:extLst>
                <a:ext uri="{FF2B5EF4-FFF2-40B4-BE49-F238E27FC236}">
                  <a16:creationId xmlns:a16="http://schemas.microsoft.com/office/drawing/2014/main" id="{0B89604B-E0F4-234D-B111-E5213D04C9C6}"/>
                </a:ext>
              </a:extLst>
            </p:cNvPr>
            <p:cNvSpPr txBox="1"/>
            <p:nvPr/>
          </p:nvSpPr>
          <p:spPr>
            <a:xfrm>
              <a:off x="261500" y="565450"/>
              <a:ext cx="2108700" cy="81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fr" sz="2800" b="1" i="0" u="none" strike="noStrike" cap="none">
                  <a:solidFill>
                    <a:srgbClr val="FFFFFF"/>
                  </a:solidFill>
                  <a:latin typeface="Arial Black" panose="020B0604020202020204" pitchFamily="34" charset="0"/>
                  <a:ea typeface="Montserrat"/>
                  <a:cs typeface="Arial Black" panose="020B0604020202020204" pitchFamily="34" charset="0"/>
                  <a:sym typeface="Montserrat"/>
                </a:rPr>
                <a:t>SOMMAIRE</a:t>
              </a:r>
              <a:endParaRPr sz="2800" b="1" i="0" u="none" strike="noStrike" cap="none">
                <a:solidFill>
                  <a:srgbClr val="FFFFFF"/>
                </a:solidFill>
                <a:latin typeface="Arial Black" panose="020B0604020202020204" pitchFamily="34" charset="0"/>
                <a:ea typeface="Montserrat Medium"/>
                <a:cs typeface="Arial Black" panose="020B0604020202020204" pitchFamily="34" charset="0"/>
                <a:sym typeface="Montserrat Medium"/>
              </a:endParaRPr>
            </a:p>
          </p:txBody>
        </p:sp>
        <p:sp>
          <p:nvSpPr>
            <p:cNvPr id="5" name="Google Shape;24;p4">
              <a:extLst>
                <a:ext uri="{FF2B5EF4-FFF2-40B4-BE49-F238E27FC236}">
                  <a16:creationId xmlns:a16="http://schemas.microsoft.com/office/drawing/2014/main" id="{A077CA0F-0F42-1541-BE51-EEDBFFB46345}"/>
                </a:ext>
              </a:extLst>
            </p:cNvPr>
            <p:cNvSpPr/>
            <p:nvPr/>
          </p:nvSpPr>
          <p:spPr>
            <a:xfrm>
              <a:off x="348000" y="525100"/>
              <a:ext cx="251100" cy="18900"/>
            </a:xfrm>
            <a:prstGeom prst="rect">
              <a:avLst/>
            </a:prstGeom>
            <a:solidFill>
              <a:srgbClr val="E8E6F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grpSp>
      <p:sp>
        <p:nvSpPr>
          <p:cNvPr id="6" name="Google Shape;25;p4">
            <a:extLst>
              <a:ext uri="{FF2B5EF4-FFF2-40B4-BE49-F238E27FC236}">
                <a16:creationId xmlns:a16="http://schemas.microsoft.com/office/drawing/2014/main" id="{E8CE9CF7-A38B-3940-BC70-133DDB0EEF21}"/>
              </a:ext>
            </a:extLst>
          </p:cNvPr>
          <p:cNvSpPr txBox="1">
            <a:spLocks noGrp="1"/>
          </p:cNvSpPr>
          <p:nvPr>
            <p:ph type="body" idx="1" hasCustomPrompt="1"/>
          </p:nvPr>
        </p:nvSpPr>
        <p:spPr>
          <a:xfrm>
            <a:off x="2740804" y="1301767"/>
            <a:ext cx="4603427" cy="4458400"/>
          </a:xfrm>
          <a:prstGeom prst="rect">
            <a:avLst/>
          </a:prstGeom>
          <a:noFill/>
          <a:ln>
            <a:noFill/>
          </a:ln>
        </p:spPr>
        <p:txBody>
          <a:bodyPr spcFirstLastPara="1" wrap="square" lIns="91425" tIns="91425" rIns="91425" bIns="91425" anchor="ctr" anchorCtr="0">
            <a:noAutofit/>
          </a:bodyPr>
          <a:lstStyle>
            <a:lvl1pPr marL="357708" marR="0" lvl="0" indent="-349242" algn="l" rtl="0">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Nom partie</a:t>
            </a:r>
          </a:p>
          <a:p>
            <a:r>
              <a:rPr lang="fr-FR"/>
              <a:t>Nom partie</a:t>
            </a:r>
          </a:p>
          <a:p>
            <a:r>
              <a:rPr lang="fr-FR"/>
              <a:t>Nom partie</a:t>
            </a:r>
          </a:p>
        </p:txBody>
      </p:sp>
      <p:sp>
        <p:nvSpPr>
          <p:cNvPr id="7" name="Google Shape;26;p4">
            <a:extLst>
              <a:ext uri="{FF2B5EF4-FFF2-40B4-BE49-F238E27FC236}">
                <a16:creationId xmlns:a16="http://schemas.microsoft.com/office/drawing/2014/main" id="{C73D8A71-E8A0-4345-8243-F93FC7A4D8C9}"/>
              </a:ext>
            </a:extLst>
          </p:cNvPr>
          <p:cNvSpPr txBox="1">
            <a:spLocks noGrp="1"/>
          </p:cNvSpPr>
          <p:nvPr>
            <p:ph type="body" idx="2" hasCustomPrompt="1"/>
          </p:nvPr>
        </p:nvSpPr>
        <p:spPr>
          <a:xfrm>
            <a:off x="7344230" y="1301767"/>
            <a:ext cx="2561437" cy="4458400"/>
          </a:xfrm>
          <a:prstGeom prst="rect">
            <a:avLst/>
          </a:prstGeom>
          <a:noFill/>
          <a:ln>
            <a:noFill/>
          </a:ln>
        </p:spPr>
        <p:txBody>
          <a:bodyPr spcFirstLastPara="1" wrap="square" lIns="0" tIns="91425" rIns="180000" bIns="91425" anchor="ctr" anchorCtr="0">
            <a:noAutofit/>
          </a:bodyPr>
          <a:lstStyle>
            <a:lvl1pPr marL="8466" marR="0" lvl="0" indent="0" algn="r" rtl="0">
              <a:lnSpc>
                <a:spcPct val="200000"/>
              </a:lnSpc>
              <a:spcBef>
                <a:spcPts val="0"/>
              </a:spcBef>
              <a:spcAft>
                <a:spcPts val="0"/>
              </a:spcAft>
              <a:buClr>
                <a:srgbClr val="FFFFFF"/>
              </a:buClr>
              <a:buSzPts val="1400"/>
              <a:buFont typeface="Montserrat"/>
              <a:buNone/>
              <a:tabLst/>
              <a:defRPr sz="1600" b="0"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a:t>
            </a:r>
          </a:p>
        </p:txBody>
      </p:sp>
      <p:sp>
        <p:nvSpPr>
          <p:cNvPr id="8" name="Google Shape;27;p4">
            <a:extLst>
              <a:ext uri="{FF2B5EF4-FFF2-40B4-BE49-F238E27FC236}">
                <a16:creationId xmlns:a16="http://schemas.microsoft.com/office/drawing/2014/main" id="{28AEF8FB-C835-9247-82CF-F2C39310FC62}"/>
              </a:ext>
            </a:extLst>
          </p:cNvPr>
          <p:cNvSpPr txBox="1">
            <a:spLocks noGrp="1"/>
          </p:cNvSpPr>
          <p:nvPr>
            <p:ph type="body" idx="3" hasCustomPrompt="1"/>
          </p:nvPr>
        </p:nvSpPr>
        <p:spPr>
          <a:xfrm>
            <a:off x="9924966" y="1301767"/>
            <a:ext cx="1612900" cy="4458400"/>
          </a:xfrm>
          <a:prstGeom prst="rect">
            <a:avLst/>
          </a:prstGeom>
          <a:noFill/>
          <a:ln>
            <a:noFill/>
          </a:ln>
        </p:spPr>
        <p:txBody>
          <a:bodyPr spcFirstLastPara="1" wrap="square" lIns="91425" tIns="91425" rIns="91425" bIns="91425" anchor="ctr" anchorCtr="0">
            <a:noAutofit/>
          </a:bodyPr>
          <a:lstStyle>
            <a:lvl1pPr marL="186262" marR="0" lvl="0" indent="0" algn="l" rtl="0">
              <a:lnSpc>
                <a:spcPct val="200000"/>
              </a:lnSpc>
              <a:spcBef>
                <a:spcPts val="0"/>
              </a:spcBef>
              <a:spcAft>
                <a:spcPts val="0"/>
              </a:spcAft>
              <a:buClr>
                <a:srgbClr val="FFFFFF"/>
              </a:buClr>
              <a:buSzPts val="1400"/>
              <a:buFont typeface="Montserrat"/>
              <a:buNone/>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03</a:t>
            </a:r>
          </a:p>
          <a:p>
            <a:r>
              <a:rPr lang="fr-FR"/>
              <a:t>03</a:t>
            </a:r>
          </a:p>
          <a:p>
            <a:r>
              <a:rPr lang="fr-FR"/>
              <a:t>03</a:t>
            </a:r>
            <a:endParaRPr/>
          </a:p>
        </p:txBody>
      </p:sp>
      <p:sp>
        <p:nvSpPr>
          <p:cNvPr id="15" name="Google Shape;45;p44">
            <a:extLst>
              <a:ext uri="{FF2B5EF4-FFF2-40B4-BE49-F238E27FC236}">
                <a16:creationId xmlns:a16="http://schemas.microsoft.com/office/drawing/2014/main" id="{A584EF08-8235-9B4D-8E40-239A54EF66F8}"/>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pic>
        <p:nvPicPr>
          <p:cNvPr id="9" name="Google Shape;19;p3">
            <a:extLst>
              <a:ext uri="{FF2B5EF4-FFF2-40B4-BE49-F238E27FC236}">
                <a16:creationId xmlns:a16="http://schemas.microsoft.com/office/drawing/2014/main" id="{10CA2337-CFBF-CC13-B256-BDAB20457C53}"/>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941082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EC2A0E25-99D6-39F7-D917-79291E16DB88}"/>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073422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bg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44388A"/>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7" name="Forme libre 16">
            <a:extLst>
              <a:ext uri="{FF2B5EF4-FFF2-40B4-BE49-F238E27FC236}">
                <a16:creationId xmlns:a16="http://schemas.microsoft.com/office/drawing/2014/main" id="{930663F2-6765-7E41-A2F8-C79580B0188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bg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13" name="Image 12">
            <a:extLst>
              <a:ext uri="{FF2B5EF4-FFF2-40B4-BE49-F238E27FC236}">
                <a16:creationId xmlns:a16="http://schemas.microsoft.com/office/drawing/2014/main" id="{A7065546-EACA-E544-853B-2BC179EF8509}"/>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7896965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D25A1A03-CD8F-C73A-025E-8BD58E8BE3D0}"/>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6784690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0971984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7042CC59-4DE1-AA83-4F4B-9F0FBC660335}"/>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41009138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26" name="Forme libre 25">
            <a:extLst>
              <a:ext uri="{FF2B5EF4-FFF2-40B4-BE49-F238E27FC236}">
                <a16:creationId xmlns:a16="http://schemas.microsoft.com/office/drawing/2014/main" id="{CE542045-9417-8A4E-8E69-7121098F1DF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27" name="Google Shape;33;p5">
            <a:extLst>
              <a:ext uri="{FF2B5EF4-FFF2-40B4-BE49-F238E27FC236}">
                <a16:creationId xmlns:a16="http://schemas.microsoft.com/office/drawing/2014/main" id="{05C61B6A-97AE-7B44-9BF9-7BAD7C9154D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2A116E75-5B12-2B4A-B33A-AAFDD7F73BF9}"/>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3283210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2 // Texte">
    <p:spTree>
      <p:nvGrpSpPr>
        <p:cNvPr id="1" name=""/>
        <p:cNvGrpSpPr/>
        <p:nvPr/>
      </p:nvGrpSpPr>
      <p:grpSpPr>
        <a:xfrm>
          <a:off x="0" y="0"/>
          <a:ext cx="0" cy="0"/>
          <a:chOff x="0" y="0"/>
          <a:chExt cx="0" cy="0"/>
        </a:xfrm>
      </p:grpSpPr>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520ADC7A-34D9-FB47-BD87-5F4C5E73EF97}"/>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9" name="Google Shape;86;p14">
            <a:extLst>
              <a:ext uri="{FF2B5EF4-FFF2-40B4-BE49-F238E27FC236}">
                <a16:creationId xmlns:a16="http://schemas.microsoft.com/office/drawing/2014/main" id="{80C9613B-9636-864F-9D61-59B5C40A4E29}"/>
              </a:ext>
            </a:extLst>
          </p:cNvPr>
          <p:cNvSpPr/>
          <p:nvPr userDrawn="1"/>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48C8DFC3-B1D0-E9A2-B340-0F4C71DA5B4A}"/>
              </a:ext>
            </a:extLst>
          </p:cNvPr>
          <p:cNvPicPr preferRelativeResize="0"/>
          <p:nvPr userDrawn="1"/>
        </p:nvPicPr>
        <p:blipFill>
          <a:blip r:embed="rId2"/>
          <a:srcRect/>
          <a:stretch/>
        </p:blipFill>
        <p:spPr>
          <a:xfrm>
            <a:off x="10648284" y="104353"/>
            <a:ext cx="1381904" cy="777321"/>
          </a:xfrm>
          <a:prstGeom prst="rect">
            <a:avLst/>
          </a:prstGeom>
          <a:noFill/>
          <a:ln>
            <a:noFill/>
          </a:ln>
        </p:spPr>
      </p:pic>
      <p:sp>
        <p:nvSpPr>
          <p:cNvPr id="5" name="Google Shape;209;p35">
            <a:extLst>
              <a:ext uri="{FF2B5EF4-FFF2-40B4-BE49-F238E27FC236}">
                <a16:creationId xmlns:a16="http://schemas.microsoft.com/office/drawing/2014/main" id="{6FB18D1D-55DC-01F5-A398-105FE1DD2BB3}"/>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6" name="Google Shape;210;p35">
            <a:extLst>
              <a:ext uri="{FF2B5EF4-FFF2-40B4-BE49-F238E27FC236}">
                <a16:creationId xmlns:a16="http://schemas.microsoft.com/office/drawing/2014/main" id="{CFB9A6EF-53D0-AE7E-B4BE-D9C03F3BBCEC}"/>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26991638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9182" y="2899067"/>
            <a:ext cx="275599"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520ADC7A-34D9-FB47-BD87-5F4C5E73EF97}"/>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9" name="Google Shape;86;p14">
            <a:extLst>
              <a:ext uri="{FF2B5EF4-FFF2-40B4-BE49-F238E27FC236}">
                <a16:creationId xmlns:a16="http://schemas.microsoft.com/office/drawing/2014/main" id="{80C9613B-9636-864F-9D61-59B5C40A4E29}"/>
              </a:ext>
            </a:extLst>
          </p:cNvPr>
          <p:cNvSpPr/>
          <p:nvPr userDrawn="1"/>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48C8DFC3-B1D0-E9A2-B340-0F4C71DA5B4A}"/>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199857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lan Solutions 1">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Rectangle 15">
            <a:extLst>
              <a:ext uri="{FF2B5EF4-FFF2-40B4-BE49-F238E27FC236}">
                <a16:creationId xmlns:a16="http://schemas.microsoft.com/office/drawing/2014/main" id="{0075282A-1AA4-4984-B949-3EBCE3D57964}"/>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Rectangle 15">
            <a:extLst>
              <a:ext uri="{FF2B5EF4-FFF2-40B4-BE49-F238E27FC236}">
                <a16:creationId xmlns:a16="http://schemas.microsoft.com/office/drawing/2014/main" id="{2934F2EE-2C4D-44C8-943C-E71C5937BCC5}"/>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4" name="Google Shape;171;p30">
            <a:extLst>
              <a:ext uri="{FF2B5EF4-FFF2-40B4-BE49-F238E27FC236}">
                <a16:creationId xmlns:a16="http://schemas.microsoft.com/office/drawing/2014/main" id="{3BE0F9E9-8360-473A-BCA7-CBCDB01FB1CF}"/>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470255" y="409695"/>
            <a:ext cx="2769999" cy="801100"/>
          </a:xfrm>
          <a:prstGeom prst="rect">
            <a:avLst/>
          </a:prstGeom>
          <a:noFill/>
          <a:ln>
            <a:noFill/>
          </a:ln>
        </p:spPr>
      </p:pic>
      <p:sp>
        <p:nvSpPr>
          <p:cNvPr id="3" name="Espace réservé du contenu 2">
            <a:extLst>
              <a:ext uri="{FF2B5EF4-FFF2-40B4-BE49-F238E27FC236}">
                <a16:creationId xmlns:a16="http://schemas.microsoft.com/office/drawing/2014/main" id="{09F15424-128E-4B1A-8801-AB04456E1044}"/>
              </a:ext>
            </a:extLst>
          </p:cNvPr>
          <p:cNvSpPr>
            <a:spLocks noGrp="1"/>
          </p:cNvSpPr>
          <p:nvPr>
            <p:ph sz="quarter" idx="12"/>
          </p:nvPr>
        </p:nvSpPr>
        <p:spPr>
          <a:xfrm>
            <a:off x="4165600" y="772055"/>
            <a:ext cx="7645047" cy="664284"/>
          </a:xfrm>
          <a:prstGeom prst="rect">
            <a:avLst/>
          </a:prstGeom>
        </p:spPr>
        <p:txBody>
          <a:bodyPr wrap="square" lIns="0" tIns="0" rIns="0" bIns="0">
            <a:spAutoFit/>
          </a:bodyPr>
          <a:lstStyle>
            <a:lvl1pPr>
              <a:defRPr sz="1200">
                <a:latin typeface="Montserrat" panose="00000500000000000000" pitchFamily="2" charset="0"/>
              </a:defRPr>
            </a:lvl1pPr>
            <a:lvl2pPr>
              <a:defRPr sz="1100">
                <a:latin typeface="Montserrat" panose="00000500000000000000" pitchFamily="2" charset="0"/>
              </a:defRPr>
            </a:lvl2pPr>
            <a:lvl3pP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5" name="ZoneTexte 14">
            <a:extLst>
              <a:ext uri="{FF2B5EF4-FFF2-40B4-BE49-F238E27FC236}">
                <a16:creationId xmlns:a16="http://schemas.microsoft.com/office/drawing/2014/main" id="{E505FD25-1E82-4E53-9D6D-2F10796684A9}"/>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94D87BC4-66EF-4CE6-8E91-0B8CD12BFE1E}"/>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5B91D6B8-E485-4CDF-9D15-1D19D35E48DF}"/>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1" name="Connecteur droit 20">
            <a:extLst>
              <a:ext uri="{FF2B5EF4-FFF2-40B4-BE49-F238E27FC236}">
                <a16:creationId xmlns:a16="http://schemas.microsoft.com/office/drawing/2014/main" id="{B982CE90-599E-49BC-AD4B-6F94309F255D}"/>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9">
            <a:extLst>
              <a:ext uri="{FF2B5EF4-FFF2-40B4-BE49-F238E27FC236}">
                <a16:creationId xmlns:a16="http://schemas.microsoft.com/office/drawing/2014/main" id="{4408FF49-4B6E-4471-A35C-09C205F5B754}"/>
              </a:ext>
            </a:extLst>
          </p:cNvPr>
          <p:cNvSpPr>
            <a:spLocks noGrp="1"/>
          </p:cNvSpPr>
          <p:nvPr>
            <p:ph type="body" sz="quarter" idx="11"/>
          </p:nvPr>
        </p:nvSpPr>
        <p:spPr>
          <a:xfrm>
            <a:off x="444501" y="2513170"/>
            <a:ext cx="2922815" cy="809965"/>
          </a:xfrm>
          <a:prstGeom prst="rect">
            <a:avLst/>
          </a:prstGeom>
        </p:spPr>
        <p:txBody>
          <a:bodyPr wrap="square" lIns="0" tIns="0" rIns="0" bIns="0">
            <a:spAutoFit/>
          </a:bodyPr>
          <a:lstStyle>
            <a:lvl1pPr>
              <a:defRPr sz="18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4005320458"/>
      </p:ext>
    </p:extLst>
  </p:cSld>
  <p:clrMapOvr>
    <a:masterClrMapping/>
  </p:clrMapOvr>
  <p:extLst>
    <p:ext uri="{DCECCB84-F9BA-43D5-87BE-67443E8EF086}">
      <p15:sldGuideLst xmlns:p15="http://schemas.microsoft.com/office/powerpoint/2012/main">
        <p15:guide id="1" orient="horz" pos="1253">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7330154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C0138D35-B207-8ED1-DA1E-3FF2D2A05C80}"/>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63091751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03 // Sous-titre">
    <p:spTree>
      <p:nvGrpSpPr>
        <p:cNvPr id="1" name=""/>
        <p:cNvGrpSpPr/>
        <p:nvPr/>
      </p:nvGrpSpPr>
      <p:grpSpPr>
        <a:xfrm>
          <a:off x="0" y="0"/>
          <a:ext cx="0" cy="0"/>
          <a:chOff x="0" y="0"/>
          <a:chExt cx="0" cy="0"/>
        </a:xfrm>
      </p:grpSpPr>
      <p:sp>
        <p:nvSpPr>
          <p:cNvPr id="17" name="Forme libre 16">
            <a:extLst>
              <a:ext uri="{FF2B5EF4-FFF2-40B4-BE49-F238E27FC236}">
                <a16:creationId xmlns:a16="http://schemas.microsoft.com/office/drawing/2014/main" id="{BE667D24-B450-4649-B652-785C38F9310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2C66A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8" name="Google Shape;33;p5">
            <a:extLst>
              <a:ext uri="{FF2B5EF4-FFF2-40B4-BE49-F238E27FC236}">
                <a16:creationId xmlns:a16="http://schemas.microsoft.com/office/drawing/2014/main" id="{6F430284-3756-9448-ACF9-7DB103D494C6}"/>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D66A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D66A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4D3EC98-00F4-534E-BD84-5391486934D1}"/>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95109547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userDrawn="1"/>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BA6BBDC4-EF1A-814B-923C-5B0B25392A8D}"/>
              </a:ext>
            </a:extLst>
          </p:cNvPr>
          <p:cNvSpPr/>
          <p:nvPr userDrawn="1"/>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EA22A547-19B2-5A5A-63FD-6E7DCDA0A4BB}"/>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69255451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03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28567903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00C3F48A-3DF0-3C89-12CB-9056FCDA9D2B}"/>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51325460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4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A30158F4-EEEB-CF41-AF99-BD2396E4CA7E}"/>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dirty="0">
                <a:solidFill>
                  <a:srgbClr val="1F7A9C"/>
                </a:solidFil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139274E-8689-B34B-9313-E2D7B7CDD0A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07A9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07A9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852967E3-052B-044E-BE3F-F21EF4FCAB4F}"/>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3549411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userDrawn="1"/>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B433903A-E5F0-0948-ACA0-B9D5E93F8D5A}"/>
              </a:ext>
            </a:extLst>
          </p:cNvPr>
          <p:cNvSpPr/>
          <p:nvPr userDrawn="1"/>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8E8786C7-443C-F021-C38F-5D11F137AE76}"/>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4742191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04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9226791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7C08732E-736A-9532-34CD-618A08596F3F}"/>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055914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lan Solution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6" name="Espace réservé du titre 22">
            <a:extLst>
              <a:ext uri="{FF2B5EF4-FFF2-40B4-BE49-F238E27FC236}">
                <a16:creationId xmlns:a16="http://schemas.microsoft.com/office/drawing/2014/main" id="{3A0E5F3D-B31A-444E-9339-01B84C153527}"/>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defRPr>
            </a:lvl1pPr>
          </a:lstStyle>
          <a:p>
            <a:r>
              <a:rPr lang="fr-FR"/>
              <a:t>MODIFIEZ LE STYLE DU TITRE</a:t>
            </a:r>
            <a:endParaRPr lang="en-US"/>
          </a:p>
        </p:txBody>
      </p:sp>
      <p:cxnSp>
        <p:nvCxnSpPr>
          <p:cNvPr id="17" name="Connecteur droit 16">
            <a:extLst>
              <a:ext uri="{FF2B5EF4-FFF2-40B4-BE49-F238E27FC236}">
                <a16:creationId xmlns:a16="http://schemas.microsoft.com/office/drawing/2014/main" id="{B680A76F-E6F2-443A-B0C7-05DE63A5C206}"/>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5">
            <a:extLst>
              <a:ext uri="{FF2B5EF4-FFF2-40B4-BE49-F238E27FC236}">
                <a16:creationId xmlns:a16="http://schemas.microsoft.com/office/drawing/2014/main" id="{D8812B66-2E26-49F0-BD36-BADA8A655651}"/>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9" name="Rectangle 15">
            <a:extLst>
              <a:ext uri="{FF2B5EF4-FFF2-40B4-BE49-F238E27FC236}">
                <a16:creationId xmlns:a16="http://schemas.microsoft.com/office/drawing/2014/main" id="{C744B43F-C76D-4777-9768-FFAC618E1725}"/>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Espace réservé du texte 9">
            <a:extLst>
              <a:ext uri="{FF2B5EF4-FFF2-40B4-BE49-F238E27FC236}">
                <a16:creationId xmlns:a16="http://schemas.microsoft.com/office/drawing/2014/main" id="{9107EE0B-BFCC-469C-90F8-FC82D7EE7556}"/>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5" name="Espace réservé du texte 9">
            <a:extLst>
              <a:ext uri="{FF2B5EF4-FFF2-40B4-BE49-F238E27FC236}">
                <a16:creationId xmlns:a16="http://schemas.microsoft.com/office/drawing/2014/main" id="{B8952D59-835C-4785-9C5F-2B859F8CDDE7}"/>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8" name="Espace réservé du texte 9">
            <a:extLst>
              <a:ext uri="{FF2B5EF4-FFF2-40B4-BE49-F238E27FC236}">
                <a16:creationId xmlns:a16="http://schemas.microsoft.com/office/drawing/2014/main" id="{29C0BE77-41F0-4DC8-94AA-363A61905298}"/>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1" name="ZoneTexte 30">
            <a:extLst>
              <a:ext uri="{FF2B5EF4-FFF2-40B4-BE49-F238E27FC236}">
                <a16:creationId xmlns:a16="http://schemas.microsoft.com/office/drawing/2014/main" id="{14D994E9-6D7D-43B3-8E5A-BE6E319F34A1}"/>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2" name="Espace réservé du pied de page 24">
            <a:extLst>
              <a:ext uri="{FF2B5EF4-FFF2-40B4-BE49-F238E27FC236}">
                <a16:creationId xmlns:a16="http://schemas.microsoft.com/office/drawing/2014/main" id="{0839D8FE-90C2-4A0F-97FC-59D432D3F109}"/>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33" name="Espace réservé du pied de page 24">
            <a:extLst>
              <a:ext uri="{FF2B5EF4-FFF2-40B4-BE49-F238E27FC236}">
                <a16:creationId xmlns:a16="http://schemas.microsoft.com/office/drawing/2014/main" id="{064E0D3C-F294-4ECE-B587-4B837BBF8B24}"/>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51" name="Image 50">
            <a:extLst>
              <a:ext uri="{FF2B5EF4-FFF2-40B4-BE49-F238E27FC236}">
                <a16:creationId xmlns:a16="http://schemas.microsoft.com/office/drawing/2014/main" id="{D4D71B7A-1526-41F2-9057-24D071E4AB7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54511" y="322412"/>
            <a:ext cx="1079075" cy="546337"/>
          </a:xfrm>
          <a:prstGeom prst="rect">
            <a:avLst/>
          </a:prstGeom>
        </p:spPr>
      </p:pic>
    </p:spTree>
    <p:extLst>
      <p:ext uri="{BB962C8B-B14F-4D97-AF65-F5344CB8AC3E}">
        <p14:creationId xmlns:p14="http://schemas.microsoft.com/office/powerpoint/2010/main" val="1892211070"/>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05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C5AA9E1-A29B-914B-80EC-12D2D8568AF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9829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831EBD4D-E74F-254C-BC13-1534C1FE313E}"/>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7829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7829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BB90861F-6363-6D43-997F-E11D0EE64B8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5200052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9E4E6D7D-A34B-B237-E810-48C087BD8E93}"/>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5209453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0285364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E2A5D61F-0DFA-CB09-8C34-518BD76EC2DD}"/>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9909247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06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F745501C-2D69-C147-BCB1-AF5691AA3316}"/>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E8A8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CAF22F4C-7BD0-0649-9968-2709A306117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0C8A8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0C8A8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87AFF0F-46B3-6B40-95AD-E7CBD35D16C4}"/>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5872309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9B3EA181-607C-0CC9-5FB3-135FBD91C18E}"/>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081503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3301785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8DDF39BC-A1E3-817A-195B-DEFDF3303E2B}"/>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49650323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07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88DB0CAA-899E-374A-9AB8-470F5D046F17}"/>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49183"/>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BC1A9EF-0A72-5E4F-87E0-415056AE179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39183"/>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39183"/>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5104D1EE-BCC4-B44B-9C82-655D690F057A}"/>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53109819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5674598D-DE82-3D08-CF35-7568485F2C59}"/>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4132904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lan Solutions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9" name="ZoneTexte 18">
            <a:extLst>
              <a:ext uri="{FF2B5EF4-FFF2-40B4-BE49-F238E27FC236}">
                <a16:creationId xmlns:a16="http://schemas.microsoft.com/office/drawing/2014/main" id="{98E3E54D-C84A-4ECC-A9E4-8C9519240A3B}"/>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2" name="Espace réservé du pied de page 24">
            <a:extLst>
              <a:ext uri="{FF2B5EF4-FFF2-40B4-BE49-F238E27FC236}">
                <a16:creationId xmlns:a16="http://schemas.microsoft.com/office/drawing/2014/main" id="{E4FB37DA-3E13-45A0-9CB5-BCAAC480E655}"/>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10C0070F-DAB4-4316-BB7E-D8B9516BA533}"/>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26" name="Image 25">
            <a:extLst>
              <a:ext uri="{FF2B5EF4-FFF2-40B4-BE49-F238E27FC236}">
                <a16:creationId xmlns:a16="http://schemas.microsoft.com/office/drawing/2014/main" id="{122EA774-F7AA-4D73-95E6-9DFA3FFC928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54511" y="322412"/>
            <a:ext cx="1079075" cy="546337"/>
          </a:xfrm>
          <a:prstGeom prst="rect">
            <a:avLst/>
          </a:prstGeom>
        </p:spPr>
      </p:pic>
      <p:sp>
        <p:nvSpPr>
          <p:cNvPr id="31" name="Espace réservé du texte 9">
            <a:extLst>
              <a:ext uri="{FF2B5EF4-FFF2-40B4-BE49-F238E27FC236}">
                <a16:creationId xmlns:a16="http://schemas.microsoft.com/office/drawing/2014/main" id="{628599D4-2BEB-403A-8611-204A5D116676}"/>
              </a:ext>
            </a:extLst>
          </p:cNvPr>
          <p:cNvSpPr>
            <a:spLocks noGrp="1"/>
          </p:cNvSpPr>
          <p:nvPr>
            <p:ph type="body" sz="quarter" idx="11" hasCustomPrompt="1"/>
          </p:nvPr>
        </p:nvSpPr>
        <p:spPr>
          <a:xfrm>
            <a:off x="444500" y="2016655"/>
            <a:ext cx="11366235"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414024754"/>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39782873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CF657398-5370-C24E-4532-3ACA7DEE0E49}"/>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2404320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08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3090832-2B13-BF4F-A5A0-0EF8A28D360A}"/>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2997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F00C5320-B8F8-B843-ADCA-5BEC2A12E17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2997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2997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E6D14B9B-7FBD-C344-8F57-70F711AE51A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3523494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B770E8AB-F467-15B2-EF2F-5EF969C682B4}"/>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409211365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26129758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1B4DE5C0-E41E-03E1-7E64-263E4F267004}"/>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6934726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09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ACEC956D-B20C-7A4D-BF81-1FCFBEC776C3}"/>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5"/>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C9C78A23-7CE0-7D42-8993-C0F0CE658D3F}"/>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5"/>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5"/>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1ACC7F31-885B-9E45-93B4-324D8C70B198}"/>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41340421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18219FB4-E64E-73CB-7A95-75FD1E3FF9AE}"/>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7126115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8242507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17EB276A-F99D-472B-7977-38C8C4E7F9F8}"/>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3367171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lan Operations 1">
    <p:spTree>
      <p:nvGrpSpPr>
        <p:cNvPr id="1" name=""/>
        <p:cNvGrpSpPr/>
        <p:nvPr/>
      </p:nvGrpSpPr>
      <p:grpSpPr>
        <a:xfrm>
          <a:off x="0" y="0"/>
          <a:ext cx="0" cy="0"/>
          <a:chOff x="0" y="0"/>
          <a:chExt cx="0" cy="0"/>
        </a:xfrm>
      </p:grpSpPr>
      <p:sp>
        <p:nvSpPr>
          <p:cNvPr id="14" name="Rectangle 15">
            <a:extLst>
              <a:ext uri="{FF2B5EF4-FFF2-40B4-BE49-F238E27FC236}">
                <a16:creationId xmlns:a16="http://schemas.microsoft.com/office/drawing/2014/main" id="{85A9C067-9624-432E-A510-44C1C04C7A4D}"/>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9" name="Google Shape;188;p35">
            <a:extLst>
              <a:ext uri="{FF2B5EF4-FFF2-40B4-BE49-F238E27FC236}">
                <a16:creationId xmlns:a16="http://schemas.microsoft.com/office/drawing/2014/main" id="{8D2A2804-485B-4664-9A1B-65CCCFCBE4E2}"/>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420799" y="476383"/>
            <a:ext cx="3095999" cy="801100"/>
          </a:xfrm>
          <a:prstGeom prst="rect">
            <a:avLst/>
          </a:prstGeom>
          <a:noFill/>
          <a:ln>
            <a:noFill/>
          </a:ln>
        </p:spPr>
      </p:pic>
      <p:sp>
        <p:nvSpPr>
          <p:cNvPr id="15" name="Rectangle 15">
            <a:extLst>
              <a:ext uri="{FF2B5EF4-FFF2-40B4-BE49-F238E27FC236}">
                <a16:creationId xmlns:a16="http://schemas.microsoft.com/office/drawing/2014/main" id="{233ED570-848C-47A2-99DC-47D5AD6F423E}"/>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5FF5947B-8CD6-411D-B9FA-6BFB39F6B25A}"/>
              </a:ext>
            </a:extLst>
          </p:cNvPr>
          <p:cNvSpPr>
            <a:spLocks noGrp="1"/>
          </p:cNvSpPr>
          <p:nvPr>
            <p:ph sz="quarter" idx="12"/>
          </p:nvPr>
        </p:nvSpPr>
        <p:spPr>
          <a:xfrm>
            <a:off x="4165600" y="772055"/>
            <a:ext cx="7645135" cy="664284"/>
          </a:xfrm>
          <a:prstGeom prst="rect">
            <a:avLst/>
          </a:prstGeom>
        </p:spPr>
        <p:txBody>
          <a:bodyPr wrap="square" lIns="0" tIns="0" rIns="0" bIns="0">
            <a:spAutoFit/>
          </a:bodyPr>
          <a:lstStyle>
            <a:lvl1pPr>
              <a:defRPr sz="1200">
                <a:solidFill>
                  <a:srgbClr val="AF94FF"/>
                </a:solidFill>
                <a:latin typeface="Montserrat" panose="00000500000000000000" pitchFamily="2" charset="0"/>
              </a:defRPr>
            </a:lvl1pPr>
            <a:lvl2pPr>
              <a:defRPr sz="1100">
                <a:latin typeface="Montserrat" panose="00000500000000000000" pitchFamily="2" charset="0"/>
              </a:defRPr>
            </a:lvl2pPr>
            <a:lvl3pPr>
              <a:buClr>
                <a:srgbClr val="AF94FF"/>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8" name="ZoneTexte 17">
            <a:extLst>
              <a:ext uri="{FF2B5EF4-FFF2-40B4-BE49-F238E27FC236}">
                <a16:creationId xmlns:a16="http://schemas.microsoft.com/office/drawing/2014/main" id="{9083C503-4B65-48F8-A710-E166F4D1CC27}"/>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1C19FCE3-2DF8-4F4E-853F-087BBFECF117}"/>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BDD5D874-D404-4811-AB12-6CE28EE751F5}"/>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6" name="Connecteur droit 25">
            <a:extLst>
              <a:ext uri="{FF2B5EF4-FFF2-40B4-BE49-F238E27FC236}">
                <a16:creationId xmlns:a16="http://schemas.microsoft.com/office/drawing/2014/main" id="{DE771B3B-E54F-4697-8C26-17904766E2DF}"/>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Espace réservé du texte 9">
            <a:extLst>
              <a:ext uri="{FF2B5EF4-FFF2-40B4-BE49-F238E27FC236}">
                <a16:creationId xmlns:a16="http://schemas.microsoft.com/office/drawing/2014/main" id="{D60E7A96-B883-42B6-A527-B8742AADFA58}"/>
              </a:ext>
            </a:extLst>
          </p:cNvPr>
          <p:cNvSpPr>
            <a:spLocks noGrp="1"/>
          </p:cNvSpPr>
          <p:nvPr>
            <p:ph type="body" sz="quarter" idx="11"/>
          </p:nvPr>
        </p:nvSpPr>
        <p:spPr>
          <a:xfrm>
            <a:off x="444501" y="2513170"/>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3849760512"/>
      </p:ext>
    </p:extLst>
  </p:cSld>
  <p:clrMapOvr>
    <a:masterClrMapping/>
  </p:clrMapOvr>
  <p:extLst>
    <p:ext uri="{DCECCB84-F9BA-43D5-87BE-67443E8EF086}">
      <p15:sldGuideLst xmlns:p15="http://schemas.microsoft.com/office/powerpoint/2012/main">
        <p15:guide id="1" orient="horz" pos="1253">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10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FD5A02F9-6BF6-CB4C-8144-B02CAB7122EC}"/>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281FF"/>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9280105D-7FB2-1648-9C40-35D8D2C8E688}"/>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181FF"/>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181FF"/>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97A2C67D-B0D3-7C4F-B2D1-E1AA88303F1A}"/>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5709954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9BE3F16E-8D3D-FD34-1DE8-316FB8CA9D7F}"/>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69154473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587926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70C19BA7-6EFB-F78D-7B77-A378B7881C7E}"/>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14264591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11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7D5F6F0B-36E4-9343-9FA3-20BB518542E5}"/>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3BFF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52585A64-3B91-594F-9B84-51EB088D6C4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3BFF8"/>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3BFF8"/>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4" name="Image 13">
            <a:extLst>
              <a:ext uri="{FF2B5EF4-FFF2-40B4-BE49-F238E27FC236}">
                <a16:creationId xmlns:a16="http://schemas.microsoft.com/office/drawing/2014/main" id="{F1C7D541-02B7-204D-98C2-A067C90E3C3B}"/>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426449802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C00CD2F6-E13C-21D1-769D-F44D9215BF68}"/>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4404245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8902370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2" name="Google Shape;19;p3">
            <a:extLst>
              <a:ext uri="{FF2B5EF4-FFF2-40B4-BE49-F238E27FC236}">
                <a16:creationId xmlns:a16="http://schemas.microsoft.com/office/drawing/2014/main" id="{37CC1A13-919D-7206-D613-FE6426E04FB6}"/>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82076131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12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184715DD-3FAB-B64E-985C-F9013026514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4"/>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3C1DF095-9714-3D4A-83E8-98821845004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4"/>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4"/>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02BC8AC5-AA5F-3747-AE76-3F696833C72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4413987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2" name="Google Shape;19;p3">
            <a:extLst>
              <a:ext uri="{FF2B5EF4-FFF2-40B4-BE49-F238E27FC236}">
                <a16:creationId xmlns:a16="http://schemas.microsoft.com/office/drawing/2014/main" id="{212F2CB2-D855-7AC6-F712-93376C3E611B}"/>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556099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lan Operation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71E995-8CAC-4A74-A677-5A59FC0CAD35}"/>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sp>
        <p:nvSpPr>
          <p:cNvPr id="28" name="Espace réservé du texte 9">
            <a:extLst>
              <a:ext uri="{FF2B5EF4-FFF2-40B4-BE49-F238E27FC236}">
                <a16:creationId xmlns:a16="http://schemas.microsoft.com/office/drawing/2014/main" id="{29C0BE77-41F0-4DC8-94AA-363A61905298}"/>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1" name="ZoneTexte 30">
            <a:extLst>
              <a:ext uri="{FF2B5EF4-FFF2-40B4-BE49-F238E27FC236}">
                <a16:creationId xmlns:a16="http://schemas.microsoft.com/office/drawing/2014/main" id="{14D994E9-6D7D-43B3-8E5A-BE6E319F34A1}"/>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2" name="Espace réservé du pied de page 24">
            <a:extLst>
              <a:ext uri="{FF2B5EF4-FFF2-40B4-BE49-F238E27FC236}">
                <a16:creationId xmlns:a16="http://schemas.microsoft.com/office/drawing/2014/main" id="{0839D8FE-90C2-4A0F-97FC-59D432D3F109}"/>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5" name="Espace réservé du titre 22">
            <a:extLst>
              <a:ext uri="{FF2B5EF4-FFF2-40B4-BE49-F238E27FC236}">
                <a16:creationId xmlns:a16="http://schemas.microsoft.com/office/drawing/2014/main" id="{F1920192-41D9-4D11-BECE-D3BD0AD08F1B}"/>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2">
                    <a:lumMod val="40000"/>
                    <a:lumOff val="60000"/>
                  </a:schemeClr>
                </a:solidFill>
                <a:latin typeface="Montserrat" panose="00000500000000000000" pitchFamily="2" charset="0"/>
              </a:defRPr>
            </a:lvl1pPr>
          </a:lstStyle>
          <a:p>
            <a:r>
              <a:rPr lang="fr-FR"/>
              <a:t>MODIFIEZ LE STYLE DU TITRE</a:t>
            </a:r>
            <a:endParaRPr lang="en-US"/>
          </a:p>
        </p:txBody>
      </p:sp>
      <p:sp>
        <p:nvSpPr>
          <p:cNvPr id="20" name="Rectangle 15">
            <a:extLst>
              <a:ext uri="{FF2B5EF4-FFF2-40B4-BE49-F238E27FC236}">
                <a16:creationId xmlns:a16="http://schemas.microsoft.com/office/drawing/2014/main" id="{C9082202-9D04-4450-BCCB-A3A63948920C}"/>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EC00F849-2BF7-4E27-8D48-88D26475E097}"/>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2" name="Espace réservé du texte 9">
            <a:extLst>
              <a:ext uri="{FF2B5EF4-FFF2-40B4-BE49-F238E27FC236}">
                <a16:creationId xmlns:a16="http://schemas.microsoft.com/office/drawing/2014/main" id="{2C603AF8-6EC0-4EDB-8250-6BD412120B75}"/>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1BF90F45-C78F-4F11-BB5E-4EA57FF7B750}"/>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cxnSp>
        <p:nvCxnSpPr>
          <p:cNvPr id="26" name="Connecteur droit 25">
            <a:extLst>
              <a:ext uri="{FF2B5EF4-FFF2-40B4-BE49-F238E27FC236}">
                <a16:creationId xmlns:a16="http://schemas.microsoft.com/office/drawing/2014/main" id="{38322079-20F2-4A4E-85E3-FFCFD0151BA3}"/>
              </a:ext>
            </a:extLst>
          </p:cNvPr>
          <p:cNvCxnSpPr/>
          <p:nvPr userDrawn="1"/>
        </p:nvCxnSpPr>
        <p:spPr>
          <a:xfrm>
            <a:off x="444500" y="334432"/>
            <a:ext cx="216000" cy="0"/>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7" name="Espace réservé du pied de page 24">
            <a:extLst>
              <a:ext uri="{FF2B5EF4-FFF2-40B4-BE49-F238E27FC236}">
                <a16:creationId xmlns:a16="http://schemas.microsoft.com/office/drawing/2014/main" id="{6E5267A7-DD69-4325-98BD-ED3CEB74601C}"/>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53" name="Image 52">
            <a:extLst>
              <a:ext uri="{FF2B5EF4-FFF2-40B4-BE49-F238E27FC236}">
                <a16:creationId xmlns:a16="http://schemas.microsoft.com/office/drawing/2014/main" id="{8F901FEA-A781-42AC-83CD-9E9B2E0EDE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554511" y="322411"/>
            <a:ext cx="1266015" cy="587219"/>
          </a:xfrm>
          <a:prstGeom prst="rect">
            <a:avLst/>
          </a:prstGeom>
        </p:spPr>
      </p:pic>
    </p:spTree>
    <p:extLst>
      <p:ext uri="{BB962C8B-B14F-4D97-AF65-F5344CB8AC3E}">
        <p14:creationId xmlns:p14="http://schemas.microsoft.com/office/powerpoint/2010/main" val="3450894344"/>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79158210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000"/>
            </a:lvl1pPr>
          </a:lstStyle>
          <a:p>
            <a:r>
              <a:rPr lang="en-US"/>
              <a:t>Click to edit Master title style</a:t>
            </a:r>
          </a:p>
        </p:txBody>
      </p:sp>
    </p:spTree>
    <p:extLst>
      <p:ext uri="{BB962C8B-B14F-4D97-AF65-F5344CB8AC3E}">
        <p14:creationId xmlns:p14="http://schemas.microsoft.com/office/powerpoint/2010/main" val="40282231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alan Consulting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AD9143-7BF5-49DC-B830-A5B407B4008D}"/>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2" name="ZoneTexte 11">
            <a:extLst>
              <a:ext uri="{FF2B5EF4-FFF2-40B4-BE49-F238E27FC236}">
                <a16:creationId xmlns:a16="http://schemas.microsoft.com/office/drawing/2014/main" id="{86344C2C-0907-4756-8E85-17EC70A94238}"/>
              </a:ext>
            </a:extLst>
          </p:cNvPr>
          <p:cNvSpPr txBox="1"/>
          <p:nvPr userDrawn="1"/>
        </p:nvSpPr>
        <p:spPr>
          <a:xfrm>
            <a:off x="11591123" y="6557761"/>
            <a:ext cx="181139"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8" name="Espace réservé du texte 9">
            <a:extLst>
              <a:ext uri="{FF2B5EF4-FFF2-40B4-BE49-F238E27FC236}">
                <a16:creationId xmlns:a16="http://schemas.microsoft.com/office/drawing/2014/main" id="{AD76F8E0-E424-4BC6-AA6F-D2B3C34DFAAB}"/>
              </a:ext>
            </a:extLst>
          </p:cNvPr>
          <p:cNvSpPr>
            <a:spLocks noGrp="1"/>
          </p:cNvSpPr>
          <p:nvPr>
            <p:ph type="body" sz="quarter" idx="11" hasCustomPrompt="1"/>
          </p:nvPr>
        </p:nvSpPr>
        <p:spPr>
          <a:xfrm>
            <a:off x="444500" y="2016655"/>
            <a:ext cx="1136623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pic>
        <p:nvPicPr>
          <p:cNvPr id="13" name="Google Shape;19;p3">
            <a:extLst>
              <a:ext uri="{FF2B5EF4-FFF2-40B4-BE49-F238E27FC236}">
                <a16:creationId xmlns:a16="http://schemas.microsoft.com/office/drawing/2014/main" id="{07200600-83D5-6B40-720E-1CAFD535980D}"/>
              </a:ext>
            </a:extLst>
          </p:cNvPr>
          <p:cNvPicPr preferRelativeResize="0"/>
          <p:nvPr userDrawn="1"/>
        </p:nvPicPr>
        <p:blipFill>
          <a:blip r:embed="rId6"/>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372372195"/>
      </p:ext>
    </p:extLst>
  </p:cSld>
  <p:clrMapOvr>
    <a:masterClrMapping/>
  </p:clrMapOvr>
  <p:extLst>
    <p:ext uri="{DCECCB84-F9BA-43D5-87BE-67443E8EF086}">
      <p15:sldGuideLst xmlns:p15="http://schemas.microsoft.com/office/powerpoint/2012/main">
        <p15:guide id="1" orient="horz" pos="1671">
          <p15:clr>
            <a:srgbClr val="FBAE40"/>
          </p15:clr>
        </p15:guide>
        <p15:guide id="2" pos="372">
          <p15:clr>
            <a:srgbClr val="FBAE40"/>
          </p15:clr>
        </p15:guide>
        <p15:guide id="3" orient="horz" pos="5389">
          <p15:clr>
            <a:srgbClr val="FBAE40"/>
          </p15:clr>
        </p15:guide>
        <p15:guide id="4" pos="992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3"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pic>
        <p:nvPicPr>
          <p:cNvPr id="13" name="Image 12">
            <a:extLst>
              <a:ext uri="{FF2B5EF4-FFF2-40B4-BE49-F238E27FC236}">
                <a16:creationId xmlns:a16="http://schemas.microsoft.com/office/drawing/2014/main" id="{1B92915B-76AC-4E99-B0E0-7EC94EB283D6}"/>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6742"/>
            <a:ext cx="12191999" cy="6934017"/>
          </a:xfrm>
          <a:prstGeom prst="rect">
            <a:avLst/>
          </a:prstGeom>
        </p:spPr>
      </p:pic>
    </p:spTree>
    <p:extLst>
      <p:ext uri="{BB962C8B-B14F-4D97-AF65-F5344CB8AC3E}">
        <p14:creationId xmlns:p14="http://schemas.microsoft.com/office/powerpoint/2010/main" val="2759830959"/>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alan General">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p:custDataLst>
              <p:tags r:id="rId1"/>
            </p:custDataLst>
            <p:extLst>
              <p:ext uri="{D42A27DB-BD31-4B8C-83A1-F6EECF244321}">
                <p14:modId xmlns:p14="http://schemas.microsoft.com/office/powerpoint/2010/main" val="1853060935"/>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4"/>
            <a:ext cx="9900000" cy="307776"/>
          </a:xfrm>
          <a:prstGeom prst="rect">
            <a:avLst/>
          </a:prstGeom>
        </p:spPr>
        <p:txBody>
          <a:bodyPr vert="horz" wrap="square" lIns="0" tIns="0" rIns="0" bIns="0" rtlCol="0" anchor="t" anchorCtr="0">
            <a:spAutoFit/>
          </a:bodyPr>
          <a:lstStyle>
            <a:lvl1pPr>
              <a:defRPr sz="2000">
                <a:latin typeface="+mn-lt"/>
                <a:sym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n-lt"/>
              <a:sym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n-lt"/>
              <a:sym typeface="Montserrat" panose="00000500000000000000" pitchFamily="2" charset="0"/>
            </a:endParaRPr>
          </a:p>
        </p:txBody>
      </p:sp>
      <p:sp>
        <p:nvSpPr>
          <p:cNvPr id="26" name="ZoneTexte 25">
            <a:extLst>
              <a:ext uri="{FF2B5EF4-FFF2-40B4-BE49-F238E27FC236}">
                <a16:creationId xmlns:a16="http://schemas.microsoft.com/office/drawing/2014/main" id="{D49C318F-4419-4BDC-926E-632BD79CFBE5}"/>
              </a:ext>
            </a:extLst>
          </p:cNvPr>
          <p:cNvSpPr txBox="1"/>
          <p:nvPr/>
        </p:nvSpPr>
        <p:spPr>
          <a:xfrm>
            <a:off x="11555857" y="6557761"/>
            <a:ext cx="251671"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n-lt"/>
                <a:sym typeface="Montserrat" panose="00000500000000000000" pitchFamily="2" charset="0"/>
              </a:rPr>
              <a:pPr algn="ctr"/>
              <a:t>‹#›</a:t>
            </a:fld>
            <a:endParaRPr lang="en-US" sz="1100">
              <a:solidFill>
                <a:schemeClr val="tx2"/>
              </a:solidFill>
              <a:latin typeface="+mn-lt"/>
              <a:sym typeface="Montserrat" panose="00000500000000000000" pitchFamily="2" charset="0"/>
            </a:endParaRPr>
          </a:p>
        </p:txBody>
      </p:sp>
      <p:sp>
        <p:nvSpPr>
          <p:cNvPr id="27" name="Espace réservé du texte 9">
            <a:extLst>
              <a:ext uri="{FF2B5EF4-FFF2-40B4-BE49-F238E27FC236}">
                <a16:creationId xmlns:a16="http://schemas.microsoft.com/office/drawing/2014/main" id="{C64635A6-9829-457D-84DD-66F8E973D0C5}"/>
              </a:ext>
            </a:extLst>
          </p:cNvPr>
          <p:cNvSpPr>
            <a:spLocks noGrp="1"/>
          </p:cNvSpPr>
          <p:nvPr>
            <p:ph type="body" sz="quarter" idx="13" hasCustomPrompt="1"/>
          </p:nvPr>
        </p:nvSpPr>
        <p:spPr>
          <a:xfrm>
            <a:off x="444498" y="1102787"/>
            <a:ext cx="11366500" cy="215444"/>
          </a:xfrm>
          <a:prstGeom prst="rect">
            <a:avLst/>
          </a:prstGeom>
        </p:spPr>
        <p:txBody>
          <a:bodyPr wrap="square" lIns="0" tIns="0" rIns="0" bIns="0">
            <a:spAutoFit/>
          </a:bodyPr>
          <a:lstStyle>
            <a:lvl1pPr>
              <a:defRPr sz="1400" b="0">
                <a:solidFill>
                  <a:schemeClr val="tx2"/>
                </a:solidFill>
                <a:latin typeface="+mn-lt"/>
                <a:sym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pic>
        <p:nvPicPr>
          <p:cNvPr id="3079" name="Picture 7">
            <a:extLst>
              <a:ext uri="{FF2B5EF4-FFF2-40B4-BE49-F238E27FC236}">
                <a16:creationId xmlns:a16="http://schemas.microsoft.com/office/drawing/2014/main" id="{58B02D2C-F0A1-FE4A-9507-AD3382586E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828684" y="205841"/>
            <a:ext cx="1128091" cy="512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6128906"/>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4" orient="horz" pos="4042">
          <p15:clr>
            <a:srgbClr val="FBAE40"/>
          </p15:clr>
        </p15:guide>
        <p15:guide id="5" pos="744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alan General">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2659029831"/>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307777"/>
          </a:xfrm>
          <a:prstGeom prst="rect">
            <a:avLst/>
          </a:prstGeom>
        </p:spPr>
        <p:txBody>
          <a:bodyPr vert="horz" wrap="square" lIns="0" tIns="0" rIns="0" bIns="0" rtlCol="0" anchor="t" anchorCtr="0">
            <a:spAutoFit/>
          </a:bodyPr>
          <a:lstStyle>
            <a:lvl1pPr>
              <a:defRPr sz="2000">
                <a:latin typeface="Arial" panose="020B0604020202020204" pitchFamily="34" charset="0"/>
                <a:sym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Arial" panose="020B0604020202020204" pitchFamily="34" charset="0"/>
              <a:sym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Arial" panose="020B0604020202020204" pitchFamily="34" charset="0"/>
              <a:sym typeface="Montserrat" panose="00000500000000000000" pitchFamily="2" charset="0"/>
            </a:endParaRPr>
          </a:p>
        </p:txBody>
      </p:sp>
      <p:sp>
        <p:nvSpPr>
          <p:cNvPr id="22" name="Espace réservé du texte 9">
            <a:extLst>
              <a:ext uri="{FF2B5EF4-FFF2-40B4-BE49-F238E27FC236}">
                <a16:creationId xmlns:a16="http://schemas.microsoft.com/office/drawing/2014/main" id="{659FB0CE-9023-4572-A9EB-FF8DCD36C9A7}"/>
              </a:ext>
            </a:extLst>
          </p:cNvPr>
          <p:cNvSpPr>
            <a:spLocks noGrp="1"/>
          </p:cNvSpPr>
          <p:nvPr>
            <p:ph type="body" sz="quarter" idx="11" hasCustomPrompt="1"/>
          </p:nvPr>
        </p:nvSpPr>
        <p:spPr>
          <a:xfrm>
            <a:off x="444500" y="2016655"/>
            <a:ext cx="5448301" cy="523220"/>
          </a:xfrm>
          <a:prstGeom prst="rect">
            <a:avLst/>
          </a:prstGeom>
        </p:spPr>
        <p:txBody>
          <a:bodyPr wrap="square" lIns="0" tIns="0" rIns="0" bIns="0">
            <a:spAutoFit/>
          </a:bodyPr>
          <a:lstStyle>
            <a:lvl1pPr>
              <a:defRPr sz="1200">
                <a:solidFill>
                  <a:schemeClr val="accent4">
                    <a:lumMod val="60000"/>
                    <a:lumOff val="40000"/>
                  </a:schemeClr>
                </a:solidFill>
                <a:latin typeface="Arial" panose="020B0604020202020204" pitchFamily="34" charset="0"/>
                <a:sym typeface="Montserrat" panose="00000500000000000000" pitchFamily="2" charset="0"/>
              </a:defRPr>
            </a:lvl1pPr>
            <a:lvl2pPr>
              <a:defRPr sz="1100">
                <a:latin typeface="Arial" panose="020B0604020202020204" pitchFamily="34" charset="0"/>
                <a:sym typeface="Montserrat" panose="00000500000000000000" pitchFamily="2" charset="0"/>
              </a:defRPr>
            </a:lvl2pPr>
            <a:lvl3pPr>
              <a:buClr>
                <a:schemeClr val="accent4">
                  <a:lumMod val="60000"/>
                  <a:lumOff val="40000"/>
                </a:schemeClr>
              </a:buClr>
              <a:defRPr sz="1100">
                <a:latin typeface="Arial" panose="020B0604020202020204" pitchFamily="34" charset="0"/>
                <a:sym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4FF74512-8B58-4AD4-BD57-01C746E8885B}"/>
              </a:ext>
            </a:extLst>
          </p:cNvPr>
          <p:cNvSpPr>
            <a:spLocks noGrp="1"/>
          </p:cNvSpPr>
          <p:nvPr>
            <p:ph type="body" sz="quarter" idx="12" hasCustomPrompt="1"/>
          </p:nvPr>
        </p:nvSpPr>
        <p:spPr>
          <a:xfrm>
            <a:off x="6362700" y="2016655"/>
            <a:ext cx="5448301" cy="523220"/>
          </a:xfrm>
          <a:prstGeom prst="rect">
            <a:avLst/>
          </a:prstGeom>
        </p:spPr>
        <p:txBody>
          <a:bodyPr wrap="square" lIns="0" tIns="0" rIns="0" bIns="0">
            <a:spAutoFit/>
          </a:bodyPr>
          <a:lstStyle>
            <a:lvl1pPr>
              <a:defRPr sz="1200">
                <a:solidFill>
                  <a:schemeClr val="accent4">
                    <a:lumMod val="60000"/>
                    <a:lumOff val="40000"/>
                  </a:schemeClr>
                </a:solidFill>
                <a:latin typeface="Arial" panose="020B0604020202020204" pitchFamily="34" charset="0"/>
                <a:sym typeface="Montserrat" panose="00000500000000000000" pitchFamily="2" charset="0"/>
              </a:defRPr>
            </a:lvl1pPr>
            <a:lvl2pPr>
              <a:defRPr sz="1100">
                <a:latin typeface="Arial" panose="020B0604020202020204" pitchFamily="34" charset="0"/>
                <a:sym typeface="Montserrat" panose="00000500000000000000" pitchFamily="2" charset="0"/>
              </a:defRPr>
            </a:lvl2pPr>
            <a:lvl3pPr>
              <a:buClr>
                <a:schemeClr val="accent4">
                  <a:lumMod val="60000"/>
                  <a:lumOff val="40000"/>
                </a:schemeClr>
              </a:buClr>
              <a:defRPr sz="1100">
                <a:latin typeface="Arial" panose="020B0604020202020204" pitchFamily="34" charset="0"/>
                <a:sym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7" name="Espace réservé du texte 9">
            <a:extLst>
              <a:ext uri="{FF2B5EF4-FFF2-40B4-BE49-F238E27FC236}">
                <a16:creationId xmlns:a16="http://schemas.microsoft.com/office/drawing/2014/main" id="{C64635A6-9829-457D-84DD-66F8E973D0C5}"/>
              </a:ext>
            </a:extLst>
          </p:cNvPr>
          <p:cNvSpPr>
            <a:spLocks noGrp="1"/>
          </p:cNvSpPr>
          <p:nvPr>
            <p:ph type="body" sz="quarter" idx="13" hasCustomPrompt="1"/>
          </p:nvPr>
        </p:nvSpPr>
        <p:spPr>
          <a:xfrm>
            <a:off x="444498" y="1102787"/>
            <a:ext cx="11366500" cy="215444"/>
          </a:xfrm>
          <a:prstGeom prst="rect">
            <a:avLst/>
          </a:prstGeom>
        </p:spPr>
        <p:txBody>
          <a:bodyPr wrap="square" lIns="0" tIns="0" rIns="0" bIns="0">
            <a:spAutoFit/>
          </a:bodyPr>
          <a:lstStyle>
            <a:lvl1pPr>
              <a:defRPr sz="1400" b="0">
                <a:solidFill>
                  <a:schemeClr val="tx2"/>
                </a:solidFill>
                <a:latin typeface="Arial" panose="020B0604020202020204" pitchFamily="34" charset="0"/>
                <a:sym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2" name="ZoneTexte 1">
            <a:extLst>
              <a:ext uri="{FF2B5EF4-FFF2-40B4-BE49-F238E27FC236}">
                <a16:creationId xmlns:a16="http://schemas.microsoft.com/office/drawing/2014/main" id="{9DABC86F-4AB4-4607-86AB-87AF3541F236}"/>
              </a:ext>
            </a:extLst>
          </p:cNvPr>
          <p:cNvSpPr txBox="1"/>
          <p:nvPr userDrawn="1"/>
        </p:nvSpPr>
        <p:spPr>
          <a:xfrm>
            <a:off x="11767585" y="6594607"/>
            <a:ext cx="426720" cy="254044"/>
          </a:xfrm>
          <a:prstGeom prst="rect">
            <a:avLst/>
          </a:prstGeom>
          <a:noFill/>
        </p:spPr>
        <p:txBody>
          <a:bodyPr wrap="none" rtlCol="0">
            <a:spAutoFit/>
          </a:bodyPr>
          <a:lstStyle/>
          <a:p>
            <a:fld id="{5336B6ED-AC75-46F9-9E33-69125E6F1A3B}" type="slidenum">
              <a:rPr lang="fr-FR" sz="1051" smtClean="0">
                <a:solidFill>
                  <a:schemeClr val="accent3"/>
                </a:solidFill>
              </a:rPr>
              <a:t>‹#›</a:t>
            </a:fld>
            <a:endParaRPr lang="fr-FR" sz="1051">
              <a:solidFill>
                <a:schemeClr val="accent3"/>
              </a:solidFill>
            </a:endParaRPr>
          </a:p>
        </p:txBody>
      </p:sp>
      <p:pic>
        <p:nvPicPr>
          <p:cNvPr id="15" name="Image 14">
            <a:extLst>
              <a:ext uri="{FF2B5EF4-FFF2-40B4-BE49-F238E27FC236}">
                <a16:creationId xmlns:a16="http://schemas.microsoft.com/office/drawing/2014/main" id="{7B7C208D-9649-BFEA-0240-86F618FC353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54514" y="322412"/>
            <a:ext cx="1229681" cy="587219"/>
          </a:xfrm>
          <a:prstGeom prst="rect">
            <a:avLst/>
          </a:prstGeom>
        </p:spPr>
      </p:pic>
    </p:spTree>
    <p:extLst>
      <p:ext uri="{BB962C8B-B14F-4D97-AF65-F5344CB8AC3E}">
        <p14:creationId xmlns:p14="http://schemas.microsoft.com/office/powerpoint/2010/main" val="3874211908"/>
      </p:ext>
    </p:extLst>
  </p:cSld>
  <p:clrMapOvr>
    <a:masterClrMapping/>
  </p:clrMapOvr>
  <p:hf hdr="0" ftr="0" dt="0"/>
  <p:extLst>
    <p:ext uri="{DCECCB84-F9BA-43D5-87BE-67443E8EF086}">
      <p15:sldGuideLst xmlns:p15="http://schemas.microsoft.com/office/powerpoint/2012/main">
        <p15:guide id="1" orient="horz" pos="1253">
          <p15:clr>
            <a:srgbClr val="FBAE40"/>
          </p15:clr>
        </p15:guide>
        <p15:guide id="2" pos="279">
          <p15:clr>
            <a:srgbClr val="FBAE40"/>
          </p15:clr>
        </p15:guide>
        <p15:guide id="4" orient="horz" pos="4042">
          <p15:clr>
            <a:srgbClr val="FBAE40"/>
          </p15:clr>
        </p15:guide>
        <p15:guide id="5" pos="744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03 Violet // Texte">
  <p:cSld name="03 Violet // Texte">
    <p:bg>
      <p:bgPr>
        <a:solidFill>
          <a:srgbClr val="FFFFFF"/>
        </a:solidFill>
        <a:effectLst/>
      </p:bgPr>
    </p:bg>
    <p:spTree>
      <p:nvGrpSpPr>
        <p:cNvPr id="1" name="Shape 28"/>
        <p:cNvGrpSpPr/>
        <p:nvPr/>
      </p:nvGrpSpPr>
      <p:grpSpPr>
        <a:xfrm>
          <a:off x="0" y="0"/>
          <a:ext cx="0" cy="0"/>
          <a:chOff x="0" y="0"/>
          <a:chExt cx="0" cy="0"/>
        </a:xfrm>
      </p:grpSpPr>
      <p:sp>
        <p:nvSpPr>
          <p:cNvPr id="30" name="Google Shape;30;p5"/>
          <p:cNvSpPr/>
          <p:nvPr/>
        </p:nvSpPr>
        <p:spPr>
          <a:xfrm>
            <a:off x="-9181" y="-43000"/>
            <a:ext cx="3543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9" name="Google Shape;29;p5"/>
          <p:cNvSpPr/>
          <p:nvPr/>
        </p:nvSpPr>
        <p:spPr>
          <a:xfrm flipH="1">
            <a:off x="-9181" y="4898993"/>
            <a:ext cx="3543600" cy="1969000"/>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31" name="Google Shape;31;p5"/>
          <p:cNvSpPr/>
          <p:nvPr/>
        </p:nvSpPr>
        <p:spPr>
          <a:xfrm>
            <a:off x="362400" y="509467"/>
            <a:ext cx="334800" cy="25200"/>
          </a:xfrm>
          <a:prstGeom prst="rec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44388A"/>
              </a:solidFill>
              <a:latin typeface="Arial"/>
              <a:ea typeface="Arial"/>
              <a:cs typeface="Arial"/>
              <a:sym typeface="Arial"/>
            </a:endParaRPr>
          </a:p>
        </p:txBody>
      </p:sp>
      <p:sp>
        <p:nvSpPr>
          <p:cNvPr id="32" name="Google Shape;32;p5"/>
          <p:cNvSpPr/>
          <p:nvPr/>
        </p:nvSpPr>
        <p:spPr>
          <a:xfrm>
            <a:off x="7661933" y="383600"/>
            <a:ext cx="6090800" cy="6090800"/>
          </a:xfrm>
          <a:prstGeom prst="donut">
            <a:avLst>
              <a:gd name="adj" fmla="val 13694"/>
            </a:avLst>
          </a:prstGeom>
          <a:solidFill>
            <a:srgbClr val="44388A">
              <a:alpha val="2745"/>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33" name="Google Shape;33;p5"/>
          <p:cNvSpPr txBox="1">
            <a:spLocks noGrp="1"/>
          </p:cNvSpPr>
          <p:nvPr>
            <p:ph type="body" idx="1"/>
          </p:nvPr>
        </p:nvSpPr>
        <p:spPr>
          <a:xfrm>
            <a:off x="3726000" y="788267"/>
            <a:ext cx="8245600" cy="5390400"/>
          </a:xfrm>
          <a:prstGeom prst="rect">
            <a:avLst/>
          </a:prstGeom>
          <a:noFill/>
          <a:ln>
            <a:noFill/>
          </a:ln>
        </p:spPr>
        <p:txBody>
          <a:bodyPr spcFirstLastPara="1" wrap="square" lIns="91425" tIns="91425" rIns="91425" bIns="91425" anchor="t" anchorCtr="0">
            <a:noAutofit/>
          </a:bodyPr>
          <a:lstStyle>
            <a:lvl1pPr marL="609570" marR="0" lvl="0"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1pPr>
            <a:lvl2pPr marL="1219140" marR="0" lvl="1" indent="-423312"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09" marR="0" lvl="2"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278" marR="0" lvl="3"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848" marR="0" lvl="4"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418" marR="0" lvl="5"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6987" marR="0" lvl="6"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557" marR="0" lvl="7"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126" marR="0" lvl="8"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34" name="Google Shape;34;p5"/>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44388A"/>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35" name="Google Shape;35;p5"/>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44388A"/>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11" name="Google Shape;61;p10">
            <a:extLst>
              <a:ext uri="{FF2B5EF4-FFF2-40B4-BE49-F238E27FC236}">
                <a16:creationId xmlns:a16="http://schemas.microsoft.com/office/drawing/2014/main" id="{FBE302DB-D40E-B347-965F-205B0650D880}"/>
              </a:ext>
            </a:extLst>
          </p:cNvPr>
          <p:cNvPicPr preferRelativeResize="0"/>
          <p:nvPr userDrawn="1"/>
        </p:nvPicPr>
        <p:blipFill rotWithShape="1">
          <a:blip r:embed="rId2" cstate="print">
            <a:extLst>
              <a:ext uri="{28A0092B-C50C-407E-A947-70E740481C1C}">
                <a14:useLocalDpi xmlns:a14="http://schemas.microsoft.com/office/drawing/2010/main"/>
              </a:ext>
            </a:extLst>
          </a:blip>
          <a:srcRect/>
          <a:stretch/>
        </p:blipFill>
        <p:spPr>
          <a:xfrm>
            <a:off x="322832" y="6012002"/>
            <a:ext cx="1256135" cy="706860"/>
          </a:xfrm>
          <a:prstGeom prst="rect">
            <a:avLst/>
          </a:prstGeom>
          <a:noFill/>
          <a:ln>
            <a:noFill/>
          </a:ln>
        </p:spPr>
      </p:pic>
      <p:sp>
        <p:nvSpPr>
          <p:cNvPr id="3" name="Google Shape;45;p44">
            <a:extLst>
              <a:ext uri="{FF2B5EF4-FFF2-40B4-BE49-F238E27FC236}">
                <a16:creationId xmlns:a16="http://schemas.microsoft.com/office/drawing/2014/main" id="{97CD7A67-AA31-E44E-36C8-6CF8F1BF28A8}"/>
              </a:ext>
            </a:extLst>
          </p:cNvPr>
          <p:cNvSpPr txBox="1"/>
          <p:nvPr userDrawn="1"/>
        </p:nvSpPr>
        <p:spPr>
          <a:xfrm>
            <a:off x="3726000" y="6583296"/>
            <a:ext cx="9342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244989380"/>
      </p:ext>
    </p:extLst>
  </p:cSld>
  <p:clrMapOvr>
    <a:masterClrMapping/>
  </p:clrMapOvr>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3603F5-37B4-498C-819C-4AA858DC59DF}"/>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0E53F4A4-9E92-41BA-8B8E-9AB2383B6438}"/>
              </a:ext>
            </a:extLst>
          </p:cNvPr>
          <p:cNvSpPr>
            <a:spLocks noGrp="1"/>
          </p:cNvSpPr>
          <p:nvPr>
            <p:ph type="dt" sz="half" idx="10"/>
          </p:nvPr>
        </p:nvSpPr>
        <p:spPr/>
        <p:txBody>
          <a:bodyPr/>
          <a:lstStyle>
            <a:lvl1pPr>
              <a:defRPr/>
            </a:lvl1pPr>
          </a:lstStyle>
          <a:p>
            <a:r>
              <a:rPr lang="fr-FR" err="1"/>
              <a:t>GGVie</a:t>
            </a:r>
            <a:r>
              <a:rPr lang="fr-FR"/>
              <a:t> – Aout 2022</a:t>
            </a:r>
          </a:p>
        </p:txBody>
      </p:sp>
      <p:sp>
        <p:nvSpPr>
          <p:cNvPr id="4" name="Espace réservé du pied de page 3">
            <a:extLst>
              <a:ext uri="{FF2B5EF4-FFF2-40B4-BE49-F238E27FC236}">
                <a16:creationId xmlns:a16="http://schemas.microsoft.com/office/drawing/2014/main" id="{601C1A30-8793-4D8B-A0E7-3FC53466AAFF}"/>
              </a:ext>
            </a:extLst>
          </p:cNvPr>
          <p:cNvSpPr>
            <a:spLocks noGrp="1"/>
          </p:cNvSpPr>
          <p:nvPr>
            <p:ph type="ftr" sz="quarter" idx="11"/>
          </p:nvPr>
        </p:nvSpPr>
        <p:spPr/>
        <p:txBody>
          <a:bodyPr/>
          <a:lstStyle>
            <a:lvl1pPr>
              <a:defRPr/>
            </a:lvl1pPr>
          </a:lstStyle>
          <a:p>
            <a:r>
              <a:rPr lang="fr-FR"/>
              <a:t>Talan Consulting</a:t>
            </a:r>
          </a:p>
        </p:txBody>
      </p:sp>
      <p:sp>
        <p:nvSpPr>
          <p:cNvPr id="5" name="Espace réservé du numéro de diapositive 4">
            <a:extLst>
              <a:ext uri="{FF2B5EF4-FFF2-40B4-BE49-F238E27FC236}">
                <a16:creationId xmlns:a16="http://schemas.microsoft.com/office/drawing/2014/main" id="{5132B3DF-CCE1-43B3-81F5-FE15CD51C2E7}"/>
              </a:ext>
            </a:extLst>
          </p:cNvPr>
          <p:cNvSpPr>
            <a:spLocks noGrp="1"/>
          </p:cNvSpPr>
          <p:nvPr>
            <p:ph type="sldNum" sz="quarter" idx="12"/>
          </p:nvPr>
        </p:nvSpPr>
        <p:spPr/>
        <p:txBody>
          <a:bodyPr/>
          <a:lstStyle/>
          <a:p>
            <a:fld id="{4D32680D-9B82-467A-8A17-CD56308886EF}" type="slidenum">
              <a:rPr lang="fr-FR" smtClean="0"/>
              <a:t>‹#›</a:t>
            </a:fld>
            <a:endParaRPr lang="fr-FR"/>
          </a:p>
        </p:txBody>
      </p:sp>
      <p:sp>
        <p:nvSpPr>
          <p:cNvPr id="6" name="Rectangle 5">
            <a:extLst>
              <a:ext uri="{FF2B5EF4-FFF2-40B4-BE49-F238E27FC236}">
                <a16:creationId xmlns:a16="http://schemas.microsoft.com/office/drawing/2014/main" id="{4BE10079-295C-41F0-9682-CDF4E031E85A}"/>
              </a:ext>
            </a:extLst>
          </p:cNvPr>
          <p:cNvSpPr/>
          <p:nvPr/>
        </p:nvSpPr>
        <p:spPr>
          <a:xfrm>
            <a:off x="335360" y="125795"/>
            <a:ext cx="386943" cy="246221"/>
          </a:xfrm>
          <a:prstGeom prst="rect">
            <a:avLst/>
          </a:prstGeom>
        </p:spPr>
        <p:txBody>
          <a:bodyPr wrap="none" lIns="90000" tIns="0" rIns="90000" bIns="0" anchor="ctr">
            <a:spAutoFit/>
          </a:bodyPr>
          <a:lstStyle/>
          <a:p>
            <a:pPr algn="ctr"/>
            <a:r>
              <a:rPr lang="fr-FR" sz="1600" b="1">
                <a:solidFill>
                  <a:schemeClr val="accent1"/>
                </a:solidFill>
                <a:latin typeface="Arial" panose="020B0604020202020204" pitchFamily="34" charset="0"/>
              </a:rPr>
              <a:t>—</a:t>
            </a:r>
          </a:p>
        </p:txBody>
      </p:sp>
      <p:sp>
        <p:nvSpPr>
          <p:cNvPr id="7" name="Espace réservé du texte 8">
            <a:extLst>
              <a:ext uri="{FF2B5EF4-FFF2-40B4-BE49-F238E27FC236}">
                <a16:creationId xmlns:a16="http://schemas.microsoft.com/office/drawing/2014/main" id="{FF6EA77C-34D5-4255-9FB0-C5666B306D24}"/>
              </a:ext>
            </a:extLst>
          </p:cNvPr>
          <p:cNvSpPr>
            <a:spLocks noGrp="1"/>
          </p:cNvSpPr>
          <p:nvPr>
            <p:ph type="body" sz="quarter" idx="13"/>
          </p:nvPr>
        </p:nvSpPr>
        <p:spPr>
          <a:xfrm>
            <a:off x="334099" y="617512"/>
            <a:ext cx="10442419" cy="365125"/>
          </a:xfrm>
        </p:spPr>
        <p:txBody>
          <a:bodyPr tIns="0" bIns="0">
            <a:noAutofit/>
          </a:bodyPr>
          <a:lstStyle>
            <a:lvl1pPr marL="0" indent="0">
              <a:buNone/>
              <a:defRPr sz="1600" b="0" cap="none" baseline="0">
                <a:solidFill>
                  <a:schemeClr val="accent1"/>
                </a:solidFill>
                <a:latin typeface="Arial" panose="020B0604020202020204" pitchFamily="34" charset="0"/>
              </a:defRPr>
            </a:lvl1pPr>
          </a:lstStyle>
          <a:p>
            <a:pPr lvl="0"/>
            <a:r>
              <a:rPr lang="fr-FR"/>
              <a:t>Modifier les styles du texte du masque</a:t>
            </a:r>
          </a:p>
        </p:txBody>
      </p:sp>
    </p:spTree>
    <p:extLst>
      <p:ext uri="{BB962C8B-B14F-4D97-AF65-F5344CB8AC3E}">
        <p14:creationId xmlns:p14="http://schemas.microsoft.com/office/powerpoint/2010/main" val="307805063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alan Consulting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122476798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6" name="Espace réservé du titre 22">
            <a:extLst>
              <a:ext uri="{FF2B5EF4-FFF2-40B4-BE49-F238E27FC236}">
                <a16:creationId xmlns:a16="http://schemas.microsoft.com/office/drawing/2014/main" id="{CCF31706-E145-4E7D-B83C-C0334C8EED05}"/>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cxnSp>
        <p:nvCxnSpPr>
          <p:cNvPr id="17" name="Connecteur droit 16">
            <a:extLst>
              <a:ext uri="{FF2B5EF4-FFF2-40B4-BE49-F238E27FC236}">
                <a16:creationId xmlns:a16="http://schemas.microsoft.com/office/drawing/2014/main" id="{46926131-99BA-4327-A389-980DD3B6B787}"/>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Rectangle 15">
            <a:extLst>
              <a:ext uri="{FF2B5EF4-FFF2-40B4-BE49-F238E27FC236}">
                <a16:creationId xmlns:a16="http://schemas.microsoft.com/office/drawing/2014/main" id="{CC75F318-9EB5-4967-A50E-1FF06DC7DAB0}"/>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9" name="Rectangle 15">
            <a:extLst>
              <a:ext uri="{FF2B5EF4-FFF2-40B4-BE49-F238E27FC236}">
                <a16:creationId xmlns:a16="http://schemas.microsoft.com/office/drawing/2014/main" id="{6C2316CE-A618-44A3-AFED-4D77145EAB3D}"/>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Espace réservé du texte 9">
            <a:extLst>
              <a:ext uri="{FF2B5EF4-FFF2-40B4-BE49-F238E27FC236}">
                <a16:creationId xmlns:a16="http://schemas.microsoft.com/office/drawing/2014/main" id="{8B6ED691-9351-4E2A-B074-B2DCE2B5E46C}"/>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5" name="Espace réservé du texte 9">
            <a:extLst>
              <a:ext uri="{FF2B5EF4-FFF2-40B4-BE49-F238E27FC236}">
                <a16:creationId xmlns:a16="http://schemas.microsoft.com/office/drawing/2014/main" id="{741C5B27-1EB9-4430-8059-B4F6EE8B97FB}"/>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7" name="Espace réservé du texte 9">
            <a:extLst>
              <a:ext uri="{FF2B5EF4-FFF2-40B4-BE49-F238E27FC236}">
                <a16:creationId xmlns:a16="http://schemas.microsoft.com/office/drawing/2014/main" id="{C99D7AC0-CE46-4D7A-A6A9-38473FF5A907}"/>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4" name="ZoneTexte 33">
            <a:extLst>
              <a:ext uri="{FF2B5EF4-FFF2-40B4-BE49-F238E27FC236}">
                <a16:creationId xmlns:a16="http://schemas.microsoft.com/office/drawing/2014/main" id="{D7FC11EA-F0DD-4CBB-A1FD-1462B3F7733A}"/>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7" name="Espace réservé du pied de page 24">
            <a:extLst>
              <a:ext uri="{FF2B5EF4-FFF2-40B4-BE49-F238E27FC236}">
                <a16:creationId xmlns:a16="http://schemas.microsoft.com/office/drawing/2014/main" id="{9E9D6FEF-A3C6-4381-B426-ACCA29FAAD73}"/>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44" name="Image 43">
            <a:extLst>
              <a:ext uri="{FF2B5EF4-FFF2-40B4-BE49-F238E27FC236}">
                <a16:creationId xmlns:a16="http://schemas.microsoft.com/office/drawing/2014/main" id="{56EB7535-15AD-457F-9699-6EA148F792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229681" cy="587219"/>
          </a:xfrm>
          <a:prstGeom prst="rect">
            <a:avLst/>
          </a:prstGeom>
        </p:spPr>
      </p:pic>
    </p:spTree>
    <p:extLst>
      <p:ext uri="{BB962C8B-B14F-4D97-AF65-F5344CB8AC3E}">
        <p14:creationId xmlns:p14="http://schemas.microsoft.com/office/powerpoint/2010/main" val="782244597"/>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0AAB18D0-47E5-4E42-9A46-496CD67F6EA2}"/>
              </a:ext>
            </a:extLst>
          </p:cNvPr>
          <p:cNvSpPr>
            <a:spLocks noGrp="1"/>
          </p:cNvSpPr>
          <p:nvPr>
            <p:ph type="subTitle" idx="1"/>
          </p:nvPr>
        </p:nvSpPr>
        <p:spPr>
          <a:xfrm>
            <a:off x="340890" y="998312"/>
            <a:ext cx="5755111" cy="1159269"/>
          </a:xfrm>
          <a:prstGeom prst="rect">
            <a:avLst/>
          </a:prstGeom>
        </p:spPr>
        <p:txBody>
          <a:bodyPr>
            <a:normAutofit/>
          </a:bodyPr>
          <a:lstStyle>
            <a:lvl1pPr marL="0" indent="0" algn="l">
              <a:buNone/>
              <a:defRPr sz="1800" b="0" cap="none" baseline="0">
                <a:solidFill>
                  <a:schemeClr val="tx1">
                    <a:lumMod val="65000"/>
                    <a:lumOff val="35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p>
        </p:txBody>
      </p:sp>
      <p:sp>
        <p:nvSpPr>
          <p:cNvPr id="11" name="Titre 10">
            <a:extLst>
              <a:ext uri="{FF2B5EF4-FFF2-40B4-BE49-F238E27FC236}">
                <a16:creationId xmlns:a16="http://schemas.microsoft.com/office/drawing/2014/main" id="{00F7C286-0F3A-46E4-8F67-CBF108DC2BE7}"/>
              </a:ext>
            </a:extLst>
          </p:cNvPr>
          <p:cNvSpPr>
            <a:spLocks noGrp="1"/>
          </p:cNvSpPr>
          <p:nvPr>
            <p:ph type="title"/>
          </p:nvPr>
        </p:nvSpPr>
        <p:spPr>
          <a:xfrm>
            <a:off x="334101" y="332658"/>
            <a:ext cx="5761900" cy="648071"/>
          </a:xfrm>
          <a:prstGeom prst="rect">
            <a:avLst/>
          </a:prstGeom>
        </p:spPr>
        <p:txBody>
          <a:bodyPr/>
          <a:lstStyle>
            <a:lvl1pPr>
              <a:defRPr sz="2400">
                <a:solidFill>
                  <a:schemeClr val="tx1">
                    <a:lumMod val="65000"/>
                    <a:lumOff val="35000"/>
                  </a:schemeClr>
                </a:solidFill>
              </a:defRPr>
            </a:lvl1pPr>
          </a:lstStyle>
          <a:p>
            <a:r>
              <a:rPr lang="fr-FR"/>
              <a:t>Modifiez le style du titre</a:t>
            </a:r>
          </a:p>
        </p:txBody>
      </p:sp>
      <p:sp>
        <p:nvSpPr>
          <p:cNvPr id="12" name="Rectangle 11">
            <a:extLst>
              <a:ext uri="{FF2B5EF4-FFF2-40B4-BE49-F238E27FC236}">
                <a16:creationId xmlns:a16="http://schemas.microsoft.com/office/drawing/2014/main" id="{F31A3B3B-44FF-41EA-8E53-C13115A16C5F}"/>
              </a:ext>
            </a:extLst>
          </p:cNvPr>
          <p:cNvSpPr/>
          <p:nvPr/>
        </p:nvSpPr>
        <p:spPr>
          <a:xfrm>
            <a:off x="380587" y="30907"/>
            <a:ext cx="396560" cy="369332"/>
          </a:xfrm>
          <a:prstGeom prst="rect">
            <a:avLst/>
          </a:prstGeom>
        </p:spPr>
        <p:txBody>
          <a:bodyPr wrap="none" lIns="90000" tIns="0" rIns="90000" bIns="0" anchor="ctr">
            <a:spAutoFit/>
          </a:bodyPr>
          <a:lstStyle/>
          <a:p>
            <a:pPr algn="ctr"/>
            <a:r>
              <a:rPr lang="fr-FR" sz="2400" b="1">
                <a:solidFill>
                  <a:schemeClr val="tx1">
                    <a:lumMod val="65000"/>
                    <a:lumOff val="35000"/>
                  </a:schemeClr>
                </a:solidFill>
                <a:latin typeface="+mj-lt"/>
              </a:rPr>
              <a:t>—</a:t>
            </a:r>
          </a:p>
        </p:txBody>
      </p:sp>
      <p:sp>
        <p:nvSpPr>
          <p:cNvPr id="7" name="Forme libre : forme 6">
            <a:extLst>
              <a:ext uri="{FF2B5EF4-FFF2-40B4-BE49-F238E27FC236}">
                <a16:creationId xmlns:a16="http://schemas.microsoft.com/office/drawing/2014/main" id="{44FDD6A6-3169-433E-B927-EDAB1498E6DB}"/>
              </a:ext>
            </a:extLst>
          </p:cNvPr>
          <p:cNvSpPr/>
          <p:nvPr userDrawn="1"/>
        </p:nvSpPr>
        <p:spPr>
          <a:xfrm rot="10800000">
            <a:off x="5852591" y="-1"/>
            <a:ext cx="6165307" cy="6858001"/>
          </a:xfrm>
          <a:custGeom>
            <a:avLst/>
            <a:gdLst>
              <a:gd name="connsiteX0" fmla="*/ 3431574 w 6165306"/>
              <a:gd name="connsiteY0" fmla="*/ 6165174 h 6858001"/>
              <a:gd name="connsiteX1" fmla="*/ 3429869 w 6165306"/>
              <a:gd name="connsiteY1" fmla="*/ 692740 h 6858001"/>
              <a:gd name="connsiteX2" fmla="*/ 3708773 w 6165306"/>
              <a:gd name="connsiteY2" fmla="*/ 706824 h 6858001"/>
              <a:gd name="connsiteX3" fmla="*/ 6165306 w 6165306"/>
              <a:gd name="connsiteY3" fmla="*/ 3429000 h 6858001"/>
              <a:gd name="connsiteX4" fmla="*/ 3708773 w 6165306"/>
              <a:gd name="connsiteY4" fmla="*/ 6151177 h 6858001"/>
              <a:gd name="connsiteX5" fmla="*/ 3431790 w 6165306"/>
              <a:gd name="connsiteY5" fmla="*/ 6858000 h 6858001"/>
              <a:gd name="connsiteX6" fmla="*/ 460220 w 6165306"/>
              <a:gd name="connsiteY6" fmla="*/ 5144922 h 6858001"/>
              <a:gd name="connsiteX7" fmla="*/ 459151 w 6165306"/>
              <a:gd name="connsiteY7" fmla="*/ 1714928 h 6858001"/>
              <a:gd name="connsiteX8" fmla="*/ 3429653 w 6165306"/>
              <a:gd name="connsiteY8" fmla="*/ 0 h 6858001"/>
              <a:gd name="connsiteX9" fmla="*/ 3429869 w 6165306"/>
              <a:gd name="connsiteY9" fmla="*/ 692740 h 6858001"/>
              <a:gd name="connsiteX10" fmla="*/ 3429002 w 6165306"/>
              <a:gd name="connsiteY10" fmla="*/ 692696 h 6858001"/>
              <a:gd name="connsiteX11" fmla="*/ 692698 w 6165306"/>
              <a:gd name="connsiteY11" fmla="*/ 3429000 h 6858001"/>
              <a:gd name="connsiteX12" fmla="*/ 3429002 w 6165306"/>
              <a:gd name="connsiteY12" fmla="*/ 6165304 h 6858001"/>
              <a:gd name="connsiteX13" fmla="*/ 3431574 w 6165306"/>
              <a:gd name="connsiteY13" fmla="*/ 6165174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65306" h="6858001">
                <a:moveTo>
                  <a:pt x="3431574" y="6165174"/>
                </a:moveTo>
                <a:lnTo>
                  <a:pt x="3429869" y="692740"/>
                </a:lnTo>
                <a:lnTo>
                  <a:pt x="3708773" y="706824"/>
                </a:lnTo>
                <a:cubicBezTo>
                  <a:pt x="5088571" y="846950"/>
                  <a:pt x="6165306" y="2012232"/>
                  <a:pt x="6165306" y="3429000"/>
                </a:cubicBezTo>
                <a:cubicBezTo>
                  <a:pt x="6165306" y="4845768"/>
                  <a:pt x="5088571" y="6011051"/>
                  <a:pt x="3708773" y="6151177"/>
                </a:cubicBezTo>
                <a:close/>
                <a:moveTo>
                  <a:pt x="3431790" y="6858000"/>
                </a:moveTo>
                <a:cubicBezTo>
                  <a:pt x="2206317" y="6858997"/>
                  <a:pt x="1073465" y="6205920"/>
                  <a:pt x="460220" y="5144922"/>
                </a:cubicBezTo>
                <a:cubicBezTo>
                  <a:pt x="-153025" y="4083924"/>
                  <a:pt x="-153432" y="2776308"/>
                  <a:pt x="459151" y="1714928"/>
                </a:cubicBezTo>
                <a:cubicBezTo>
                  <a:pt x="1071735" y="653548"/>
                  <a:pt x="2204179" y="-234"/>
                  <a:pt x="3429653" y="0"/>
                </a:cubicBezTo>
                <a:lnTo>
                  <a:pt x="3429869" y="692740"/>
                </a:lnTo>
                <a:lnTo>
                  <a:pt x="3429002" y="692696"/>
                </a:lnTo>
                <a:cubicBezTo>
                  <a:pt x="1917783" y="692696"/>
                  <a:pt x="692698" y="1917781"/>
                  <a:pt x="692698" y="3429000"/>
                </a:cubicBezTo>
                <a:cubicBezTo>
                  <a:pt x="692698" y="4940219"/>
                  <a:pt x="1917783" y="6165304"/>
                  <a:pt x="3429002" y="6165304"/>
                </a:cubicBezTo>
                <a:lnTo>
                  <a:pt x="3431574" y="6165174"/>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sz="1400"/>
          </a:p>
        </p:txBody>
      </p:sp>
      <p:sp>
        <p:nvSpPr>
          <p:cNvPr id="8" name="Ellipse 7">
            <a:extLst>
              <a:ext uri="{FF2B5EF4-FFF2-40B4-BE49-F238E27FC236}">
                <a16:creationId xmlns:a16="http://schemas.microsoft.com/office/drawing/2014/main" id="{0C5815C9-6981-4F08-AC71-0ACB45288B36}"/>
              </a:ext>
            </a:extLst>
          </p:cNvPr>
          <p:cNvSpPr/>
          <p:nvPr userDrawn="1"/>
        </p:nvSpPr>
        <p:spPr>
          <a:xfrm>
            <a:off x="6528048" y="1412776"/>
            <a:ext cx="4104456" cy="410445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2800" b="1" cap="all" baseline="0">
                <a:solidFill>
                  <a:schemeClr val="bg1"/>
                </a:solidFill>
                <a:latin typeface="Montserrat" panose="00000500000000000000" pitchFamily="2" charset="0"/>
              </a:rPr>
              <a:t>—</a:t>
            </a:r>
          </a:p>
          <a:p>
            <a:pPr algn="ctr"/>
            <a:endParaRPr lang="fr-FR" sz="2800" b="1" cap="all" baseline="0">
              <a:solidFill>
                <a:schemeClr val="bg1"/>
              </a:solidFill>
              <a:latin typeface="Montserrat" panose="00000500000000000000" pitchFamily="2" charset="0"/>
            </a:endParaRPr>
          </a:p>
          <a:p>
            <a:pPr algn="ctr"/>
            <a:r>
              <a:rPr lang="fr-FR" sz="2800" b="1" cap="all" baseline="0">
                <a:solidFill>
                  <a:schemeClr val="bg1"/>
                </a:solidFill>
                <a:latin typeface="Montserrat" panose="00000500000000000000" pitchFamily="2" charset="0"/>
              </a:rPr>
              <a:t>The future </a:t>
            </a:r>
            <a:r>
              <a:rPr lang="fr-FR" sz="2800" b="1" cap="all" baseline="0" err="1">
                <a:solidFill>
                  <a:schemeClr val="bg1"/>
                </a:solidFill>
                <a:latin typeface="Montserrat" panose="00000500000000000000" pitchFamily="2" charset="0"/>
              </a:rPr>
              <a:t>is</a:t>
            </a:r>
            <a:r>
              <a:rPr lang="fr-FR" sz="2800" b="1" cap="all" baseline="0">
                <a:solidFill>
                  <a:schemeClr val="bg1"/>
                </a:solidFill>
                <a:latin typeface="Montserrat" panose="00000500000000000000" pitchFamily="2" charset="0"/>
              </a:rPr>
              <a:t> a </a:t>
            </a:r>
            <a:r>
              <a:rPr lang="fr-FR" sz="2800" b="1" cap="all" baseline="0" err="1">
                <a:solidFill>
                  <a:schemeClr val="bg1"/>
                </a:solidFill>
                <a:latin typeface="Montserrat" panose="00000500000000000000" pitchFamily="2" charset="0"/>
              </a:rPr>
              <a:t>playfield</a:t>
            </a:r>
            <a:endParaRPr lang="fr-FR" sz="2800" b="1" cap="all" baseline="0">
              <a:solidFill>
                <a:schemeClr val="bg1"/>
              </a:solidFill>
              <a:latin typeface="Montserrat" panose="00000500000000000000" pitchFamily="2" charset="0"/>
            </a:endParaRPr>
          </a:p>
          <a:p>
            <a:pPr algn="ctr"/>
            <a:endParaRPr lang="fr-FR" sz="2800" b="1" cap="all" baseline="0">
              <a:solidFill>
                <a:schemeClr val="bg1"/>
              </a:solidFill>
            </a:endParaRPr>
          </a:p>
        </p:txBody>
      </p:sp>
      <p:pic>
        <p:nvPicPr>
          <p:cNvPr id="4" name="Image 3">
            <a:extLst>
              <a:ext uri="{FF2B5EF4-FFF2-40B4-BE49-F238E27FC236}">
                <a16:creationId xmlns:a16="http://schemas.microsoft.com/office/drawing/2014/main" id="{3816DFEC-FDBE-43B3-9815-14FDB300B7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 y="5049338"/>
            <a:ext cx="3215088" cy="1808663"/>
          </a:xfrm>
          <a:prstGeom prst="rect">
            <a:avLst/>
          </a:prstGeom>
        </p:spPr>
      </p:pic>
    </p:spTree>
    <p:extLst>
      <p:ext uri="{BB962C8B-B14F-4D97-AF65-F5344CB8AC3E}">
        <p14:creationId xmlns:p14="http://schemas.microsoft.com/office/powerpoint/2010/main" val="8745630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lan Operations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51CE7C-276F-4FF6-9DA9-4EC1BA3A7B1E}"/>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2">
                    <a:lumMod val="40000"/>
                    <a:lumOff val="60000"/>
                  </a:schemeClr>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0" name="ZoneTexte 19">
            <a:extLst>
              <a:ext uri="{FF2B5EF4-FFF2-40B4-BE49-F238E27FC236}">
                <a16:creationId xmlns:a16="http://schemas.microsoft.com/office/drawing/2014/main" id="{ED35E7C4-94BC-454C-A1F7-9C5188D37F6D}"/>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FDFC5659-1CEC-4E65-8ECD-F7BFEFC4601C}"/>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2" name="Espace réservé du pied de page 24">
            <a:extLst>
              <a:ext uri="{FF2B5EF4-FFF2-40B4-BE49-F238E27FC236}">
                <a16:creationId xmlns:a16="http://schemas.microsoft.com/office/drawing/2014/main" id="{3ABF547F-00C3-4B48-8CAF-262DB5D0977C}"/>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30" name="Espace réservé du texte 9">
            <a:extLst>
              <a:ext uri="{FF2B5EF4-FFF2-40B4-BE49-F238E27FC236}">
                <a16:creationId xmlns:a16="http://schemas.microsoft.com/office/drawing/2014/main" id="{04842588-1A56-422F-8910-EF8E8FFCE4E0}"/>
              </a:ext>
            </a:extLst>
          </p:cNvPr>
          <p:cNvSpPr>
            <a:spLocks noGrp="1"/>
          </p:cNvSpPr>
          <p:nvPr>
            <p:ph type="body" sz="quarter" idx="11" hasCustomPrompt="1"/>
          </p:nvPr>
        </p:nvSpPr>
        <p:spPr>
          <a:xfrm>
            <a:off x="444501" y="2016655"/>
            <a:ext cx="1137602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545220117"/>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36C6B0D-865B-4B08-A06D-3B87756E4D0F}"/>
              </a:ext>
            </a:extLst>
          </p:cNvPr>
          <p:cNvSpPr>
            <a:spLocks noGrp="1"/>
          </p:cNvSpPr>
          <p:nvPr>
            <p:ph idx="1"/>
          </p:nvPr>
        </p:nvSpPr>
        <p:spPr>
          <a:xfrm>
            <a:off x="623888" y="1268760"/>
            <a:ext cx="10944720" cy="4968528"/>
          </a:xfrm>
          <a:prstGeom prst="rect">
            <a:avLst/>
          </a:prstGeom>
        </p:spPr>
        <p:txBody>
          <a:bodyPr/>
          <a:lstStyle>
            <a:lvl1pPr algn="just">
              <a:defRPr/>
            </a:lvl1pPr>
            <a:lvl2pPr algn="just">
              <a:defRPr/>
            </a:lvl2pPr>
            <a:lvl3pPr algn="just">
              <a:defRPr/>
            </a:lvl3pPr>
            <a:lvl4pPr algn="just">
              <a:defRPr/>
            </a:lvl4pPr>
            <a:lvl5pPr algn="jus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4">
            <a:extLst>
              <a:ext uri="{FF2B5EF4-FFF2-40B4-BE49-F238E27FC236}">
                <a16:creationId xmlns:a16="http://schemas.microsoft.com/office/drawing/2014/main" id="{ADF11172-6549-4C3E-BD44-61C33E0DB2CA}"/>
              </a:ext>
            </a:extLst>
          </p:cNvPr>
          <p:cNvSpPr>
            <a:spLocks noGrp="1"/>
          </p:cNvSpPr>
          <p:nvPr>
            <p:ph type="dt" sz="half" idx="10"/>
          </p:nvPr>
        </p:nvSpPr>
        <p:spPr>
          <a:xfrm>
            <a:off x="332892" y="6405301"/>
            <a:ext cx="866565" cy="288031"/>
          </a:xfrm>
          <a:prstGeom prst="rect">
            <a:avLst/>
          </a:prstGeom>
        </p:spPr>
        <p:txBody>
          <a:bodyPr anchor="ctr"/>
          <a:lstStyle>
            <a:lvl1pPr>
              <a:defRPr sz="933">
                <a:solidFill>
                  <a:schemeClr val="bg1">
                    <a:lumMod val="75000"/>
                  </a:schemeClr>
                </a:solidFill>
              </a:defRPr>
            </a:lvl1pPr>
          </a:lstStyle>
          <a:p>
            <a:r>
              <a:rPr lang="fr-FR"/>
              <a:t>Juin 2021</a:t>
            </a:r>
          </a:p>
        </p:txBody>
      </p:sp>
      <p:sp>
        <p:nvSpPr>
          <p:cNvPr id="13" name="Espace réservé du pied de page 5">
            <a:extLst>
              <a:ext uri="{FF2B5EF4-FFF2-40B4-BE49-F238E27FC236}">
                <a16:creationId xmlns:a16="http://schemas.microsoft.com/office/drawing/2014/main" id="{0B3BA134-DC9C-45B2-9800-EB2625C81C13}"/>
              </a:ext>
            </a:extLst>
          </p:cNvPr>
          <p:cNvSpPr>
            <a:spLocks noGrp="1"/>
          </p:cNvSpPr>
          <p:nvPr>
            <p:ph type="ftr" sz="quarter" idx="11"/>
          </p:nvPr>
        </p:nvSpPr>
        <p:spPr>
          <a:xfrm>
            <a:off x="1199458" y="6423271"/>
            <a:ext cx="9217023" cy="288000"/>
          </a:xfrm>
          <a:prstGeom prst="rect">
            <a:avLst/>
          </a:prstGeom>
        </p:spPr>
        <p:txBody>
          <a:bodyPr/>
          <a:lstStyle>
            <a:lvl1pPr>
              <a:defRPr sz="933">
                <a:solidFill>
                  <a:schemeClr val="bg1">
                    <a:lumMod val="75000"/>
                  </a:schemeClr>
                </a:solidFill>
              </a:defRPr>
            </a:lvl1pPr>
          </a:lstStyle>
          <a:p>
            <a:r>
              <a:rPr lang="fr-FR"/>
              <a:t>BNP Paribas TP - Project Management Office Fonctionnel</a:t>
            </a:r>
          </a:p>
        </p:txBody>
      </p:sp>
      <p:sp>
        <p:nvSpPr>
          <p:cNvPr id="14" name="Espace réservé du numéro de diapositive 6">
            <a:extLst>
              <a:ext uri="{FF2B5EF4-FFF2-40B4-BE49-F238E27FC236}">
                <a16:creationId xmlns:a16="http://schemas.microsoft.com/office/drawing/2014/main" id="{28B91211-B75F-41A7-9849-0C81B664CB5B}"/>
              </a:ext>
            </a:extLst>
          </p:cNvPr>
          <p:cNvSpPr>
            <a:spLocks noGrp="1"/>
          </p:cNvSpPr>
          <p:nvPr>
            <p:ph type="sldNum" sz="quarter" idx="12"/>
          </p:nvPr>
        </p:nvSpPr>
        <p:spPr>
          <a:xfrm>
            <a:off x="11136560" y="6423271"/>
            <a:ext cx="708315" cy="288000"/>
          </a:xfrm>
          <a:prstGeom prst="rect">
            <a:avLst/>
          </a:prstGeom>
        </p:spPr>
        <p:txBody>
          <a:bodyPr/>
          <a:lstStyle>
            <a:lvl1pPr>
              <a:defRPr sz="1200">
                <a:solidFill>
                  <a:schemeClr val="bg1">
                    <a:lumMod val="75000"/>
                  </a:schemeClr>
                </a:solidFill>
              </a:defRPr>
            </a:lvl1pPr>
          </a:lstStyle>
          <a:p>
            <a:fld id="{4D32680D-9B82-467A-8A17-CD56308886EF}" type="slidenum">
              <a:rPr lang="fr-FR" smtClean="0"/>
              <a:pPr/>
              <a:t>‹#›</a:t>
            </a:fld>
            <a:endParaRPr lang="fr-FR"/>
          </a:p>
        </p:txBody>
      </p:sp>
    </p:spTree>
    <p:extLst>
      <p:ext uri="{BB962C8B-B14F-4D97-AF65-F5344CB8AC3E}">
        <p14:creationId xmlns:p14="http://schemas.microsoft.com/office/powerpoint/2010/main" val="19927535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Sommaire">
    <p:bg>
      <p:bgPr>
        <a:solidFill>
          <a:schemeClr val="accent2"/>
        </a:solidFill>
        <a:effectLst/>
      </p:bgPr>
    </p:bg>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C385BC7F-1476-4BD3-A688-CC79BCD9E387}"/>
              </a:ext>
            </a:extLst>
          </p:cNvPr>
          <p:cNvSpPr/>
          <p:nvPr userDrawn="1"/>
        </p:nvSpPr>
        <p:spPr>
          <a:xfrm rot="16200000">
            <a:off x="-1405172" y="-4911588"/>
            <a:ext cx="10513168" cy="16681176"/>
          </a:xfrm>
          <a:custGeom>
            <a:avLst/>
            <a:gdLst>
              <a:gd name="connsiteX0" fmla="*/ 8685584 w 10513168"/>
              <a:gd name="connsiteY0" fmla="*/ 16681176 h 16681176"/>
              <a:gd name="connsiteX1" fmla="*/ 1827584 w 10513168"/>
              <a:gd name="connsiteY1" fmla="*/ 16681176 h 16681176"/>
              <a:gd name="connsiteX2" fmla="*/ 4769068 w 10513168"/>
              <a:gd name="connsiteY2" fmla="*/ 10489826 h 16681176"/>
              <a:gd name="connsiteX3" fmla="*/ 4986081 w 10513168"/>
              <a:gd name="connsiteY3" fmla="*/ 10506328 h 16681176"/>
              <a:gd name="connsiteX4" fmla="*/ 5256584 w 10513168"/>
              <a:gd name="connsiteY4" fmla="*/ 10513168 h 16681176"/>
              <a:gd name="connsiteX5" fmla="*/ 5527087 w 10513168"/>
              <a:gd name="connsiteY5" fmla="*/ 10506328 h 16681176"/>
              <a:gd name="connsiteX6" fmla="*/ 5744100 w 10513168"/>
              <a:gd name="connsiteY6" fmla="*/ 10489826 h 16681176"/>
              <a:gd name="connsiteX7" fmla="*/ 10513168 w 10513168"/>
              <a:gd name="connsiteY7" fmla="*/ 5256584 h 16681176"/>
              <a:gd name="connsiteX8" fmla="*/ 5794039 w 10513168"/>
              <a:gd name="connsiteY8" fmla="*/ 10486029 h 16681176"/>
              <a:gd name="connsiteX9" fmla="*/ 5744100 w 10513168"/>
              <a:gd name="connsiteY9" fmla="*/ 10489826 h 16681176"/>
              <a:gd name="connsiteX10" fmla="*/ 5256584 w 10513168"/>
              <a:gd name="connsiteY10" fmla="*/ 9463684 h 16681176"/>
              <a:gd name="connsiteX11" fmla="*/ 4769068 w 10513168"/>
              <a:gd name="connsiteY11" fmla="*/ 10489826 h 16681176"/>
              <a:gd name="connsiteX12" fmla="*/ 4719129 w 10513168"/>
              <a:gd name="connsiteY12" fmla="*/ 10486029 h 16681176"/>
              <a:gd name="connsiteX13" fmla="*/ 0 w 10513168"/>
              <a:gd name="connsiteY13" fmla="*/ 5256584 h 16681176"/>
              <a:gd name="connsiteX14" fmla="*/ 5256584 w 10513168"/>
              <a:gd name="connsiteY14" fmla="*/ 0 h 16681176"/>
              <a:gd name="connsiteX15" fmla="*/ 10513168 w 10513168"/>
              <a:gd name="connsiteY15" fmla="*/ 5256584 h 1668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13168" h="16681176">
                <a:moveTo>
                  <a:pt x="8685584" y="16681176"/>
                </a:moveTo>
                <a:lnTo>
                  <a:pt x="1827584" y="16681176"/>
                </a:lnTo>
                <a:lnTo>
                  <a:pt x="4769068" y="10489826"/>
                </a:lnTo>
                <a:lnTo>
                  <a:pt x="4986081" y="10506328"/>
                </a:lnTo>
                <a:cubicBezTo>
                  <a:pt x="5075675" y="10510870"/>
                  <a:pt x="5165861" y="10513168"/>
                  <a:pt x="5256584" y="10513168"/>
                </a:cubicBezTo>
                <a:cubicBezTo>
                  <a:pt x="5347307" y="10513168"/>
                  <a:pt x="5437493" y="10510870"/>
                  <a:pt x="5527087" y="10506328"/>
                </a:cubicBezTo>
                <a:lnTo>
                  <a:pt x="5744100" y="10489826"/>
                </a:lnTo>
                <a:close/>
                <a:moveTo>
                  <a:pt x="10513168" y="5256584"/>
                </a:moveTo>
                <a:cubicBezTo>
                  <a:pt x="10513168" y="7978270"/>
                  <a:pt x="8444703" y="10216840"/>
                  <a:pt x="5794039" y="10486029"/>
                </a:cubicBezTo>
                <a:lnTo>
                  <a:pt x="5744100" y="10489826"/>
                </a:lnTo>
                <a:lnTo>
                  <a:pt x="5256584" y="9463684"/>
                </a:lnTo>
                <a:lnTo>
                  <a:pt x="4769068" y="10489826"/>
                </a:lnTo>
                <a:lnTo>
                  <a:pt x="4719129" y="10486029"/>
                </a:lnTo>
                <a:cubicBezTo>
                  <a:pt x="2068465" y="10216840"/>
                  <a:pt x="0" y="7978269"/>
                  <a:pt x="0" y="5256584"/>
                </a:cubicBezTo>
                <a:cubicBezTo>
                  <a:pt x="0" y="2353453"/>
                  <a:pt x="2353453" y="0"/>
                  <a:pt x="5256584" y="0"/>
                </a:cubicBezTo>
                <a:cubicBezTo>
                  <a:pt x="8159715" y="0"/>
                  <a:pt x="10513168" y="2353453"/>
                  <a:pt x="10513168" y="5256584"/>
                </a:cubicBezTo>
                <a:close/>
              </a:path>
            </a:pathLst>
          </a:cu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sz="1400"/>
          </a:p>
        </p:txBody>
      </p:sp>
      <p:sp>
        <p:nvSpPr>
          <p:cNvPr id="9" name="Rectangle 8">
            <a:extLst>
              <a:ext uri="{FF2B5EF4-FFF2-40B4-BE49-F238E27FC236}">
                <a16:creationId xmlns:a16="http://schemas.microsoft.com/office/drawing/2014/main" id="{386395FA-630D-405F-BE4A-1C364E64294C}"/>
              </a:ext>
            </a:extLst>
          </p:cNvPr>
          <p:cNvSpPr/>
          <p:nvPr/>
        </p:nvSpPr>
        <p:spPr>
          <a:xfrm>
            <a:off x="335362" y="96888"/>
            <a:ext cx="438239" cy="307777"/>
          </a:xfrm>
          <a:prstGeom prst="rect">
            <a:avLst/>
          </a:prstGeom>
        </p:spPr>
        <p:txBody>
          <a:bodyPr wrap="square" lIns="90000" tIns="0" rIns="90000" bIns="0" anchor="ctr">
            <a:spAutoFit/>
          </a:bodyPr>
          <a:lstStyle/>
          <a:p>
            <a:pPr algn="ctr"/>
            <a:r>
              <a:rPr lang="fr-FR" sz="2000" b="1">
                <a:solidFill>
                  <a:schemeClr val="accent1"/>
                </a:solidFill>
                <a:latin typeface="+mj-lt"/>
              </a:rPr>
              <a:t>—</a:t>
            </a:r>
          </a:p>
        </p:txBody>
      </p:sp>
      <p:sp>
        <p:nvSpPr>
          <p:cNvPr id="6" name="Titre 5">
            <a:extLst>
              <a:ext uri="{FF2B5EF4-FFF2-40B4-BE49-F238E27FC236}">
                <a16:creationId xmlns:a16="http://schemas.microsoft.com/office/drawing/2014/main" id="{456D2929-3A37-4598-9192-7B0C0C868E4E}"/>
              </a:ext>
            </a:extLst>
          </p:cNvPr>
          <p:cNvSpPr>
            <a:spLocks noGrp="1"/>
          </p:cNvSpPr>
          <p:nvPr>
            <p:ph type="title"/>
          </p:nvPr>
        </p:nvSpPr>
        <p:spPr>
          <a:xfrm>
            <a:off x="334101" y="332658"/>
            <a:ext cx="10442419" cy="288031"/>
          </a:xfrm>
          <a:prstGeom prst="rect">
            <a:avLst/>
          </a:prstGeom>
        </p:spPr>
        <p:txBody>
          <a:bodyPr/>
          <a:lstStyle>
            <a:lvl1pPr>
              <a:defRPr sz="2000"/>
            </a:lvl1pPr>
          </a:lstStyle>
          <a:p>
            <a:r>
              <a:rPr lang="fr-FR"/>
              <a:t>Modifiez le style du titre</a:t>
            </a:r>
          </a:p>
        </p:txBody>
      </p:sp>
      <p:sp>
        <p:nvSpPr>
          <p:cNvPr id="16" name="Espace réservé du contenu 15">
            <a:extLst>
              <a:ext uri="{FF2B5EF4-FFF2-40B4-BE49-F238E27FC236}">
                <a16:creationId xmlns:a16="http://schemas.microsoft.com/office/drawing/2014/main" id="{1F4C0D93-F48F-4CD8-B138-C692B35A80C9}"/>
              </a:ext>
            </a:extLst>
          </p:cNvPr>
          <p:cNvSpPr>
            <a:spLocks noGrp="1"/>
          </p:cNvSpPr>
          <p:nvPr>
            <p:ph sz="quarter" idx="10"/>
          </p:nvPr>
        </p:nvSpPr>
        <p:spPr>
          <a:xfrm>
            <a:off x="334963" y="1268413"/>
            <a:ext cx="4320877" cy="4588033"/>
          </a:xfrm>
          <a:prstGeom prst="rect">
            <a:avLst/>
          </a:prstGeom>
        </p:spPr>
        <p:txBody>
          <a:bodyPr/>
          <a:lstStyle>
            <a:lvl1pPr>
              <a:spcAft>
                <a:spcPts val="0"/>
              </a:spcAft>
              <a:defRPr/>
            </a:lvl1pPr>
            <a:lvl2pPr>
              <a:spcBef>
                <a:spcPts val="0"/>
              </a:spcBef>
              <a:defRPr/>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Image 6">
            <a:extLst>
              <a:ext uri="{FF2B5EF4-FFF2-40B4-BE49-F238E27FC236}">
                <a16:creationId xmlns:a16="http://schemas.microsoft.com/office/drawing/2014/main" id="{F07277DB-8FC2-4531-A62C-86D99D2D6E2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1531" y="6072470"/>
            <a:ext cx="1224136" cy="688644"/>
          </a:xfrm>
          <a:prstGeom prst="rect">
            <a:avLst/>
          </a:prstGeom>
        </p:spPr>
      </p:pic>
    </p:spTree>
    <p:extLst>
      <p:ext uri="{BB962C8B-B14F-4D97-AF65-F5344CB8AC3E}">
        <p14:creationId xmlns:p14="http://schemas.microsoft.com/office/powerpoint/2010/main" val="2740487023"/>
      </p:ext>
    </p:extLst>
  </p:cSld>
  <p:clrMapOvr>
    <a:overrideClrMapping bg1="lt1" tx1="dk1" bg2="lt2" tx2="dk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DD12A1-5037-4E22-8CB9-D3627EE8764B}"/>
              </a:ext>
            </a:extLst>
          </p:cNvPr>
          <p:cNvSpPr>
            <a:spLocks noGrp="1"/>
          </p:cNvSpPr>
          <p:nvPr>
            <p:ph type="title"/>
          </p:nvPr>
        </p:nvSpPr>
        <p:spPr>
          <a:xfrm>
            <a:off x="334101" y="382410"/>
            <a:ext cx="5041820" cy="385943"/>
          </a:xfrm>
          <a:prstGeom prst="rect">
            <a:avLst/>
          </a:prstGeom>
        </p:spPr>
        <p:txBody>
          <a:bodyPr vert="horz" lIns="91440" tIns="45720" rIns="91440" bIns="0" rtlCol="0" anchor="t">
            <a:noAutofit/>
          </a:bodyPr>
          <a:lstStyle>
            <a:lvl1pPr>
              <a:defRPr lang="fr-FR" sz="2000"/>
            </a:lvl1pPr>
          </a:lstStyle>
          <a:p>
            <a:pPr lvl="0"/>
            <a:r>
              <a:rPr lang="fr-FR"/>
              <a:t>Modifiez le style du titre</a:t>
            </a:r>
          </a:p>
        </p:txBody>
      </p:sp>
      <p:sp>
        <p:nvSpPr>
          <p:cNvPr id="3" name="Espace réservé du texte 2">
            <a:extLst>
              <a:ext uri="{FF2B5EF4-FFF2-40B4-BE49-F238E27FC236}">
                <a16:creationId xmlns:a16="http://schemas.microsoft.com/office/drawing/2014/main" id="{CAF1A68A-EA66-470F-9118-AEF0092F5A9E}"/>
              </a:ext>
            </a:extLst>
          </p:cNvPr>
          <p:cNvSpPr>
            <a:spLocks noGrp="1"/>
          </p:cNvSpPr>
          <p:nvPr>
            <p:ph type="body" idx="1"/>
          </p:nvPr>
        </p:nvSpPr>
        <p:spPr>
          <a:xfrm>
            <a:off x="334305" y="768353"/>
            <a:ext cx="5041617" cy="788441"/>
          </a:xfrm>
          <a:prstGeom prst="rect">
            <a:avLst/>
          </a:prstGeom>
        </p:spPr>
        <p:txBody>
          <a:bodyPr vert="horz" lIns="91440" tIns="45720" rIns="91440" bIns="45720" rtlCol="0">
            <a:normAutofit/>
          </a:bodyPr>
          <a:lstStyle>
            <a:lvl1pPr>
              <a:defRPr lang="fr-FR" sz="1600" b="0" cap="none">
                <a:solidFill>
                  <a:schemeClr val="accent1"/>
                </a:solidFill>
              </a:defRPr>
            </a:lvl1pPr>
          </a:lstStyle>
          <a:p>
            <a:pPr lvl="0" algn="l"/>
            <a:r>
              <a:rPr lang="fr-FR"/>
              <a:t>Modifier les styles du texte du masque</a:t>
            </a:r>
          </a:p>
        </p:txBody>
      </p:sp>
      <p:sp>
        <p:nvSpPr>
          <p:cNvPr id="7" name="Cercle : creux 6">
            <a:extLst>
              <a:ext uri="{FF2B5EF4-FFF2-40B4-BE49-F238E27FC236}">
                <a16:creationId xmlns:a16="http://schemas.microsoft.com/office/drawing/2014/main" id="{5747AFD3-AD29-4520-B8BB-2BE6BEC31C0A}"/>
              </a:ext>
            </a:extLst>
          </p:cNvPr>
          <p:cNvSpPr/>
          <p:nvPr userDrawn="1"/>
        </p:nvSpPr>
        <p:spPr>
          <a:xfrm>
            <a:off x="4943377" y="116632"/>
            <a:ext cx="6624736" cy="6624736"/>
          </a:xfrm>
          <a:prstGeom prst="donut">
            <a:avLst>
              <a:gd name="adj" fmla="val 1513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sz="1400">
              <a:solidFill>
                <a:schemeClr val="tx1"/>
              </a:solidFill>
            </a:endParaRPr>
          </a:p>
        </p:txBody>
      </p:sp>
      <p:sp>
        <p:nvSpPr>
          <p:cNvPr id="8" name="Cercle : creux 7">
            <a:extLst>
              <a:ext uri="{FF2B5EF4-FFF2-40B4-BE49-F238E27FC236}">
                <a16:creationId xmlns:a16="http://schemas.microsoft.com/office/drawing/2014/main" id="{90E75964-23EA-4CEE-A726-0E055C6267F7}"/>
              </a:ext>
            </a:extLst>
          </p:cNvPr>
          <p:cNvSpPr/>
          <p:nvPr userDrawn="1"/>
        </p:nvSpPr>
        <p:spPr>
          <a:xfrm>
            <a:off x="6816081" y="1989335"/>
            <a:ext cx="2880321" cy="2880321"/>
          </a:xfrm>
          <a:prstGeom prst="donut">
            <a:avLst>
              <a:gd name="adj" fmla="val 29726"/>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sz="1400">
              <a:solidFill>
                <a:schemeClr val="tx1"/>
              </a:solidFill>
            </a:endParaRPr>
          </a:p>
        </p:txBody>
      </p:sp>
      <p:sp>
        <p:nvSpPr>
          <p:cNvPr id="9" name="Rectangle 8">
            <a:extLst>
              <a:ext uri="{FF2B5EF4-FFF2-40B4-BE49-F238E27FC236}">
                <a16:creationId xmlns:a16="http://schemas.microsoft.com/office/drawing/2014/main" id="{BCD3E79A-1967-4E82-BF00-589157E8CC1A}"/>
              </a:ext>
            </a:extLst>
          </p:cNvPr>
          <p:cNvSpPr/>
          <p:nvPr userDrawn="1"/>
        </p:nvSpPr>
        <p:spPr>
          <a:xfrm>
            <a:off x="380587" y="30907"/>
            <a:ext cx="396560" cy="369332"/>
          </a:xfrm>
          <a:prstGeom prst="rect">
            <a:avLst/>
          </a:prstGeom>
        </p:spPr>
        <p:txBody>
          <a:bodyPr wrap="none" lIns="90000" tIns="0" rIns="90000" bIns="0" anchor="ctr">
            <a:spAutoFit/>
          </a:bodyPr>
          <a:lstStyle/>
          <a:p>
            <a:pPr algn="ctr"/>
            <a:r>
              <a:rPr lang="fr-FR" sz="2400" b="1">
                <a:solidFill>
                  <a:schemeClr val="accent1"/>
                </a:solidFill>
                <a:latin typeface="+mj-lt"/>
              </a:rPr>
              <a:t>—</a:t>
            </a:r>
          </a:p>
        </p:txBody>
      </p:sp>
      <p:pic>
        <p:nvPicPr>
          <p:cNvPr id="10" name="Image 9">
            <a:extLst>
              <a:ext uri="{FF2B5EF4-FFF2-40B4-BE49-F238E27FC236}">
                <a16:creationId xmlns:a16="http://schemas.microsoft.com/office/drawing/2014/main" id="{365A60FB-434F-41B0-B104-D732C735947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528" y="6052725"/>
            <a:ext cx="1224136" cy="688644"/>
          </a:xfrm>
          <a:prstGeom prst="rect">
            <a:avLst/>
          </a:prstGeom>
        </p:spPr>
      </p:pic>
    </p:spTree>
    <p:extLst>
      <p:ext uri="{BB962C8B-B14F-4D97-AF65-F5344CB8AC3E}">
        <p14:creationId xmlns:p14="http://schemas.microsoft.com/office/powerpoint/2010/main" val="115176503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422587D-F876-4606-9D93-F98324B40C18}"/>
              </a:ext>
            </a:extLst>
          </p:cNvPr>
          <p:cNvSpPr>
            <a:spLocks noGrp="1"/>
          </p:cNvSpPr>
          <p:nvPr>
            <p:ph type="title"/>
          </p:nvPr>
        </p:nvSpPr>
        <p:spPr>
          <a:xfrm>
            <a:off x="334101" y="332658"/>
            <a:ext cx="10442419" cy="288031"/>
          </a:xfrm>
          <a:prstGeom prst="rect">
            <a:avLst/>
          </a:prstGeom>
        </p:spPr>
        <p:txBody>
          <a:bodyPr/>
          <a:lstStyle>
            <a:lvl1pPr>
              <a:defRPr>
                <a:solidFill>
                  <a:schemeClr val="accent4"/>
                </a:solidFill>
              </a:defRPr>
            </a:lvl1pPr>
          </a:lstStyle>
          <a:p>
            <a:r>
              <a:rPr lang="fr-FR"/>
              <a:t>Modifiez le style du titre</a:t>
            </a:r>
          </a:p>
        </p:txBody>
      </p:sp>
      <p:sp>
        <p:nvSpPr>
          <p:cNvPr id="3" name="Espace réservé du contenu 2">
            <a:extLst>
              <a:ext uri="{FF2B5EF4-FFF2-40B4-BE49-F238E27FC236}">
                <a16:creationId xmlns:a16="http://schemas.microsoft.com/office/drawing/2014/main" id="{7685EB55-A691-49A1-81D1-AFF11002F5CC}"/>
              </a:ext>
            </a:extLst>
          </p:cNvPr>
          <p:cNvSpPr>
            <a:spLocks noGrp="1"/>
          </p:cNvSpPr>
          <p:nvPr>
            <p:ph sz="half" idx="1"/>
          </p:nvPr>
        </p:nvSpPr>
        <p:spPr>
          <a:xfrm>
            <a:off x="623888" y="1268413"/>
            <a:ext cx="5395912" cy="4968875"/>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DF6EF54-659B-40DE-A2E1-E619A2CFB0C1}"/>
              </a:ext>
            </a:extLst>
          </p:cNvPr>
          <p:cNvSpPr>
            <a:spLocks noGrp="1"/>
          </p:cNvSpPr>
          <p:nvPr>
            <p:ph sz="half" idx="2"/>
          </p:nvPr>
        </p:nvSpPr>
        <p:spPr>
          <a:xfrm>
            <a:off x="6172200" y="1268413"/>
            <a:ext cx="5395915" cy="4968875"/>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7196A19D-9091-4156-B362-CDB0605DE505}"/>
              </a:ext>
            </a:extLst>
          </p:cNvPr>
          <p:cNvSpPr>
            <a:spLocks noGrp="1"/>
          </p:cNvSpPr>
          <p:nvPr>
            <p:ph type="dt" sz="half" idx="10"/>
          </p:nvPr>
        </p:nvSpPr>
        <p:spPr>
          <a:xfrm>
            <a:off x="332892" y="6405301"/>
            <a:ext cx="866565" cy="288031"/>
          </a:xfrm>
          <a:prstGeom prst="rect">
            <a:avLst/>
          </a:prstGeom>
        </p:spPr>
        <p:txBody>
          <a:bodyPr anchor="ctr"/>
          <a:lstStyle>
            <a:lvl1pPr>
              <a:defRPr sz="933">
                <a:solidFill>
                  <a:schemeClr val="bg1">
                    <a:lumMod val="75000"/>
                  </a:schemeClr>
                </a:solidFill>
              </a:defRPr>
            </a:lvl1pPr>
          </a:lstStyle>
          <a:p>
            <a:r>
              <a:rPr lang="fr-FR"/>
              <a:t>Juin 2021</a:t>
            </a:r>
          </a:p>
        </p:txBody>
      </p:sp>
      <p:sp>
        <p:nvSpPr>
          <p:cNvPr id="6" name="Espace réservé du pied de page 5">
            <a:extLst>
              <a:ext uri="{FF2B5EF4-FFF2-40B4-BE49-F238E27FC236}">
                <a16:creationId xmlns:a16="http://schemas.microsoft.com/office/drawing/2014/main" id="{B7DDFC99-E3E0-42C7-9D20-DB44EFFCB1CD}"/>
              </a:ext>
            </a:extLst>
          </p:cNvPr>
          <p:cNvSpPr>
            <a:spLocks noGrp="1"/>
          </p:cNvSpPr>
          <p:nvPr>
            <p:ph type="ftr" sz="quarter" idx="11"/>
          </p:nvPr>
        </p:nvSpPr>
        <p:spPr>
          <a:xfrm>
            <a:off x="1199458" y="6423271"/>
            <a:ext cx="9217023" cy="288000"/>
          </a:xfrm>
          <a:prstGeom prst="rect">
            <a:avLst/>
          </a:prstGeom>
        </p:spPr>
        <p:txBody>
          <a:bodyPr/>
          <a:lstStyle>
            <a:lvl1pPr>
              <a:defRPr sz="933">
                <a:solidFill>
                  <a:schemeClr val="bg1">
                    <a:lumMod val="75000"/>
                  </a:schemeClr>
                </a:solidFill>
              </a:defRPr>
            </a:lvl1pPr>
          </a:lstStyle>
          <a:p>
            <a:r>
              <a:rPr lang="fr-FR"/>
              <a:t>BNP Paribas TP - Project Management Office Fonctionnel</a:t>
            </a:r>
          </a:p>
        </p:txBody>
      </p:sp>
      <p:sp>
        <p:nvSpPr>
          <p:cNvPr id="7" name="Espace réservé du numéro de diapositive 6">
            <a:extLst>
              <a:ext uri="{FF2B5EF4-FFF2-40B4-BE49-F238E27FC236}">
                <a16:creationId xmlns:a16="http://schemas.microsoft.com/office/drawing/2014/main" id="{38597E9F-E6C4-4F42-B825-937FF1748879}"/>
              </a:ext>
            </a:extLst>
          </p:cNvPr>
          <p:cNvSpPr>
            <a:spLocks noGrp="1"/>
          </p:cNvSpPr>
          <p:nvPr>
            <p:ph type="sldNum" sz="quarter" idx="12"/>
          </p:nvPr>
        </p:nvSpPr>
        <p:spPr>
          <a:xfrm>
            <a:off x="11136560" y="6423271"/>
            <a:ext cx="708315" cy="288000"/>
          </a:xfrm>
          <a:prstGeom prst="rect">
            <a:avLst/>
          </a:prstGeom>
        </p:spPr>
        <p:txBody>
          <a:bodyPr/>
          <a:lstStyle>
            <a:lvl1pPr>
              <a:defRPr sz="1200">
                <a:solidFill>
                  <a:schemeClr val="bg1">
                    <a:lumMod val="75000"/>
                  </a:schemeClr>
                </a:solidFill>
              </a:defRPr>
            </a:lvl1pPr>
          </a:lstStyle>
          <a:p>
            <a:fld id="{4D32680D-9B82-467A-8A17-CD56308886EF}" type="slidenum">
              <a:rPr lang="fr-FR" smtClean="0"/>
              <a:pPr/>
              <a:t>‹#›</a:t>
            </a:fld>
            <a:endParaRPr lang="fr-FR"/>
          </a:p>
        </p:txBody>
      </p:sp>
      <p:sp>
        <p:nvSpPr>
          <p:cNvPr id="8" name="Rectangle 7">
            <a:extLst>
              <a:ext uri="{FF2B5EF4-FFF2-40B4-BE49-F238E27FC236}">
                <a16:creationId xmlns:a16="http://schemas.microsoft.com/office/drawing/2014/main" id="{D7FF95AF-C386-42BF-A0AF-0AF7212332DA}"/>
              </a:ext>
            </a:extLst>
          </p:cNvPr>
          <p:cNvSpPr/>
          <p:nvPr/>
        </p:nvSpPr>
        <p:spPr>
          <a:xfrm>
            <a:off x="366620" y="125796"/>
            <a:ext cx="324425" cy="246221"/>
          </a:xfrm>
          <a:prstGeom prst="rect">
            <a:avLst/>
          </a:prstGeom>
        </p:spPr>
        <p:txBody>
          <a:bodyPr wrap="none" lIns="90000" tIns="0" rIns="90000" bIns="0" anchor="ctr">
            <a:spAutoFit/>
          </a:bodyPr>
          <a:lstStyle/>
          <a:p>
            <a:pPr algn="ctr"/>
            <a:r>
              <a:rPr lang="fr-FR" sz="1600" b="1">
                <a:solidFill>
                  <a:schemeClr val="accent4"/>
                </a:solidFill>
                <a:latin typeface="+mj-lt"/>
              </a:rPr>
              <a:t>—</a:t>
            </a:r>
          </a:p>
        </p:txBody>
      </p:sp>
      <p:sp>
        <p:nvSpPr>
          <p:cNvPr id="9" name="Espace réservé du texte 8">
            <a:extLst>
              <a:ext uri="{FF2B5EF4-FFF2-40B4-BE49-F238E27FC236}">
                <a16:creationId xmlns:a16="http://schemas.microsoft.com/office/drawing/2014/main" id="{736CC6E5-1232-44EA-882A-8B142588F237}"/>
              </a:ext>
            </a:extLst>
          </p:cNvPr>
          <p:cNvSpPr>
            <a:spLocks noGrp="1"/>
          </p:cNvSpPr>
          <p:nvPr>
            <p:ph type="body" sz="quarter" idx="13"/>
          </p:nvPr>
        </p:nvSpPr>
        <p:spPr>
          <a:xfrm>
            <a:off x="334100" y="617512"/>
            <a:ext cx="10442419" cy="365125"/>
          </a:xfrm>
          <a:prstGeom prst="rect">
            <a:avLst/>
          </a:prstGeom>
        </p:spPr>
        <p:txBody>
          <a:bodyPr tIns="0" bIns="0">
            <a:noAutofit/>
          </a:bodyPr>
          <a:lstStyle>
            <a:lvl1pPr marL="0" indent="0">
              <a:buNone/>
              <a:defRPr sz="1600" b="0" cap="none" baseline="0">
                <a:solidFill>
                  <a:schemeClr val="accent4"/>
                </a:solidFill>
                <a:latin typeface="+mj-lt"/>
              </a:defRPr>
            </a:lvl1pPr>
          </a:lstStyle>
          <a:p>
            <a:pPr lvl="0"/>
            <a:r>
              <a:rPr lang="fr-FR"/>
              <a:t>Modifier les styles du texte du masque</a:t>
            </a:r>
          </a:p>
        </p:txBody>
      </p:sp>
    </p:spTree>
    <p:extLst>
      <p:ext uri="{BB962C8B-B14F-4D97-AF65-F5344CB8AC3E}">
        <p14:creationId xmlns:p14="http://schemas.microsoft.com/office/powerpoint/2010/main" val="2520986746"/>
      </p:ext>
    </p:extLst>
  </p:cSld>
  <p:clrMapOvr>
    <a:masterClrMapping/>
  </p:clrMapOvr>
  <p:transition>
    <p:fade/>
  </p:transition>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3603F5-37B4-498C-819C-4AA858DC59DF}"/>
              </a:ext>
            </a:extLst>
          </p:cNvPr>
          <p:cNvSpPr>
            <a:spLocks noGrp="1"/>
          </p:cNvSpPr>
          <p:nvPr>
            <p:ph type="title"/>
          </p:nvPr>
        </p:nvSpPr>
        <p:spPr>
          <a:xfrm>
            <a:off x="334101" y="332658"/>
            <a:ext cx="10442419" cy="288031"/>
          </a:xfrm>
          <a:prstGeom prst="rect">
            <a:avLst/>
          </a:prstGeom>
        </p:spPr>
        <p:txBody>
          <a:bodyPr/>
          <a:lstStyle/>
          <a:p>
            <a:r>
              <a:rPr lang="fr-FR"/>
              <a:t>Modifiez le style du titre</a:t>
            </a:r>
          </a:p>
        </p:txBody>
      </p:sp>
      <p:sp>
        <p:nvSpPr>
          <p:cNvPr id="6" name="Rectangle 5">
            <a:extLst>
              <a:ext uri="{FF2B5EF4-FFF2-40B4-BE49-F238E27FC236}">
                <a16:creationId xmlns:a16="http://schemas.microsoft.com/office/drawing/2014/main" id="{4BE10079-295C-41F0-9682-CDF4E031E85A}"/>
              </a:ext>
            </a:extLst>
          </p:cNvPr>
          <p:cNvSpPr/>
          <p:nvPr/>
        </p:nvSpPr>
        <p:spPr>
          <a:xfrm>
            <a:off x="366620" y="125796"/>
            <a:ext cx="324425" cy="246221"/>
          </a:xfrm>
          <a:prstGeom prst="rect">
            <a:avLst/>
          </a:prstGeom>
        </p:spPr>
        <p:txBody>
          <a:bodyPr wrap="none" lIns="90000" tIns="0" rIns="90000" bIns="0" anchor="ctr">
            <a:spAutoFit/>
          </a:bodyPr>
          <a:lstStyle/>
          <a:p>
            <a:pPr algn="ctr"/>
            <a:r>
              <a:rPr lang="fr-FR" sz="1600" b="1">
                <a:solidFill>
                  <a:schemeClr val="accent1"/>
                </a:solidFill>
                <a:latin typeface="+mj-lt"/>
              </a:rPr>
              <a:t>—</a:t>
            </a:r>
          </a:p>
        </p:txBody>
      </p:sp>
      <p:sp>
        <p:nvSpPr>
          <p:cNvPr id="7" name="Espace réservé du texte 8">
            <a:extLst>
              <a:ext uri="{FF2B5EF4-FFF2-40B4-BE49-F238E27FC236}">
                <a16:creationId xmlns:a16="http://schemas.microsoft.com/office/drawing/2014/main" id="{FF6EA77C-34D5-4255-9FB0-C5666B306D24}"/>
              </a:ext>
            </a:extLst>
          </p:cNvPr>
          <p:cNvSpPr>
            <a:spLocks noGrp="1"/>
          </p:cNvSpPr>
          <p:nvPr>
            <p:ph type="body" sz="quarter" idx="13"/>
          </p:nvPr>
        </p:nvSpPr>
        <p:spPr>
          <a:xfrm>
            <a:off x="334100" y="617512"/>
            <a:ext cx="10442419" cy="365125"/>
          </a:xfrm>
          <a:prstGeom prst="rect">
            <a:avLst/>
          </a:prstGeom>
        </p:spPr>
        <p:txBody>
          <a:bodyPr tIns="0" bIns="0">
            <a:noAutofit/>
          </a:bodyPr>
          <a:lstStyle>
            <a:lvl1pPr marL="0" indent="0">
              <a:buNone/>
              <a:defRPr sz="1600" b="0" cap="none" baseline="0">
                <a:solidFill>
                  <a:schemeClr val="accent1"/>
                </a:solidFill>
                <a:latin typeface="+mj-lt"/>
              </a:defRPr>
            </a:lvl1pPr>
          </a:lstStyle>
          <a:p>
            <a:pPr lvl="0"/>
            <a:r>
              <a:rPr lang="fr-FR"/>
              <a:t>Modifier les styles du texte du masque</a:t>
            </a:r>
          </a:p>
        </p:txBody>
      </p:sp>
      <p:sp>
        <p:nvSpPr>
          <p:cNvPr id="12" name="Espace réservé de la date 4">
            <a:extLst>
              <a:ext uri="{FF2B5EF4-FFF2-40B4-BE49-F238E27FC236}">
                <a16:creationId xmlns:a16="http://schemas.microsoft.com/office/drawing/2014/main" id="{8FBBA2FA-C727-4917-A0EE-4B2EDD3D8222}"/>
              </a:ext>
            </a:extLst>
          </p:cNvPr>
          <p:cNvSpPr>
            <a:spLocks noGrp="1"/>
          </p:cNvSpPr>
          <p:nvPr>
            <p:ph type="dt" sz="half" idx="10"/>
          </p:nvPr>
        </p:nvSpPr>
        <p:spPr>
          <a:xfrm>
            <a:off x="332892" y="6405301"/>
            <a:ext cx="866565" cy="288031"/>
          </a:xfrm>
          <a:prstGeom prst="rect">
            <a:avLst/>
          </a:prstGeom>
        </p:spPr>
        <p:txBody>
          <a:bodyPr anchor="ctr"/>
          <a:lstStyle>
            <a:lvl1pPr>
              <a:defRPr sz="933">
                <a:solidFill>
                  <a:schemeClr val="bg1">
                    <a:lumMod val="75000"/>
                  </a:schemeClr>
                </a:solidFill>
              </a:defRPr>
            </a:lvl1pPr>
          </a:lstStyle>
          <a:p>
            <a:r>
              <a:rPr lang="fr-FR"/>
              <a:t>Juin 2021</a:t>
            </a:r>
          </a:p>
        </p:txBody>
      </p:sp>
      <p:sp>
        <p:nvSpPr>
          <p:cNvPr id="13" name="Espace réservé du pied de page 5">
            <a:extLst>
              <a:ext uri="{FF2B5EF4-FFF2-40B4-BE49-F238E27FC236}">
                <a16:creationId xmlns:a16="http://schemas.microsoft.com/office/drawing/2014/main" id="{F75390CB-E259-477B-ADC5-5B55120A61EF}"/>
              </a:ext>
            </a:extLst>
          </p:cNvPr>
          <p:cNvSpPr>
            <a:spLocks noGrp="1"/>
          </p:cNvSpPr>
          <p:nvPr>
            <p:ph type="ftr" sz="quarter" idx="11"/>
          </p:nvPr>
        </p:nvSpPr>
        <p:spPr>
          <a:xfrm>
            <a:off x="1199458" y="6423271"/>
            <a:ext cx="9217023" cy="288000"/>
          </a:xfrm>
          <a:prstGeom prst="rect">
            <a:avLst/>
          </a:prstGeom>
        </p:spPr>
        <p:txBody>
          <a:bodyPr/>
          <a:lstStyle>
            <a:lvl1pPr>
              <a:defRPr sz="933">
                <a:solidFill>
                  <a:schemeClr val="bg1">
                    <a:lumMod val="75000"/>
                  </a:schemeClr>
                </a:solidFill>
              </a:defRPr>
            </a:lvl1pPr>
          </a:lstStyle>
          <a:p>
            <a:r>
              <a:rPr lang="fr-FR"/>
              <a:t>BNP Paribas TP - Project Management Office Fonctionnel</a:t>
            </a:r>
          </a:p>
        </p:txBody>
      </p:sp>
      <p:sp>
        <p:nvSpPr>
          <p:cNvPr id="14" name="Espace réservé du numéro de diapositive 6">
            <a:extLst>
              <a:ext uri="{FF2B5EF4-FFF2-40B4-BE49-F238E27FC236}">
                <a16:creationId xmlns:a16="http://schemas.microsoft.com/office/drawing/2014/main" id="{087CEF97-7331-4870-965D-6410B34A3B7B}"/>
              </a:ext>
            </a:extLst>
          </p:cNvPr>
          <p:cNvSpPr>
            <a:spLocks noGrp="1"/>
          </p:cNvSpPr>
          <p:nvPr>
            <p:ph type="sldNum" sz="quarter" idx="12"/>
          </p:nvPr>
        </p:nvSpPr>
        <p:spPr>
          <a:xfrm>
            <a:off x="11136560" y="6423271"/>
            <a:ext cx="708315" cy="288000"/>
          </a:xfrm>
          <a:prstGeom prst="rect">
            <a:avLst/>
          </a:prstGeom>
        </p:spPr>
        <p:txBody>
          <a:bodyPr/>
          <a:lstStyle>
            <a:lvl1pPr>
              <a:defRPr sz="1200">
                <a:solidFill>
                  <a:schemeClr val="bg1">
                    <a:lumMod val="75000"/>
                  </a:schemeClr>
                </a:solidFill>
              </a:defRPr>
            </a:lvl1pPr>
          </a:lstStyle>
          <a:p>
            <a:fld id="{4D32680D-9B82-467A-8A17-CD56308886EF}" type="slidenum">
              <a:rPr lang="fr-FR" smtClean="0"/>
              <a:pPr/>
              <a:t>‹#›</a:t>
            </a:fld>
            <a:endParaRPr lang="fr-FR"/>
          </a:p>
        </p:txBody>
      </p:sp>
    </p:spTree>
    <p:extLst>
      <p:ext uri="{BB962C8B-B14F-4D97-AF65-F5344CB8AC3E}">
        <p14:creationId xmlns:p14="http://schemas.microsoft.com/office/powerpoint/2010/main" val="388738956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9" name="Espace réservé de la date 4">
            <a:extLst>
              <a:ext uri="{FF2B5EF4-FFF2-40B4-BE49-F238E27FC236}">
                <a16:creationId xmlns:a16="http://schemas.microsoft.com/office/drawing/2014/main" id="{7AC35866-068E-49C1-A648-94B49CAFBBB2}"/>
              </a:ext>
            </a:extLst>
          </p:cNvPr>
          <p:cNvSpPr>
            <a:spLocks noGrp="1"/>
          </p:cNvSpPr>
          <p:nvPr>
            <p:ph type="dt" sz="half" idx="10"/>
          </p:nvPr>
        </p:nvSpPr>
        <p:spPr>
          <a:xfrm>
            <a:off x="332892" y="6405301"/>
            <a:ext cx="866565" cy="288031"/>
          </a:xfrm>
          <a:prstGeom prst="rect">
            <a:avLst/>
          </a:prstGeom>
        </p:spPr>
        <p:txBody>
          <a:bodyPr anchor="ctr"/>
          <a:lstStyle>
            <a:lvl1pPr>
              <a:defRPr sz="933">
                <a:solidFill>
                  <a:schemeClr val="bg1">
                    <a:lumMod val="75000"/>
                  </a:schemeClr>
                </a:solidFill>
              </a:defRPr>
            </a:lvl1pPr>
          </a:lstStyle>
          <a:p>
            <a:r>
              <a:rPr lang="fr-FR"/>
              <a:t>Juin 2021</a:t>
            </a:r>
          </a:p>
        </p:txBody>
      </p:sp>
      <p:sp>
        <p:nvSpPr>
          <p:cNvPr id="10" name="Espace réservé du pied de page 5">
            <a:extLst>
              <a:ext uri="{FF2B5EF4-FFF2-40B4-BE49-F238E27FC236}">
                <a16:creationId xmlns:a16="http://schemas.microsoft.com/office/drawing/2014/main" id="{E36BDC56-9CF7-4BF0-B3E2-1B47D87C95B8}"/>
              </a:ext>
            </a:extLst>
          </p:cNvPr>
          <p:cNvSpPr>
            <a:spLocks noGrp="1"/>
          </p:cNvSpPr>
          <p:nvPr>
            <p:ph type="ftr" sz="quarter" idx="11"/>
          </p:nvPr>
        </p:nvSpPr>
        <p:spPr>
          <a:xfrm>
            <a:off x="1199458" y="6423271"/>
            <a:ext cx="9217023" cy="288000"/>
          </a:xfrm>
          <a:prstGeom prst="rect">
            <a:avLst/>
          </a:prstGeom>
        </p:spPr>
        <p:txBody>
          <a:bodyPr/>
          <a:lstStyle>
            <a:lvl1pPr>
              <a:defRPr sz="933">
                <a:solidFill>
                  <a:schemeClr val="bg1">
                    <a:lumMod val="75000"/>
                  </a:schemeClr>
                </a:solidFill>
              </a:defRPr>
            </a:lvl1pPr>
          </a:lstStyle>
          <a:p>
            <a:r>
              <a:rPr lang="fr-FR"/>
              <a:t>BNP Paribas TP - Project Management Office Fonctionnel</a:t>
            </a:r>
          </a:p>
        </p:txBody>
      </p:sp>
      <p:sp>
        <p:nvSpPr>
          <p:cNvPr id="11" name="Espace réservé du numéro de diapositive 6">
            <a:extLst>
              <a:ext uri="{FF2B5EF4-FFF2-40B4-BE49-F238E27FC236}">
                <a16:creationId xmlns:a16="http://schemas.microsoft.com/office/drawing/2014/main" id="{5ECF2230-EDF9-4E0A-AE3B-FFE944781D0F}"/>
              </a:ext>
            </a:extLst>
          </p:cNvPr>
          <p:cNvSpPr>
            <a:spLocks noGrp="1"/>
          </p:cNvSpPr>
          <p:nvPr>
            <p:ph type="sldNum" sz="quarter" idx="12"/>
          </p:nvPr>
        </p:nvSpPr>
        <p:spPr>
          <a:xfrm>
            <a:off x="11136560" y="6423271"/>
            <a:ext cx="708315" cy="288000"/>
          </a:xfrm>
          <a:prstGeom prst="rect">
            <a:avLst/>
          </a:prstGeom>
        </p:spPr>
        <p:txBody>
          <a:bodyPr/>
          <a:lstStyle>
            <a:lvl1pPr>
              <a:defRPr sz="1200">
                <a:solidFill>
                  <a:schemeClr val="bg1">
                    <a:lumMod val="75000"/>
                  </a:schemeClr>
                </a:solidFill>
              </a:defRPr>
            </a:lvl1pPr>
          </a:lstStyle>
          <a:p>
            <a:fld id="{4D32680D-9B82-467A-8A17-CD56308886EF}" type="slidenum">
              <a:rPr lang="fr-FR" smtClean="0"/>
              <a:pPr/>
              <a:t>‹#›</a:t>
            </a:fld>
            <a:endParaRPr lang="fr-FR"/>
          </a:p>
        </p:txBody>
      </p:sp>
    </p:spTree>
    <p:extLst>
      <p:ext uri="{BB962C8B-B14F-4D97-AF65-F5344CB8AC3E}">
        <p14:creationId xmlns:p14="http://schemas.microsoft.com/office/powerpoint/2010/main" val="2360831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Sommaire">
    <p:bg>
      <p:bgPr>
        <a:solidFill>
          <a:srgbClr val="44388A"/>
        </a:solidFill>
        <a:effectLst/>
      </p:bgPr>
    </p:bg>
    <p:spTree>
      <p:nvGrpSpPr>
        <p:cNvPr id="1" name=""/>
        <p:cNvGrpSpPr/>
        <p:nvPr/>
      </p:nvGrpSpPr>
      <p:grpSpPr>
        <a:xfrm>
          <a:off x="0" y="0"/>
          <a:ext cx="0" cy="0"/>
          <a:chOff x="0" y="0"/>
          <a:chExt cx="0" cy="0"/>
        </a:xfrm>
      </p:grpSpPr>
      <p:grpSp>
        <p:nvGrpSpPr>
          <p:cNvPr id="3" name="Google Shape;22;p4">
            <a:extLst>
              <a:ext uri="{FF2B5EF4-FFF2-40B4-BE49-F238E27FC236}">
                <a16:creationId xmlns:a16="http://schemas.microsoft.com/office/drawing/2014/main" id="{C54BBB0B-2A78-4C44-9D29-6ACFD449A11C}"/>
              </a:ext>
            </a:extLst>
          </p:cNvPr>
          <p:cNvGrpSpPr/>
          <p:nvPr/>
        </p:nvGrpSpPr>
        <p:grpSpPr>
          <a:xfrm>
            <a:off x="348667" y="484767"/>
            <a:ext cx="2811600" cy="705467"/>
            <a:chOff x="261500" y="525100"/>
            <a:chExt cx="2108700" cy="852150"/>
          </a:xfrm>
        </p:grpSpPr>
        <p:sp>
          <p:nvSpPr>
            <p:cNvPr id="4" name="Google Shape;23;p4">
              <a:extLst>
                <a:ext uri="{FF2B5EF4-FFF2-40B4-BE49-F238E27FC236}">
                  <a16:creationId xmlns:a16="http://schemas.microsoft.com/office/drawing/2014/main" id="{0B89604B-E0F4-234D-B111-E5213D04C9C6}"/>
                </a:ext>
              </a:extLst>
            </p:cNvPr>
            <p:cNvSpPr txBox="1"/>
            <p:nvPr/>
          </p:nvSpPr>
          <p:spPr>
            <a:xfrm>
              <a:off x="261500" y="565450"/>
              <a:ext cx="2108700" cy="81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fr" sz="2800" b="1" i="0" u="none" strike="noStrike" cap="none">
                  <a:solidFill>
                    <a:srgbClr val="FFFFFF"/>
                  </a:solidFill>
                  <a:latin typeface="Arial Black" panose="020B0604020202020204" pitchFamily="34" charset="0"/>
                  <a:ea typeface="Montserrat"/>
                  <a:cs typeface="Arial Black" panose="020B0604020202020204" pitchFamily="34" charset="0"/>
                  <a:sym typeface="Montserrat"/>
                </a:rPr>
                <a:t>SOMMAIRE</a:t>
              </a:r>
              <a:endParaRPr sz="2800" b="1" i="0" u="none" strike="noStrike" cap="none">
                <a:solidFill>
                  <a:srgbClr val="FFFFFF"/>
                </a:solidFill>
                <a:latin typeface="Arial Black" panose="020B0604020202020204" pitchFamily="34" charset="0"/>
                <a:ea typeface="Montserrat Medium"/>
                <a:cs typeface="Arial Black" panose="020B0604020202020204" pitchFamily="34" charset="0"/>
                <a:sym typeface="Montserrat Medium"/>
              </a:endParaRPr>
            </a:p>
          </p:txBody>
        </p:sp>
        <p:sp>
          <p:nvSpPr>
            <p:cNvPr id="5" name="Google Shape;24;p4">
              <a:extLst>
                <a:ext uri="{FF2B5EF4-FFF2-40B4-BE49-F238E27FC236}">
                  <a16:creationId xmlns:a16="http://schemas.microsoft.com/office/drawing/2014/main" id="{A077CA0F-0F42-1541-BE51-EEDBFFB46345}"/>
                </a:ext>
              </a:extLst>
            </p:cNvPr>
            <p:cNvSpPr/>
            <p:nvPr/>
          </p:nvSpPr>
          <p:spPr>
            <a:xfrm>
              <a:off x="348000" y="525100"/>
              <a:ext cx="251100" cy="18900"/>
            </a:xfrm>
            <a:prstGeom prst="rect">
              <a:avLst/>
            </a:prstGeom>
            <a:solidFill>
              <a:srgbClr val="E8E6F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grpSp>
      <p:sp>
        <p:nvSpPr>
          <p:cNvPr id="6" name="Google Shape;25;p4">
            <a:extLst>
              <a:ext uri="{FF2B5EF4-FFF2-40B4-BE49-F238E27FC236}">
                <a16:creationId xmlns:a16="http://schemas.microsoft.com/office/drawing/2014/main" id="{E8CE9CF7-A38B-3940-BC70-133DDB0EEF21}"/>
              </a:ext>
            </a:extLst>
          </p:cNvPr>
          <p:cNvSpPr txBox="1">
            <a:spLocks noGrp="1"/>
          </p:cNvSpPr>
          <p:nvPr>
            <p:ph type="body" idx="1" hasCustomPrompt="1"/>
          </p:nvPr>
        </p:nvSpPr>
        <p:spPr>
          <a:xfrm>
            <a:off x="2740804" y="1301767"/>
            <a:ext cx="4603427" cy="4458400"/>
          </a:xfrm>
          <a:prstGeom prst="rect">
            <a:avLst/>
          </a:prstGeom>
          <a:noFill/>
          <a:ln>
            <a:noFill/>
          </a:ln>
        </p:spPr>
        <p:txBody>
          <a:bodyPr spcFirstLastPara="1" wrap="square" lIns="91425" tIns="91425" rIns="91425" bIns="91425" anchor="ctr" anchorCtr="0">
            <a:noAutofit/>
          </a:bodyPr>
          <a:lstStyle>
            <a:lvl1pPr marL="357708" marR="0" lvl="0" indent="-349242" algn="l" rtl="0">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Nom partie</a:t>
            </a:r>
          </a:p>
          <a:p>
            <a:r>
              <a:rPr lang="fr-FR"/>
              <a:t>Nom partie</a:t>
            </a:r>
          </a:p>
          <a:p>
            <a:r>
              <a:rPr lang="fr-FR"/>
              <a:t>Nom partie</a:t>
            </a:r>
          </a:p>
        </p:txBody>
      </p:sp>
      <p:sp>
        <p:nvSpPr>
          <p:cNvPr id="7" name="Google Shape;26;p4">
            <a:extLst>
              <a:ext uri="{FF2B5EF4-FFF2-40B4-BE49-F238E27FC236}">
                <a16:creationId xmlns:a16="http://schemas.microsoft.com/office/drawing/2014/main" id="{C73D8A71-E8A0-4345-8243-F93FC7A4D8C9}"/>
              </a:ext>
            </a:extLst>
          </p:cNvPr>
          <p:cNvSpPr txBox="1">
            <a:spLocks noGrp="1"/>
          </p:cNvSpPr>
          <p:nvPr>
            <p:ph type="body" idx="2" hasCustomPrompt="1"/>
          </p:nvPr>
        </p:nvSpPr>
        <p:spPr>
          <a:xfrm>
            <a:off x="7344230" y="1301767"/>
            <a:ext cx="2561437" cy="4458400"/>
          </a:xfrm>
          <a:prstGeom prst="rect">
            <a:avLst/>
          </a:prstGeom>
          <a:noFill/>
          <a:ln>
            <a:noFill/>
          </a:ln>
        </p:spPr>
        <p:txBody>
          <a:bodyPr spcFirstLastPara="1" wrap="square" lIns="0" tIns="91425" rIns="180000" bIns="91425" anchor="ctr" anchorCtr="0">
            <a:noAutofit/>
          </a:bodyPr>
          <a:lstStyle>
            <a:lvl1pPr marL="8466" marR="0" lvl="0" indent="0" algn="r" rtl="0">
              <a:lnSpc>
                <a:spcPct val="200000"/>
              </a:lnSpc>
              <a:spcBef>
                <a:spcPts val="0"/>
              </a:spcBef>
              <a:spcAft>
                <a:spcPts val="0"/>
              </a:spcAft>
              <a:buClr>
                <a:srgbClr val="FFFFFF"/>
              </a:buClr>
              <a:buSzPts val="1400"/>
              <a:buFont typeface="Montserrat"/>
              <a:buNone/>
              <a:tabLst/>
              <a:defRPr sz="1600" b="0"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a:t>
            </a:r>
          </a:p>
        </p:txBody>
      </p:sp>
      <p:sp>
        <p:nvSpPr>
          <p:cNvPr id="8" name="Google Shape;27;p4">
            <a:extLst>
              <a:ext uri="{FF2B5EF4-FFF2-40B4-BE49-F238E27FC236}">
                <a16:creationId xmlns:a16="http://schemas.microsoft.com/office/drawing/2014/main" id="{28AEF8FB-C835-9247-82CF-F2C39310FC62}"/>
              </a:ext>
            </a:extLst>
          </p:cNvPr>
          <p:cNvSpPr txBox="1">
            <a:spLocks noGrp="1"/>
          </p:cNvSpPr>
          <p:nvPr>
            <p:ph type="body" idx="3" hasCustomPrompt="1"/>
          </p:nvPr>
        </p:nvSpPr>
        <p:spPr>
          <a:xfrm>
            <a:off x="9924966" y="1301767"/>
            <a:ext cx="1612900" cy="4458400"/>
          </a:xfrm>
          <a:prstGeom prst="rect">
            <a:avLst/>
          </a:prstGeom>
          <a:noFill/>
          <a:ln>
            <a:noFill/>
          </a:ln>
        </p:spPr>
        <p:txBody>
          <a:bodyPr spcFirstLastPara="1" wrap="square" lIns="91425" tIns="91425" rIns="91425" bIns="91425" anchor="ctr" anchorCtr="0">
            <a:noAutofit/>
          </a:bodyPr>
          <a:lstStyle>
            <a:lvl1pPr marL="186262" marR="0" lvl="0" indent="0" algn="l" rtl="0">
              <a:lnSpc>
                <a:spcPct val="200000"/>
              </a:lnSpc>
              <a:spcBef>
                <a:spcPts val="0"/>
              </a:spcBef>
              <a:spcAft>
                <a:spcPts val="0"/>
              </a:spcAft>
              <a:buClr>
                <a:srgbClr val="FFFFFF"/>
              </a:buClr>
              <a:buSzPts val="1400"/>
              <a:buFont typeface="Montserrat"/>
              <a:buNone/>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03</a:t>
            </a:r>
          </a:p>
          <a:p>
            <a:r>
              <a:rPr lang="fr-FR"/>
              <a:t>03</a:t>
            </a:r>
          </a:p>
          <a:p>
            <a:r>
              <a:rPr lang="fr-FR"/>
              <a:t>03</a:t>
            </a:r>
            <a:endParaRPr/>
          </a:p>
        </p:txBody>
      </p:sp>
      <p:pic>
        <p:nvPicPr>
          <p:cNvPr id="13" name="Google Shape;19;p3">
            <a:extLst>
              <a:ext uri="{FF2B5EF4-FFF2-40B4-BE49-F238E27FC236}">
                <a16:creationId xmlns:a16="http://schemas.microsoft.com/office/drawing/2014/main" id="{FBC63DC7-CD79-C74E-94A0-E2B0A86A8020}"/>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15" name="Google Shape;45;p44">
            <a:extLst>
              <a:ext uri="{FF2B5EF4-FFF2-40B4-BE49-F238E27FC236}">
                <a16:creationId xmlns:a16="http://schemas.microsoft.com/office/drawing/2014/main" id="{A584EF08-8235-9B4D-8E40-239A54EF66F8}"/>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7207231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4927783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bg2"/>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bg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5678203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6E0457C2-41CC-5142-B27A-5F996A80B512}"/>
              </a:ext>
            </a:extLst>
          </p:cNvPr>
          <p:cNvSpPr/>
          <p:nvPr/>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C6387D16-8785-004D-BD68-A65E1A434695}"/>
              </a:ext>
            </a:extLst>
          </p:cNvPr>
          <p:cNvSpPr/>
          <p:nvPr/>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2" name="Google Shape;69;p4">
            <a:extLst>
              <a:ext uri="{FF2B5EF4-FFF2-40B4-BE49-F238E27FC236}">
                <a16:creationId xmlns:a16="http://schemas.microsoft.com/office/drawing/2014/main" id="{C3CD2158-B55B-F880-D79B-54944910069F}"/>
              </a:ext>
            </a:extLst>
          </p:cNvPr>
          <p:cNvPicPr>
            <a:picLocks noChangeAspect="1"/>
          </p:cNvPicPr>
          <p:nvPr userDrawn="1"/>
        </p:nvPicPr>
        <p:blipFill>
          <a:blip r:embed="rId2"/>
          <a:srcRect/>
          <a:stretch>
            <a:fillRect/>
          </a:stretch>
        </p:blipFill>
        <p:spPr>
          <a:xfrm>
            <a:off x="10596838" y="130963"/>
            <a:ext cx="1238399" cy="588544"/>
          </a:xfrm>
          <a:prstGeom prst="rect">
            <a:avLst/>
          </a:prstGeom>
          <a:noFill/>
          <a:ln cap="flat">
            <a:noFill/>
          </a:ln>
        </p:spPr>
      </p:pic>
    </p:spTree>
    <p:extLst>
      <p:ext uri="{BB962C8B-B14F-4D97-AF65-F5344CB8AC3E}">
        <p14:creationId xmlns:p14="http://schemas.microsoft.com/office/powerpoint/2010/main" val="681405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lan Consulting 1">
    <p:spTree>
      <p:nvGrpSpPr>
        <p:cNvPr id="1" name=""/>
        <p:cNvGrpSpPr/>
        <p:nvPr/>
      </p:nvGrpSpPr>
      <p:grpSpPr>
        <a:xfrm>
          <a:off x="0" y="0"/>
          <a:ext cx="0" cy="0"/>
          <a:chOff x="0" y="0"/>
          <a:chExt cx="0" cy="0"/>
        </a:xfrm>
      </p:grpSpPr>
      <p:sp>
        <p:nvSpPr>
          <p:cNvPr id="11" name="Rectangle 15">
            <a:extLst>
              <a:ext uri="{FF2B5EF4-FFF2-40B4-BE49-F238E27FC236}">
                <a16:creationId xmlns:a16="http://schemas.microsoft.com/office/drawing/2014/main" id="{1BC07B77-E986-4C78-8491-F6A437647F08}"/>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7" name="Google Shape;147;p23">
            <a:extLst>
              <a:ext uri="{FF2B5EF4-FFF2-40B4-BE49-F238E27FC236}">
                <a16:creationId xmlns:a16="http://schemas.microsoft.com/office/drawing/2014/main" id="{CCEA6D3D-72DF-4E43-B9D3-F30B8A251970}"/>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398304" y="476496"/>
            <a:ext cx="3038797" cy="762000"/>
          </a:xfrm>
          <a:prstGeom prst="rect">
            <a:avLst/>
          </a:prstGeom>
          <a:noFill/>
          <a:ln>
            <a:noFill/>
          </a:ln>
        </p:spPr>
      </p:pic>
      <p:sp>
        <p:nvSpPr>
          <p:cNvPr id="15" name="Rectangle 15">
            <a:extLst>
              <a:ext uri="{FF2B5EF4-FFF2-40B4-BE49-F238E27FC236}">
                <a16:creationId xmlns:a16="http://schemas.microsoft.com/office/drawing/2014/main" id="{233ED570-848C-47A2-99DC-47D5AD6F423E}"/>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5CD58951-E686-46FA-8D77-7337D9341579}"/>
              </a:ext>
            </a:extLst>
          </p:cNvPr>
          <p:cNvSpPr>
            <a:spLocks noGrp="1"/>
          </p:cNvSpPr>
          <p:nvPr>
            <p:ph sz="quarter" idx="12"/>
          </p:nvPr>
        </p:nvSpPr>
        <p:spPr>
          <a:xfrm>
            <a:off x="4165603" y="772055"/>
            <a:ext cx="7654923"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6" name="ZoneTexte 15">
            <a:extLst>
              <a:ext uri="{FF2B5EF4-FFF2-40B4-BE49-F238E27FC236}">
                <a16:creationId xmlns:a16="http://schemas.microsoft.com/office/drawing/2014/main" id="{58977A8E-B2FD-410C-87AF-91B0EE6957B6}"/>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EAB1BC98-851D-48EB-A20D-A45A237416E0}"/>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1" name="Espace réservé du pied de page 24">
            <a:extLst>
              <a:ext uri="{FF2B5EF4-FFF2-40B4-BE49-F238E27FC236}">
                <a16:creationId xmlns:a16="http://schemas.microsoft.com/office/drawing/2014/main" id="{BB71659A-C7A5-4E2E-85DD-B0412AFBD19D}"/>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5" name="Connecteur droit 24">
            <a:extLst>
              <a:ext uri="{FF2B5EF4-FFF2-40B4-BE49-F238E27FC236}">
                <a16:creationId xmlns:a16="http://schemas.microsoft.com/office/drawing/2014/main" id="{4C3F8030-1902-4DA5-964D-682B5BD828B8}"/>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Espace réservé du texte 9">
            <a:extLst>
              <a:ext uri="{FF2B5EF4-FFF2-40B4-BE49-F238E27FC236}">
                <a16:creationId xmlns:a16="http://schemas.microsoft.com/office/drawing/2014/main" id="{30B5B18E-7002-4308-A701-FE91402C9F92}"/>
              </a:ext>
            </a:extLst>
          </p:cNvPr>
          <p:cNvSpPr>
            <a:spLocks noGrp="1"/>
          </p:cNvSpPr>
          <p:nvPr>
            <p:ph type="body" sz="quarter" idx="11"/>
          </p:nvPr>
        </p:nvSpPr>
        <p:spPr>
          <a:xfrm>
            <a:off x="444501" y="2513170"/>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31935344"/>
      </p:ext>
    </p:extLst>
  </p:cSld>
  <p:clrMapOvr>
    <a:masterClrMapping/>
  </p:clrMapOvr>
  <p:extLst>
    <p:ext uri="{DCECCB84-F9BA-43D5-87BE-67443E8EF086}">
      <p15:sldGuideLst xmlns:p15="http://schemas.microsoft.com/office/powerpoint/2012/main">
        <p15:guide id="1" orient="horz" pos="4042">
          <p15:clr>
            <a:srgbClr val="FBAE40"/>
          </p15:clr>
        </p15:guide>
        <p15:guide id="2" pos="2615">
          <p15:clr>
            <a:srgbClr val="FBAE40"/>
          </p15:clr>
        </p15:guide>
        <p15:guide id="3" pos="7446">
          <p15:clr>
            <a:srgbClr val="FBAE40"/>
          </p15:clr>
        </p15:guide>
        <p15:guide id="4" orient="horz" pos="12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20566204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77949376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tx2"/>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94979566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02 // Texte">
    <p:spTree>
      <p:nvGrpSpPr>
        <p:cNvPr id="1" name=""/>
        <p:cNvGrpSpPr/>
        <p:nvPr/>
      </p:nvGrpSpPr>
      <p:grpSpPr>
        <a:xfrm>
          <a:off x="0" y="0"/>
          <a:ext cx="0" cy="0"/>
          <a:chOff x="0" y="0"/>
          <a:chExt cx="0" cy="0"/>
        </a:xfrm>
      </p:grpSpPr>
      <p:sp>
        <p:nvSpPr>
          <p:cNvPr id="15" name="Google Shape;44;p44">
            <a:extLst>
              <a:ext uri="{FF2B5EF4-FFF2-40B4-BE49-F238E27FC236}">
                <a16:creationId xmlns:a16="http://schemas.microsoft.com/office/drawing/2014/main" id="{0CB90F68-1585-B042-BFBC-55A9BADD95EB}"/>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5" name="Google Shape;209;p35">
            <a:extLst>
              <a:ext uri="{FF2B5EF4-FFF2-40B4-BE49-F238E27FC236}">
                <a16:creationId xmlns:a16="http://schemas.microsoft.com/office/drawing/2014/main" id="{0EA30A5C-C2CA-91B2-8469-BC105218E2B8}"/>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6" name="Google Shape;210;p35">
            <a:extLst>
              <a:ext uri="{FF2B5EF4-FFF2-40B4-BE49-F238E27FC236}">
                <a16:creationId xmlns:a16="http://schemas.microsoft.com/office/drawing/2014/main" id="{9DF3BF0B-90AB-F252-AEA8-79F7245FAB1D}"/>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0" name="Google Shape;86;p14">
            <a:extLst>
              <a:ext uri="{FF2B5EF4-FFF2-40B4-BE49-F238E27FC236}">
                <a16:creationId xmlns:a16="http://schemas.microsoft.com/office/drawing/2014/main" id="{8D2A8D92-3803-4A45-149B-75F9353EE41F}"/>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pic>
        <p:nvPicPr>
          <p:cNvPr id="12" name="Google Shape;19;p3">
            <a:extLst>
              <a:ext uri="{FF2B5EF4-FFF2-40B4-BE49-F238E27FC236}">
                <a16:creationId xmlns:a16="http://schemas.microsoft.com/office/drawing/2014/main" id="{A38D23D1-1B97-630F-4A35-0B2706988A31}"/>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4922838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26037191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4101371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03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2C66A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2C66A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91862499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A6BBDC4-EF1A-814B-923C-5B0B25392A8D}"/>
              </a:ext>
            </a:extLst>
          </p:cNvPr>
          <p:cNvSpPr/>
          <p:nvPr/>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pic>
        <p:nvPicPr>
          <p:cNvPr id="13" name="Google Shape;37;p43">
            <a:extLst>
              <a:ext uri="{FF2B5EF4-FFF2-40B4-BE49-F238E27FC236}">
                <a16:creationId xmlns:a16="http://schemas.microsoft.com/office/drawing/2014/main" id="{8C266AD6-9866-5448-99FE-6B63DA9B5860}"/>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55559774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03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2706764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endParaRP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7383103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lan Consulting 1">
    <p:spTree>
      <p:nvGrpSpPr>
        <p:cNvPr id="1" name=""/>
        <p:cNvGrpSpPr/>
        <p:nvPr/>
      </p:nvGrpSpPr>
      <p:grpSpPr>
        <a:xfrm>
          <a:off x="0" y="0"/>
          <a:ext cx="0" cy="0"/>
          <a:chOff x="0" y="0"/>
          <a:chExt cx="0" cy="0"/>
        </a:xfrm>
      </p:grpSpPr>
      <p:sp>
        <p:nvSpPr>
          <p:cNvPr id="11" name="Rectangle 15">
            <a:extLst>
              <a:ext uri="{FF2B5EF4-FFF2-40B4-BE49-F238E27FC236}">
                <a16:creationId xmlns:a16="http://schemas.microsoft.com/office/drawing/2014/main" id="{1BC07B77-E986-4C78-8491-F6A437647F08}"/>
              </a:ext>
            </a:extLst>
          </p:cNvPr>
          <p:cNvSpPr/>
          <p:nvPr userDrawn="1"/>
        </p:nvSpPr>
        <p:spPr>
          <a:xfrm flipV="1">
            <a:off x="0" y="0"/>
            <a:ext cx="2556933"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Rectangle 15">
            <a:extLst>
              <a:ext uri="{FF2B5EF4-FFF2-40B4-BE49-F238E27FC236}">
                <a16:creationId xmlns:a16="http://schemas.microsoft.com/office/drawing/2014/main" id="{233ED570-848C-47A2-99DC-47D5AD6F423E}"/>
              </a:ext>
            </a:extLst>
          </p:cNvPr>
          <p:cNvSpPr/>
          <p:nvPr userDrawn="1"/>
        </p:nvSpPr>
        <p:spPr>
          <a:xfrm>
            <a:off x="0" y="1229447"/>
            <a:ext cx="2556933" cy="562855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5CD58951-E686-46FA-8D77-7337D9341579}"/>
              </a:ext>
            </a:extLst>
          </p:cNvPr>
          <p:cNvSpPr>
            <a:spLocks noGrp="1"/>
          </p:cNvSpPr>
          <p:nvPr>
            <p:ph sz="quarter" idx="12"/>
          </p:nvPr>
        </p:nvSpPr>
        <p:spPr>
          <a:xfrm>
            <a:off x="4165604" y="772055"/>
            <a:ext cx="7654923"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6" name="ZoneTexte 15">
            <a:extLst>
              <a:ext uri="{FF2B5EF4-FFF2-40B4-BE49-F238E27FC236}">
                <a16:creationId xmlns:a16="http://schemas.microsoft.com/office/drawing/2014/main" id="{58977A8E-B2FD-410C-87AF-91B0EE6957B6}"/>
              </a:ext>
            </a:extLst>
          </p:cNvPr>
          <p:cNvSpPr txBox="1"/>
          <p:nvPr userDrawn="1"/>
        </p:nvSpPr>
        <p:spPr>
          <a:xfrm>
            <a:off x="11552653" y="6557762"/>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EAB1BC98-851D-48EB-A20D-A45A237416E0}"/>
              </a:ext>
            </a:extLst>
          </p:cNvPr>
          <p:cNvSpPr txBox="1">
            <a:spLocks/>
          </p:cNvSpPr>
          <p:nvPr userDrawn="1"/>
        </p:nvSpPr>
        <p:spPr>
          <a:xfrm>
            <a:off x="444502"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1" name="Espace réservé du pied de page 24">
            <a:extLst>
              <a:ext uri="{FF2B5EF4-FFF2-40B4-BE49-F238E27FC236}">
                <a16:creationId xmlns:a16="http://schemas.microsoft.com/office/drawing/2014/main" id="{BB71659A-C7A5-4E2E-85DD-B0412AFBD19D}"/>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5" name="Connecteur droit 24">
            <a:extLst>
              <a:ext uri="{FF2B5EF4-FFF2-40B4-BE49-F238E27FC236}">
                <a16:creationId xmlns:a16="http://schemas.microsoft.com/office/drawing/2014/main" id="{4C3F8030-1902-4DA5-964D-682B5BD828B8}"/>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Espace réservé du texte 9">
            <a:extLst>
              <a:ext uri="{FF2B5EF4-FFF2-40B4-BE49-F238E27FC236}">
                <a16:creationId xmlns:a16="http://schemas.microsoft.com/office/drawing/2014/main" id="{30B5B18E-7002-4308-A701-FE91402C9F92}"/>
              </a:ext>
            </a:extLst>
          </p:cNvPr>
          <p:cNvSpPr>
            <a:spLocks noGrp="1"/>
          </p:cNvSpPr>
          <p:nvPr>
            <p:ph type="body" sz="quarter" idx="11"/>
          </p:nvPr>
        </p:nvSpPr>
        <p:spPr>
          <a:xfrm>
            <a:off x="444502" y="2513171"/>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0" indent="-152380">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4209854831"/>
      </p:ext>
    </p:extLst>
  </p:cSld>
  <p:clrMapOvr>
    <a:masterClrMapping/>
  </p:clrMapOvr>
  <p:extLst>
    <p:ext uri="{DCECCB84-F9BA-43D5-87BE-67443E8EF086}">
      <p15:sldGuideLst xmlns:p15="http://schemas.microsoft.com/office/powerpoint/2012/main">
        <p15:guide id="1" orient="horz" pos="4042">
          <p15:clr>
            <a:srgbClr val="FBAE40"/>
          </p15:clr>
        </p15:guide>
        <p15:guide id="2" pos="2615">
          <p15:clr>
            <a:srgbClr val="FBAE40"/>
          </p15:clr>
        </p15:guide>
        <p15:guide id="3" pos="7446">
          <p15:clr>
            <a:srgbClr val="FBAE40"/>
          </p15:clr>
        </p15:guide>
        <p15:guide id="4" orient="horz" pos="125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lan Consulting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6" name="Espace réservé du titre 22">
            <a:extLst>
              <a:ext uri="{FF2B5EF4-FFF2-40B4-BE49-F238E27FC236}">
                <a16:creationId xmlns:a16="http://schemas.microsoft.com/office/drawing/2014/main" id="{CCF31706-E145-4E7D-B83C-C0334C8EED05}"/>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cxnSp>
        <p:nvCxnSpPr>
          <p:cNvPr id="17" name="Connecteur droit 16">
            <a:extLst>
              <a:ext uri="{FF2B5EF4-FFF2-40B4-BE49-F238E27FC236}">
                <a16:creationId xmlns:a16="http://schemas.microsoft.com/office/drawing/2014/main" id="{46926131-99BA-4327-A389-980DD3B6B787}"/>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Rectangle 15">
            <a:extLst>
              <a:ext uri="{FF2B5EF4-FFF2-40B4-BE49-F238E27FC236}">
                <a16:creationId xmlns:a16="http://schemas.microsoft.com/office/drawing/2014/main" id="{CC75F318-9EB5-4967-A50E-1FF06DC7DAB0}"/>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9" name="Rectangle 15">
            <a:extLst>
              <a:ext uri="{FF2B5EF4-FFF2-40B4-BE49-F238E27FC236}">
                <a16:creationId xmlns:a16="http://schemas.microsoft.com/office/drawing/2014/main" id="{6C2316CE-A618-44A3-AFED-4D77145EAB3D}"/>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Espace réservé du texte 9">
            <a:extLst>
              <a:ext uri="{FF2B5EF4-FFF2-40B4-BE49-F238E27FC236}">
                <a16:creationId xmlns:a16="http://schemas.microsoft.com/office/drawing/2014/main" id="{8B6ED691-9351-4E2A-B074-B2DCE2B5E46C}"/>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5" name="Espace réservé du texte 9">
            <a:extLst>
              <a:ext uri="{FF2B5EF4-FFF2-40B4-BE49-F238E27FC236}">
                <a16:creationId xmlns:a16="http://schemas.microsoft.com/office/drawing/2014/main" id="{741C5B27-1EB9-4430-8059-B4F6EE8B97FB}"/>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7" name="Espace réservé du texte 9">
            <a:extLst>
              <a:ext uri="{FF2B5EF4-FFF2-40B4-BE49-F238E27FC236}">
                <a16:creationId xmlns:a16="http://schemas.microsoft.com/office/drawing/2014/main" id="{C99D7AC0-CE46-4D7A-A6A9-38473FF5A907}"/>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4" name="ZoneTexte 33">
            <a:extLst>
              <a:ext uri="{FF2B5EF4-FFF2-40B4-BE49-F238E27FC236}">
                <a16:creationId xmlns:a16="http://schemas.microsoft.com/office/drawing/2014/main" id="{D7FC11EA-F0DD-4CBB-A1FD-1462B3F7733A}"/>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5" name="Espace réservé du pied de page 24">
            <a:extLst>
              <a:ext uri="{FF2B5EF4-FFF2-40B4-BE49-F238E27FC236}">
                <a16:creationId xmlns:a16="http://schemas.microsoft.com/office/drawing/2014/main" id="{D8DA1BC9-CA91-4DDC-861A-15580C0A33D0}"/>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37" name="Espace réservé du pied de page 24">
            <a:extLst>
              <a:ext uri="{FF2B5EF4-FFF2-40B4-BE49-F238E27FC236}">
                <a16:creationId xmlns:a16="http://schemas.microsoft.com/office/drawing/2014/main" id="{9E9D6FEF-A3C6-4381-B426-ACCA29FAAD73}"/>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44" name="Image 43">
            <a:extLst>
              <a:ext uri="{FF2B5EF4-FFF2-40B4-BE49-F238E27FC236}">
                <a16:creationId xmlns:a16="http://schemas.microsoft.com/office/drawing/2014/main" id="{56EB7535-15AD-457F-9699-6EA148F7926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54513" y="322411"/>
            <a:ext cx="1229681" cy="587219"/>
          </a:xfrm>
          <a:prstGeom prst="rect">
            <a:avLst/>
          </a:prstGeom>
        </p:spPr>
      </p:pic>
    </p:spTree>
    <p:extLst>
      <p:ext uri="{BB962C8B-B14F-4D97-AF65-F5344CB8AC3E}">
        <p14:creationId xmlns:p14="http://schemas.microsoft.com/office/powerpoint/2010/main" val="3459617376"/>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04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F7A9C"/>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F7A9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6179857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433903A-E5F0-0948-ACA0-B9D5E93F8D5A}"/>
              </a:ext>
            </a:extLst>
          </p:cNvPr>
          <p:cNvSpPr/>
          <p:nvPr/>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pic>
        <p:nvPicPr>
          <p:cNvPr id="13" name="Google Shape;37;p43">
            <a:extLst>
              <a:ext uri="{FF2B5EF4-FFF2-40B4-BE49-F238E27FC236}">
                <a16:creationId xmlns:a16="http://schemas.microsoft.com/office/drawing/2014/main" id="{92FAC32F-E1B2-1D49-BADB-A8EA08E1EBE3}"/>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81276937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04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5921645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17751035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05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9829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9829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1182836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E4CDAF4-13CB-6142-89DF-1E9558928E33}"/>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17431369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1914324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5384612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06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0E8A8C"/>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0E8A8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75996708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E4CDAF4-13CB-6142-89DF-1E9558928E33}"/>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1480015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lan Consulting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AD9143-7BF5-49DC-B830-A5B407B4008D}"/>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23" name="Image 22">
            <a:extLst>
              <a:ext uri="{FF2B5EF4-FFF2-40B4-BE49-F238E27FC236}">
                <a16:creationId xmlns:a16="http://schemas.microsoft.com/office/drawing/2014/main" id="{1253CA35-52B0-40B6-8A31-E972587A65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554513" y="322411"/>
            <a:ext cx="1229681" cy="587219"/>
          </a:xfrm>
          <a:prstGeom prst="rect">
            <a:avLst/>
          </a:prstGeom>
        </p:spPr>
      </p:pic>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2" name="ZoneTexte 11">
            <a:extLst>
              <a:ext uri="{FF2B5EF4-FFF2-40B4-BE49-F238E27FC236}">
                <a16:creationId xmlns:a16="http://schemas.microsoft.com/office/drawing/2014/main" id="{86344C2C-0907-4756-8E85-17EC70A94238}"/>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9" name="Espace réservé du pied de page 24">
            <a:extLst>
              <a:ext uri="{FF2B5EF4-FFF2-40B4-BE49-F238E27FC236}">
                <a16:creationId xmlns:a16="http://schemas.microsoft.com/office/drawing/2014/main" id="{04509BA1-B0E2-430C-AC5B-EE1EA642C251}"/>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871FD112-A2A8-46F3-A2A7-B766050BE5AB}"/>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28" name="Espace réservé du texte 9">
            <a:extLst>
              <a:ext uri="{FF2B5EF4-FFF2-40B4-BE49-F238E27FC236}">
                <a16:creationId xmlns:a16="http://schemas.microsoft.com/office/drawing/2014/main" id="{AD76F8E0-E424-4BC6-AA6F-D2B3C34DFAAB}"/>
              </a:ext>
            </a:extLst>
          </p:cNvPr>
          <p:cNvSpPr>
            <a:spLocks noGrp="1"/>
          </p:cNvSpPr>
          <p:nvPr>
            <p:ph type="body" sz="quarter" idx="11" hasCustomPrompt="1"/>
          </p:nvPr>
        </p:nvSpPr>
        <p:spPr>
          <a:xfrm>
            <a:off x="444500" y="2016655"/>
            <a:ext cx="1136623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651244439"/>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90001355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4599242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07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49183"/>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49183"/>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9600632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E4CDAF4-13CB-6142-89DF-1E9558928E33}"/>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376037991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30775467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34104718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08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2997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p:nvSpPr>
        <p:spPr>
          <a:xfrm>
            <a:off x="7661933" y="383600"/>
            <a:ext cx="6090800" cy="6090800"/>
          </a:xfrm>
          <a:prstGeom prst="donut">
            <a:avLst>
              <a:gd name="adj" fmla="val 13694"/>
            </a:avLst>
          </a:pr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3624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2997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419315618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E4CDAF4-13CB-6142-89DF-1E9558928E33}"/>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422153151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6834846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2594141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lan Labs 1">
    <p:spTree>
      <p:nvGrpSpPr>
        <p:cNvPr id="1" name=""/>
        <p:cNvGrpSpPr/>
        <p:nvPr/>
      </p:nvGrpSpPr>
      <p:grpSpPr>
        <a:xfrm>
          <a:off x="0" y="0"/>
          <a:ext cx="0" cy="0"/>
          <a:chOff x="0" y="0"/>
          <a:chExt cx="0" cy="0"/>
        </a:xfrm>
      </p:grpSpPr>
      <p:sp>
        <p:nvSpPr>
          <p:cNvPr id="14" name="Rectangle 15">
            <a:extLst>
              <a:ext uri="{FF2B5EF4-FFF2-40B4-BE49-F238E27FC236}">
                <a16:creationId xmlns:a16="http://schemas.microsoft.com/office/drawing/2014/main" id="{2FFCE354-0668-42CC-B4A4-D78B27AF6904}"/>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Rectangle 15">
            <a:extLst>
              <a:ext uri="{FF2B5EF4-FFF2-40B4-BE49-F238E27FC236}">
                <a16:creationId xmlns:a16="http://schemas.microsoft.com/office/drawing/2014/main" id="{233ED570-848C-47A2-99DC-47D5AD6F423E}"/>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68E37DEE-43DE-419E-8F87-4D81168353AC}"/>
              </a:ext>
            </a:extLst>
          </p:cNvPr>
          <p:cNvSpPr>
            <a:spLocks noGrp="1"/>
          </p:cNvSpPr>
          <p:nvPr>
            <p:ph sz="quarter" idx="12"/>
          </p:nvPr>
        </p:nvSpPr>
        <p:spPr>
          <a:xfrm>
            <a:off x="4165600" y="772055"/>
            <a:ext cx="7645135" cy="664284"/>
          </a:xfrm>
          <a:prstGeom prst="rect">
            <a:avLst/>
          </a:prstGeom>
        </p:spPr>
        <p:txBody>
          <a:bodyPr wrap="square" lIns="0" tIns="0" rIns="0" bIns="0">
            <a:spAutoFit/>
          </a:bodyPr>
          <a:lstStyle>
            <a:lvl1pPr>
              <a:defRPr sz="1200">
                <a:solidFill>
                  <a:schemeClr val="accent4"/>
                </a:solidFill>
                <a:latin typeface="Montserrat" panose="00000500000000000000" pitchFamily="2" charset="0"/>
              </a:defRPr>
            </a:lvl1pPr>
            <a:lvl2pPr>
              <a:defRPr sz="1100">
                <a:latin typeface="Montserrat" panose="00000500000000000000" pitchFamily="2" charset="0"/>
              </a:defRPr>
            </a:lvl2pPr>
            <a:lvl3pPr>
              <a:buClr>
                <a:schemeClr val="accent4"/>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8" name="ZoneTexte 17">
            <a:extLst>
              <a:ext uri="{FF2B5EF4-FFF2-40B4-BE49-F238E27FC236}">
                <a16:creationId xmlns:a16="http://schemas.microsoft.com/office/drawing/2014/main" id="{CF1B196E-6099-48D6-BB71-933023401365}"/>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3063DFAC-4686-4BB0-A148-C8ED88EF9CF1}"/>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2BEDDAC4-5308-42A4-9CE9-CE18526C3151}"/>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4" name="Connecteur droit 23">
            <a:extLst>
              <a:ext uri="{FF2B5EF4-FFF2-40B4-BE49-F238E27FC236}">
                <a16:creationId xmlns:a16="http://schemas.microsoft.com/office/drawing/2014/main" id="{AFCCF51B-52B3-41BC-8A12-3A3D95ADF809}"/>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9">
            <a:extLst>
              <a:ext uri="{FF2B5EF4-FFF2-40B4-BE49-F238E27FC236}">
                <a16:creationId xmlns:a16="http://schemas.microsoft.com/office/drawing/2014/main" id="{1D08CFD4-3D20-4F17-95F2-534F95255AF0}"/>
              </a:ext>
            </a:extLst>
          </p:cNvPr>
          <p:cNvSpPr>
            <a:spLocks noGrp="1"/>
          </p:cNvSpPr>
          <p:nvPr>
            <p:ph type="body" sz="quarter" idx="11"/>
          </p:nvPr>
        </p:nvSpPr>
        <p:spPr>
          <a:xfrm>
            <a:off x="444501" y="2513170"/>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pic>
        <p:nvPicPr>
          <p:cNvPr id="12" name="Google Shape;147;p23">
            <a:extLst>
              <a:ext uri="{FF2B5EF4-FFF2-40B4-BE49-F238E27FC236}">
                <a16:creationId xmlns:a16="http://schemas.microsoft.com/office/drawing/2014/main" id="{0C2C1EC6-D8B4-414F-B92E-1F2AC4CD3119}"/>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398304" y="476496"/>
            <a:ext cx="3038797" cy="762000"/>
          </a:xfrm>
          <a:prstGeom prst="rect">
            <a:avLst/>
          </a:prstGeom>
          <a:noFill/>
          <a:ln>
            <a:noFill/>
          </a:ln>
        </p:spPr>
      </p:pic>
    </p:spTree>
    <p:extLst>
      <p:ext uri="{BB962C8B-B14F-4D97-AF65-F5344CB8AC3E}">
        <p14:creationId xmlns:p14="http://schemas.microsoft.com/office/powerpoint/2010/main" val="2238381739"/>
      </p:ext>
    </p:extLst>
  </p:cSld>
  <p:clrMapOvr>
    <a:masterClrMapping/>
  </p:clrMapOvr>
  <p:extLst>
    <p:ext uri="{DCECCB84-F9BA-43D5-87BE-67443E8EF086}">
      <p15:sldGuideLst xmlns:p15="http://schemas.microsoft.com/office/powerpoint/2012/main">
        <p15:guide id="1" orient="horz" pos="1253">
          <p15:clr>
            <a:srgbClr val="FBAE40"/>
          </p15:clr>
        </p15:guide>
        <p15:guide id="2" pos="2638">
          <p15:clr>
            <a:srgbClr val="FBAE40"/>
          </p15:clr>
        </p15:guide>
        <p15:guide id="3" pos="7446">
          <p15:clr>
            <a:srgbClr val="FBAE40"/>
          </p15:clr>
        </p15:guide>
        <p15:guide id="4" orient="horz" pos="4042">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09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p:nvSpPr>
        <p:spPr>
          <a:xfrm>
            <a:off x="7661933" y="383600"/>
            <a:ext cx="6090800" cy="6090800"/>
          </a:xfrm>
          <a:prstGeom prst="donut">
            <a:avLst>
              <a:gd name="adj" fmla="val 13694"/>
            </a:avLst>
          </a:pr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accent5"/>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3624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accent5"/>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198087794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E4CDAF4-13CB-6142-89DF-1E9558928E33}"/>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15292236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3126350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419342D1-BB74-254C-9BAF-43FCFE59E90D}"/>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59313351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0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p:nvSpPr>
        <p:spPr>
          <a:xfrm>
            <a:off x="7661933" y="383600"/>
            <a:ext cx="6090800" cy="6090800"/>
          </a:xfrm>
          <a:prstGeom prst="donut">
            <a:avLst>
              <a:gd name="adj" fmla="val 13694"/>
            </a:avLst>
          </a:pr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3281FF"/>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3624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3281FF"/>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7293339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3B908EF-149A-554C-A993-CBE7555AC178}"/>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10561200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02216854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A71BCD74-1B69-AE4E-99A2-ECD0645DDC52}"/>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6D6DA7F4-4C49-8A49-ABA2-24958CA0C84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79047601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1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p:nvSpPr>
        <p:spPr>
          <a:xfrm>
            <a:off x="7661933" y="383600"/>
            <a:ext cx="6090800" cy="6090800"/>
          </a:xfrm>
          <a:prstGeom prst="donut">
            <a:avLst>
              <a:gd name="adj" fmla="val 13694"/>
            </a:avLst>
          </a:pr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33BFF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3624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33BFF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45292436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3B908EF-149A-554C-A993-CBE7555AC178}"/>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4154773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lan Lab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Espace réservé du titre 22">
            <a:extLst>
              <a:ext uri="{FF2B5EF4-FFF2-40B4-BE49-F238E27FC236}">
                <a16:creationId xmlns:a16="http://schemas.microsoft.com/office/drawing/2014/main" id="{BD9629CE-B42E-4B0B-ACFC-152056E29116}"/>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4"/>
                </a:solidFill>
                <a:latin typeface="Montserrat" panose="00000500000000000000" pitchFamily="2" charset="0"/>
              </a:defRPr>
            </a:lvl1pPr>
          </a:lstStyle>
          <a:p>
            <a:r>
              <a:rPr lang="fr-FR"/>
              <a:t>MODIFIEZ LE STYLE DU TITRE</a:t>
            </a:r>
            <a:endParaRPr lang="en-US"/>
          </a:p>
        </p:txBody>
      </p:sp>
      <p:sp>
        <p:nvSpPr>
          <p:cNvPr id="20" name="Rectangle 15">
            <a:extLst>
              <a:ext uri="{FF2B5EF4-FFF2-40B4-BE49-F238E27FC236}">
                <a16:creationId xmlns:a16="http://schemas.microsoft.com/office/drawing/2014/main" id="{007F9C21-F11C-4FC3-9163-9FC3C3FC0A35}"/>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6FAF1E48-DDFA-48EF-8E38-2C8CE3C6A4C5}"/>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2" name="Espace réservé du texte 9">
            <a:extLst>
              <a:ext uri="{FF2B5EF4-FFF2-40B4-BE49-F238E27FC236}">
                <a16:creationId xmlns:a16="http://schemas.microsoft.com/office/drawing/2014/main" id="{E2AA7746-CEDD-43D4-AC66-F0EAA60AC77B}"/>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AA2DE3BE-A03C-4012-8E68-708F64EFEA62}"/>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6" name="Espace réservé du texte 9">
            <a:extLst>
              <a:ext uri="{FF2B5EF4-FFF2-40B4-BE49-F238E27FC236}">
                <a16:creationId xmlns:a16="http://schemas.microsoft.com/office/drawing/2014/main" id="{4ED25BD3-AA3F-4096-B897-39BE2607CE23}"/>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0" name="ZoneTexte 29">
            <a:extLst>
              <a:ext uri="{FF2B5EF4-FFF2-40B4-BE49-F238E27FC236}">
                <a16:creationId xmlns:a16="http://schemas.microsoft.com/office/drawing/2014/main" id="{6FDA4914-796D-46C8-8388-9328C19C22BD}"/>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1" name="Espace réservé du pied de page 24">
            <a:extLst>
              <a:ext uri="{FF2B5EF4-FFF2-40B4-BE49-F238E27FC236}">
                <a16:creationId xmlns:a16="http://schemas.microsoft.com/office/drawing/2014/main" id="{2B28B7BE-142C-4F43-B8ED-D805773B9E4B}"/>
              </a:ext>
            </a:extLst>
          </p:cNvPr>
          <p:cNvSpPr txBox="1">
            <a:spLocks/>
          </p:cNvSpPr>
          <p:nvPr userDrawn="1"/>
        </p:nvSpPr>
        <p:spPr>
          <a:xfrm>
            <a:off x="444502" y="6547499"/>
            <a:ext cx="1279838" cy="184666"/>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a:solidFill>
                  <a:schemeClr val="tx2"/>
                </a:solidFill>
                <a:latin typeface="Calibri" panose="020F0502020204030204" pitchFamily="34" charset="0"/>
                <a:cs typeface="Calibri" panose="020F0502020204030204" pitchFamily="34" charset="0"/>
              </a:rPr>
              <a:t>Kereis - </a:t>
            </a:r>
            <a:r>
              <a:rPr lang="fr-FR" sz="1200" noProof="0">
                <a:solidFill>
                  <a:schemeClr val="tx2"/>
                </a:solidFill>
                <a:latin typeface="Calibri" panose="020F0502020204030204" pitchFamily="34" charset="0"/>
                <a:cs typeface="Calibri" panose="020F0502020204030204" pitchFamily="34" charset="0"/>
              </a:rPr>
              <a:t>Janvier 2024</a:t>
            </a:r>
            <a:endParaRPr lang="en-US" sz="1200">
              <a:solidFill>
                <a:schemeClr val="tx2"/>
              </a:solidFill>
              <a:latin typeface="Calibri" panose="020F0502020204030204" pitchFamily="34" charset="0"/>
              <a:cs typeface="Calibri" panose="020F0502020204030204" pitchFamily="34" charset="0"/>
            </a:endParaRPr>
          </a:p>
        </p:txBody>
      </p:sp>
      <p:sp>
        <p:nvSpPr>
          <p:cNvPr id="32" name="Espace réservé du pied de page 24">
            <a:extLst>
              <a:ext uri="{FF2B5EF4-FFF2-40B4-BE49-F238E27FC236}">
                <a16:creationId xmlns:a16="http://schemas.microsoft.com/office/drawing/2014/main" id="{4F0406F3-FA02-442B-A1A0-937E88173C40}"/>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2897254080"/>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09827460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4" name="Google Shape;19;p3">
            <a:extLst>
              <a:ext uri="{FF2B5EF4-FFF2-40B4-BE49-F238E27FC236}">
                <a16:creationId xmlns:a16="http://schemas.microsoft.com/office/drawing/2014/main" id="{A71BCD74-1B69-AE4E-99A2-ECD0645DDC52}"/>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6D6DA7F4-4C49-8A49-ABA2-24958CA0C84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35626196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2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p:nvSpPr>
        <p:spPr>
          <a:xfrm>
            <a:off x="7661933" y="383600"/>
            <a:ext cx="6090800" cy="6090800"/>
          </a:xfrm>
          <a:prstGeom prst="donut">
            <a:avLst>
              <a:gd name="adj" fmla="val 13694"/>
            </a:avLst>
          </a:pr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accent4"/>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3624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accent4"/>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279569972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8" name="Google Shape;37;p43">
            <a:extLst>
              <a:ext uri="{FF2B5EF4-FFF2-40B4-BE49-F238E27FC236}">
                <a16:creationId xmlns:a16="http://schemas.microsoft.com/office/drawing/2014/main" id="{E3B908EF-149A-554C-A993-CBE7555AC178}"/>
              </a:ext>
            </a:extLst>
          </p:cNvPr>
          <p:cNvPicPr preferRelativeResize="0"/>
          <p:nvPr/>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spTree>
    <p:extLst>
      <p:ext uri="{BB962C8B-B14F-4D97-AF65-F5344CB8AC3E}">
        <p14:creationId xmlns:p14="http://schemas.microsoft.com/office/powerpoint/2010/main" val="177359913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56900749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Cloture">
  <p:cSld name="Cloture">
    <p:spTree>
      <p:nvGrpSpPr>
        <p:cNvPr id="1" name="Shape 273"/>
        <p:cNvGrpSpPr/>
        <p:nvPr/>
      </p:nvGrpSpPr>
      <p:grpSpPr>
        <a:xfrm>
          <a:off x="0" y="0"/>
          <a:ext cx="0" cy="0"/>
          <a:chOff x="0" y="0"/>
          <a:chExt cx="0" cy="0"/>
        </a:xfrm>
      </p:grpSpPr>
      <p:pic>
        <p:nvPicPr>
          <p:cNvPr id="274" name="Google Shape;274;p66"/>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275" name="Google Shape;275;p66"/>
          <p:cNvPicPr preferRelativeResize="0"/>
          <p:nvPr/>
        </p:nvPicPr>
        <p:blipFill rotWithShape="1">
          <a:blip r:embed="rId3" cstate="screen">
            <a:alphaModFix/>
            <a:extLst>
              <a:ext uri="{28A0092B-C50C-407E-A947-70E740481C1C}">
                <a14:useLocalDpi xmlns:a14="http://schemas.microsoft.com/office/drawing/2010/main"/>
              </a:ext>
            </a:extLst>
          </a:blip>
          <a:srcRect l="11872"/>
          <a:stretch/>
        </p:blipFill>
        <p:spPr>
          <a:xfrm>
            <a:off x="-1" y="-1"/>
            <a:ext cx="10652391" cy="6858000"/>
          </a:xfrm>
          <a:prstGeom prst="rect">
            <a:avLst/>
          </a:prstGeom>
          <a:noFill/>
          <a:ln>
            <a:noFill/>
          </a:ln>
        </p:spPr>
      </p:pic>
      <p:pic>
        <p:nvPicPr>
          <p:cNvPr id="276" name="Google Shape;276;p66"/>
          <p:cNvPicPr preferRelativeResize="0"/>
          <p:nvPr/>
        </p:nvPicPr>
        <p:blipFill rotWithShape="1">
          <a:blip r:embed="rId4">
            <a:alphaModFix/>
          </a:blip>
          <a:srcRect/>
          <a:stretch/>
        </p:blipFill>
        <p:spPr>
          <a:xfrm>
            <a:off x="7186547" y="2498213"/>
            <a:ext cx="3309151" cy="1861577"/>
          </a:xfrm>
          <a:prstGeom prst="rect">
            <a:avLst/>
          </a:prstGeom>
          <a:noFill/>
          <a:ln>
            <a:noFill/>
          </a:ln>
        </p:spPr>
      </p:pic>
      <p:sp>
        <p:nvSpPr>
          <p:cNvPr id="5" name="Google Shape;45;p44">
            <a:extLst>
              <a:ext uri="{FF2B5EF4-FFF2-40B4-BE49-F238E27FC236}">
                <a16:creationId xmlns:a16="http://schemas.microsoft.com/office/drawing/2014/main" id="{5406EDC3-AC1D-5546-8CF8-396834432F08}"/>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2507580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9677400" y="6590561"/>
            <a:ext cx="1482051" cy="123111"/>
          </a:xfrm>
        </p:spPr>
        <p:txBody>
          <a:bodyPr/>
          <a:lstStyle>
            <a:lvl1pPr eaLnBrk="1">
              <a:defRPr lang="en-US" sz="800" kern="1200" dirty="0">
                <a:solidFill>
                  <a:srgbClr val="AE9A64"/>
                </a:solidFill>
                <a:latin typeface="Verdana" panose="020B0604030504040204" pitchFamily="34" charset="0"/>
                <a:ea typeface="Verdana" panose="020B0604030504040204" pitchFamily="34" charset="0"/>
                <a:cs typeface="Verdana" panose="020B0604030504040204" pitchFamily="34" charset="0"/>
                <a:sym typeface="Trebuchet MS" panose="020B0603020202020204" pitchFamily="34" charset="0"/>
              </a:defRPr>
            </a:lvl1pPr>
          </a:lstStyle>
          <a:p>
            <a:endParaRPr lang="fr-F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fr-FR" sz="700">
                <a:solidFill>
                  <a:schemeClr val="bg1">
                    <a:lumMod val="50000"/>
                  </a:schemeClr>
                </a:solidFill>
                <a:latin typeface="+mn-lt"/>
                <a:sym typeface="Trebuchet MS" panose="020B0603020202020204" pitchFamily="34" charset="0"/>
              </a:rPr>
              <a:t>Copyright © 2017 by The Boston Consulting Group, Inc. All </a:t>
            </a:r>
            <a:r>
              <a:rPr lang="fr-FR" sz="700" err="1">
                <a:solidFill>
                  <a:schemeClr val="bg1">
                    <a:lumMod val="50000"/>
                  </a:schemeClr>
                </a:solidFill>
                <a:latin typeface="+mn-lt"/>
                <a:sym typeface="Trebuchet MS" panose="020B0603020202020204" pitchFamily="34" charset="0"/>
              </a:rPr>
              <a:t>rights</a:t>
            </a:r>
            <a:r>
              <a:rPr lang="fr-FR" sz="700">
                <a:solidFill>
                  <a:schemeClr val="bg1">
                    <a:lumMod val="50000"/>
                  </a:schemeClr>
                </a:solidFill>
                <a:latin typeface="+mn-lt"/>
                <a:sym typeface="Trebuchet MS" panose="020B0603020202020204" pitchFamily="34" charset="0"/>
              </a:rPr>
              <a:t> </a:t>
            </a:r>
            <a:r>
              <a:rPr lang="fr-FR" sz="700" err="1">
                <a:solidFill>
                  <a:schemeClr val="bg1">
                    <a:lumMod val="50000"/>
                  </a:schemeClr>
                </a:solidFill>
                <a:latin typeface="+mn-lt"/>
                <a:sym typeface="Trebuchet MS" panose="020B0603020202020204" pitchFamily="34" charset="0"/>
              </a:rPr>
              <a:t>reserved</a:t>
            </a:r>
            <a:r>
              <a:rPr lang="fr-FR" sz="700">
                <a:solidFill>
                  <a:schemeClr val="bg1">
                    <a:lumMod val="50000"/>
                  </a:schemeClr>
                </a:solidFill>
                <a:latin typeface="+mn-lt"/>
                <a:sym typeface="Trebuchet MS" panose="020B0603020202020204" pitchFamily="34" charset="0"/>
              </a:rPr>
              <a:t>.</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fr-FR"/>
              <a:t>Click to </a:t>
            </a:r>
            <a:r>
              <a:rPr lang="fr-FR" err="1"/>
              <a:t>add</a:t>
            </a:r>
            <a:r>
              <a:rPr lang="fr-FR"/>
              <a:t> </a:t>
            </a:r>
            <a:r>
              <a:rPr lang="fr-FR" err="1"/>
              <a:t>title</a:t>
            </a:r>
            <a:endParaRPr lang="fr-F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81107 - SD COVEA - Support CoPil#4 compendium.pptx</a:t>
            </a:r>
            <a:endParaRPr lang="fr-FR" sz="700">
              <a:solidFill>
                <a:schemeClr val="bg1">
                  <a:lumMod val="50000"/>
                </a:schemeClr>
              </a:solidFill>
              <a:latin typeface="+mn-lt"/>
              <a:sym typeface="Trebuchet MS" panose="020B0603020202020204" pitchFamily="34" charset="0"/>
            </a:endParaRPr>
          </a:p>
        </p:txBody>
      </p:sp>
      <p:cxnSp>
        <p:nvCxnSpPr>
          <p:cNvPr id="11" name="Connecteur droit 6"/>
          <p:cNvCxnSpPr/>
          <p:nvPr userDrawn="1"/>
        </p:nvCxnSpPr>
        <p:spPr>
          <a:xfrm>
            <a:off x="630000" y="6402789"/>
            <a:ext cx="10933200" cy="0"/>
          </a:xfrm>
          <a:prstGeom prst="line">
            <a:avLst/>
          </a:prstGeom>
          <a:ln w="12700">
            <a:solidFill>
              <a:srgbClr val="C3C6C7"/>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96600" y="6441667"/>
            <a:ext cx="373060" cy="373060"/>
          </a:xfrm>
          <a:prstGeom prst="rect">
            <a:avLst/>
          </a:prstGeom>
        </p:spPr>
      </p:pic>
    </p:spTree>
    <p:extLst>
      <p:ext uri="{BB962C8B-B14F-4D97-AF65-F5344CB8AC3E}">
        <p14:creationId xmlns:p14="http://schemas.microsoft.com/office/powerpoint/2010/main" val="40763578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fr-F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fr-FR" sz="700">
                <a:solidFill>
                  <a:schemeClr val="bg1">
                    <a:lumMod val="50000"/>
                  </a:schemeClr>
                </a:solidFill>
                <a:latin typeface="+mn-lt"/>
                <a:sym typeface="Trebuchet MS" panose="020B0603020202020204" pitchFamily="34" charset="0"/>
              </a:rPr>
              <a:t>Copyright © 2017 by The Boston Consulting Group, Inc. All </a:t>
            </a:r>
            <a:r>
              <a:rPr lang="fr-FR" sz="700" err="1">
                <a:solidFill>
                  <a:schemeClr val="bg1">
                    <a:lumMod val="50000"/>
                  </a:schemeClr>
                </a:solidFill>
                <a:latin typeface="+mn-lt"/>
                <a:sym typeface="Trebuchet MS" panose="020B0603020202020204" pitchFamily="34" charset="0"/>
              </a:rPr>
              <a:t>rights</a:t>
            </a:r>
            <a:r>
              <a:rPr lang="fr-FR" sz="700">
                <a:solidFill>
                  <a:schemeClr val="bg1">
                    <a:lumMod val="50000"/>
                  </a:schemeClr>
                </a:solidFill>
                <a:latin typeface="+mn-lt"/>
                <a:sym typeface="Trebuchet MS" panose="020B0603020202020204" pitchFamily="34" charset="0"/>
              </a:rPr>
              <a:t> </a:t>
            </a:r>
            <a:r>
              <a:rPr lang="fr-FR" sz="700" err="1">
                <a:solidFill>
                  <a:schemeClr val="bg1">
                    <a:lumMod val="50000"/>
                  </a:schemeClr>
                </a:solidFill>
                <a:latin typeface="+mn-lt"/>
                <a:sym typeface="Trebuchet MS" panose="020B0603020202020204" pitchFamily="34" charset="0"/>
              </a:rPr>
              <a:t>reserved</a:t>
            </a:r>
            <a:r>
              <a:rPr lang="fr-FR" sz="70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81107 - SD COVEA - Support CoPil#4 compendium.pptx</a:t>
            </a:r>
            <a:endParaRPr lang="fr-FR"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474917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alan Lab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Espace réservé du titre 22">
            <a:extLst>
              <a:ext uri="{FF2B5EF4-FFF2-40B4-BE49-F238E27FC236}">
                <a16:creationId xmlns:a16="http://schemas.microsoft.com/office/drawing/2014/main" id="{BD9629CE-B42E-4B0B-ACFC-152056E29116}"/>
              </a:ext>
            </a:extLst>
          </p:cNvPr>
          <p:cNvSpPr>
            <a:spLocks noGrp="1"/>
          </p:cNvSpPr>
          <p:nvPr>
            <p:ph type="title"/>
          </p:nvPr>
        </p:nvSpPr>
        <p:spPr>
          <a:xfrm>
            <a:off x="444499" y="505305"/>
            <a:ext cx="9900000" cy="307777"/>
          </a:xfrm>
          <a:prstGeom prst="rect">
            <a:avLst/>
          </a:prstGeom>
        </p:spPr>
        <p:txBody>
          <a:bodyPr vert="horz" wrap="square" lIns="0" tIns="0" rIns="0" bIns="0" rtlCol="0" anchor="t" anchorCtr="0">
            <a:spAutoFit/>
          </a:bodyPr>
          <a:lstStyle>
            <a:lvl1pPr>
              <a:defRPr sz="2000">
                <a:solidFill>
                  <a:schemeClr val="accent4"/>
                </a:solidFill>
                <a:latin typeface="Montserrat" panose="00000500000000000000" pitchFamily="2" charset="0"/>
              </a:defRPr>
            </a:lvl1pPr>
          </a:lstStyle>
          <a:p>
            <a:r>
              <a:rPr lang="fr-FR"/>
              <a:t>MODIFIEZ LE STYLE DU TITRE</a:t>
            </a:r>
            <a:endParaRPr lang="en-US"/>
          </a:p>
        </p:txBody>
      </p:sp>
      <p:sp>
        <p:nvSpPr>
          <p:cNvPr id="20" name="Rectangle 15">
            <a:extLst>
              <a:ext uri="{FF2B5EF4-FFF2-40B4-BE49-F238E27FC236}">
                <a16:creationId xmlns:a16="http://schemas.microsoft.com/office/drawing/2014/main" id="{007F9C21-F11C-4FC3-9163-9FC3C3FC0A35}"/>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6FAF1E48-DDFA-48EF-8E38-2C8CE3C6A4C5}"/>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2" name="Espace réservé du texte 9">
            <a:extLst>
              <a:ext uri="{FF2B5EF4-FFF2-40B4-BE49-F238E27FC236}">
                <a16:creationId xmlns:a16="http://schemas.microsoft.com/office/drawing/2014/main" id="{E2AA7746-CEDD-43D4-AC66-F0EAA60AC77B}"/>
              </a:ext>
            </a:extLst>
          </p:cNvPr>
          <p:cNvSpPr>
            <a:spLocks noGrp="1"/>
          </p:cNvSpPr>
          <p:nvPr>
            <p:ph type="body" sz="quarter" idx="11" hasCustomPrompt="1"/>
          </p:nvPr>
        </p:nvSpPr>
        <p:spPr>
          <a:xfrm>
            <a:off x="444500" y="2016655"/>
            <a:ext cx="5448301" cy="523220"/>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AA2DE3BE-A03C-4012-8E68-708F64EFEA62}"/>
              </a:ext>
            </a:extLst>
          </p:cNvPr>
          <p:cNvSpPr>
            <a:spLocks noGrp="1"/>
          </p:cNvSpPr>
          <p:nvPr>
            <p:ph type="body" sz="quarter" idx="12" hasCustomPrompt="1"/>
          </p:nvPr>
        </p:nvSpPr>
        <p:spPr>
          <a:xfrm>
            <a:off x="6362700" y="2016655"/>
            <a:ext cx="5448301" cy="523220"/>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6" name="Espace réservé du texte 9">
            <a:extLst>
              <a:ext uri="{FF2B5EF4-FFF2-40B4-BE49-F238E27FC236}">
                <a16:creationId xmlns:a16="http://schemas.microsoft.com/office/drawing/2014/main" id="{4ED25BD3-AA3F-4096-B897-39BE2607CE23}"/>
              </a:ext>
            </a:extLst>
          </p:cNvPr>
          <p:cNvSpPr>
            <a:spLocks noGrp="1"/>
          </p:cNvSpPr>
          <p:nvPr>
            <p:ph type="body" sz="quarter" idx="13" hasCustomPrompt="1"/>
          </p:nvPr>
        </p:nvSpPr>
        <p:spPr>
          <a:xfrm>
            <a:off x="444498" y="1102787"/>
            <a:ext cx="11366500" cy="215444"/>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0" name="ZoneTexte 29">
            <a:extLst>
              <a:ext uri="{FF2B5EF4-FFF2-40B4-BE49-F238E27FC236}">
                <a16:creationId xmlns:a16="http://schemas.microsoft.com/office/drawing/2014/main" id="{6FDA4914-796D-46C8-8388-9328C19C22BD}"/>
              </a:ext>
            </a:extLst>
          </p:cNvPr>
          <p:cNvSpPr txBox="1"/>
          <p:nvPr userDrawn="1"/>
        </p:nvSpPr>
        <p:spPr>
          <a:xfrm>
            <a:off x="11554256" y="6557761"/>
            <a:ext cx="254877"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1" name="Espace réservé du pied de page 24">
            <a:extLst>
              <a:ext uri="{FF2B5EF4-FFF2-40B4-BE49-F238E27FC236}">
                <a16:creationId xmlns:a16="http://schemas.microsoft.com/office/drawing/2014/main" id="{2B28B7BE-142C-4F43-B8ED-D805773B9E4B}"/>
              </a:ext>
            </a:extLst>
          </p:cNvPr>
          <p:cNvSpPr txBox="1">
            <a:spLocks/>
          </p:cNvSpPr>
          <p:nvPr userDrawn="1"/>
        </p:nvSpPr>
        <p:spPr>
          <a:xfrm>
            <a:off x="444501" y="6555194"/>
            <a:ext cx="1074012"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GAG - Mai 2023</a:t>
            </a:r>
          </a:p>
        </p:txBody>
      </p:sp>
      <p:sp>
        <p:nvSpPr>
          <p:cNvPr id="32" name="Espace réservé du pied de page 24">
            <a:extLst>
              <a:ext uri="{FF2B5EF4-FFF2-40B4-BE49-F238E27FC236}">
                <a16:creationId xmlns:a16="http://schemas.microsoft.com/office/drawing/2014/main" id="{4F0406F3-FA02-442B-A1A0-937E88173C40}"/>
              </a:ext>
            </a:extLst>
          </p:cNvPr>
          <p:cNvSpPr>
            <a:spLocks noGrp="1"/>
          </p:cNvSpPr>
          <p:nvPr>
            <p:ph type="ftr" sz="quarter" idx="3"/>
          </p:nvPr>
        </p:nvSpPr>
        <p:spPr>
          <a:xfrm>
            <a:off x="8761839" y="6555192"/>
            <a:ext cx="2454198"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934452031"/>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3603F5-37B4-498C-819C-4AA858DC59DF}"/>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0E53F4A4-9E92-41BA-8B8E-9AB2383B6438}"/>
              </a:ext>
            </a:extLst>
          </p:cNvPr>
          <p:cNvSpPr>
            <a:spLocks noGrp="1"/>
          </p:cNvSpPr>
          <p:nvPr>
            <p:ph type="dt" sz="half" idx="10"/>
          </p:nvPr>
        </p:nvSpPr>
        <p:spPr/>
        <p:txBody>
          <a:bodyPr/>
          <a:lstStyle/>
          <a:p>
            <a:r>
              <a:rPr lang="fr-FR" err="1"/>
              <a:t>Aésio</a:t>
            </a:r>
            <a:r>
              <a:rPr lang="fr-FR"/>
              <a:t> - Janvier 2019</a:t>
            </a:r>
          </a:p>
        </p:txBody>
      </p:sp>
      <p:sp>
        <p:nvSpPr>
          <p:cNvPr id="4" name="Espace réservé du pied de page 3">
            <a:extLst>
              <a:ext uri="{FF2B5EF4-FFF2-40B4-BE49-F238E27FC236}">
                <a16:creationId xmlns:a16="http://schemas.microsoft.com/office/drawing/2014/main" id="{601C1A30-8793-4D8B-A0E7-3FC53466AAFF}"/>
              </a:ext>
            </a:extLst>
          </p:cNvPr>
          <p:cNvSpPr>
            <a:spLocks noGrp="1"/>
          </p:cNvSpPr>
          <p:nvPr>
            <p:ph type="ftr" sz="quarter" idx="11"/>
          </p:nvPr>
        </p:nvSpPr>
        <p:spPr/>
        <p:txBody>
          <a:bodyPr/>
          <a:lstStyle>
            <a:lvl1pPr>
              <a:defRPr/>
            </a:lvl1pPr>
          </a:lstStyle>
          <a:p>
            <a:r>
              <a:rPr lang="fr-FR"/>
              <a:t>Talan Consulting</a:t>
            </a:r>
          </a:p>
        </p:txBody>
      </p:sp>
      <p:sp>
        <p:nvSpPr>
          <p:cNvPr id="5" name="Espace réservé du numéro de diapositive 4">
            <a:extLst>
              <a:ext uri="{FF2B5EF4-FFF2-40B4-BE49-F238E27FC236}">
                <a16:creationId xmlns:a16="http://schemas.microsoft.com/office/drawing/2014/main" id="{5132B3DF-CCE1-43B3-81F5-FE15CD51C2E7}"/>
              </a:ext>
            </a:extLst>
          </p:cNvPr>
          <p:cNvSpPr>
            <a:spLocks noGrp="1"/>
          </p:cNvSpPr>
          <p:nvPr>
            <p:ph type="sldNum" sz="quarter" idx="12"/>
          </p:nvPr>
        </p:nvSpPr>
        <p:spPr/>
        <p:txBody>
          <a:bodyPr/>
          <a:lstStyle/>
          <a:p>
            <a:fld id="{4D32680D-9B82-467A-8A17-CD56308886EF}" type="slidenum">
              <a:rPr lang="fr-FR" smtClean="0"/>
              <a:t>‹#›</a:t>
            </a:fld>
            <a:endParaRPr lang="fr-FR"/>
          </a:p>
        </p:txBody>
      </p:sp>
      <p:sp>
        <p:nvSpPr>
          <p:cNvPr id="6" name="Rectangle 5">
            <a:extLst>
              <a:ext uri="{FF2B5EF4-FFF2-40B4-BE49-F238E27FC236}">
                <a16:creationId xmlns:a16="http://schemas.microsoft.com/office/drawing/2014/main" id="{4BE10079-295C-41F0-9682-CDF4E031E85A}"/>
              </a:ext>
            </a:extLst>
          </p:cNvPr>
          <p:cNvSpPr/>
          <p:nvPr/>
        </p:nvSpPr>
        <p:spPr>
          <a:xfrm>
            <a:off x="335360" y="125795"/>
            <a:ext cx="386943" cy="246221"/>
          </a:xfrm>
          <a:prstGeom prst="rect">
            <a:avLst/>
          </a:prstGeom>
        </p:spPr>
        <p:txBody>
          <a:bodyPr wrap="none" lIns="90000" tIns="0" rIns="90000" bIns="0" anchor="ctr">
            <a:spAutoFit/>
          </a:bodyPr>
          <a:lstStyle/>
          <a:p>
            <a:pPr algn="ctr"/>
            <a:r>
              <a:rPr lang="fr-FR" sz="1600" b="1">
                <a:solidFill>
                  <a:schemeClr val="accent1"/>
                </a:solidFill>
                <a:latin typeface="+mj-lt"/>
              </a:rPr>
              <a:t>—</a:t>
            </a:r>
          </a:p>
        </p:txBody>
      </p:sp>
      <p:sp>
        <p:nvSpPr>
          <p:cNvPr id="7" name="Espace réservé du texte 8">
            <a:extLst>
              <a:ext uri="{FF2B5EF4-FFF2-40B4-BE49-F238E27FC236}">
                <a16:creationId xmlns:a16="http://schemas.microsoft.com/office/drawing/2014/main" id="{FF6EA77C-34D5-4255-9FB0-C5666B306D24}"/>
              </a:ext>
            </a:extLst>
          </p:cNvPr>
          <p:cNvSpPr>
            <a:spLocks noGrp="1"/>
          </p:cNvSpPr>
          <p:nvPr>
            <p:ph type="body" sz="quarter" idx="13"/>
          </p:nvPr>
        </p:nvSpPr>
        <p:spPr>
          <a:xfrm>
            <a:off x="334099" y="617512"/>
            <a:ext cx="10442419" cy="365125"/>
          </a:xfrm>
        </p:spPr>
        <p:txBody>
          <a:bodyPr tIns="0" bIns="0">
            <a:noAutofit/>
          </a:bodyPr>
          <a:lstStyle>
            <a:lvl1pPr marL="0" indent="0">
              <a:buNone/>
              <a:defRPr sz="1600" b="0" cap="none" baseline="0">
                <a:solidFill>
                  <a:schemeClr val="accent1"/>
                </a:solidFill>
                <a:latin typeface="+mj-lt"/>
              </a:defRPr>
            </a:lvl1pPr>
          </a:lstStyle>
          <a:p>
            <a:pPr lvl="0"/>
            <a:r>
              <a:rPr lang="fr-FR"/>
              <a:t>Modifier les styles du texte du masque</a:t>
            </a:r>
          </a:p>
        </p:txBody>
      </p:sp>
    </p:spTree>
    <p:extLst>
      <p:ext uri="{BB962C8B-B14F-4D97-AF65-F5344CB8AC3E}">
        <p14:creationId xmlns:p14="http://schemas.microsoft.com/office/powerpoint/2010/main" val="13171816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lan Labs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4"/>
                </a:solidFill>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7" name="ZoneTexte 16">
            <a:extLst>
              <a:ext uri="{FF2B5EF4-FFF2-40B4-BE49-F238E27FC236}">
                <a16:creationId xmlns:a16="http://schemas.microsoft.com/office/drawing/2014/main" id="{D74ACE3F-9B9C-4246-AA03-38C2F92EB9B0}"/>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51849EE3-BFF5-464A-9F70-E73D02DA7914}"/>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9" name="Espace réservé du pied de page 24">
            <a:extLst>
              <a:ext uri="{FF2B5EF4-FFF2-40B4-BE49-F238E27FC236}">
                <a16:creationId xmlns:a16="http://schemas.microsoft.com/office/drawing/2014/main" id="{A4ECABE4-A806-475D-8839-592C64B83DB9}"/>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29" name="Espace réservé du texte 9">
            <a:extLst>
              <a:ext uri="{FF2B5EF4-FFF2-40B4-BE49-F238E27FC236}">
                <a16:creationId xmlns:a16="http://schemas.microsoft.com/office/drawing/2014/main" id="{095AC84E-54EB-4788-A9C7-34635A905AAB}"/>
              </a:ext>
            </a:extLst>
          </p:cNvPr>
          <p:cNvSpPr>
            <a:spLocks noGrp="1"/>
          </p:cNvSpPr>
          <p:nvPr>
            <p:ph type="body" sz="quarter" idx="11" hasCustomPrompt="1"/>
          </p:nvPr>
        </p:nvSpPr>
        <p:spPr>
          <a:xfrm>
            <a:off x="444501" y="2016655"/>
            <a:ext cx="1137602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972813616"/>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3603F5-37B4-498C-819C-4AA858DC59DF}"/>
              </a:ext>
            </a:extLst>
          </p:cNvPr>
          <p:cNvSpPr>
            <a:spLocks noGrp="1"/>
          </p:cNvSpPr>
          <p:nvPr>
            <p:ph type="title"/>
          </p:nvPr>
        </p:nvSpPr>
        <p:spPr/>
        <p:txBody>
          <a:bodyPr/>
          <a:lstStyle/>
          <a:p>
            <a:r>
              <a:rPr lang="fr-FR"/>
              <a:t>Modifiez le style du titre</a:t>
            </a:r>
          </a:p>
        </p:txBody>
      </p:sp>
      <p:sp>
        <p:nvSpPr>
          <p:cNvPr id="4" name="Espace réservé du pied de page 3">
            <a:extLst>
              <a:ext uri="{FF2B5EF4-FFF2-40B4-BE49-F238E27FC236}">
                <a16:creationId xmlns:a16="http://schemas.microsoft.com/office/drawing/2014/main" id="{601C1A30-8793-4D8B-A0E7-3FC53466AAFF}"/>
              </a:ext>
            </a:extLst>
          </p:cNvPr>
          <p:cNvSpPr>
            <a:spLocks noGrp="1"/>
          </p:cNvSpPr>
          <p:nvPr>
            <p:ph type="ftr" sz="quarter" idx="11"/>
          </p:nvPr>
        </p:nvSpPr>
        <p:spPr>
          <a:xfrm>
            <a:off x="623888" y="6442424"/>
            <a:ext cx="10082381" cy="289781"/>
          </a:xfrm>
        </p:spPr>
        <p:txBody>
          <a:bodyPr/>
          <a:lstStyle>
            <a:lvl1pPr>
              <a:defRPr/>
            </a:lvl1pPr>
          </a:lstStyle>
          <a:p>
            <a:r>
              <a:rPr lang="fr-FR"/>
              <a:t>Harmonie mutuelle - Etude d’opportunité et de faisabilité convergence Prévoyance vers </a:t>
            </a:r>
            <a:r>
              <a:rPr lang="fr-FR" err="1"/>
              <a:t>Cegedim</a:t>
            </a:r>
            <a:r>
              <a:rPr lang="fr-FR"/>
              <a:t> Activ' </a:t>
            </a:r>
            <a:r>
              <a:rPr lang="fr-FR" err="1"/>
              <a:t>Infinite</a:t>
            </a:r>
            <a:endParaRPr lang="fr-FR"/>
          </a:p>
        </p:txBody>
      </p:sp>
      <p:sp>
        <p:nvSpPr>
          <p:cNvPr id="5" name="Espace réservé du numéro de diapositive 4">
            <a:extLst>
              <a:ext uri="{FF2B5EF4-FFF2-40B4-BE49-F238E27FC236}">
                <a16:creationId xmlns:a16="http://schemas.microsoft.com/office/drawing/2014/main" id="{5132B3DF-CCE1-43B3-81F5-FE15CD51C2E7}"/>
              </a:ext>
            </a:extLst>
          </p:cNvPr>
          <p:cNvSpPr>
            <a:spLocks noGrp="1"/>
          </p:cNvSpPr>
          <p:nvPr>
            <p:ph type="sldNum" sz="quarter" idx="12"/>
          </p:nvPr>
        </p:nvSpPr>
        <p:spPr/>
        <p:txBody>
          <a:bodyPr/>
          <a:lstStyle/>
          <a:p>
            <a:fld id="{4D32680D-9B82-467A-8A17-CD56308886EF}" type="slidenum">
              <a:rPr lang="fr-FR" smtClean="0"/>
              <a:t>‹#›</a:t>
            </a:fld>
            <a:endParaRPr lang="fr-FR"/>
          </a:p>
        </p:txBody>
      </p:sp>
      <p:sp>
        <p:nvSpPr>
          <p:cNvPr id="6" name="Rectangle 5">
            <a:extLst>
              <a:ext uri="{FF2B5EF4-FFF2-40B4-BE49-F238E27FC236}">
                <a16:creationId xmlns:a16="http://schemas.microsoft.com/office/drawing/2014/main" id="{4BE10079-295C-41F0-9682-CDF4E031E85A}"/>
              </a:ext>
            </a:extLst>
          </p:cNvPr>
          <p:cNvSpPr/>
          <p:nvPr/>
        </p:nvSpPr>
        <p:spPr>
          <a:xfrm>
            <a:off x="335360" y="125795"/>
            <a:ext cx="386943" cy="246221"/>
          </a:xfrm>
          <a:prstGeom prst="rect">
            <a:avLst/>
          </a:prstGeom>
        </p:spPr>
        <p:txBody>
          <a:bodyPr wrap="none" lIns="90000" tIns="0" rIns="90000" bIns="0" anchor="ctr">
            <a:spAutoFit/>
          </a:bodyPr>
          <a:lstStyle/>
          <a:p>
            <a:pPr algn="ctr"/>
            <a:r>
              <a:rPr lang="fr-FR" sz="1600" b="1">
                <a:solidFill>
                  <a:schemeClr val="accent1"/>
                </a:solidFill>
                <a:latin typeface="Montserrat" panose="00000500000000000000" pitchFamily="2" charset="0"/>
              </a:rPr>
              <a:t>—</a:t>
            </a:r>
          </a:p>
        </p:txBody>
      </p:sp>
      <p:sp>
        <p:nvSpPr>
          <p:cNvPr id="7" name="Espace réservé du texte 8">
            <a:extLst>
              <a:ext uri="{FF2B5EF4-FFF2-40B4-BE49-F238E27FC236}">
                <a16:creationId xmlns:a16="http://schemas.microsoft.com/office/drawing/2014/main" id="{FF6EA77C-34D5-4255-9FB0-C5666B306D24}"/>
              </a:ext>
            </a:extLst>
          </p:cNvPr>
          <p:cNvSpPr>
            <a:spLocks noGrp="1"/>
          </p:cNvSpPr>
          <p:nvPr>
            <p:ph type="body" sz="quarter" idx="13"/>
          </p:nvPr>
        </p:nvSpPr>
        <p:spPr>
          <a:xfrm>
            <a:off x="334099" y="617512"/>
            <a:ext cx="10442419" cy="365125"/>
          </a:xfrm>
        </p:spPr>
        <p:txBody>
          <a:bodyPr tIns="0" bIns="0">
            <a:noAutofit/>
          </a:bodyPr>
          <a:lstStyle>
            <a:lvl1pPr marL="0" indent="0">
              <a:buNone/>
              <a:defRPr sz="1600" b="0" cap="none" baseline="0">
                <a:solidFill>
                  <a:schemeClr val="accent1"/>
                </a:solidFill>
                <a:latin typeface="Montserrat" panose="00000500000000000000" pitchFamily="2" charset="0"/>
              </a:defRPr>
            </a:lvl1pPr>
          </a:lstStyle>
          <a:p>
            <a:pPr lvl="0"/>
            <a:r>
              <a:rPr lang="fr-FR"/>
              <a:t>Modifier les styles du texte du masque</a:t>
            </a:r>
          </a:p>
        </p:txBody>
      </p:sp>
    </p:spTree>
    <p:extLst>
      <p:ext uri="{BB962C8B-B14F-4D97-AF65-F5344CB8AC3E}">
        <p14:creationId xmlns:p14="http://schemas.microsoft.com/office/powerpoint/2010/main" val="6699871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_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1" y="1"/>
            <a:ext cx="266420" cy="6906667"/>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9181" y="2899068"/>
            <a:ext cx="27561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pPr marL="0" marR="0" lvl="0" indent="0" algn="ctr" rtl="0">
                <a:spcBef>
                  <a:spcPts val="0"/>
                </a:spcBef>
                <a:spcAft>
                  <a:spcPts val="0"/>
                </a:spcAft>
                <a:buNone/>
              </a:p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3" y="268518"/>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6" y="260224"/>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3" y="268517"/>
            <a:ext cx="334800" cy="25200"/>
          </a:xfrm>
          <a:prstGeom prst="rect">
            <a:avLst/>
          </a:prstGeom>
          <a:solidFill>
            <a:srgbClr val="44378A"/>
          </a:solidFill>
          <a:ln>
            <a:solidFill>
              <a:srgbClr val="44378A"/>
            </a:solid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7" y="835753"/>
            <a:ext cx="11574945" cy="5581067"/>
          </a:xfrm>
          <a:prstGeom prst="rect">
            <a:avLst/>
          </a:prstGeom>
          <a:noFill/>
          <a:ln>
            <a:noFill/>
          </a:ln>
        </p:spPr>
        <p:txBody>
          <a:bodyPr spcFirstLastPara="1" wrap="square" lIns="91425" tIns="91425" rIns="91425" bIns="91425" anchor="t" anchorCtr="0">
            <a:noAutofit/>
          </a:bodyPr>
          <a:lstStyle>
            <a:lvl1pPr marL="186258"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40" marR="0" lvl="1" indent="-423312"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09" marR="0" lvl="2"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278" marR="0" lvl="3"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848" marR="0" lvl="4"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418" marR="0" lvl="5"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6987" marR="0" lvl="6"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557" marR="0" lvl="7"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126" marR="0" lvl="8"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5" name="Google Shape;69;p4">
            <a:extLst>
              <a:ext uri="{FF2B5EF4-FFF2-40B4-BE49-F238E27FC236}">
                <a16:creationId xmlns:a16="http://schemas.microsoft.com/office/drawing/2014/main" id="{E0D8909F-6344-3E4F-9FBB-1955CCD6250F}"/>
              </a:ext>
            </a:extLst>
          </p:cNvPr>
          <p:cNvPicPr>
            <a:picLocks noChangeAspect="1"/>
          </p:cNvPicPr>
          <p:nvPr userDrawn="1"/>
        </p:nvPicPr>
        <p:blipFill>
          <a:blip r:embed="rId2"/>
          <a:srcRect/>
          <a:stretch>
            <a:fillRect/>
          </a:stretch>
        </p:blipFill>
        <p:spPr>
          <a:xfrm>
            <a:off x="10596838" y="130963"/>
            <a:ext cx="1238399" cy="588544"/>
          </a:xfrm>
          <a:prstGeom prst="rect">
            <a:avLst/>
          </a:prstGeom>
          <a:noFill/>
          <a:ln cap="flat">
            <a:noFill/>
          </a:ln>
        </p:spPr>
      </p:pic>
      <p:sp>
        <p:nvSpPr>
          <p:cNvPr id="2" name="Google Shape;45;p44">
            <a:extLst>
              <a:ext uri="{FF2B5EF4-FFF2-40B4-BE49-F238E27FC236}">
                <a16:creationId xmlns:a16="http://schemas.microsoft.com/office/drawing/2014/main" id="{0EF89C76-DCF7-6AF6-8CE2-4EFA6B0353A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181746338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3"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pic>
        <p:nvPicPr>
          <p:cNvPr id="13" name="Image 12">
            <a:extLst>
              <a:ext uri="{FF2B5EF4-FFF2-40B4-BE49-F238E27FC236}">
                <a16:creationId xmlns:a16="http://schemas.microsoft.com/office/drawing/2014/main" id="{1B92915B-76AC-4E99-B0E0-7EC94EB283D6}"/>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6742"/>
            <a:ext cx="12191999" cy="6934017"/>
          </a:xfrm>
          <a:prstGeom prst="rect">
            <a:avLst/>
          </a:prstGeom>
        </p:spPr>
      </p:pic>
    </p:spTree>
    <p:extLst>
      <p:ext uri="{BB962C8B-B14F-4D97-AF65-F5344CB8AC3E}">
        <p14:creationId xmlns:p14="http://schemas.microsoft.com/office/powerpoint/2010/main" val="2813910914"/>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5"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7">
            <a:alphaModFix/>
            <a:extLst>
              <a:ext uri="{28A0092B-C50C-407E-A947-70E740481C1C}">
                <a14:useLocalDpi xmlns:a14="http://schemas.microsoft.com/office/drawing/2010/main" val="0"/>
              </a:ext>
            </a:extLst>
          </a:blip>
          <a:srcRect/>
          <a:stretch/>
        </p:blipFill>
        <p:spPr>
          <a:xfrm>
            <a:off x="-1" y="-1"/>
            <a:ext cx="12087492"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8">
            <a:alphaModFix/>
            <a:extLst>
              <a:ext uri="{28A0092B-C50C-407E-A947-70E740481C1C}">
                <a14:useLocalDpi xmlns:a14="http://schemas.microsoft.com/office/drawing/2010/main" val="0"/>
              </a:ext>
            </a:extLst>
          </a:blip>
          <a:srcRect/>
          <a:stretch/>
        </p:blipFill>
        <p:spPr>
          <a:xfrm>
            <a:off x="8621649" y="2498214"/>
            <a:ext cx="3309151" cy="1861577"/>
          </a:xfrm>
          <a:prstGeom prst="rect">
            <a:avLst/>
          </a:prstGeom>
          <a:noFill/>
          <a:ln>
            <a:noFill/>
          </a:ln>
        </p:spPr>
      </p:pic>
      <p:sp>
        <p:nvSpPr>
          <p:cNvPr id="2" name="Titre 1">
            <a:extLst>
              <a:ext uri="{FF2B5EF4-FFF2-40B4-BE49-F238E27FC236}">
                <a16:creationId xmlns:a16="http://schemas.microsoft.com/office/drawing/2014/main" id="{97F4ECCA-ED68-478D-B970-E02E953A2CD6}"/>
              </a:ext>
            </a:extLst>
          </p:cNvPr>
          <p:cNvSpPr>
            <a:spLocks noGrp="1"/>
          </p:cNvSpPr>
          <p:nvPr>
            <p:ph type="ctrTitle" hasCustomPrompt="1"/>
          </p:nvPr>
        </p:nvSpPr>
        <p:spPr>
          <a:xfrm>
            <a:off x="350533" y="697582"/>
            <a:ext cx="9144000" cy="443199"/>
          </a:xfrm>
          <a:prstGeom prst="rect">
            <a:avLst/>
          </a:prstGeom>
        </p:spPr>
        <p:txBody>
          <a:bodyPr lIns="0" tIns="0" rIns="0" bIns="0" anchor="b">
            <a:spAutoFit/>
          </a:bodyPr>
          <a:lstStyle>
            <a:lvl1pPr algn="l">
              <a:defRPr sz="3200" b="1">
                <a:solidFill>
                  <a:schemeClr val="bg1"/>
                </a:solidFill>
                <a:latin typeface="Montserrat" panose="00000500000000000000" pitchFamily="2" charset="0"/>
              </a:defRPr>
            </a:lvl1pPr>
          </a:lstStyle>
          <a:p>
            <a:r>
              <a:rPr lang="fr-FR"/>
              <a:t>Titre de la présentation</a:t>
            </a:r>
            <a:endParaRPr lang="en-US"/>
          </a:p>
        </p:txBody>
      </p:sp>
      <p:sp>
        <p:nvSpPr>
          <p:cNvPr id="3" name="Sous-titre 2">
            <a:extLst>
              <a:ext uri="{FF2B5EF4-FFF2-40B4-BE49-F238E27FC236}">
                <a16:creationId xmlns:a16="http://schemas.microsoft.com/office/drawing/2014/main" id="{7B0EF1DE-CC7A-4F58-84C3-E4D68AD9AA3C}"/>
              </a:ext>
            </a:extLst>
          </p:cNvPr>
          <p:cNvSpPr>
            <a:spLocks noGrp="1"/>
          </p:cNvSpPr>
          <p:nvPr>
            <p:ph type="subTitle" idx="1" hasCustomPrompt="1"/>
          </p:nvPr>
        </p:nvSpPr>
        <p:spPr>
          <a:xfrm>
            <a:off x="350533" y="1687290"/>
            <a:ext cx="9144000" cy="387799"/>
          </a:xfrm>
          <a:prstGeom prst="rect">
            <a:avLst/>
          </a:prstGeom>
        </p:spPr>
        <p:txBody>
          <a:bodyPr lIns="0" tIns="0" rIns="0" bIns="0">
            <a:spAutoFit/>
          </a:bodyPr>
          <a:lstStyle>
            <a:lvl1pPr marL="0" indent="0" algn="l">
              <a:buNone/>
              <a:defRPr sz="2800" b="0">
                <a:solidFill>
                  <a:schemeClr val="bg1"/>
                </a:solidFill>
                <a:latin typeface="Montserrat" panose="00000500000000000000" pitchFamily="2" charset="0"/>
              </a:defRPr>
            </a:lvl1pPr>
            <a:lvl2pPr marL="609539" indent="0" algn="ctr">
              <a:buNone/>
              <a:defRPr sz="2667"/>
            </a:lvl2pPr>
            <a:lvl3pPr marL="1219080" indent="0" algn="ctr">
              <a:buNone/>
              <a:defRPr sz="2400"/>
            </a:lvl3pPr>
            <a:lvl4pPr marL="1828618" indent="0" algn="ctr">
              <a:buNone/>
              <a:defRPr sz="2133"/>
            </a:lvl4pPr>
            <a:lvl5pPr marL="2438158" indent="0" algn="ctr">
              <a:buNone/>
              <a:defRPr sz="2133"/>
            </a:lvl5pPr>
            <a:lvl6pPr marL="3047696" indent="0" algn="ctr">
              <a:buNone/>
              <a:defRPr sz="2133"/>
            </a:lvl6pPr>
            <a:lvl7pPr marL="3657235" indent="0" algn="ctr">
              <a:buNone/>
              <a:defRPr sz="2133"/>
            </a:lvl7pPr>
            <a:lvl8pPr marL="4266773" indent="0" algn="ctr">
              <a:buNone/>
              <a:defRPr sz="2133"/>
            </a:lvl8pPr>
            <a:lvl9pPr marL="4876313" indent="0" algn="ctr">
              <a:buNone/>
              <a:defRPr sz="2133"/>
            </a:lvl9pPr>
          </a:lstStyle>
          <a:p>
            <a:r>
              <a:rPr lang="fr-FR"/>
              <a:t>Date</a:t>
            </a:r>
            <a:endParaRPr lang="en-US"/>
          </a:p>
        </p:txBody>
      </p:sp>
      <p:cxnSp>
        <p:nvCxnSpPr>
          <p:cNvPr id="14" name="Connecteur droit 13">
            <a:extLst>
              <a:ext uri="{FF2B5EF4-FFF2-40B4-BE49-F238E27FC236}">
                <a16:creationId xmlns:a16="http://schemas.microsoft.com/office/drawing/2014/main" id="{1F57DF4D-28C9-407C-B409-CBE3FAE9E3BA}"/>
              </a:ext>
            </a:extLst>
          </p:cNvPr>
          <p:cNvCxnSpPr/>
          <p:nvPr userDrawn="1"/>
        </p:nvCxnSpPr>
        <p:spPr>
          <a:xfrm>
            <a:off x="350533" y="495299"/>
            <a:ext cx="40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4"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spTree>
    <p:extLst>
      <p:ext uri="{BB962C8B-B14F-4D97-AF65-F5344CB8AC3E}">
        <p14:creationId xmlns:p14="http://schemas.microsoft.com/office/powerpoint/2010/main" val="320199838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Sommaire">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40E6028F-B1E4-467E-84BF-98D288DC6518}"/>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12" name="Objet 11" hidden="1">
                        <a:extLst>
                          <a:ext uri="{FF2B5EF4-FFF2-40B4-BE49-F238E27FC236}">
                            <a16:creationId xmlns:a16="http://schemas.microsoft.com/office/drawing/2014/main" id="{40E6028F-B1E4-467E-84BF-98D288DC6518}"/>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4" name="Image 13">
            <a:extLst>
              <a:ext uri="{FF2B5EF4-FFF2-40B4-BE49-F238E27FC236}">
                <a16:creationId xmlns:a16="http://schemas.microsoft.com/office/drawing/2014/main" id="{C20E9B0F-F267-43A5-A9C0-548FDECFD34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5" name="Google Shape;243;p38">
            <a:extLst>
              <a:ext uri="{FF2B5EF4-FFF2-40B4-BE49-F238E27FC236}">
                <a16:creationId xmlns:a16="http://schemas.microsoft.com/office/drawing/2014/main" id="{19AC8978-B22C-43FD-A8E5-232D99437B70}"/>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9002637" y="5855356"/>
            <a:ext cx="1781824" cy="1002649"/>
          </a:xfrm>
          <a:prstGeom prst="rect">
            <a:avLst/>
          </a:prstGeom>
          <a:noFill/>
          <a:ln>
            <a:noFill/>
          </a:ln>
        </p:spPr>
      </p:pic>
      <p:sp>
        <p:nvSpPr>
          <p:cNvPr id="2" name="Titre 1">
            <a:extLst>
              <a:ext uri="{FF2B5EF4-FFF2-40B4-BE49-F238E27FC236}">
                <a16:creationId xmlns:a16="http://schemas.microsoft.com/office/drawing/2014/main" id="{D56A2780-DED2-4572-9DB4-F2C67BB7AE1C}"/>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accent1"/>
                </a:solidFill>
                <a:latin typeface="Montserrat" panose="00000500000000000000" pitchFamily="2" charset="0"/>
                <a:sym typeface="Montserrat" panose="00000500000000000000" pitchFamily="2" charset="0"/>
              </a:defRPr>
            </a:lvl1pPr>
          </a:lstStyle>
          <a:p>
            <a:r>
              <a:rPr lang="fr-FR"/>
              <a:t>SOMMAIRE</a:t>
            </a:r>
            <a:endParaRPr lang="en-US"/>
          </a:p>
        </p:txBody>
      </p:sp>
      <p:cxnSp>
        <p:nvCxnSpPr>
          <p:cNvPr id="17" name="Connecteur droit 16">
            <a:extLst>
              <a:ext uri="{FF2B5EF4-FFF2-40B4-BE49-F238E27FC236}">
                <a16:creationId xmlns:a16="http://schemas.microsoft.com/office/drawing/2014/main" id="{7DADD991-AA4F-4885-BFC0-04BBC858DEB1}"/>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a:extLst>
              <a:ext uri="{FF2B5EF4-FFF2-40B4-BE49-F238E27FC236}">
                <a16:creationId xmlns:a16="http://schemas.microsoft.com/office/drawing/2014/main" id="{39B6A5A2-7DE9-4E90-9433-FF121AE1B139}"/>
              </a:ext>
            </a:extLst>
          </p:cNvPr>
          <p:cNvSpPr>
            <a:spLocks noGrp="1"/>
          </p:cNvSpPr>
          <p:nvPr>
            <p:ph idx="1"/>
          </p:nvPr>
        </p:nvSpPr>
        <p:spPr>
          <a:xfrm>
            <a:off x="444500" y="3568930"/>
            <a:ext cx="6120000" cy="215444"/>
          </a:xfrm>
          <a:prstGeom prst="rect">
            <a:avLst/>
          </a:prstGeom>
        </p:spPr>
        <p:txBody>
          <a:bodyPr wrap="square" lIns="0" tIns="0" rIns="0" bIns="0" anchor="ctr" anchorCtr="0">
            <a:spAutoFit/>
          </a:bodyPr>
          <a:lstStyle>
            <a:lvl1pPr marL="0" indent="0">
              <a:lnSpc>
                <a:spcPct val="100000"/>
              </a:lnSpc>
              <a:spcBef>
                <a:spcPts val="0"/>
              </a:spcBef>
              <a:spcAft>
                <a:spcPts val="151"/>
              </a:spcAft>
              <a:buNone/>
              <a:defRPr sz="1400" b="1">
                <a:solidFill>
                  <a:schemeClr val="accent4"/>
                </a:solidFill>
                <a:latin typeface="Montserrat" panose="00000500000000000000" pitchFamily="2" charset="0"/>
              </a:defRPr>
            </a:lvl1pPr>
            <a:lvl2pPr marL="609539" indent="0">
              <a:buNone/>
              <a:defRPr/>
            </a:lvl2pPr>
          </a:lstStyle>
          <a:p>
            <a:pPr lvl="0"/>
            <a:r>
              <a:rPr lang="fr-FR"/>
              <a:t>Modifier les styles du texte du masque</a:t>
            </a:r>
          </a:p>
        </p:txBody>
      </p:sp>
      <p:sp>
        <p:nvSpPr>
          <p:cNvPr id="9" name="Espace réservé du pied de page 24">
            <a:extLst>
              <a:ext uri="{FF2B5EF4-FFF2-40B4-BE49-F238E27FC236}">
                <a16:creationId xmlns:a16="http://schemas.microsoft.com/office/drawing/2014/main" id="{081F731C-35C6-4B7F-8B2B-4787A4EAF6D4}"/>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Tree>
    <p:extLst>
      <p:ext uri="{BB962C8B-B14F-4D97-AF65-F5344CB8AC3E}">
        <p14:creationId xmlns:p14="http://schemas.microsoft.com/office/powerpoint/2010/main" val="3216601832"/>
      </p:ext>
    </p:extLst>
  </p:cSld>
  <p:clrMapOvr>
    <a:masterClrMapping/>
  </p:clrMapOvr>
  <p:extLst>
    <p:ext uri="{DCECCB84-F9BA-43D5-87BE-67443E8EF086}">
      <p15:sldGuideLst xmlns:p15="http://schemas.microsoft.com/office/powerpoint/2012/main">
        <p15:guide id="1" orient="horz" pos="595">
          <p15:clr>
            <a:srgbClr val="FBAE40"/>
          </p15:clr>
        </p15:guide>
        <p15:guide id="3" orient="horz" pos="4042">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lan Consulting 1">
    <p:spTree>
      <p:nvGrpSpPr>
        <p:cNvPr id="1" name=""/>
        <p:cNvGrpSpPr/>
        <p:nvPr/>
      </p:nvGrpSpPr>
      <p:grpSpPr>
        <a:xfrm>
          <a:off x="0" y="0"/>
          <a:ext cx="0" cy="0"/>
          <a:chOff x="0" y="0"/>
          <a:chExt cx="0" cy="0"/>
        </a:xfrm>
      </p:grpSpPr>
      <p:sp>
        <p:nvSpPr>
          <p:cNvPr id="11" name="Rectangle 15">
            <a:extLst>
              <a:ext uri="{FF2B5EF4-FFF2-40B4-BE49-F238E27FC236}">
                <a16:creationId xmlns:a16="http://schemas.microsoft.com/office/drawing/2014/main" id="{1BC07B77-E986-4C78-8491-F6A437647F08}"/>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7" name="Google Shape;147;p23">
            <a:extLst>
              <a:ext uri="{FF2B5EF4-FFF2-40B4-BE49-F238E27FC236}">
                <a16:creationId xmlns:a16="http://schemas.microsoft.com/office/drawing/2014/main" id="{CCEA6D3D-72DF-4E43-B9D3-F30B8A251970}"/>
              </a:ext>
            </a:extLst>
          </p:cNvPr>
          <p:cNvPicPr preferRelativeResize="0"/>
          <p:nvPr userDrawn="1"/>
        </p:nvPicPr>
        <p:blipFill rotWithShape="1">
          <a:blip r:embed="rId3">
            <a:alphaModFix/>
            <a:extLst>
              <a:ext uri="{28A0092B-C50C-407E-A947-70E740481C1C}">
                <a14:useLocalDpi xmlns:a14="http://schemas.microsoft.com/office/drawing/2010/main" val="0"/>
              </a:ext>
            </a:extLst>
          </a:blip>
          <a:srcRect/>
          <a:stretch/>
        </p:blipFill>
        <p:spPr>
          <a:xfrm>
            <a:off x="398304" y="476496"/>
            <a:ext cx="3038797" cy="762000"/>
          </a:xfrm>
          <a:prstGeom prst="rect">
            <a:avLst/>
          </a:prstGeom>
          <a:noFill/>
          <a:ln>
            <a:noFill/>
          </a:ln>
        </p:spPr>
      </p:pic>
      <p:sp>
        <p:nvSpPr>
          <p:cNvPr id="15" name="Rectangle 15">
            <a:extLst>
              <a:ext uri="{FF2B5EF4-FFF2-40B4-BE49-F238E27FC236}">
                <a16:creationId xmlns:a16="http://schemas.microsoft.com/office/drawing/2014/main" id="{233ED570-848C-47A2-99DC-47D5AD6F423E}"/>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5CD58951-E686-46FA-8D77-7337D9341579}"/>
              </a:ext>
            </a:extLst>
          </p:cNvPr>
          <p:cNvSpPr>
            <a:spLocks noGrp="1"/>
          </p:cNvSpPr>
          <p:nvPr>
            <p:ph sz="quarter" idx="12"/>
          </p:nvPr>
        </p:nvSpPr>
        <p:spPr>
          <a:xfrm>
            <a:off x="4165603" y="772055"/>
            <a:ext cx="7654923"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6" name="ZoneTexte 15">
            <a:extLst>
              <a:ext uri="{FF2B5EF4-FFF2-40B4-BE49-F238E27FC236}">
                <a16:creationId xmlns:a16="http://schemas.microsoft.com/office/drawing/2014/main" id="{58977A8E-B2FD-410C-87AF-91B0EE6957B6}"/>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cxnSp>
        <p:nvCxnSpPr>
          <p:cNvPr id="25" name="Connecteur droit 24">
            <a:extLst>
              <a:ext uri="{FF2B5EF4-FFF2-40B4-BE49-F238E27FC236}">
                <a16:creationId xmlns:a16="http://schemas.microsoft.com/office/drawing/2014/main" id="{4C3F8030-1902-4DA5-964D-682B5BD828B8}"/>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Espace réservé du texte 9">
            <a:extLst>
              <a:ext uri="{FF2B5EF4-FFF2-40B4-BE49-F238E27FC236}">
                <a16:creationId xmlns:a16="http://schemas.microsoft.com/office/drawing/2014/main" id="{30B5B18E-7002-4308-A701-FE91402C9F92}"/>
              </a:ext>
            </a:extLst>
          </p:cNvPr>
          <p:cNvSpPr>
            <a:spLocks noGrp="1"/>
          </p:cNvSpPr>
          <p:nvPr>
            <p:ph type="body" sz="quarter" idx="11"/>
          </p:nvPr>
        </p:nvSpPr>
        <p:spPr>
          <a:xfrm>
            <a:off x="444501" y="2513170"/>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946920666"/>
      </p:ext>
    </p:extLst>
  </p:cSld>
  <p:clrMapOvr>
    <a:masterClrMapping/>
  </p:clrMapOvr>
  <p:extLst>
    <p:ext uri="{DCECCB84-F9BA-43D5-87BE-67443E8EF086}">
      <p15:sldGuideLst xmlns:p15="http://schemas.microsoft.com/office/powerpoint/2012/main">
        <p15:guide id="1" orient="horz" pos="4042">
          <p15:clr>
            <a:srgbClr val="FBAE40"/>
          </p15:clr>
        </p15:guide>
        <p15:guide id="2" pos="2615">
          <p15:clr>
            <a:srgbClr val="FBAE40"/>
          </p15:clr>
        </p15:guide>
        <p15:guide id="3" pos="7446">
          <p15:clr>
            <a:srgbClr val="FBAE40"/>
          </p15:clr>
        </p15:guide>
        <p15:guide id="4" orient="horz" pos="1253">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lan Consulting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6" name="Espace réservé du titre 22">
            <a:extLst>
              <a:ext uri="{FF2B5EF4-FFF2-40B4-BE49-F238E27FC236}">
                <a16:creationId xmlns:a16="http://schemas.microsoft.com/office/drawing/2014/main" id="{CCF31706-E145-4E7D-B83C-C0334C8EED05}"/>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cxnSp>
        <p:nvCxnSpPr>
          <p:cNvPr id="17" name="Connecteur droit 16">
            <a:extLst>
              <a:ext uri="{FF2B5EF4-FFF2-40B4-BE49-F238E27FC236}">
                <a16:creationId xmlns:a16="http://schemas.microsoft.com/office/drawing/2014/main" id="{46926131-99BA-4327-A389-980DD3B6B787}"/>
              </a:ext>
            </a:extLst>
          </p:cNvPr>
          <p:cNvCxnSpPr/>
          <p:nvPr userDrawn="1"/>
        </p:nvCxnSpPr>
        <p:spPr>
          <a:xfrm>
            <a:off x="444500" y="334432"/>
            <a:ext cx="216000" cy="0"/>
          </a:xfrm>
          <a:prstGeom prst="line">
            <a:avLst/>
          </a:prstGeom>
          <a:ln w="25400">
            <a:solidFill>
              <a:srgbClr val="43358B"/>
            </a:solidFill>
          </a:ln>
        </p:spPr>
        <p:style>
          <a:lnRef idx="1">
            <a:schemeClr val="accent1"/>
          </a:lnRef>
          <a:fillRef idx="0">
            <a:schemeClr val="accent1"/>
          </a:fillRef>
          <a:effectRef idx="0">
            <a:schemeClr val="accent1"/>
          </a:effectRef>
          <a:fontRef idx="minor">
            <a:schemeClr val="tx1"/>
          </a:fontRef>
        </p:style>
      </p:cxnSp>
      <p:sp>
        <p:nvSpPr>
          <p:cNvPr id="23" name="Espace réservé du texte 9">
            <a:extLst>
              <a:ext uri="{FF2B5EF4-FFF2-40B4-BE49-F238E27FC236}">
                <a16:creationId xmlns:a16="http://schemas.microsoft.com/office/drawing/2014/main" id="{8B6ED691-9351-4E2A-B074-B2DCE2B5E46C}"/>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5" name="Espace réservé du texte 9">
            <a:extLst>
              <a:ext uri="{FF2B5EF4-FFF2-40B4-BE49-F238E27FC236}">
                <a16:creationId xmlns:a16="http://schemas.microsoft.com/office/drawing/2014/main" id="{741C5B27-1EB9-4430-8059-B4F6EE8B97FB}"/>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7" name="Espace réservé du texte 9">
            <a:extLst>
              <a:ext uri="{FF2B5EF4-FFF2-40B4-BE49-F238E27FC236}">
                <a16:creationId xmlns:a16="http://schemas.microsoft.com/office/drawing/2014/main" id="{C99D7AC0-CE46-4D7A-A6A9-38473FF5A907}"/>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4" name="ZoneTexte 33">
            <a:extLst>
              <a:ext uri="{FF2B5EF4-FFF2-40B4-BE49-F238E27FC236}">
                <a16:creationId xmlns:a16="http://schemas.microsoft.com/office/drawing/2014/main" id="{D7FC11EA-F0DD-4CBB-A1FD-1462B3F7733A}"/>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pic>
        <p:nvPicPr>
          <p:cNvPr id="44" name="Image 43">
            <a:extLst>
              <a:ext uri="{FF2B5EF4-FFF2-40B4-BE49-F238E27FC236}">
                <a16:creationId xmlns:a16="http://schemas.microsoft.com/office/drawing/2014/main" id="{56EB7535-15AD-457F-9699-6EA148F792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3" y="322411"/>
            <a:ext cx="1229681" cy="587219"/>
          </a:xfrm>
          <a:prstGeom prst="rect">
            <a:avLst/>
          </a:prstGeom>
        </p:spPr>
      </p:pic>
      <p:sp>
        <p:nvSpPr>
          <p:cNvPr id="14" name="Rectangle 13">
            <a:extLst>
              <a:ext uri="{FF2B5EF4-FFF2-40B4-BE49-F238E27FC236}">
                <a16:creationId xmlns:a16="http://schemas.microsoft.com/office/drawing/2014/main" id="{8FB526C2-CC74-C3E4-63A0-BBF2DD6D6296}"/>
              </a:ext>
            </a:extLst>
          </p:cNvPr>
          <p:cNvSpPr/>
          <p:nvPr userDrawn="1"/>
        </p:nvSpPr>
        <p:spPr>
          <a:xfrm>
            <a:off x="2" y="0"/>
            <a:ext cx="152901" cy="6858000"/>
          </a:xfrm>
          <a:prstGeom prst="rect">
            <a:avLst/>
          </a:prstGeom>
          <a:solidFill>
            <a:srgbClr val="1D3D91">
              <a:lumMod val="20000"/>
              <a:lumOff val="80000"/>
            </a:srgbClr>
          </a:solidFill>
          <a:ln>
            <a:noFill/>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Organigramme : Entrée manuelle 14">
            <a:extLst>
              <a:ext uri="{FF2B5EF4-FFF2-40B4-BE49-F238E27FC236}">
                <a16:creationId xmlns:a16="http://schemas.microsoft.com/office/drawing/2014/main" id="{55872AE8-FE34-0428-A03F-B738D9273C7D}"/>
              </a:ext>
            </a:extLst>
          </p:cNvPr>
          <p:cNvSpPr/>
          <p:nvPr userDrawn="1"/>
        </p:nvSpPr>
        <p:spPr>
          <a:xfrm flipH="1">
            <a:off x="0" y="4365104"/>
            <a:ext cx="152901" cy="2492896"/>
          </a:xfrm>
          <a:prstGeom prst="flowChartManualInput">
            <a:avLst/>
          </a:prstGeom>
          <a:solidFill>
            <a:srgbClr val="1D3D91"/>
          </a:solidFill>
          <a:ln>
            <a:noFill/>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175407"/>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lan Consulting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AD9143-7BF5-49DC-B830-A5B407B4008D}"/>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23" name="Image 22">
            <a:extLst>
              <a:ext uri="{FF2B5EF4-FFF2-40B4-BE49-F238E27FC236}">
                <a16:creationId xmlns:a16="http://schemas.microsoft.com/office/drawing/2014/main" id="{1253CA35-52B0-40B6-8A31-E972587A65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54513" y="322411"/>
            <a:ext cx="1229681" cy="587219"/>
          </a:xfrm>
          <a:prstGeom prst="rect">
            <a:avLst/>
          </a:prstGeom>
        </p:spPr>
      </p:pic>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2" name="ZoneTexte 11">
            <a:extLst>
              <a:ext uri="{FF2B5EF4-FFF2-40B4-BE49-F238E27FC236}">
                <a16:creationId xmlns:a16="http://schemas.microsoft.com/office/drawing/2014/main" id="{86344C2C-0907-4756-8E85-17EC70A94238}"/>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8" name="Espace réservé du texte 9">
            <a:extLst>
              <a:ext uri="{FF2B5EF4-FFF2-40B4-BE49-F238E27FC236}">
                <a16:creationId xmlns:a16="http://schemas.microsoft.com/office/drawing/2014/main" id="{AD76F8E0-E424-4BC6-AA6F-D2B3C34DFAAB}"/>
              </a:ext>
            </a:extLst>
          </p:cNvPr>
          <p:cNvSpPr>
            <a:spLocks noGrp="1"/>
          </p:cNvSpPr>
          <p:nvPr>
            <p:ph type="body" sz="quarter" idx="11" hasCustomPrompt="1"/>
          </p:nvPr>
        </p:nvSpPr>
        <p:spPr>
          <a:xfrm>
            <a:off x="444500" y="2016655"/>
            <a:ext cx="1136623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4042828224"/>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Titre de section" preserve="1" userDrawn="1">
  <p:cSld name="Titre de section">
    <p:bg>
      <p:bgPr>
        <a:solidFill>
          <a:schemeClr val="accent3"/>
        </a:solidFill>
        <a:effectLst/>
      </p:bgPr>
    </p:bg>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85B9AAE5-49CF-4F1D-8409-5D67EFCD7D1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45" b="20577"/>
          <a:stretch/>
        </p:blipFill>
        <p:spPr>
          <a:xfrm>
            <a:off x="133661" y="0"/>
            <a:ext cx="12058339" cy="6858000"/>
          </a:xfrm>
          <a:prstGeom prst="rect">
            <a:avLst/>
          </a:prstGeom>
        </p:spPr>
      </p:pic>
      <p:sp>
        <p:nvSpPr>
          <p:cNvPr id="16" name="Titre 1">
            <a:extLst>
              <a:ext uri="{FF2B5EF4-FFF2-40B4-BE49-F238E27FC236}">
                <a16:creationId xmlns:a16="http://schemas.microsoft.com/office/drawing/2014/main" id="{4EEA0782-6A05-4EF7-B879-E7965733B97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cxnSp>
        <p:nvCxnSpPr>
          <p:cNvPr id="17" name="Connecteur droit 16">
            <a:extLst>
              <a:ext uri="{FF2B5EF4-FFF2-40B4-BE49-F238E27FC236}">
                <a16:creationId xmlns:a16="http://schemas.microsoft.com/office/drawing/2014/main" id="{BAFDEC18-F7AF-4F8A-980B-42978FEB6647}"/>
              </a:ext>
            </a:extLst>
          </p:cNvPr>
          <p:cNvCxnSpPr/>
          <p:nvPr userDrawn="1"/>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178599B4-09A0-4732-9C6B-3AA48B9246BB}"/>
              </a:ext>
            </a:extLst>
          </p:cNvPr>
          <p:cNvSpPr>
            <a:spLocks noGrp="1"/>
          </p:cNvSpPr>
          <p:nvPr>
            <p:ph type="body" sz="quarter" idx="11"/>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22" name="Rectangle 15">
            <a:extLst>
              <a:ext uri="{FF2B5EF4-FFF2-40B4-BE49-F238E27FC236}">
                <a16:creationId xmlns:a16="http://schemas.microsoft.com/office/drawing/2014/main" id="{E2157304-EC74-43D6-AEA3-466B535CC51C}"/>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Rectangle 15">
            <a:extLst>
              <a:ext uri="{FF2B5EF4-FFF2-40B4-BE49-F238E27FC236}">
                <a16:creationId xmlns:a16="http://schemas.microsoft.com/office/drawing/2014/main" id="{31564DE9-6942-4E0E-BBCF-AA13E048DA46}"/>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4" name="Google Shape;118;p18">
            <a:extLst>
              <a:ext uri="{FF2B5EF4-FFF2-40B4-BE49-F238E27FC236}">
                <a16:creationId xmlns:a16="http://schemas.microsoft.com/office/drawing/2014/main" id="{BB4F97A6-F7CE-4228-AEDD-C7CD95AD2C60}"/>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10623107" y="207270"/>
            <a:ext cx="1429560" cy="630087"/>
          </a:xfrm>
          <a:prstGeom prst="rect">
            <a:avLst/>
          </a:prstGeom>
          <a:noFill/>
          <a:ln>
            <a:noFill/>
          </a:ln>
        </p:spPr>
      </p:pic>
    </p:spTree>
    <p:extLst>
      <p:ext uri="{BB962C8B-B14F-4D97-AF65-F5344CB8AC3E}">
        <p14:creationId xmlns:p14="http://schemas.microsoft.com/office/powerpoint/2010/main" val="227835323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Titre de section" preserve="1" userDrawn="1">
  <p:cSld name="1_Titre de section">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3" name="Google Shape;114;p18">
            <a:extLst>
              <a:ext uri="{FF2B5EF4-FFF2-40B4-BE49-F238E27FC236}">
                <a16:creationId xmlns:a16="http://schemas.microsoft.com/office/drawing/2014/main" id="{FB982B76-0042-408D-9AA4-FD82DCE5A1B5}"/>
              </a:ext>
            </a:extLst>
          </p:cNvPr>
          <p:cNvPicPr preferRelativeResize="0"/>
          <p:nvPr userDrawn="1"/>
        </p:nvPicPr>
        <p:blipFill rotWithShape="1">
          <a:blip r:embed="rId5" cstate="screen">
            <a:alphaModFix/>
            <a:extLst>
              <a:ext uri="{28A0092B-C50C-407E-A947-70E740481C1C}">
                <a14:useLocalDpi xmlns:a14="http://schemas.microsoft.com/office/drawing/2010/main" val="0"/>
              </a:ext>
            </a:extLst>
          </a:blip>
          <a:srcRect/>
          <a:stretch/>
        </p:blipFill>
        <p:spPr>
          <a:xfrm>
            <a:off x="106532" y="0"/>
            <a:ext cx="12085473" cy="6858000"/>
          </a:xfrm>
          <a:prstGeom prst="rect">
            <a:avLst/>
          </a:prstGeom>
          <a:noFill/>
          <a:ln>
            <a:noFill/>
          </a:ln>
        </p:spPr>
      </p:pic>
      <p:sp>
        <p:nvSpPr>
          <p:cNvPr id="12" name="Google Shape;115;p18">
            <a:extLst>
              <a:ext uri="{FF2B5EF4-FFF2-40B4-BE49-F238E27FC236}">
                <a16:creationId xmlns:a16="http://schemas.microsoft.com/office/drawing/2014/main" id="{60C30AD3-691F-411A-AF71-0E3F16B4DE87}"/>
              </a:ext>
            </a:extLst>
          </p:cNvPr>
          <p:cNvSpPr/>
          <p:nvPr userDrawn="1"/>
        </p:nvSpPr>
        <p:spPr>
          <a:xfrm>
            <a:off x="133657" y="0"/>
            <a:ext cx="12085475" cy="6858000"/>
          </a:xfrm>
          <a:prstGeom prst="rect">
            <a:avLst/>
          </a:prstGeom>
          <a:solidFill>
            <a:schemeClr val="dk1">
              <a:alpha val="20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Montserrat" panose="00000500000000000000" pitchFamily="2" charset="0"/>
              <a:ea typeface="Arial"/>
              <a:cs typeface="Arial"/>
              <a:sym typeface="Arial"/>
            </a:endParaRPr>
          </a:p>
        </p:txBody>
      </p:sp>
      <p:sp>
        <p:nvSpPr>
          <p:cNvPr id="8" name="Rectangle 15">
            <a:extLst>
              <a:ext uri="{FF2B5EF4-FFF2-40B4-BE49-F238E27FC236}">
                <a16:creationId xmlns:a16="http://schemas.microsoft.com/office/drawing/2014/main" id="{1A711A19-CB60-4AB0-A903-1EAAAFD1925F}"/>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pic>
        <p:nvPicPr>
          <p:cNvPr id="14" name="Google Shape;118;p18">
            <a:extLst>
              <a:ext uri="{FF2B5EF4-FFF2-40B4-BE49-F238E27FC236}">
                <a16:creationId xmlns:a16="http://schemas.microsoft.com/office/drawing/2014/main" id="{DE882872-320B-4B5E-8257-77F279B51876}"/>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10623107" y="207270"/>
            <a:ext cx="1429560" cy="630087"/>
          </a:xfrm>
          <a:prstGeom prst="rect">
            <a:avLst/>
          </a:prstGeom>
          <a:noFill/>
          <a:ln>
            <a:noFill/>
          </a:ln>
        </p:spPr>
      </p:pic>
      <p:sp>
        <p:nvSpPr>
          <p:cNvPr id="9" name="Rectangle 15">
            <a:extLst>
              <a:ext uri="{FF2B5EF4-FFF2-40B4-BE49-F238E27FC236}">
                <a16:creationId xmlns:a16="http://schemas.microsoft.com/office/drawing/2014/main" id="{717961F4-DDCA-4A68-A35C-A54EA126081C}"/>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Espace réservé du pied de page 24">
            <a:extLst>
              <a:ext uri="{FF2B5EF4-FFF2-40B4-BE49-F238E27FC236}">
                <a16:creationId xmlns:a16="http://schemas.microsoft.com/office/drawing/2014/main" id="{671B5B78-8172-4448-B285-C57955420D4B}"/>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Tree>
    <p:extLst>
      <p:ext uri="{BB962C8B-B14F-4D97-AF65-F5344CB8AC3E}">
        <p14:creationId xmlns:p14="http://schemas.microsoft.com/office/powerpoint/2010/main" val="38825957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lan Shore 1">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7" name="Rectangle 15">
            <a:extLst>
              <a:ext uri="{FF2B5EF4-FFF2-40B4-BE49-F238E27FC236}">
                <a16:creationId xmlns:a16="http://schemas.microsoft.com/office/drawing/2014/main" id="{51566385-A015-4370-9648-188B801B03F6}"/>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8" name="Rectangle 15">
            <a:extLst>
              <a:ext uri="{FF2B5EF4-FFF2-40B4-BE49-F238E27FC236}">
                <a16:creationId xmlns:a16="http://schemas.microsoft.com/office/drawing/2014/main" id="{70C209E0-3B2D-4AAD-86ED-26771D9C5147}"/>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5" name="Image 24">
            <a:extLst>
              <a:ext uri="{FF2B5EF4-FFF2-40B4-BE49-F238E27FC236}">
                <a16:creationId xmlns:a16="http://schemas.microsoft.com/office/drawing/2014/main" id="{BDC52242-3B2F-478C-AA54-EC7A822907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02488" y="189653"/>
            <a:ext cx="2216887" cy="1247120"/>
          </a:xfrm>
          <a:prstGeom prst="rect">
            <a:avLst/>
          </a:prstGeom>
        </p:spPr>
      </p:pic>
      <p:sp>
        <p:nvSpPr>
          <p:cNvPr id="3" name="Espace réservé du contenu 2">
            <a:extLst>
              <a:ext uri="{FF2B5EF4-FFF2-40B4-BE49-F238E27FC236}">
                <a16:creationId xmlns:a16="http://schemas.microsoft.com/office/drawing/2014/main" id="{1B51688D-8481-4F11-984D-661BE8F24570}"/>
              </a:ext>
            </a:extLst>
          </p:cNvPr>
          <p:cNvSpPr>
            <a:spLocks noGrp="1"/>
          </p:cNvSpPr>
          <p:nvPr>
            <p:ph sz="quarter" idx="12"/>
          </p:nvPr>
        </p:nvSpPr>
        <p:spPr>
          <a:xfrm>
            <a:off x="4165600" y="772055"/>
            <a:ext cx="7654925" cy="664284"/>
          </a:xfrm>
          <a:prstGeom prst="rect">
            <a:avLst/>
          </a:prstGeom>
        </p:spPr>
        <p:txBody>
          <a:bodyPr wrap="square" lIns="0" tIns="0" rIns="0" bIns="0">
            <a:spAutoFit/>
          </a:bodyPr>
          <a:lstStyle>
            <a:lvl1pPr>
              <a:defRPr sz="1200">
                <a:latin typeface="Montserrat" panose="00000500000000000000" pitchFamily="2" charset="0"/>
              </a:defRPr>
            </a:lvl1pPr>
            <a:lvl2pPr>
              <a:defRPr sz="1100">
                <a:latin typeface="Montserrat" panose="00000500000000000000" pitchFamily="2" charset="0"/>
              </a:defRPr>
            </a:lvl2pPr>
            <a:lvl3pP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5" name="ZoneTexte 14">
            <a:extLst>
              <a:ext uri="{FF2B5EF4-FFF2-40B4-BE49-F238E27FC236}">
                <a16:creationId xmlns:a16="http://schemas.microsoft.com/office/drawing/2014/main" id="{9D3043BA-08CA-46D8-A6B5-1FE7228D48D1}"/>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9" name="Espace réservé du pied de page 24">
            <a:extLst>
              <a:ext uri="{FF2B5EF4-FFF2-40B4-BE49-F238E27FC236}">
                <a16:creationId xmlns:a16="http://schemas.microsoft.com/office/drawing/2014/main" id="{EC55312B-9B46-419D-9DE7-24EAAF5236D0}"/>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DBAD87EE-CC1E-49A4-B5E7-37D78BEE62C9}"/>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1" name="Connecteur droit 20">
            <a:extLst>
              <a:ext uri="{FF2B5EF4-FFF2-40B4-BE49-F238E27FC236}">
                <a16:creationId xmlns:a16="http://schemas.microsoft.com/office/drawing/2014/main" id="{260D9AF6-5584-4FE7-9429-CE3A617E2841}"/>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Espace réservé du texte 9">
            <a:extLst>
              <a:ext uri="{FF2B5EF4-FFF2-40B4-BE49-F238E27FC236}">
                <a16:creationId xmlns:a16="http://schemas.microsoft.com/office/drawing/2014/main" id="{82038319-F0C9-4051-91B0-98B5A03119D7}"/>
              </a:ext>
            </a:extLst>
          </p:cNvPr>
          <p:cNvSpPr>
            <a:spLocks noGrp="1"/>
          </p:cNvSpPr>
          <p:nvPr>
            <p:ph type="body" sz="quarter" idx="11"/>
          </p:nvPr>
        </p:nvSpPr>
        <p:spPr>
          <a:xfrm>
            <a:off x="444501" y="2513170"/>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065336823"/>
      </p:ext>
    </p:extLst>
  </p:cSld>
  <p:clrMapOvr>
    <a:masterClrMapping/>
  </p:clrMapOvr>
  <p:extLst>
    <p:ext uri="{DCECCB84-F9BA-43D5-87BE-67443E8EF086}">
      <p15:sldGuideLst xmlns:p15="http://schemas.microsoft.com/office/powerpoint/2012/main">
        <p15:guide id="1" orient="horz" pos="482">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7EE330CA-F8A0-4A5A-AA6A-016776CCF21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5" name="Objet 4" hidden="1">
                        <a:extLst>
                          <a:ext uri="{FF2B5EF4-FFF2-40B4-BE49-F238E27FC236}">
                            <a16:creationId xmlns:a16="http://schemas.microsoft.com/office/drawing/2014/main" id="{7EE330CA-F8A0-4A5A-AA6A-016776CCF21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ZoneTexte 1">
            <a:extLst>
              <a:ext uri="{FF2B5EF4-FFF2-40B4-BE49-F238E27FC236}">
                <a16:creationId xmlns:a16="http://schemas.microsoft.com/office/drawing/2014/main" id="{8E058DD8-9086-4AB3-B133-AEDB3776CA68}"/>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sym typeface="Montserrat" panose="00000500000000000000" pitchFamily="2" charset="0"/>
              </a:rPr>
              <a:pPr algn="ctr"/>
              <a:t>‹#›</a:t>
            </a:fld>
            <a:endParaRPr lang="en-US" sz="1100">
              <a:solidFill>
                <a:schemeClr val="tx2"/>
              </a:solidFill>
              <a:latin typeface="Montserrat" panose="00000500000000000000" pitchFamily="2" charset="0"/>
              <a:sym typeface="Montserrat" panose="00000500000000000000" pitchFamily="2" charset="0"/>
            </a:endParaRPr>
          </a:p>
        </p:txBody>
      </p:sp>
      <p:sp>
        <p:nvSpPr>
          <p:cNvPr id="3" name="Espace réservé du pied de page 24">
            <a:extLst>
              <a:ext uri="{FF2B5EF4-FFF2-40B4-BE49-F238E27FC236}">
                <a16:creationId xmlns:a16="http://schemas.microsoft.com/office/drawing/2014/main" id="{368C0D64-4B59-4EC7-BA4D-930D1E37583A}"/>
              </a:ext>
            </a:extLst>
          </p:cNvPr>
          <p:cNvSpPr txBox="1">
            <a:spLocks/>
          </p:cNvSpPr>
          <p:nvPr userDrawn="1"/>
        </p:nvSpPr>
        <p:spPr>
          <a:xfrm>
            <a:off x="350534"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Tree>
    <p:extLst>
      <p:ext uri="{BB962C8B-B14F-4D97-AF65-F5344CB8AC3E}">
        <p14:creationId xmlns:p14="http://schemas.microsoft.com/office/powerpoint/2010/main" val="57679798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5">
            <a:alphaModFix/>
            <a:extLst>
              <a:ext uri="{28A0092B-C50C-407E-A947-70E740481C1C}">
                <a14:useLocalDpi xmlns:a14="http://schemas.microsoft.com/office/drawing/2010/main" val="0"/>
              </a:ext>
            </a:extLst>
          </a:blip>
          <a:srcRect/>
          <a:stretch/>
        </p:blipFill>
        <p:spPr>
          <a:xfrm>
            <a:off x="5"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l="11873"/>
          <a:stretch/>
        </p:blipFill>
        <p:spPr>
          <a:xfrm>
            <a:off x="1" y="-1"/>
            <a:ext cx="10652391"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7">
            <a:alphaModFix/>
            <a:extLst>
              <a:ext uri="{28A0092B-C50C-407E-A947-70E740481C1C}">
                <a14:useLocalDpi xmlns:a14="http://schemas.microsoft.com/office/drawing/2010/main" val="0"/>
              </a:ext>
            </a:extLst>
          </a:blip>
          <a:srcRect/>
          <a:stretch/>
        </p:blipFill>
        <p:spPr>
          <a:xfrm>
            <a:off x="7186549" y="2498214"/>
            <a:ext cx="3309151" cy="1861577"/>
          </a:xfrm>
          <a:prstGeom prst="rect">
            <a:avLst/>
          </a:prstGeom>
          <a:noFill/>
          <a:ln>
            <a:noFill/>
          </a:ln>
        </p:spPr>
      </p:pic>
    </p:spTree>
    <p:extLst>
      <p:ext uri="{BB962C8B-B14F-4D97-AF65-F5344CB8AC3E}">
        <p14:creationId xmlns:p14="http://schemas.microsoft.com/office/powerpoint/2010/main" val="284688708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lan Shore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D96BC2-36A5-4A54-B2D6-D6ADF8B162A1}"/>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52" name="Image 51">
            <a:extLst>
              <a:ext uri="{FF2B5EF4-FFF2-40B4-BE49-F238E27FC236}">
                <a16:creationId xmlns:a16="http://schemas.microsoft.com/office/drawing/2014/main" id="{FCA93EA0-8646-46AF-8E4E-83A22D31887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554511" y="322412"/>
            <a:ext cx="1050440" cy="546337"/>
          </a:xfrm>
          <a:prstGeom prst="rect">
            <a:avLst/>
          </a:prstGeom>
        </p:spPr>
      </p:pic>
      <p:sp>
        <p:nvSpPr>
          <p:cNvPr id="36" name="Espace réservé du titre 22">
            <a:extLst>
              <a:ext uri="{FF2B5EF4-FFF2-40B4-BE49-F238E27FC236}">
                <a16:creationId xmlns:a16="http://schemas.microsoft.com/office/drawing/2014/main" id="{BCCC5FBA-878A-43A6-A27B-C96124642A3E}"/>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1"/>
                </a:solidFill>
                <a:latin typeface="Montserrat" panose="00000500000000000000" pitchFamily="2" charset="0"/>
              </a:defRPr>
            </a:lvl1pPr>
          </a:lstStyle>
          <a:p>
            <a:r>
              <a:rPr lang="fr-FR"/>
              <a:t>MODIFIEZ LE STYLE DU TITRE</a:t>
            </a:r>
            <a:endParaRPr lang="en-US"/>
          </a:p>
        </p:txBody>
      </p:sp>
      <p:cxnSp>
        <p:nvCxnSpPr>
          <p:cNvPr id="37" name="Connecteur droit 36">
            <a:extLst>
              <a:ext uri="{FF2B5EF4-FFF2-40B4-BE49-F238E27FC236}">
                <a16:creationId xmlns:a16="http://schemas.microsoft.com/office/drawing/2014/main" id="{52825738-3913-4B66-A6A6-ECB55D4A9106}"/>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15">
            <a:extLst>
              <a:ext uri="{FF2B5EF4-FFF2-40B4-BE49-F238E27FC236}">
                <a16:creationId xmlns:a16="http://schemas.microsoft.com/office/drawing/2014/main" id="{F0D2ADFD-4E8B-4699-BDE7-14B0B17F1500}"/>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39" name="Rectangle 15">
            <a:extLst>
              <a:ext uri="{FF2B5EF4-FFF2-40B4-BE49-F238E27FC236}">
                <a16:creationId xmlns:a16="http://schemas.microsoft.com/office/drawing/2014/main" id="{621978B8-78F6-443A-8617-8FC0DE8A979D}"/>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40" name="Espace réservé du texte 9">
            <a:extLst>
              <a:ext uri="{FF2B5EF4-FFF2-40B4-BE49-F238E27FC236}">
                <a16:creationId xmlns:a16="http://schemas.microsoft.com/office/drawing/2014/main" id="{F788F6CE-8EBB-4C53-8932-2A8E269EC40A}"/>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6"/>
                </a:solidFill>
                <a:latin typeface="Montserrat" panose="00000500000000000000" pitchFamily="2" charset="0"/>
              </a:defRPr>
            </a:lvl1pPr>
            <a:lvl2pPr>
              <a:defRPr sz="1100">
                <a:latin typeface="Montserrat" panose="00000500000000000000" pitchFamily="2" charset="0"/>
              </a:defRPr>
            </a:lvl2pPr>
            <a:lvl3pPr>
              <a:buClr>
                <a:schemeClr val="accent6"/>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41" name="Espace réservé du texte 9">
            <a:extLst>
              <a:ext uri="{FF2B5EF4-FFF2-40B4-BE49-F238E27FC236}">
                <a16:creationId xmlns:a16="http://schemas.microsoft.com/office/drawing/2014/main" id="{5D33A76D-E569-4338-849A-CB2FC03D6C6F}"/>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6"/>
                </a:solidFill>
                <a:latin typeface="Montserrat" panose="00000500000000000000" pitchFamily="2" charset="0"/>
              </a:defRPr>
            </a:lvl1pPr>
            <a:lvl2pPr>
              <a:defRPr sz="1100">
                <a:latin typeface="Montserrat" panose="00000500000000000000" pitchFamily="2" charset="0"/>
              </a:defRPr>
            </a:lvl2pPr>
            <a:lvl3pPr>
              <a:buClr>
                <a:schemeClr val="accent6"/>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42" name="Espace réservé du texte 9">
            <a:extLst>
              <a:ext uri="{FF2B5EF4-FFF2-40B4-BE49-F238E27FC236}">
                <a16:creationId xmlns:a16="http://schemas.microsoft.com/office/drawing/2014/main" id="{6D254C52-3176-4B30-BC51-AE2F8B92DAD6}"/>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45" name="ZoneTexte 44">
            <a:extLst>
              <a:ext uri="{FF2B5EF4-FFF2-40B4-BE49-F238E27FC236}">
                <a16:creationId xmlns:a16="http://schemas.microsoft.com/office/drawing/2014/main" id="{9F8F17C4-23ED-4DC2-B3EF-E9977223AF5D}"/>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46" name="Espace réservé du pied de page 24">
            <a:extLst>
              <a:ext uri="{FF2B5EF4-FFF2-40B4-BE49-F238E27FC236}">
                <a16:creationId xmlns:a16="http://schemas.microsoft.com/office/drawing/2014/main" id="{472CAD6F-E38B-4E93-9F4E-46B4F7775370}"/>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47" name="Espace réservé du pied de page 24">
            <a:extLst>
              <a:ext uri="{FF2B5EF4-FFF2-40B4-BE49-F238E27FC236}">
                <a16:creationId xmlns:a16="http://schemas.microsoft.com/office/drawing/2014/main" id="{F7462EFF-6604-416D-87F1-08E510A1A83B}"/>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1906804573"/>
      </p:ext>
    </p:extLst>
  </p:cSld>
  <p:clrMapOvr>
    <a:masterClrMapping/>
  </p:clrMapOvr>
  <p:extLst>
    <p:ext uri="{DCECCB84-F9BA-43D5-87BE-67443E8EF086}">
      <p15:sldGuideLst xmlns:p15="http://schemas.microsoft.com/office/powerpoint/2012/main">
        <p15:guide id="1" orient="horz" pos="1266">
          <p15:clr>
            <a:srgbClr val="FBAE40"/>
          </p15:clr>
        </p15:guide>
        <p15:guide id="2" pos="279">
          <p15:clr>
            <a:srgbClr val="FBAE40"/>
          </p15:clr>
        </p15:guide>
        <p15:guide id="4" orient="horz" pos="4042">
          <p15:clr>
            <a:srgbClr val="FBAE40"/>
          </p15:clr>
        </p15:guide>
        <p15:guide id="5" pos="744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lan Shore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a:solidFill>
                  <a:schemeClr val="accent1"/>
                </a:solidFill>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7" name="ZoneTexte 16">
            <a:extLst>
              <a:ext uri="{FF2B5EF4-FFF2-40B4-BE49-F238E27FC236}">
                <a16:creationId xmlns:a16="http://schemas.microsoft.com/office/drawing/2014/main" id="{09084107-D56F-4534-8671-CCA4D596EF84}"/>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A8746B37-CE46-4863-828B-B3CCB5CC3FBA}"/>
              </a:ext>
            </a:extLst>
          </p:cNvPr>
          <p:cNvSpPr txBox="1">
            <a:spLocks/>
          </p:cNvSpPr>
          <p:nvPr userDrawn="1"/>
        </p:nvSpPr>
        <p:spPr>
          <a:xfrm>
            <a:off x="444500"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9" name="Espace réservé du pied de page 24">
            <a:extLst>
              <a:ext uri="{FF2B5EF4-FFF2-40B4-BE49-F238E27FC236}">
                <a16:creationId xmlns:a16="http://schemas.microsoft.com/office/drawing/2014/main" id="{149FF4F4-DA74-4C07-A310-6BFE18AA4905}"/>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
        <p:nvSpPr>
          <p:cNvPr id="28" name="Espace réservé du texte 9">
            <a:extLst>
              <a:ext uri="{FF2B5EF4-FFF2-40B4-BE49-F238E27FC236}">
                <a16:creationId xmlns:a16="http://schemas.microsoft.com/office/drawing/2014/main" id="{64D8C0F0-C8DC-44D8-807F-8B5B17B28C1E}"/>
              </a:ext>
            </a:extLst>
          </p:cNvPr>
          <p:cNvSpPr>
            <a:spLocks noGrp="1"/>
          </p:cNvSpPr>
          <p:nvPr>
            <p:ph type="body" sz="quarter" idx="11" hasCustomPrompt="1"/>
          </p:nvPr>
        </p:nvSpPr>
        <p:spPr>
          <a:xfrm>
            <a:off x="444501" y="2016655"/>
            <a:ext cx="11376025" cy="664284"/>
          </a:xfrm>
          <a:prstGeom prst="rect">
            <a:avLst/>
          </a:prstGeom>
        </p:spPr>
        <p:txBody>
          <a:bodyPr wrap="square" lIns="0" tIns="0" rIns="0" bIns="0">
            <a:spAutoFit/>
          </a:bodyPr>
          <a:lstStyle>
            <a:lvl1pPr>
              <a:defRPr sz="1200">
                <a:solidFill>
                  <a:schemeClr val="accent6"/>
                </a:solidFill>
                <a:latin typeface="Montserrat" panose="00000500000000000000" pitchFamily="2" charset="0"/>
              </a:defRPr>
            </a:lvl1pPr>
            <a:lvl2pPr>
              <a:defRPr sz="1100">
                <a:latin typeface="Montserrat" panose="00000500000000000000" pitchFamily="2" charset="0"/>
              </a:defRPr>
            </a:lvl2pPr>
            <a:lvl3pPr>
              <a:buClr>
                <a:schemeClr val="accent6"/>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pic>
        <p:nvPicPr>
          <p:cNvPr id="29" name="Image 28">
            <a:extLst>
              <a:ext uri="{FF2B5EF4-FFF2-40B4-BE49-F238E27FC236}">
                <a16:creationId xmlns:a16="http://schemas.microsoft.com/office/drawing/2014/main" id="{9085CB56-9D57-474A-B50E-9ACC4E53920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54511" y="322412"/>
            <a:ext cx="1050440" cy="546337"/>
          </a:xfrm>
          <a:prstGeom prst="rect">
            <a:avLst/>
          </a:prstGeom>
        </p:spPr>
      </p:pic>
    </p:spTree>
    <p:extLst>
      <p:ext uri="{BB962C8B-B14F-4D97-AF65-F5344CB8AC3E}">
        <p14:creationId xmlns:p14="http://schemas.microsoft.com/office/powerpoint/2010/main" val="6358380"/>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re de section" preserve="1" userDrawn="1">
  <p:cSld name="Titre de section">
    <p:bg>
      <p:bgPr>
        <a:solidFill>
          <a:schemeClr val="accent3"/>
        </a:solidFill>
        <a:effectLst/>
      </p:bgPr>
    </p:bg>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85B9AAE5-49CF-4F1D-8409-5D67EFCD7D1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3245" b="20577"/>
          <a:stretch/>
        </p:blipFill>
        <p:spPr>
          <a:xfrm>
            <a:off x="133661" y="0"/>
            <a:ext cx="12058339" cy="6858000"/>
          </a:xfrm>
          <a:prstGeom prst="rect">
            <a:avLst/>
          </a:prstGeom>
        </p:spPr>
      </p:pic>
      <p:sp>
        <p:nvSpPr>
          <p:cNvPr id="16" name="Titre 1">
            <a:extLst>
              <a:ext uri="{FF2B5EF4-FFF2-40B4-BE49-F238E27FC236}">
                <a16:creationId xmlns:a16="http://schemas.microsoft.com/office/drawing/2014/main" id="{4EEA0782-6A05-4EF7-B879-E7965733B97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cxnSp>
        <p:nvCxnSpPr>
          <p:cNvPr id="17" name="Connecteur droit 16">
            <a:extLst>
              <a:ext uri="{FF2B5EF4-FFF2-40B4-BE49-F238E27FC236}">
                <a16:creationId xmlns:a16="http://schemas.microsoft.com/office/drawing/2014/main" id="{BAFDEC18-F7AF-4F8A-980B-42978FEB6647}"/>
              </a:ext>
            </a:extLst>
          </p:cNvPr>
          <p:cNvCxnSpPr/>
          <p:nvPr userDrawn="1"/>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178599B4-09A0-4732-9C6B-3AA48B9246BB}"/>
              </a:ext>
            </a:extLst>
          </p:cNvPr>
          <p:cNvSpPr>
            <a:spLocks noGrp="1"/>
          </p:cNvSpPr>
          <p:nvPr>
            <p:ph type="body" sz="quarter" idx="11"/>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22" name="Rectangle 15">
            <a:extLst>
              <a:ext uri="{FF2B5EF4-FFF2-40B4-BE49-F238E27FC236}">
                <a16:creationId xmlns:a16="http://schemas.microsoft.com/office/drawing/2014/main" id="{E2157304-EC74-43D6-AEA3-466B535CC51C}"/>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Rectangle 15">
            <a:extLst>
              <a:ext uri="{FF2B5EF4-FFF2-40B4-BE49-F238E27FC236}">
                <a16:creationId xmlns:a16="http://schemas.microsoft.com/office/drawing/2014/main" id="{31564DE9-6942-4E0E-BBCF-AA13E048DA46}"/>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4" name="Google Shape;118;p18">
            <a:extLst>
              <a:ext uri="{FF2B5EF4-FFF2-40B4-BE49-F238E27FC236}">
                <a16:creationId xmlns:a16="http://schemas.microsoft.com/office/drawing/2014/main" id="{BB4F97A6-F7CE-4228-AEDD-C7CD95AD2C60}"/>
              </a:ext>
            </a:extLst>
          </p:cNvPr>
          <p:cNvPicPr preferRelativeResize="0"/>
          <p:nvPr userDrawn="1"/>
        </p:nvPicPr>
        <p:blipFill rotWithShape="1">
          <a:blip r:embed="rId6" cstate="screen">
            <a:alphaModFix/>
            <a:extLst>
              <a:ext uri="{28A0092B-C50C-407E-A947-70E740481C1C}">
                <a14:useLocalDpi xmlns:a14="http://schemas.microsoft.com/office/drawing/2010/main"/>
              </a:ext>
            </a:extLst>
          </a:blip>
          <a:srcRect/>
          <a:stretch/>
        </p:blipFill>
        <p:spPr>
          <a:xfrm>
            <a:off x="10623107" y="207270"/>
            <a:ext cx="1429560" cy="630087"/>
          </a:xfrm>
          <a:prstGeom prst="rect">
            <a:avLst/>
          </a:prstGeom>
          <a:noFill/>
          <a:ln>
            <a:noFill/>
          </a:ln>
        </p:spPr>
      </p:pic>
      <p:sp>
        <p:nvSpPr>
          <p:cNvPr id="12" name="ZoneTexte 11">
            <a:extLst>
              <a:ext uri="{FF2B5EF4-FFF2-40B4-BE49-F238E27FC236}">
                <a16:creationId xmlns:a16="http://schemas.microsoft.com/office/drawing/2014/main" id="{B1E2509A-C884-4063-AE71-44264783C5CD}"/>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3" name="Espace réservé du pied de page 24">
            <a:extLst>
              <a:ext uri="{FF2B5EF4-FFF2-40B4-BE49-F238E27FC236}">
                <a16:creationId xmlns:a16="http://schemas.microsoft.com/office/drawing/2014/main" id="{C180B10F-6DA4-446F-AF71-2F64D3C10CBF}"/>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4" name="Espace réservé du pied de page 24">
            <a:extLst>
              <a:ext uri="{FF2B5EF4-FFF2-40B4-BE49-F238E27FC236}">
                <a16:creationId xmlns:a16="http://schemas.microsoft.com/office/drawing/2014/main" id="{ADBB0F6B-0B6C-4A16-8C37-85943A0A3F60}"/>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Tree>
    <p:extLst>
      <p:ext uri="{BB962C8B-B14F-4D97-AF65-F5344CB8AC3E}">
        <p14:creationId xmlns:p14="http://schemas.microsoft.com/office/powerpoint/2010/main" val="262689696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re de section" userDrawn="1">
  <p:cSld name="1_Titre de section">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22" name="Google Shape;322;p54">
            <a:extLst>
              <a:ext uri="{FF2B5EF4-FFF2-40B4-BE49-F238E27FC236}">
                <a16:creationId xmlns:a16="http://schemas.microsoft.com/office/drawing/2014/main" id="{07F8963C-BB4B-47E6-953E-2D1022422906}"/>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63503" y="0"/>
            <a:ext cx="12128500" cy="6858000"/>
          </a:xfrm>
          <a:prstGeom prst="rect">
            <a:avLst/>
          </a:prstGeom>
          <a:noFill/>
          <a:ln>
            <a:noFill/>
          </a:ln>
        </p:spPr>
      </p:pic>
      <p:pic>
        <p:nvPicPr>
          <p:cNvPr id="118" name="Google Shape;118;p18"/>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0623107" y="207270"/>
            <a:ext cx="1429560" cy="630087"/>
          </a:xfrm>
          <a:prstGeom prst="rect">
            <a:avLst/>
          </a:prstGeom>
          <a:noFill/>
          <a:ln>
            <a:noFill/>
          </a:ln>
        </p:spPr>
      </p:pic>
      <p:sp>
        <p:nvSpPr>
          <p:cNvPr id="8" name="Rectangle 15">
            <a:extLst>
              <a:ext uri="{FF2B5EF4-FFF2-40B4-BE49-F238E27FC236}">
                <a16:creationId xmlns:a16="http://schemas.microsoft.com/office/drawing/2014/main" id="{1A711A19-CB60-4AB0-A903-1EAAAFD1925F}"/>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9" name="Rectangle 15">
            <a:extLst>
              <a:ext uri="{FF2B5EF4-FFF2-40B4-BE49-F238E27FC236}">
                <a16:creationId xmlns:a16="http://schemas.microsoft.com/office/drawing/2014/main" id="{717961F4-DDCA-4A68-A35C-A54EA126081C}"/>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12" name="ZoneTexte 11">
            <a:extLst>
              <a:ext uri="{FF2B5EF4-FFF2-40B4-BE49-F238E27FC236}">
                <a16:creationId xmlns:a16="http://schemas.microsoft.com/office/drawing/2014/main" id="{24613B63-BBB7-4F8D-98F0-69BF8DFD8275}"/>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3" name="Espace réservé du pied de page 24">
            <a:extLst>
              <a:ext uri="{FF2B5EF4-FFF2-40B4-BE49-F238E27FC236}">
                <a16:creationId xmlns:a16="http://schemas.microsoft.com/office/drawing/2014/main" id="{6B9F95C9-4475-4F16-9B12-81984222D0D2}"/>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4" name="Espace réservé du pied de page 24">
            <a:extLst>
              <a:ext uri="{FF2B5EF4-FFF2-40B4-BE49-F238E27FC236}">
                <a16:creationId xmlns:a16="http://schemas.microsoft.com/office/drawing/2014/main" id="{51390792-595B-4F76-91A4-33FD905FC9D7}"/>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Tree>
    <p:extLst>
      <p:ext uri="{BB962C8B-B14F-4D97-AF65-F5344CB8AC3E}">
        <p14:creationId xmlns:p14="http://schemas.microsoft.com/office/powerpoint/2010/main" val="10362027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lan Consulting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AD9143-7BF5-49DC-B830-A5B407B4008D}"/>
              </a:ext>
            </a:extLst>
          </p:cNvPr>
          <p:cNvSpPr/>
          <p:nvPr userDrawn="1">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23" name="Image 22">
            <a:extLst>
              <a:ext uri="{FF2B5EF4-FFF2-40B4-BE49-F238E27FC236}">
                <a16:creationId xmlns:a16="http://schemas.microsoft.com/office/drawing/2014/main" id="{1253CA35-52B0-40B6-8A31-E972587A65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54514" y="322412"/>
            <a:ext cx="1229681" cy="587219"/>
          </a:xfrm>
          <a:prstGeom prst="rect">
            <a:avLst/>
          </a:prstGeom>
        </p:spPr>
      </p:pic>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6"/>
            <a:ext cx="9900000" cy="276999"/>
          </a:xfrm>
          <a:prstGeom prst="rect">
            <a:avLst/>
          </a:prstGeom>
        </p:spPr>
        <p:txBody>
          <a:bodyPr vert="horz" wrap="square" lIns="0" tIns="0" rIns="0" bIns="0" rtlCol="0" anchor="t" anchorCtr="0">
            <a:spAutoFit/>
          </a:bodyPr>
          <a:lstStyle>
            <a:lvl1pPr>
              <a:defRPr sz="2000">
                <a:solidFill>
                  <a:schemeClr val="accent3"/>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8"/>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6"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6"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2" name="ZoneTexte 11">
            <a:extLst>
              <a:ext uri="{FF2B5EF4-FFF2-40B4-BE49-F238E27FC236}">
                <a16:creationId xmlns:a16="http://schemas.microsoft.com/office/drawing/2014/main" id="{86344C2C-0907-4756-8E85-17EC70A94238}"/>
              </a:ext>
            </a:extLst>
          </p:cNvPr>
          <p:cNvSpPr txBox="1"/>
          <p:nvPr userDrawn="1"/>
        </p:nvSpPr>
        <p:spPr>
          <a:xfrm>
            <a:off x="11552653" y="6557762"/>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9" name="Espace réservé du pied de page 24">
            <a:extLst>
              <a:ext uri="{FF2B5EF4-FFF2-40B4-BE49-F238E27FC236}">
                <a16:creationId xmlns:a16="http://schemas.microsoft.com/office/drawing/2014/main" id="{04509BA1-B0E2-430C-AC5B-EE1EA642C251}"/>
              </a:ext>
            </a:extLst>
          </p:cNvPr>
          <p:cNvSpPr txBox="1">
            <a:spLocks/>
          </p:cNvSpPr>
          <p:nvPr userDrawn="1"/>
        </p:nvSpPr>
        <p:spPr>
          <a:xfrm>
            <a:off x="444502"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871FD112-A2A8-46F3-A2A7-B766050BE5AB}"/>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2671729200"/>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re de section" preserve="1" userDrawn="1">
  <p:cSld name="1_Titre de section">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3" name="Google Shape;114;p18">
            <a:extLst>
              <a:ext uri="{FF2B5EF4-FFF2-40B4-BE49-F238E27FC236}">
                <a16:creationId xmlns:a16="http://schemas.microsoft.com/office/drawing/2014/main" id="{FB982B76-0042-408D-9AA4-FD82DCE5A1B5}"/>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106532" y="0"/>
            <a:ext cx="12085473" cy="6858000"/>
          </a:xfrm>
          <a:prstGeom prst="rect">
            <a:avLst/>
          </a:prstGeom>
          <a:noFill/>
          <a:ln>
            <a:noFill/>
          </a:ln>
        </p:spPr>
      </p:pic>
      <p:sp>
        <p:nvSpPr>
          <p:cNvPr id="12" name="Google Shape;115;p18">
            <a:extLst>
              <a:ext uri="{FF2B5EF4-FFF2-40B4-BE49-F238E27FC236}">
                <a16:creationId xmlns:a16="http://schemas.microsoft.com/office/drawing/2014/main" id="{60C30AD3-691F-411A-AF71-0E3F16B4DE87}"/>
              </a:ext>
            </a:extLst>
          </p:cNvPr>
          <p:cNvSpPr/>
          <p:nvPr userDrawn="1"/>
        </p:nvSpPr>
        <p:spPr>
          <a:xfrm>
            <a:off x="133657" y="0"/>
            <a:ext cx="12085475" cy="6858000"/>
          </a:xfrm>
          <a:prstGeom prst="rect">
            <a:avLst/>
          </a:prstGeom>
          <a:solidFill>
            <a:schemeClr val="dk1">
              <a:alpha val="20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Montserrat" panose="00000500000000000000" pitchFamily="2" charset="0"/>
              <a:ea typeface="Arial"/>
              <a:cs typeface="Arial"/>
              <a:sym typeface="Arial"/>
            </a:endParaRPr>
          </a:p>
        </p:txBody>
      </p:sp>
      <p:sp>
        <p:nvSpPr>
          <p:cNvPr id="22" name="Google Shape;115;p18">
            <a:extLst>
              <a:ext uri="{FF2B5EF4-FFF2-40B4-BE49-F238E27FC236}">
                <a16:creationId xmlns:a16="http://schemas.microsoft.com/office/drawing/2014/main" id="{D6073C7C-4806-45E2-94BA-B65BBA008043}"/>
              </a:ext>
            </a:extLst>
          </p:cNvPr>
          <p:cNvSpPr/>
          <p:nvPr userDrawn="1"/>
        </p:nvSpPr>
        <p:spPr>
          <a:xfrm>
            <a:off x="100243" y="0"/>
            <a:ext cx="12085472" cy="6858000"/>
          </a:xfrm>
          <a:prstGeom prst="rect">
            <a:avLst/>
          </a:prstGeom>
          <a:solidFill>
            <a:srgbClr val="000000">
              <a:alpha val="20000"/>
            </a:srgbClr>
          </a:solidFill>
          <a:ln>
            <a:noFill/>
          </a:ln>
        </p:spPr>
        <p:txBody>
          <a:bodyPr spcFirstLastPara="1" wrap="square" lIns="91425" tIns="45700" rIns="91425" bIns="45700" anchor="ctr" anchorCtr="0">
            <a:noAutofit/>
          </a:bodyPr>
          <a:lstStyle/>
          <a:p>
            <a:pPr marL="0" marR="0" lvl="0" indent="0" algn="ctr" defTabSz="914377"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Montserrat" panose="00000500000000000000" pitchFamily="2" charset="0"/>
              <a:ea typeface="Arial"/>
              <a:cs typeface="Arial"/>
              <a:sym typeface="Arial"/>
            </a:endParaRPr>
          </a:p>
        </p:txBody>
      </p:sp>
      <p:sp>
        <p:nvSpPr>
          <p:cNvPr id="8" name="Rectangle 15">
            <a:extLst>
              <a:ext uri="{FF2B5EF4-FFF2-40B4-BE49-F238E27FC236}">
                <a16:creationId xmlns:a16="http://schemas.microsoft.com/office/drawing/2014/main" id="{1A711A19-CB60-4AB0-A903-1EAAAFD1925F}"/>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pic>
        <p:nvPicPr>
          <p:cNvPr id="14" name="Google Shape;118;p18">
            <a:extLst>
              <a:ext uri="{FF2B5EF4-FFF2-40B4-BE49-F238E27FC236}">
                <a16:creationId xmlns:a16="http://schemas.microsoft.com/office/drawing/2014/main" id="{DE882872-320B-4B5E-8257-77F279B51876}"/>
              </a:ext>
            </a:extLst>
          </p:cNvPr>
          <p:cNvPicPr preferRelativeResize="0"/>
          <p:nvPr userDrawn="1"/>
        </p:nvPicPr>
        <p:blipFill rotWithShape="1">
          <a:blip r:embed="rId6" cstate="screen">
            <a:alphaModFix/>
            <a:extLst>
              <a:ext uri="{28A0092B-C50C-407E-A947-70E740481C1C}">
                <a14:useLocalDpi xmlns:a14="http://schemas.microsoft.com/office/drawing/2010/main"/>
              </a:ext>
            </a:extLst>
          </a:blip>
          <a:srcRect/>
          <a:stretch/>
        </p:blipFill>
        <p:spPr>
          <a:xfrm>
            <a:off x="10623107" y="207270"/>
            <a:ext cx="1429560" cy="630087"/>
          </a:xfrm>
          <a:prstGeom prst="rect">
            <a:avLst/>
          </a:prstGeom>
          <a:noFill/>
          <a:ln>
            <a:noFill/>
          </a:ln>
        </p:spPr>
      </p:pic>
      <p:sp>
        <p:nvSpPr>
          <p:cNvPr id="9" name="Rectangle 15">
            <a:extLst>
              <a:ext uri="{FF2B5EF4-FFF2-40B4-BE49-F238E27FC236}">
                <a16:creationId xmlns:a16="http://schemas.microsoft.com/office/drawing/2014/main" id="{717961F4-DDCA-4A68-A35C-A54EA126081C}"/>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Espace réservé du pied de page 24">
            <a:extLst>
              <a:ext uri="{FF2B5EF4-FFF2-40B4-BE49-F238E27FC236}">
                <a16:creationId xmlns:a16="http://schemas.microsoft.com/office/drawing/2014/main" id="{671B5B78-8172-4448-B285-C57955420D4B}"/>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5" name="ZoneTexte 14">
            <a:extLst>
              <a:ext uri="{FF2B5EF4-FFF2-40B4-BE49-F238E27FC236}">
                <a16:creationId xmlns:a16="http://schemas.microsoft.com/office/drawing/2014/main" id="{A5C7DA1C-B88C-491D-B70B-D6914EAFE669}"/>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7F0D4EE0-3BED-4C74-B602-1BAE1E420557}"/>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Tree>
    <p:extLst>
      <p:ext uri="{BB962C8B-B14F-4D97-AF65-F5344CB8AC3E}">
        <p14:creationId xmlns:p14="http://schemas.microsoft.com/office/powerpoint/2010/main" val="224216672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iapositive de titre" userDrawn="1">
  <p:cSld name="Diapositive de titre">
    <p:spTree>
      <p:nvGrpSpPr>
        <p:cNvPr id="1" name="Shape 119"/>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23430DCA-6767-42FF-B238-B26E51E71E04}"/>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23430DCA-6767-42FF-B238-B26E51E71E04}"/>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20" name="Google Shape;120;p19"/>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52903" y="0"/>
            <a:ext cx="12039100" cy="6858000"/>
          </a:xfrm>
          <a:prstGeom prst="rect">
            <a:avLst/>
          </a:prstGeom>
          <a:solidFill>
            <a:schemeClr val="lt1"/>
          </a:solidFill>
          <a:ln>
            <a:noFill/>
          </a:ln>
        </p:spPr>
      </p:pic>
      <p:sp>
        <p:nvSpPr>
          <p:cNvPr id="121" name="Google Shape;121;p19"/>
          <p:cNvSpPr/>
          <p:nvPr/>
        </p:nvSpPr>
        <p:spPr>
          <a:xfrm>
            <a:off x="76201" y="0"/>
            <a:ext cx="12115800" cy="6858000"/>
          </a:xfrm>
          <a:prstGeom prst="rect">
            <a:avLst/>
          </a:prstGeom>
          <a:solidFill>
            <a:srgbClr val="000000">
              <a:alpha val="29803"/>
            </a:srgb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000000"/>
              </a:buClr>
              <a:buSzTx/>
              <a:buFont typeface="Arial"/>
              <a:buNone/>
              <a:tabLst/>
            </a:pPr>
            <a:endParaRPr kumimoji="0" sz="1400" b="0" i="0" u="none" strike="noStrike" kern="0" cap="none" spc="0" normalizeH="0" baseline="0">
              <a:ln>
                <a:noFill/>
              </a:ln>
              <a:solidFill>
                <a:srgbClr val="FFFFFF"/>
              </a:solidFill>
              <a:effectLst/>
              <a:uLnTx/>
              <a:uFillTx/>
              <a:latin typeface="Montserrat" panose="00000500000000000000" pitchFamily="2" charset="0"/>
              <a:ea typeface="Arial"/>
              <a:cs typeface="Arial"/>
              <a:sym typeface="Arial"/>
            </a:endParaRPr>
          </a:p>
        </p:txBody>
      </p:sp>
      <p:sp>
        <p:nvSpPr>
          <p:cNvPr id="13" name="Titre 1">
            <a:extLst>
              <a:ext uri="{FF2B5EF4-FFF2-40B4-BE49-F238E27FC236}">
                <a16:creationId xmlns:a16="http://schemas.microsoft.com/office/drawing/2014/main" id="{847F70CD-B09B-4ED3-8999-4EBC3F70E280}"/>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sp>
        <p:nvSpPr>
          <p:cNvPr id="10" name="Rectangle 15">
            <a:extLst>
              <a:ext uri="{FF2B5EF4-FFF2-40B4-BE49-F238E27FC236}">
                <a16:creationId xmlns:a16="http://schemas.microsoft.com/office/drawing/2014/main" id="{B3D26CB0-75D3-4B3F-A327-229694E03557}"/>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1" name="Rectangle 15">
            <a:extLst>
              <a:ext uri="{FF2B5EF4-FFF2-40B4-BE49-F238E27FC236}">
                <a16:creationId xmlns:a16="http://schemas.microsoft.com/office/drawing/2014/main" id="{A21FBB9E-4FC9-46CA-AAA9-AEA0E18FC41F}"/>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Espace réservé du texte 3">
            <a:extLst>
              <a:ext uri="{FF2B5EF4-FFF2-40B4-BE49-F238E27FC236}">
                <a16:creationId xmlns:a16="http://schemas.microsoft.com/office/drawing/2014/main" id="{64F4B034-C0CC-49CC-A0A9-94A7F62B7FE2}"/>
              </a:ext>
            </a:extLst>
          </p:cNvPr>
          <p:cNvSpPr>
            <a:spLocks noGrp="1"/>
          </p:cNvSpPr>
          <p:nvPr>
            <p:ph type="body" sz="quarter" idx="12"/>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pic>
        <p:nvPicPr>
          <p:cNvPr id="17" name="Google Shape;118;p18">
            <a:extLst>
              <a:ext uri="{FF2B5EF4-FFF2-40B4-BE49-F238E27FC236}">
                <a16:creationId xmlns:a16="http://schemas.microsoft.com/office/drawing/2014/main" id="{AE4A0447-26E9-4A28-8A05-19B31D25C84D}"/>
              </a:ext>
            </a:extLst>
          </p:cNvPr>
          <p:cNvPicPr preferRelativeResize="0"/>
          <p:nvPr userDrawn="1"/>
        </p:nvPicPr>
        <p:blipFill rotWithShape="1">
          <a:blip r:embed="rId6" cstate="screen">
            <a:alphaModFix/>
            <a:extLst>
              <a:ext uri="{28A0092B-C50C-407E-A947-70E740481C1C}">
                <a14:useLocalDpi xmlns:a14="http://schemas.microsoft.com/office/drawing/2010/main"/>
              </a:ext>
            </a:extLst>
          </a:blip>
          <a:srcRect/>
          <a:stretch/>
        </p:blipFill>
        <p:spPr>
          <a:xfrm>
            <a:off x="10623107" y="207270"/>
            <a:ext cx="1429560" cy="630087"/>
          </a:xfrm>
          <a:prstGeom prst="rect">
            <a:avLst/>
          </a:prstGeom>
          <a:noFill/>
          <a:ln>
            <a:noFill/>
          </a:ln>
        </p:spPr>
      </p:pic>
      <p:sp>
        <p:nvSpPr>
          <p:cNvPr id="14" name="ZoneTexte 13">
            <a:extLst>
              <a:ext uri="{FF2B5EF4-FFF2-40B4-BE49-F238E27FC236}">
                <a16:creationId xmlns:a16="http://schemas.microsoft.com/office/drawing/2014/main" id="{3AD045E3-5770-48F7-9834-6541757F14B3}"/>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F10E4C1D-CA6B-41E2-882F-4B0EA9229BFE}"/>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9" name="Espace réservé du pied de page 24">
            <a:extLst>
              <a:ext uri="{FF2B5EF4-FFF2-40B4-BE49-F238E27FC236}">
                <a16:creationId xmlns:a16="http://schemas.microsoft.com/office/drawing/2014/main" id="{D56CF27C-B4B8-433B-ACC5-244363B4A359}"/>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Tree>
    <p:extLst>
      <p:ext uri="{BB962C8B-B14F-4D97-AF65-F5344CB8AC3E}">
        <p14:creationId xmlns:p14="http://schemas.microsoft.com/office/powerpoint/2010/main" val="362117921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7EE330CA-F8A0-4A5A-AA6A-016776CCF21D}"/>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5" name="Objet 4" hidden="1">
                        <a:extLst>
                          <a:ext uri="{FF2B5EF4-FFF2-40B4-BE49-F238E27FC236}">
                            <a16:creationId xmlns:a16="http://schemas.microsoft.com/office/drawing/2014/main" id="{7EE330CA-F8A0-4A5A-AA6A-016776CCF21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ZoneTexte 1">
            <a:extLst>
              <a:ext uri="{FF2B5EF4-FFF2-40B4-BE49-F238E27FC236}">
                <a16:creationId xmlns:a16="http://schemas.microsoft.com/office/drawing/2014/main" id="{8E058DD8-9086-4AB3-B133-AEDB3776CA68}"/>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sym typeface="Montserrat" panose="00000500000000000000" pitchFamily="2" charset="0"/>
              </a:rPr>
              <a:pPr algn="ctr"/>
              <a:t>‹#›</a:t>
            </a:fld>
            <a:endParaRPr lang="en-US" sz="1100">
              <a:solidFill>
                <a:schemeClr val="tx2"/>
              </a:solidFill>
              <a:latin typeface="Montserrat" panose="00000500000000000000" pitchFamily="2" charset="0"/>
              <a:sym typeface="Montserrat" panose="00000500000000000000" pitchFamily="2" charset="0"/>
            </a:endParaRPr>
          </a:p>
        </p:txBody>
      </p:sp>
      <p:sp>
        <p:nvSpPr>
          <p:cNvPr id="3" name="Espace réservé du pied de page 24">
            <a:extLst>
              <a:ext uri="{FF2B5EF4-FFF2-40B4-BE49-F238E27FC236}">
                <a16:creationId xmlns:a16="http://schemas.microsoft.com/office/drawing/2014/main" id="{368C0D64-4B59-4EC7-BA4D-930D1E37583A}"/>
              </a:ext>
            </a:extLst>
          </p:cNvPr>
          <p:cNvSpPr txBox="1">
            <a:spLocks/>
          </p:cNvSpPr>
          <p:nvPr userDrawn="1"/>
        </p:nvSpPr>
        <p:spPr>
          <a:xfrm>
            <a:off x="350534"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
        <p:nvSpPr>
          <p:cNvPr id="4" name="Espace réservé du pied de page 24">
            <a:extLst>
              <a:ext uri="{FF2B5EF4-FFF2-40B4-BE49-F238E27FC236}">
                <a16:creationId xmlns:a16="http://schemas.microsoft.com/office/drawing/2014/main" id="{F5558E70-ACF4-476E-92F2-319118286F92}"/>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6244901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5"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6">
            <a:alphaModFix/>
            <a:extLst>
              <a:ext uri="{28A0092B-C50C-407E-A947-70E740481C1C}">
                <a14:useLocalDpi xmlns:a14="http://schemas.microsoft.com/office/drawing/2010/main"/>
              </a:ext>
            </a:extLst>
          </a:blip>
          <a:srcRect l="11873"/>
          <a:stretch/>
        </p:blipFill>
        <p:spPr>
          <a:xfrm>
            <a:off x="1" y="-1"/>
            <a:ext cx="10652391"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7" cstate="screen">
            <a:alphaModFix/>
            <a:extLst>
              <a:ext uri="{28A0092B-C50C-407E-A947-70E740481C1C}">
                <a14:useLocalDpi xmlns:a14="http://schemas.microsoft.com/office/drawing/2010/main"/>
              </a:ext>
            </a:extLst>
          </a:blip>
          <a:srcRect/>
          <a:stretch/>
        </p:blipFill>
        <p:spPr>
          <a:xfrm>
            <a:off x="7186549" y="2498214"/>
            <a:ext cx="3309151" cy="1861577"/>
          </a:xfrm>
          <a:prstGeom prst="rect">
            <a:avLst/>
          </a:prstGeom>
          <a:noFill/>
          <a:ln>
            <a:noFill/>
          </a:ln>
        </p:spPr>
      </p:pic>
    </p:spTree>
    <p:extLst>
      <p:ext uri="{BB962C8B-B14F-4D97-AF65-F5344CB8AC3E}">
        <p14:creationId xmlns:p14="http://schemas.microsoft.com/office/powerpoint/2010/main" val="154881684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5B966B-EE76-4F51-AFA4-193B867A5B0E}"/>
              </a:ext>
            </a:extLst>
          </p:cNvPr>
          <p:cNvSpPr>
            <a:spLocks noGrp="1"/>
          </p:cNvSpPr>
          <p:nvPr>
            <p:ph type="title"/>
          </p:nvPr>
        </p:nvSpPr>
        <p:spPr/>
        <p:txBody>
          <a:bodyPr/>
          <a:lstStyle/>
          <a:p>
            <a:r>
              <a:rPr lang="fr-FR"/>
              <a:t>Modifiez le style du titre</a:t>
            </a:r>
          </a:p>
        </p:txBody>
      </p:sp>
      <p:sp>
        <p:nvSpPr>
          <p:cNvPr id="6" name="Espace réservé du pied de page 5">
            <a:extLst>
              <a:ext uri="{FF2B5EF4-FFF2-40B4-BE49-F238E27FC236}">
                <a16:creationId xmlns:a16="http://schemas.microsoft.com/office/drawing/2014/main" id="{B53FFEA3-DE6D-486A-B74C-751FC881E408}"/>
              </a:ext>
            </a:extLst>
          </p:cNvPr>
          <p:cNvSpPr>
            <a:spLocks noGrp="1"/>
          </p:cNvSpPr>
          <p:nvPr>
            <p:ph type="ftr" sz="quarter" idx="10"/>
          </p:nvPr>
        </p:nvSpPr>
        <p:spPr/>
        <p:txBody>
          <a:bodyPr/>
          <a:lstStyle/>
          <a:p>
            <a:pPr algn="l"/>
            <a:r>
              <a:rPr lang="fr-FR">
                <a:solidFill>
                  <a:schemeClr val="dk2"/>
                </a:solidFill>
                <a:latin typeface="Montserrat"/>
                <a:ea typeface="Montserrat"/>
                <a:cs typeface="Montserrat"/>
                <a:sym typeface="Montserrat"/>
              </a:rPr>
              <a:t>Confidentiel</a:t>
            </a:r>
          </a:p>
        </p:txBody>
      </p:sp>
      <p:sp>
        <p:nvSpPr>
          <p:cNvPr id="7" name="Espace réservé du numéro de diapositive 6">
            <a:extLst>
              <a:ext uri="{FF2B5EF4-FFF2-40B4-BE49-F238E27FC236}">
                <a16:creationId xmlns:a16="http://schemas.microsoft.com/office/drawing/2014/main" id="{55561056-7945-4BE3-A2C7-436E57831A98}"/>
              </a:ext>
            </a:extLst>
          </p:cNvPr>
          <p:cNvSpPr>
            <a:spLocks noGrp="1"/>
          </p:cNvSpPr>
          <p:nvPr>
            <p:ph type="sldNum" sz="quarter" idx="11"/>
          </p:nvPr>
        </p:nvSpPr>
        <p:spPr/>
        <p:txBody>
          <a:bodyPr/>
          <a:lstStyle/>
          <a:p>
            <a:fld id="{EB9F9E3B-949D-4753-A311-C2E91B2B57EF}" type="slidenum">
              <a:rPr lang="fr-FR" smtClean="0"/>
              <a:pPr/>
              <a:t>‹#›</a:t>
            </a:fld>
            <a:endParaRPr lang="fr-FR"/>
          </a:p>
        </p:txBody>
      </p:sp>
      <p:sp>
        <p:nvSpPr>
          <p:cNvPr id="8" name="Google Shape;63;p4">
            <a:extLst>
              <a:ext uri="{FF2B5EF4-FFF2-40B4-BE49-F238E27FC236}">
                <a16:creationId xmlns:a16="http://schemas.microsoft.com/office/drawing/2014/main" id="{18FD02E3-06FD-44BE-AD96-ACAC76C95D84}"/>
              </a:ext>
            </a:extLst>
          </p:cNvPr>
          <p:cNvSpPr/>
          <p:nvPr/>
        </p:nvSpPr>
        <p:spPr>
          <a:xfrm rot="10800000" flipH="1">
            <a:off x="6"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1" rIns="121900" bIns="60951"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9" name="Google Shape;64;p4">
            <a:extLst>
              <a:ext uri="{FF2B5EF4-FFF2-40B4-BE49-F238E27FC236}">
                <a16:creationId xmlns:a16="http://schemas.microsoft.com/office/drawing/2014/main" id="{0118368E-6D05-41B2-8993-E08AD4354052}"/>
              </a:ext>
            </a:extLst>
          </p:cNvPr>
          <p:cNvSpPr/>
          <p:nvPr/>
        </p:nvSpPr>
        <p:spPr>
          <a:xfrm>
            <a:off x="6"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1" rIns="121900" bIns="60951"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Tree>
    <p:extLst>
      <p:ext uri="{BB962C8B-B14F-4D97-AF65-F5344CB8AC3E}">
        <p14:creationId xmlns:p14="http://schemas.microsoft.com/office/powerpoint/2010/main" val="146105991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alan Labs 1">
    <p:spTree>
      <p:nvGrpSpPr>
        <p:cNvPr id="1" name=""/>
        <p:cNvGrpSpPr/>
        <p:nvPr/>
      </p:nvGrpSpPr>
      <p:grpSpPr>
        <a:xfrm>
          <a:off x="0" y="0"/>
          <a:ext cx="0" cy="0"/>
          <a:chOff x="0" y="0"/>
          <a:chExt cx="0" cy="0"/>
        </a:xfrm>
      </p:grpSpPr>
      <p:sp>
        <p:nvSpPr>
          <p:cNvPr id="14" name="Rectangle 15">
            <a:extLst>
              <a:ext uri="{FF2B5EF4-FFF2-40B4-BE49-F238E27FC236}">
                <a16:creationId xmlns:a16="http://schemas.microsoft.com/office/drawing/2014/main" id="{2FFCE354-0668-42CC-B4A4-D78B27AF6904}"/>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Rectangle 15">
            <a:extLst>
              <a:ext uri="{FF2B5EF4-FFF2-40B4-BE49-F238E27FC236}">
                <a16:creationId xmlns:a16="http://schemas.microsoft.com/office/drawing/2014/main" id="{233ED570-848C-47A2-99DC-47D5AD6F423E}"/>
              </a:ext>
            </a:extLst>
          </p:cNvPr>
          <p:cNvSpPr/>
          <p:nvPr userDrawn="1"/>
        </p:nvSpPr>
        <p:spPr>
          <a:xfrm>
            <a:off x="0" y="1772596"/>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68E37DEE-43DE-419E-8F87-4D81168353AC}"/>
              </a:ext>
            </a:extLst>
          </p:cNvPr>
          <p:cNvSpPr>
            <a:spLocks noGrp="1"/>
          </p:cNvSpPr>
          <p:nvPr>
            <p:ph sz="quarter" idx="12"/>
          </p:nvPr>
        </p:nvSpPr>
        <p:spPr>
          <a:xfrm>
            <a:off x="4165600" y="772055"/>
            <a:ext cx="7645135" cy="599138"/>
          </a:xfrm>
          <a:prstGeom prst="rect">
            <a:avLst/>
          </a:prstGeom>
        </p:spPr>
        <p:txBody>
          <a:bodyPr wrap="square" lIns="0" tIns="0" rIns="0" bIns="0">
            <a:spAutoFit/>
          </a:bodyPr>
          <a:lstStyle>
            <a:lvl1pPr>
              <a:defRPr sz="1200">
                <a:solidFill>
                  <a:schemeClr val="accent4"/>
                </a:solidFill>
                <a:latin typeface="Montserrat" panose="00000500000000000000" pitchFamily="2" charset="0"/>
              </a:defRPr>
            </a:lvl1pPr>
            <a:lvl2pPr>
              <a:defRPr sz="1100">
                <a:latin typeface="Montserrat" panose="00000500000000000000" pitchFamily="2" charset="0"/>
              </a:defRPr>
            </a:lvl2pPr>
            <a:lvl3pPr>
              <a:buClr>
                <a:schemeClr val="accent4"/>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8" name="ZoneTexte 17">
            <a:extLst>
              <a:ext uri="{FF2B5EF4-FFF2-40B4-BE49-F238E27FC236}">
                <a16:creationId xmlns:a16="http://schemas.microsoft.com/office/drawing/2014/main" id="{CF1B196E-6099-48D6-BB71-933023401365}"/>
              </a:ext>
            </a:extLst>
          </p:cNvPr>
          <p:cNvSpPr txBox="1"/>
          <p:nvPr userDrawn="1"/>
        </p:nvSpPr>
        <p:spPr>
          <a:xfrm>
            <a:off x="11552653" y="6557761"/>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3063DFAC-4686-4BB0-A148-C8ED88EF9CF1}"/>
              </a:ext>
            </a:extLst>
          </p:cNvPr>
          <p:cNvSpPr txBox="1">
            <a:spLocks/>
          </p:cNvSpPr>
          <p:nvPr userDrawn="1"/>
        </p:nvSpPr>
        <p:spPr>
          <a:xfrm>
            <a:off x="444502"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2BEDDAC4-5308-42A4-9CE9-CE18526C3151}"/>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4" name="Connecteur droit 23">
            <a:extLst>
              <a:ext uri="{FF2B5EF4-FFF2-40B4-BE49-F238E27FC236}">
                <a16:creationId xmlns:a16="http://schemas.microsoft.com/office/drawing/2014/main" id="{AFCCF51B-52B3-41BC-8A12-3A3D95ADF809}"/>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9">
            <a:extLst>
              <a:ext uri="{FF2B5EF4-FFF2-40B4-BE49-F238E27FC236}">
                <a16:creationId xmlns:a16="http://schemas.microsoft.com/office/drawing/2014/main" id="{1D08CFD4-3D20-4F17-95F2-534F95255AF0}"/>
              </a:ext>
            </a:extLst>
          </p:cNvPr>
          <p:cNvSpPr>
            <a:spLocks noGrp="1"/>
          </p:cNvSpPr>
          <p:nvPr>
            <p:ph type="body" sz="quarter" idx="11"/>
          </p:nvPr>
        </p:nvSpPr>
        <p:spPr>
          <a:xfrm>
            <a:off x="444501" y="2513170"/>
            <a:ext cx="2922815" cy="722591"/>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4" indent="-152384">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pic>
        <p:nvPicPr>
          <p:cNvPr id="12" name="Google Shape;147;p23">
            <a:extLst>
              <a:ext uri="{FF2B5EF4-FFF2-40B4-BE49-F238E27FC236}">
                <a16:creationId xmlns:a16="http://schemas.microsoft.com/office/drawing/2014/main" id="{0C2C1EC6-D8B4-414F-B92E-1F2AC4CD3119}"/>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398304" y="476496"/>
            <a:ext cx="3038797" cy="762000"/>
          </a:xfrm>
          <a:prstGeom prst="rect">
            <a:avLst/>
          </a:prstGeom>
          <a:noFill/>
          <a:ln>
            <a:noFill/>
          </a:ln>
        </p:spPr>
      </p:pic>
    </p:spTree>
    <p:extLst>
      <p:ext uri="{BB962C8B-B14F-4D97-AF65-F5344CB8AC3E}">
        <p14:creationId xmlns:p14="http://schemas.microsoft.com/office/powerpoint/2010/main" val="4138630306"/>
      </p:ext>
    </p:extLst>
  </p:cSld>
  <p:clrMapOvr>
    <a:masterClrMapping/>
  </p:clrMapOvr>
  <p:extLst>
    <p:ext uri="{DCECCB84-F9BA-43D5-87BE-67443E8EF086}">
      <p15:sldGuideLst xmlns:p15="http://schemas.microsoft.com/office/powerpoint/2012/main">
        <p15:guide id="1" orient="horz" pos="1253">
          <p15:clr>
            <a:srgbClr val="FBAE40"/>
          </p15:clr>
        </p15:guide>
        <p15:guide id="2" pos="2638">
          <p15:clr>
            <a:srgbClr val="FBAE40"/>
          </p15:clr>
        </p15:guide>
        <p15:guide id="3" pos="7446">
          <p15:clr>
            <a:srgbClr val="FBAE40"/>
          </p15:clr>
        </p15:guide>
        <p15:guide id="4" orient="horz" pos="404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0"/>
            </a:lvl1p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pied de page 4"/>
          <p:cNvSpPr>
            <a:spLocks noGrp="1"/>
          </p:cNvSpPr>
          <p:nvPr>
            <p:ph type="ftr" sz="quarter" idx="3"/>
          </p:nvPr>
        </p:nvSpPr>
        <p:spPr>
          <a:xfrm>
            <a:off x="6361876" y="6525345"/>
            <a:ext cx="4599203" cy="196132"/>
          </a:xfrm>
          <a:prstGeom prst="rect">
            <a:avLst/>
          </a:prstGeom>
        </p:spPr>
        <p:txBody>
          <a:bodyPr vert="horz" lIns="95782" tIns="47891" rIns="95782" bIns="47891" rtlCol="0" anchor="b"/>
          <a:lstStyle>
            <a:lvl1pPr algn="ctr">
              <a:defRPr sz="800" dirty="0" smtClean="0">
                <a:solidFill>
                  <a:schemeClr val="tx1">
                    <a:tint val="75000"/>
                  </a:schemeClr>
                </a:solidFill>
                <a:latin typeface="Arial" pitchFamily="34" charset="0"/>
                <a:ea typeface="Tahoma" pitchFamily="34" charset="0"/>
                <a:cs typeface="Arial" pitchFamily="34" charset="0"/>
              </a:defRPr>
            </a:lvl1pPr>
          </a:lstStyle>
          <a:p>
            <a:r>
              <a:rPr lang="fr-FR"/>
              <a:t>BNP Paribas Real Estate – Proposition d’assistance – 27 septembre 2013</a:t>
            </a:r>
          </a:p>
        </p:txBody>
      </p:sp>
    </p:spTree>
    <p:extLst>
      <p:ext uri="{BB962C8B-B14F-4D97-AF65-F5344CB8AC3E}">
        <p14:creationId xmlns:p14="http://schemas.microsoft.com/office/powerpoint/2010/main" val="1387401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uverture" type="title">
  <p:cSld name="Couvertur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pic>
        <p:nvPicPr>
          <p:cNvPr id="14" name="Google Shape;14;p41"/>
          <p:cNvPicPr preferRelativeResize="0"/>
          <p:nvPr/>
        </p:nvPicPr>
        <p:blipFill>
          <a:blip r:embed="rId4"/>
          <a:srcRect/>
          <a:stretch/>
        </p:blipFill>
        <p:spPr>
          <a:xfrm>
            <a:off x="8621647" y="2498303"/>
            <a:ext cx="3309151" cy="1861397"/>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Modifiez le style du titre</a:t>
            </a:r>
            <a:endParaRPr/>
          </a:p>
        </p:txBody>
      </p:sp>
      <p:sp>
        <p:nvSpPr>
          <p:cNvPr id="16" name="Google Shape;16;p41"/>
          <p:cNvSpPr txBox="1">
            <a:spLocks noGrp="1"/>
          </p:cNvSpPr>
          <p:nvPr>
            <p:ph type="subTitle" idx="1"/>
          </p:nvPr>
        </p:nvSpPr>
        <p:spPr>
          <a:xfrm>
            <a:off x="350533" y="1687289"/>
            <a:ext cx="9144000" cy="554511"/>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r>
              <a:rPr lang="fr-FR"/>
              <a:t>Modifiez le style des sous-titres du masque</a:t>
            </a:r>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0" name="Google Shape;45;p44">
            <a:extLst>
              <a:ext uri="{FF2B5EF4-FFF2-40B4-BE49-F238E27FC236}">
                <a16:creationId xmlns:a16="http://schemas.microsoft.com/office/drawing/2014/main" id="{53121298-A827-0748-809B-5AA7E6CAE23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13008588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49CE8075-8C01-884B-9724-6C0F630D3A94}"/>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1608561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bg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44388A"/>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7" name="Forme libre 16">
            <a:extLst>
              <a:ext uri="{FF2B5EF4-FFF2-40B4-BE49-F238E27FC236}">
                <a16:creationId xmlns:a16="http://schemas.microsoft.com/office/drawing/2014/main" id="{930663F2-6765-7E41-A2F8-C79580B01882}"/>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bg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13" name="Image 12">
            <a:extLst>
              <a:ext uri="{FF2B5EF4-FFF2-40B4-BE49-F238E27FC236}">
                <a16:creationId xmlns:a16="http://schemas.microsoft.com/office/drawing/2014/main" id="{A7065546-EACA-E544-853B-2BC179EF8509}"/>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606296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re de section" preserve="1" userDrawn="1">
  <p:cSld name="Titre de section">
    <p:bg>
      <p:bgPr>
        <a:solidFill>
          <a:schemeClr val="accent3"/>
        </a:solidFill>
        <a:effectLst/>
      </p:bgPr>
    </p:bg>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85B9AAE5-49CF-4F1D-8409-5D67EFCD7D1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45" b="20577"/>
          <a:stretch/>
        </p:blipFill>
        <p:spPr>
          <a:xfrm>
            <a:off x="133661" y="0"/>
            <a:ext cx="12058339" cy="6858000"/>
          </a:xfrm>
          <a:prstGeom prst="rect">
            <a:avLst/>
          </a:prstGeom>
        </p:spPr>
      </p:pic>
      <p:sp>
        <p:nvSpPr>
          <p:cNvPr id="16" name="Titre 1">
            <a:extLst>
              <a:ext uri="{FF2B5EF4-FFF2-40B4-BE49-F238E27FC236}">
                <a16:creationId xmlns:a16="http://schemas.microsoft.com/office/drawing/2014/main" id="{4EEA0782-6A05-4EF7-B879-E7965733B97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cxnSp>
        <p:nvCxnSpPr>
          <p:cNvPr id="17" name="Connecteur droit 16">
            <a:extLst>
              <a:ext uri="{FF2B5EF4-FFF2-40B4-BE49-F238E27FC236}">
                <a16:creationId xmlns:a16="http://schemas.microsoft.com/office/drawing/2014/main" id="{BAFDEC18-F7AF-4F8A-980B-42978FEB6647}"/>
              </a:ext>
            </a:extLst>
          </p:cNvPr>
          <p:cNvCxnSpPr/>
          <p:nvPr userDrawn="1"/>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178599B4-09A0-4732-9C6B-3AA48B9246BB}"/>
              </a:ext>
            </a:extLst>
          </p:cNvPr>
          <p:cNvSpPr>
            <a:spLocks noGrp="1"/>
          </p:cNvSpPr>
          <p:nvPr>
            <p:ph type="body" sz="quarter" idx="11"/>
          </p:nvPr>
        </p:nvSpPr>
        <p:spPr>
          <a:xfrm>
            <a:off x="133663" y="3133541"/>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22" name="Rectangle 15">
            <a:extLst>
              <a:ext uri="{FF2B5EF4-FFF2-40B4-BE49-F238E27FC236}">
                <a16:creationId xmlns:a16="http://schemas.microsoft.com/office/drawing/2014/main" id="{E2157304-EC74-43D6-AEA3-466B535CC51C}"/>
              </a:ext>
            </a:extLst>
          </p:cNvPr>
          <p:cNvSpPr/>
          <p:nvPr userDrawn="1"/>
        </p:nvSpPr>
        <p:spPr>
          <a:xfrm flipV="1">
            <a:off x="6"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Rectangle 15">
            <a:extLst>
              <a:ext uri="{FF2B5EF4-FFF2-40B4-BE49-F238E27FC236}">
                <a16:creationId xmlns:a16="http://schemas.microsoft.com/office/drawing/2014/main" id="{31564DE9-6942-4E0E-BBCF-AA13E048DA46}"/>
              </a:ext>
            </a:extLst>
          </p:cNvPr>
          <p:cNvSpPr/>
          <p:nvPr userDrawn="1"/>
        </p:nvSpPr>
        <p:spPr>
          <a:xfrm>
            <a:off x="6"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4" name="Google Shape;118;p18">
            <a:extLst>
              <a:ext uri="{FF2B5EF4-FFF2-40B4-BE49-F238E27FC236}">
                <a16:creationId xmlns:a16="http://schemas.microsoft.com/office/drawing/2014/main" id="{BB4F97A6-F7CE-4228-AEDD-C7CD95AD2C60}"/>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10623107" y="207271"/>
            <a:ext cx="1429560" cy="630087"/>
          </a:xfrm>
          <a:prstGeom prst="rect">
            <a:avLst/>
          </a:prstGeom>
          <a:noFill/>
          <a:ln>
            <a:noFill/>
          </a:ln>
        </p:spPr>
      </p:pic>
      <p:sp>
        <p:nvSpPr>
          <p:cNvPr id="12" name="ZoneTexte 11">
            <a:extLst>
              <a:ext uri="{FF2B5EF4-FFF2-40B4-BE49-F238E27FC236}">
                <a16:creationId xmlns:a16="http://schemas.microsoft.com/office/drawing/2014/main" id="{B1E2509A-C884-4063-AE71-44264783C5CD}"/>
              </a:ext>
            </a:extLst>
          </p:cNvPr>
          <p:cNvSpPr txBox="1"/>
          <p:nvPr userDrawn="1"/>
        </p:nvSpPr>
        <p:spPr>
          <a:xfrm>
            <a:off x="11552653" y="6557762"/>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3" name="Espace réservé du pied de page 24">
            <a:extLst>
              <a:ext uri="{FF2B5EF4-FFF2-40B4-BE49-F238E27FC236}">
                <a16:creationId xmlns:a16="http://schemas.microsoft.com/office/drawing/2014/main" id="{C180B10F-6DA4-446F-AF71-2F64D3C10CBF}"/>
              </a:ext>
            </a:extLst>
          </p:cNvPr>
          <p:cNvSpPr txBox="1">
            <a:spLocks/>
          </p:cNvSpPr>
          <p:nvPr userDrawn="1"/>
        </p:nvSpPr>
        <p:spPr>
          <a:xfrm>
            <a:off x="444502"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4" name="Espace réservé du pied de page 24">
            <a:extLst>
              <a:ext uri="{FF2B5EF4-FFF2-40B4-BE49-F238E27FC236}">
                <a16:creationId xmlns:a16="http://schemas.microsoft.com/office/drawing/2014/main" id="{ADBB0F6B-0B6C-4A16-8C37-85943A0A3F60}"/>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Tree>
    <p:extLst>
      <p:ext uri="{BB962C8B-B14F-4D97-AF65-F5344CB8AC3E}">
        <p14:creationId xmlns:p14="http://schemas.microsoft.com/office/powerpoint/2010/main" val="3751773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6E0457C2-41CC-5142-B27A-5F996A80B512}"/>
              </a:ext>
            </a:extLst>
          </p:cNvPr>
          <p:cNvSpPr/>
          <p:nvPr/>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C6387D16-8785-004D-BD68-A65E1A434695}"/>
              </a:ext>
            </a:extLst>
          </p:cNvPr>
          <p:cNvSpPr/>
          <p:nvPr/>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D5A19624-A793-EF4D-AF54-540E9E075936}"/>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597575540"/>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 // Vide">
    <p:spTree>
      <p:nvGrpSpPr>
        <p:cNvPr id="1" name=""/>
        <p:cNvGrpSpPr/>
        <p:nvPr/>
      </p:nvGrpSpPr>
      <p:grpSpPr>
        <a:xfrm>
          <a:off x="0" y="0"/>
          <a:ext cx="0" cy="0"/>
          <a:chOff x="0" y="0"/>
          <a:chExt cx="0" cy="0"/>
        </a:xfrm>
      </p:grpSpPr>
      <p:sp>
        <p:nvSpPr>
          <p:cNvPr id="9" name="Google Shape;44;p44">
            <a:extLst>
              <a:ext uri="{FF2B5EF4-FFF2-40B4-BE49-F238E27FC236}">
                <a16:creationId xmlns:a16="http://schemas.microsoft.com/office/drawing/2014/main" id="{36B5342C-2F3E-D84F-8FF0-32C66317F59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209;p35">
            <a:extLst>
              <a:ext uri="{FF2B5EF4-FFF2-40B4-BE49-F238E27FC236}">
                <a16:creationId xmlns:a16="http://schemas.microsoft.com/office/drawing/2014/main" id="{C7B9C442-CD3C-1776-DDF0-29A700392857}"/>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8" name="Google Shape;210;p35">
            <a:extLst>
              <a:ext uri="{FF2B5EF4-FFF2-40B4-BE49-F238E27FC236}">
                <a16:creationId xmlns:a16="http://schemas.microsoft.com/office/drawing/2014/main" id="{C3144133-4A7C-9BD3-264D-3614AF9D96C7}"/>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2" name="Google Shape;41;p7">
            <a:extLst>
              <a:ext uri="{FF2B5EF4-FFF2-40B4-BE49-F238E27FC236}">
                <a16:creationId xmlns:a16="http://schemas.microsoft.com/office/drawing/2014/main" id="{B3F62654-5EAA-4D0E-7D9E-1D0B478214CD}"/>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B2FDA77E-38FE-36E8-940F-777D6796B9AA}"/>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9DD24C2E-D333-D6D2-6342-D9AF96FEF1F5}"/>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30696518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1C18FC75-BD2D-4840-9F0E-C58986C79E24}"/>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3006241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26" name="Forme libre 25">
            <a:extLst>
              <a:ext uri="{FF2B5EF4-FFF2-40B4-BE49-F238E27FC236}">
                <a16:creationId xmlns:a16="http://schemas.microsoft.com/office/drawing/2014/main" id="{CE542045-9417-8A4E-8E69-7121098F1DF1}"/>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27" name="Google Shape;33;p5">
            <a:extLst>
              <a:ext uri="{FF2B5EF4-FFF2-40B4-BE49-F238E27FC236}">
                <a16:creationId xmlns:a16="http://schemas.microsoft.com/office/drawing/2014/main" id="{05C61B6A-97AE-7B44-9BF9-7BAD7C9154D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2A116E75-5B12-2B4A-B33A-AAFDD7F73BF9}"/>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7626414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2 // Texte">
    <p:spTree>
      <p:nvGrpSpPr>
        <p:cNvPr id="1" name=""/>
        <p:cNvGrpSpPr/>
        <p:nvPr/>
      </p:nvGrpSpPr>
      <p:grpSpPr>
        <a:xfrm>
          <a:off x="0" y="0"/>
          <a:ext cx="0" cy="0"/>
          <a:chOff x="0" y="0"/>
          <a:chExt cx="0" cy="0"/>
        </a:xfrm>
      </p:grpSpPr>
      <p:sp>
        <p:nvSpPr>
          <p:cNvPr id="15" name="Google Shape;44;p44">
            <a:extLst>
              <a:ext uri="{FF2B5EF4-FFF2-40B4-BE49-F238E27FC236}">
                <a16:creationId xmlns:a16="http://schemas.microsoft.com/office/drawing/2014/main" id="{0CB90F68-1585-B042-BFBC-55A9BADD95EB}"/>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2" name="Google Shape;19;p3">
            <a:extLst>
              <a:ext uri="{FF2B5EF4-FFF2-40B4-BE49-F238E27FC236}">
                <a16:creationId xmlns:a16="http://schemas.microsoft.com/office/drawing/2014/main" id="{80EF563B-0A2B-DA49-A1F8-11433E9E9F8C}"/>
              </a:ext>
            </a:extLst>
          </p:cNvPr>
          <p:cNvPicPr preferRelativeResize="0"/>
          <p:nvPr/>
        </p:nvPicPr>
        <p:blipFill>
          <a:blip r:embed="rId2"/>
          <a:srcRect/>
          <a:stretch/>
        </p:blipFill>
        <p:spPr>
          <a:xfrm>
            <a:off x="10648284" y="104353"/>
            <a:ext cx="1381904" cy="777321"/>
          </a:xfrm>
          <a:prstGeom prst="rect">
            <a:avLst/>
          </a:prstGeom>
          <a:noFill/>
          <a:ln>
            <a:noFill/>
          </a:ln>
        </p:spPr>
      </p:pic>
      <p:sp>
        <p:nvSpPr>
          <p:cNvPr id="14" name="Google Shape;209;p35">
            <a:extLst>
              <a:ext uri="{FF2B5EF4-FFF2-40B4-BE49-F238E27FC236}">
                <a16:creationId xmlns:a16="http://schemas.microsoft.com/office/drawing/2014/main" id="{8821634A-27F1-7F77-0A60-F45A9F3A0DAB}"/>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8" name="Google Shape;210;p35">
            <a:extLst>
              <a:ext uri="{FF2B5EF4-FFF2-40B4-BE49-F238E27FC236}">
                <a16:creationId xmlns:a16="http://schemas.microsoft.com/office/drawing/2014/main" id="{470AA063-4B28-A435-2C6D-61428949F1AC}"/>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1;p7">
            <a:extLst>
              <a:ext uri="{FF2B5EF4-FFF2-40B4-BE49-F238E27FC236}">
                <a16:creationId xmlns:a16="http://schemas.microsoft.com/office/drawing/2014/main" id="{8817C702-E7DB-D6CA-2E4C-E9D8F837108C}"/>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20" name="Google Shape;82;p14">
            <a:extLst>
              <a:ext uri="{FF2B5EF4-FFF2-40B4-BE49-F238E27FC236}">
                <a16:creationId xmlns:a16="http://schemas.microsoft.com/office/drawing/2014/main" id="{FDF24FF0-FD5E-7CE9-D502-498463E52E5A}"/>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21" name="Google Shape;86;p14">
            <a:extLst>
              <a:ext uri="{FF2B5EF4-FFF2-40B4-BE49-F238E27FC236}">
                <a16:creationId xmlns:a16="http://schemas.microsoft.com/office/drawing/2014/main" id="{21F30DB1-2218-4EF8-95AD-31CAB0206938}"/>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448696269"/>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2 // Vide">
    <p:spTree>
      <p:nvGrpSpPr>
        <p:cNvPr id="1" name=""/>
        <p:cNvGrpSpPr/>
        <p:nvPr/>
      </p:nvGrpSpPr>
      <p:grpSpPr>
        <a:xfrm>
          <a:off x="0" y="0"/>
          <a:ext cx="0" cy="0"/>
          <a:chOff x="0" y="0"/>
          <a:chExt cx="0" cy="0"/>
        </a:xfrm>
      </p:grpSpPr>
      <p:sp>
        <p:nvSpPr>
          <p:cNvPr id="15" name="Google Shape;44;p44">
            <a:extLst>
              <a:ext uri="{FF2B5EF4-FFF2-40B4-BE49-F238E27FC236}">
                <a16:creationId xmlns:a16="http://schemas.microsoft.com/office/drawing/2014/main" id="{0CB90F68-1585-B042-BFBC-55A9BADD95EB}"/>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209;p35">
            <a:extLst>
              <a:ext uri="{FF2B5EF4-FFF2-40B4-BE49-F238E27FC236}">
                <a16:creationId xmlns:a16="http://schemas.microsoft.com/office/drawing/2014/main" id="{41B7B2F7-D2D9-64F1-E358-ECB69F154B74}"/>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210;p35">
            <a:extLst>
              <a:ext uri="{FF2B5EF4-FFF2-40B4-BE49-F238E27FC236}">
                <a16:creationId xmlns:a16="http://schemas.microsoft.com/office/drawing/2014/main" id="{C617176D-A3F4-4E23-F2EE-A5694C258F15}"/>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41;p7">
            <a:extLst>
              <a:ext uri="{FF2B5EF4-FFF2-40B4-BE49-F238E27FC236}">
                <a16:creationId xmlns:a16="http://schemas.microsoft.com/office/drawing/2014/main" id="{7149034C-6DE1-05E9-7F80-E396C1549A1F}"/>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8" name="Google Shape;82;p14">
            <a:extLst>
              <a:ext uri="{FF2B5EF4-FFF2-40B4-BE49-F238E27FC236}">
                <a16:creationId xmlns:a16="http://schemas.microsoft.com/office/drawing/2014/main" id="{527941E3-2B6B-8055-E994-E5CDCB044E7E}"/>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9" name="Google Shape;86;p14">
            <a:extLst>
              <a:ext uri="{FF2B5EF4-FFF2-40B4-BE49-F238E27FC236}">
                <a16:creationId xmlns:a16="http://schemas.microsoft.com/office/drawing/2014/main" id="{81FBDF9F-08A2-BAF7-34F3-A20B61A7AF86}"/>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8440599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F73F581-71F4-7B4A-B8CC-3A864D681251}"/>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203151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03 // Sous-titre">
    <p:spTree>
      <p:nvGrpSpPr>
        <p:cNvPr id="1" name=""/>
        <p:cNvGrpSpPr/>
        <p:nvPr/>
      </p:nvGrpSpPr>
      <p:grpSpPr>
        <a:xfrm>
          <a:off x="0" y="0"/>
          <a:ext cx="0" cy="0"/>
          <a:chOff x="0" y="0"/>
          <a:chExt cx="0" cy="0"/>
        </a:xfrm>
      </p:grpSpPr>
      <p:sp>
        <p:nvSpPr>
          <p:cNvPr id="17" name="Forme libre 16">
            <a:extLst>
              <a:ext uri="{FF2B5EF4-FFF2-40B4-BE49-F238E27FC236}">
                <a16:creationId xmlns:a16="http://schemas.microsoft.com/office/drawing/2014/main" id="{BE667D24-B450-4649-B652-785C38F93102}"/>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2C66A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8" name="Google Shape;33;p5">
            <a:extLst>
              <a:ext uri="{FF2B5EF4-FFF2-40B4-BE49-F238E27FC236}">
                <a16:creationId xmlns:a16="http://schemas.microsoft.com/office/drawing/2014/main" id="{6F430284-3756-9448-ACF9-7DB103D494C6}"/>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D66A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D66A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4D3EC98-00F4-534E-BD84-5391486934D1}"/>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52513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A6BBDC4-EF1A-814B-923C-5B0B25392A8D}"/>
              </a:ext>
            </a:extLst>
          </p:cNvPr>
          <p:cNvSpPr/>
          <p:nvPr/>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6CCD31BC-EF78-F147-90A4-AFBF175FFE02}"/>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849976945"/>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3 // Vide">
    <p:spTree>
      <p:nvGrpSpPr>
        <p:cNvPr id="1" name=""/>
        <p:cNvGrpSpPr/>
        <p:nvPr/>
      </p:nvGrpSpPr>
      <p:grpSpPr>
        <a:xfrm>
          <a:off x="0" y="0"/>
          <a:ext cx="0" cy="0"/>
          <a:chOff x="0" y="0"/>
          <a:chExt cx="0" cy="0"/>
        </a:xfrm>
      </p:grpSpPr>
      <p:sp>
        <p:nvSpPr>
          <p:cNvPr id="9" name="Google Shape;44;p44">
            <a:extLst>
              <a:ext uri="{FF2B5EF4-FFF2-40B4-BE49-F238E27FC236}">
                <a16:creationId xmlns:a16="http://schemas.microsoft.com/office/drawing/2014/main" id="{8A14C36D-6C5D-7B41-B3F9-9A080E9D6218}"/>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209;p35">
            <a:extLst>
              <a:ext uri="{FF2B5EF4-FFF2-40B4-BE49-F238E27FC236}">
                <a16:creationId xmlns:a16="http://schemas.microsoft.com/office/drawing/2014/main" id="{DA61FD4B-0825-3B96-066F-45B4FB6866C1}"/>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8" name="Google Shape;210;p35">
            <a:extLst>
              <a:ext uri="{FF2B5EF4-FFF2-40B4-BE49-F238E27FC236}">
                <a16:creationId xmlns:a16="http://schemas.microsoft.com/office/drawing/2014/main" id="{92E45BFF-5FAF-008B-826A-C4EB294565AC}"/>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2" name="Google Shape;41;p7">
            <a:extLst>
              <a:ext uri="{FF2B5EF4-FFF2-40B4-BE49-F238E27FC236}">
                <a16:creationId xmlns:a16="http://schemas.microsoft.com/office/drawing/2014/main" id="{290CBBB4-F38D-3020-94E8-48B8F1ED6694}"/>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4DD1B4BA-5884-6376-FE83-583AD328A437}"/>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75B7F57C-52C3-1369-EC69-70006967455F}"/>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3968307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re de section" userDrawn="1">
  <p:cSld name="1_Titre de section">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22" name="Google Shape;322;p54">
            <a:extLst>
              <a:ext uri="{FF2B5EF4-FFF2-40B4-BE49-F238E27FC236}">
                <a16:creationId xmlns:a16="http://schemas.microsoft.com/office/drawing/2014/main" id="{07F8963C-BB4B-47E6-953E-2D1022422906}"/>
              </a:ext>
            </a:extLst>
          </p:cNvPr>
          <p:cNvPicPr preferRelativeResize="0"/>
          <p:nvPr userDrawn="1"/>
        </p:nvPicPr>
        <p:blipFill rotWithShape="1">
          <a:blip r:embed="rId5" cstate="screen">
            <a:alphaModFix/>
            <a:extLst>
              <a:ext uri="{28A0092B-C50C-407E-A947-70E740481C1C}">
                <a14:useLocalDpi xmlns:a14="http://schemas.microsoft.com/office/drawing/2010/main" val="0"/>
              </a:ext>
            </a:extLst>
          </a:blip>
          <a:srcRect/>
          <a:stretch/>
        </p:blipFill>
        <p:spPr>
          <a:xfrm>
            <a:off x="63503" y="0"/>
            <a:ext cx="12128500" cy="6858000"/>
          </a:xfrm>
          <a:prstGeom prst="rect">
            <a:avLst/>
          </a:prstGeom>
          <a:noFill/>
          <a:ln>
            <a:noFill/>
          </a:ln>
        </p:spPr>
      </p:pic>
      <p:pic>
        <p:nvPicPr>
          <p:cNvPr id="118" name="Google Shape;118;p18"/>
          <p:cNvPicPr preferRelativeResize="0"/>
          <p:nvPr/>
        </p:nvPicPr>
        <p:blipFill rotWithShape="1">
          <a:blip r:embed="rId6">
            <a:alphaModFix/>
            <a:extLst>
              <a:ext uri="{28A0092B-C50C-407E-A947-70E740481C1C}">
                <a14:useLocalDpi xmlns:a14="http://schemas.microsoft.com/office/drawing/2010/main" val="0"/>
              </a:ext>
            </a:extLst>
          </a:blip>
          <a:srcRect/>
          <a:stretch/>
        </p:blipFill>
        <p:spPr>
          <a:xfrm>
            <a:off x="10623107" y="207271"/>
            <a:ext cx="1429560" cy="630087"/>
          </a:xfrm>
          <a:prstGeom prst="rect">
            <a:avLst/>
          </a:prstGeom>
          <a:noFill/>
          <a:ln>
            <a:noFill/>
          </a:ln>
        </p:spPr>
      </p:pic>
      <p:sp>
        <p:nvSpPr>
          <p:cNvPr id="8" name="Rectangle 15">
            <a:extLst>
              <a:ext uri="{FF2B5EF4-FFF2-40B4-BE49-F238E27FC236}">
                <a16:creationId xmlns:a16="http://schemas.microsoft.com/office/drawing/2014/main" id="{1A711A19-CB60-4AB0-A903-1EAAAFD1925F}"/>
              </a:ext>
            </a:extLst>
          </p:cNvPr>
          <p:cNvSpPr/>
          <p:nvPr userDrawn="1"/>
        </p:nvSpPr>
        <p:spPr>
          <a:xfrm flipV="1">
            <a:off x="6"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9" name="Rectangle 15">
            <a:extLst>
              <a:ext uri="{FF2B5EF4-FFF2-40B4-BE49-F238E27FC236}">
                <a16:creationId xmlns:a16="http://schemas.microsoft.com/office/drawing/2014/main" id="{717961F4-DDCA-4A68-A35C-A54EA126081C}"/>
              </a:ext>
            </a:extLst>
          </p:cNvPr>
          <p:cNvSpPr/>
          <p:nvPr userDrawn="1"/>
        </p:nvSpPr>
        <p:spPr>
          <a:xfrm>
            <a:off x="6"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3" y="3133541"/>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12" name="ZoneTexte 11">
            <a:extLst>
              <a:ext uri="{FF2B5EF4-FFF2-40B4-BE49-F238E27FC236}">
                <a16:creationId xmlns:a16="http://schemas.microsoft.com/office/drawing/2014/main" id="{24613B63-BBB7-4F8D-98F0-69BF8DFD8275}"/>
              </a:ext>
            </a:extLst>
          </p:cNvPr>
          <p:cNvSpPr txBox="1"/>
          <p:nvPr userDrawn="1"/>
        </p:nvSpPr>
        <p:spPr>
          <a:xfrm>
            <a:off x="11552653" y="6557762"/>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3" name="Espace réservé du pied de page 24">
            <a:extLst>
              <a:ext uri="{FF2B5EF4-FFF2-40B4-BE49-F238E27FC236}">
                <a16:creationId xmlns:a16="http://schemas.microsoft.com/office/drawing/2014/main" id="{6B9F95C9-4475-4F16-9B12-81984222D0D2}"/>
              </a:ext>
            </a:extLst>
          </p:cNvPr>
          <p:cNvSpPr txBox="1">
            <a:spLocks/>
          </p:cNvSpPr>
          <p:nvPr userDrawn="1"/>
        </p:nvSpPr>
        <p:spPr>
          <a:xfrm>
            <a:off x="444502"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4" name="Espace réservé du pied de page 24">
            <a:extLst>
              <a:ext uri="{FF2B5EF4-FFF2-40B4-BE49-F238E27FC236}">
                <a16:creationId xmlns:a16="http://schemas.microsoft.com/office/drawing/2014/main" id="{51390792-595B-4F76-91A4-33FD905FC9D7}"/>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Tree>
    <p:extLst>
      <p:ext uri="{BB962C8B-B14F-4D97-AF65-F5344CB8AC3E}">
        <p14:creationId xmlns:p14="http://schemas.microsoft.com/office/powerpoint/2010/main" val="1391239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endParaRP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A368E09-3956-C140-A796-4AA1DF3D2311}"/>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2448465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04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A30158F4-EEEB-CF41-AF99-BD2396E4CA7E}"/>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dirty="0">
                <a:solidFill>
                  <a:srgbClr val="1F7A9C"/>
                </a:solidFil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139274E-8689-B34B-9313-E2D7B7CDD0A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07A9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07A9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852967E3-052B-044E-BE3F-F21EF4FCAB4F}"/>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0623898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433903A-E5F0-0948-ACA0-B9D5E93F8D5A}"/>
              </a:ext>
            </a:extLst>
          </p:cNvPr>
          <p:cNvSpPr/>
          <p:nvPr/>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F5E837BC-FEF1-F248-A7A9-CDE6305C6F54}"/>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812529876"/>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4 // Vide">
    <p:spTree>
      <p:nvGrpSpPr>
        <p:cNvPr id="1" name=""/>
        <p:cNvGrpSpPr/>
        <p:nvPr/>
      </p:nvGrpSpPr>
      <p:grpSpPr>
        <a:xfrm>
          <a:off x="0" y="0"/>
          <a:ext cx="0" cy="0"/>
          <a:chOff x="0" y="0"/>
          <a:chExt cx="0" cy="0"/>
        </a:xfrm>
      </p:grpSpPr>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209;p35">
            <a:extLst>
              <a:ext uri="{FF2B5EF4-FFF2-40B4-BE49-F238E27FC236}">
                <a16:creationId xmlns:a16="http://schemas.microsoft.com/office/drawing/2014/main" id="{09B1C863-1AA9-F753-C3B8-556C99CE7FAE}"/>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8" name="Google Shape;210;p35">
            <a:extLst>
              <a:ext uri="{FF2B5EF4-FFF2-40B4-BE49-F238E27FC236}">
                <a16:creationId xmlns:a16="http://schemas.microsoft.com/office/drawing/2014/main" id="{5AFE265B-8D32-25C0-AF0F-6EBFC3265D24}"/>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2" name="Google Shape;41;p7">
            <a:extLst>
              <a:ext uri="{FF2B5EF4-FFF2-40B4-BE49-F238E27FC236}">
                <a16:creationId xmlns:a16="http://schemas.microsoft.com/office/drawing/2014/main" id="{6ED911EE-23C7-65FC-0E48-2F4C5485C5AF}"/>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40819E81-8623-21A0-2889-69913E1656F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0527479-947A-F9A4-3EFC-0657172E7439}"/>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3996753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88712CD-293D-874A-99F8-0657960C8EE1}"/>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1775771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05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C5AA9E1-A29B-914B-80EC-12D2D8568AF2}"/>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9829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831EBD4D-E74F-254C-BC13-1534C1FE313E}"/>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7829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7829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BB90861F-6363-6D43-997F-E11D0EE64B8C}"/>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1371897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D7859230-42FF-7841-B233-E2ADAF1B72C5}"/>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07087356"/>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grpSp>
        <p:nvGrpSpPr>
          <p:cNvPr id="2" name="Group 6">
            <a:extLst>
              <a:ext uri="{FF2B5EF4-FFF2-40B4-BE49-F238E27FC236}">
                <a16:creationId xmlns:a16="http://schemas.microsoft.com/office/drawing/2014/main" id="{AB256F3B-A6F2-C549-5AAB-75CBECE32149}"/>
              </a:ext>
            </a:extLst>
          </p:cNvPr>
          <p:cNvGrpSpPr/>
          <p:nvPr userDrawn="1"/>
        </p:nvGrpSpPr>
        <p:grpSpPr>
          <a:xfrm>
            <a:off x="-16625" y="0"/>
            <a:ext cx="258665" cy="6858000"/>
            <a:chOff x="2594457" y="-37333"/>
            <a:chExt cx="258665" cy="6858000"/>
          </a:xfrm>
        </p:grpSpPr>
        <p:sp>
          <p:nvSpPr>
            <p:cNvPr id="5" name="Google Shape;209;p35">
              <a:extLst>
                <a:ext uri="{FF2B5EF4-FFF2-40B4-BE49-F238E27FC236}">
                  <a16:creationId xmlns:a16="http://schemas.microsoft.com/office/drawing/2014/main" id="{A410D9ED-D7CF-6316-443A-EFC5DABB7997}"/>
                </a:ext>
              </a:extLst>
            </p:cNvPr>
            <p:cNvSpPr/>
            <p:nvPr/>
          </p:nvSpPr>
          <p:spPr>
            <a:xfrm>
              <a:off x="2594457" y="-37333"/>
              <a:ext cx="251101" cy="6858000"/>
            </a:xfrm>
            <a:prstGeom prst="rect">
              <a:avLst/>
            </a:prstGeom>
            <a:solidFill>
              <a:srgbClr val="DDECF0"/>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6" name="Google Shape;210;p35">
              <a:extLst>
                <a:ext uri="{FF2B5EF4-FFF2-40B4-BE49-F238E27FC236}">
                  <a16:creationId xmlns:a16="http://schemas.microsoft.com/office/drawing/2014/main" id="{D85F586B-C7BC-4EF7-C38A-3DF9576FBA88}"/>
                </a:ext>
              </a:extLst>
            </p:cNvPr>
            <p:cNvSpPr/>
            <p:nvPr/>
          </p:nvSpPr>
          <p:spPr>
            <a:xfrm flipH="1">
              <a:off x="2595038" y="2894403"/>
              <a:ext cx="258084" cy="392626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01 w 10000"/>
                <a:gd name="connsiteY0" fmla="*/ 1012 h 10000"/>
                <a:gd name="connsiteX1" fmla="*/ 10000 w 10000"/>
                <a:gd name="connsiteY1" fmla="*/ 0 h 10000"/>
                <a:gd name="connsiteX2" fmla="*/ 10000 w 10000"/>
                <a:gd name="connsiteY2" fmla="*/ 10000 h 10000"/>
                <a:gd name="connsiteX3" fmla="*/ 0 w 10000"/>
                <a:gd name="connsiteY3" fmla="*/ 10000 h 10000"/>
                <a:gd name="connsiteX4" fmla="*/ 201 w 10000"/>
                <a:gd name="connsiteY4" fmla="*/ 1012 h 10000"/>
                <a:gd name="connsiteX0" fmla="*/ 364 w 10000"/>
                <a:gd name="connsiteY0" fmla="*/ 752 h 10000"/>
                <a:gd name="connsiteX1" fmla="*/ 10000 w 10000"/>
                <a:gd name="connsiteY1" fmla="*/ 0 h 10000"/>
                <a:gd name="connsiteX2" fmla="*/ 10000 w 10000"/>
                <a:gd name="connsiteY2" fmla="*/ 10000 h 10000"/>
                <a:gd name="connsiteX3" fmla="*/ 0 w 10000"/>
                <a:gd name="connsiteY3" fmla="*/ 10000 h 10000"/>
                <a:gd name="connsiteX4" fmla="*/ 364 w 10000"/>
                <a:gd name="connsiteY4" fmla="*/ 75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364" y="752"/>
                  </a:moveTo>
                  <a:lnTo>
                    <a:pt x="10000" y="0"/>
                  </a:lnTo>
                  <a:lnTo>
                    <a:pt x="10000" y="10000"/>
                  </a:lnTo>
                  <a:lnTo>
                    <a:pt x="0" y="10000"/>
                  </a:lnTo>
                  <a:cubicBezTo>
                    <a:pt x="121" y="6917"/>
                    <a:pt x="243" y="3835"/>
                    <a:pt x="364" y="752"/>
                  </a:cubicBezTo>
                  <a:close/>
                </a:path>
              </a:pathLst>
            </a:cu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grpSp>
    </p:spTree>
    <p:extLst>
      <p:ext uri="{BB962C8B-B14F-4D97-AF65-F5344CB8AC3E}">
        <p14:creationId xmlns:p14="http://schemas.microsoft.com/office/powerpoint/2010/main" val="41418399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9F9FA82-3961-1340-B848-3650FFEC51F5}"/>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6529902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06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F745501C-2D69-C147-BCB1-AF5691AA3316}"/>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E8A8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CAF22F4C-7BD0-0649-9968-2709A306117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0C8A8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0C8A8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87AFF0F-46B3-6B40-95AD-E7CBD35D16C4}"/>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519486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re de section" preserve="1" userDrawn="1">
  <p:cSld name="1_Titre de section">
    <p:spTree>
      <p:nvGrpSpPr>
        <p:cNvPr id="1" name="Shape 113"/>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3" name="Google Shape;114;p18">
            <a:extLst>
              <a:ext uri="{FF2B5EF4-FFF2-40B4-BE49-F238E27FC236}">
                <a16:creationId xmlns:a16="http://schemas.microsoft.com/office/drawing/2014/main" id="{FB982B76-0042-408D-9AA4-FD82DCE5A1B5}"/>
              </a:ext>
            </a:extLst>
          </p:cNvPr>
          <p:cNvPicPr preferRelativeResize="0"/>
          <p:nvPr userDrawn="1"/>
        </p:nvPicPr>
        <p:blipFill rotWithShape="1">
          <a:blip r:embed="rId5" cstate="screen">
            <a:alphaModFix/>
            <a:extLst>
              <a:ext uri="{28A0092B-C50C-407E-A947-70E740481C1C}">
                <a14:useLocalDpi xmlns:a14="http://schemas.microsoft.com/office/drawing/2010/main" val="0"/>
              </a:ext>
            </a:extLst>
          </a:blip>
          <a:srcRect/>
          <a:stretch/>
        </p:blipFill>
        <p:spPr>
          <a:xfrm>
            <a:off x="106533" y="0"/>
            <a:ext cx="12085473" cy="6858000"/>
          </a:xfrm>
          <a:prstGeom prst="rect">
            <a:avLst/>
          </a:prstGeom>
          <a:noFill/>
          <a:ln>
            <a:noFill/>
          </a:ln>
        </p:spPr>
      </p:pic>
      <p:sp>
        <p:nvSpPr>
          <p:cNvPr id="12" name="Google Shape;115;p18">
            <a:extLst>
              <a:ext uri="{FF2B5EF4-FFF2-40B4-BE49-F238E27FC236}">
                <a16:creationId xmlns:a16="http://schemas.microsoft.com/office/drawing/2014/main" id="{60C30AD3-691F-411A-AF71-0E3F16B4DE87}"/>
              </a:ext>
            </a:extLst>
          </p:cNvPr>
          <p:cNvSpPr/>
          <p:nvPr userDrawn="1"/>
        </p:nvSpPr>
        <p:spPr>
          <a:xfrm>
            <a:off x="133657" y="0"/>
            <a:ext cx="12085475" cy="6858000"/>
          </a:xfrm>
          <a:prstGeom prst="rect">
            <a:avLst/>
          </a:prstGeom>
          <a:solidFill>
            <a:schemeClr val="dk1">
              <a:alpha val="20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Montserrat" panose="00000500000000000000" pitchFamily="2" charset="0"/>
              <a:ea typeface="Arial"/>
              <a:cs typeface="Arial"/>
              <a:sym typeface="Arial"/>
            </a:endParaRPr>
          </a:p>
        </p:txBody>
      </p:sp>
      <p:sp>
        <p:nvSpPr>
          <p:cNvPr id="22" name="Google Shape;115;p18">
            <a:extLst>
              <a:ext uri="{FF2B5EF4-FFF2-40B4-BE49-F238E27FC236}">
                <a16:creationId xmlns:a16="http://schemas.microsoft.com/office/drawing/2014/main" id="{D6073C7C-4806-45E2-94BA-B65BBA008043}"/>
              </a:ext>
            </a:extLst>
          </p:cNvPr>
          <p:cNvSpPr/>
          <p:nvPr userDrawn="1"/>
        </p:nvSpPr>
        <p:spPr>
          <a:xfrm>
            <a:off x="100243" y="0"/>
            <a:ext cx="12085472" cy="6858000"/>
          </a:xfrm>
          <a:prstGeom prst="rect">
            <a:avLst/>
          </a:prstGeom>
          <a:solidFill>
            <a:srgbClr val="000000">
              <a:alpha val="20000"/>
            </a:srgbClr>
          </a:solidFill>
          <a:ln>
            <a:noFill/>
          </a:ln>
        </p:spPr>
        <p:txBody>
          <a:bodyPr spcFirstLastPara="1" wrap="square" lIns="91425" tIns="45700" rIns="91425" bIns="45700" anchor="ctr" anchorCtr="0">
            <a:noAutofit/>
          </a:bodyPr>
          <a:lstStyle/>
          <a:p>
            <a:pPr marL="0" marR="0" lvl="0" indent="0" algn="ctr" defTabSz="914354"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Montserrat" panose="00000500000000000000" pitchFamily="2" charset="0"/>
              <a:ea typeface="Arial"/>
              <a:cs typeface="Arial"/>
              <a:sym typeface="Arial"/>
            </a:endParaRPr>
          </a:p>
        </p:txBody>
      </p:sp>
      <p:sp>
        <p:nvSpPr>
          <p:cNvPr id="8" name="Rectangle 15">
            <a:extLst>
              <a:ext uri="{FF2B5EF4-FFF2-40B4-BE49-F238E27FC236}">
                <a16:creationId xmlns:a16="http://schemas.microsoft.com/office/drawing/2014/main" id="{1A711A19-CB60-4AB0-A903-1EAAAFD1925F}"/>
              </a:ext>
            </a:extLst>
          </p:cNvPr>
          <p:cNvSpPr/>
          <p:nvPr userDrawn="1"/>
        </p:nvSpPr>
        <p:spPr>
          <a:xfrm flipV="1">
            <a:off x="6"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pic>
        <p:nvPicPr>
          <p:cNvPr id="14" name="Google Shape;118;p18">
            <a:extLst>
              <a:ext uri="{FF2B5EF4-FFF2-40B4-BE49-F238E27FC236}">
                <a16:creationId xmlns:a16="http://schemas.microsoft.com/office/drawing/2014/main" id="{DE882872-320B-4B5E-8257-77F279B51876}"/>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10623107" y="207271"/>
            <a:ext cx="1429560" cy="630087"/>
          </a:xfrm>
          <a:prstGeom prst="rect">
            <a:avLst/>
          </a:prstGeom>
          <a:noFill/>
          <a:ln>
            <a:noFill/>
          </a:ln>
        </p:spPr>
      </p:pic>
      <p:sp>
        <p:nvSpPr>
          <p:cNvPr id="9" name="Rectangle 15">
            <a:extLst>
              <a:ext uri="{FF2B5EF4-FFF2-40B4-BE49-F238E27FC236}">
                <a16:creationId xmlns:a16="http://schemas.microsoft.com/office/drawing/2014/main" id="{717961F4-DDCA-4A68-A35C-A54EA126081C}"/>
              </a:ext>
            </a:extLst>
          </p:cNvPr>
          <p:cNvSpPr/>
          <p:nvPr userDrawn="1"/>
        </p:nvSpPr>
        <p:spPr>
          <a:xfrm>
            <a:off x="6"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Espace réservé du pied de page 24">
            <a:extLst>
              <a:ext uri="{FF2B5EF4-FFF2-40B4-BE49-F238E27FC236}">
                <a16:creationId xmlns:a16="http://schemas.microsoft.com/office/drawing/2014/main" id="{671B5B78-8172-4448-B285-C57955420D4B}"/>
              </a:ext>
            </a:extLst>
          </p:cNvPr>
          <p:cNvSpPr txBox="1">
            <a:spLocks/>
          </p:cNvSpPr>
          <p:nvPr userDrawn="1"/>
        </p:nvSpPr>
        <p:spPr>
          <a:xfrm>
            <a:off x="444502"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5" name="ZoneTexte 14">
            <a:extLst>
              <a:ext uri="{FF2B5EF4-FFF2-40B4-BE49-F238E27FC236}">
                <a16:creationId xmlns:a16="http://schemas.microsoft.com/office/drawing/2014/main" id="{A5C7DA1C-B88C-491D-B70B-D6914EAFE669}"/>
              </a:ext>
            </a:extLst>
          </p:cNvPr>
          <p:cNvSpPr txBox="1"/>
          <p:nvPr userDrawn="1"/>
        </p:nvSpPr>
        <p:spPr>
          <a:xfrm>
            <a:off x="11552653" y="6557762"/>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7F0D4EE0-3BED-4C74-B602-1BAE1E420557}"/>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3" y="3133541"/>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Tree>
    <p:extLst>
      <p:ext uri="{BB962C8B-B14F-4D97-AF65-F5344CB8AC3E}">
        <p14:creationId xmlns:p14="http://schemas.microsoft.com/office/powerpoint/2010/main" val="5280497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A80E3699-97A7-1149-8D44-F1DA5477B859}"/>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975423182"/>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3166744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E1683E52-7B6A-394E-8723-F93D342809F2}"/>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42744663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07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88DB0CAA-899E-374A-9AB8-470F5D046F17}"/>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49183"/>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BC1A9EF-0A72-5E4F-87E0-415056AE179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39183"/>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39183"/>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5104D1EE-BCC4-B44B-9C82-655D690F057A}"/>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589422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971FB988-6BE7-6A4E-B21E-6476CF6E6B0F}"/>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164355377"/>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5543432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8B3D7F5-1B92-2242-82A1-669E98436422}"/>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961469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08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3090832-2B13-BF4F-A5A0-0EF8A28D360A}"/>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2997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F00C5320-B8F8-B843-ADCA-5BEC2A12E17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2997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2997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E6D14B9B-7FBD-C344-8F57-70F711AE51AC}"/>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778784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27774BE3-A8C1-F843-84C4-0BF72AA3CF00}"/>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466674868"/>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829006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apositive de titre" preserve="1" userDrawn="1">
  <p:cSld name="Diapositive de titre">
    <p:spTree>
      <p:nvGrpSpPr>
        <p:cNvPr id="1" name="Shape 119"/>
        <p:cNvGrpSpPr/>
        <p:nvPr/>
      </p:nvGrpSpPr>
      <p:grpSpPr>
        <a:xfrm>
          <a:off x="0" y="0"/>
          <a:ext cx="0" cy="0"/>
          <a:chOff x="0" y="0"/>
          <a:chExt cx="0" cy="0"/>
        </a:xfrm>
      </p:grpSpPr>
      <p:pic>
        <p:nvPicPr>
          <p:cNvPr id="15" name="Google Shape;365;p49">
            <a:extLst>
              <a:ext uri="{FF2B5EF4-FFF2-40B4-BE49-F238E27FC236}">
                <a16:creationId xmlns:a16="http://schemas.microsoft.com/office/drawing/2014/main" id="{B3BEF97E-6B39-47FD-B58D-932C8345D5BA}"/>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133661" y="-5"/>
            <a:ext cx="12191992" cy="6858005"/>
          </a:xfrm>
          <a:prstGeom prst="rect">
            <a:avLst/>
          </a:prstGeom>
          <a:noFill/>
          <a:ln>
            <a:noFill/>
          </a:ln>
        </p:spPr>
      </p:pic>
      <p:graphicFrame>
        <p:nvGraphicFramePr>
          <p:cNvPr id="2" name="Objet 1" hidden="1">
            <a:extLst>
              <a:ext uri="{FF2B5EF4-FFF2-40B4-BE49-F238E27FC236}">
                <a16:creationId xmlns:a16="http://schemas.microsoft.com/office/drawing/2014/main" id="{23430DCA-6767-42FF-B238-B26E51E71E04}"/>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2" name="Objet 1" hidden="1">
                        <a:extLst>
                          <a:ext uri="{FF2B5EF4-FFF2-40B4-BE49-F238E27FC236}">
                            <a16:creationId xmlns:a16="http://schemas.microsoft.com/office/drawing/2014/main" id="{23430DCA-6767-42FF-B238-B26E51E71E04}"/>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13" name="Titre 1">
            <a:extLst>
              <a:ext uri="{FF2B5EF4-FFF2-40B4-BE49-F238E27FC236}">
                <a16:creationId xmlns:a16="http://schemas.microsoft.com/office/drawing/2014/main" id="{847F70CD-B09B-4ED3-8999-4EBC3F70E280}"/>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sp>
        <p:nvSpPr>
          <p:cNvPr id="10" name="Rectangle 15">
            <a:extLst>
              <a:ext uri="{FF2B5EF4-FFF2-40B4-BE49-F238E27FC236}">
                <a16:creationId xmlns:a16="http://schemas.microsoft.com/office/drawing/2014/main" id="{B3D26CB0-75D3-4B3F-A327-229694E03557}"/>
              </a:ext>
            </a:extLst>
          </p:cNvPr>
          <p:cNvSpPr/>
          <p:nvPr userDrawn="1"/>
        </p:nvSpPr>
        <p:spPr>
          <a:xfrm flipV="1">
            <a:off x="6"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1" name="Rectangle 15">
            <a:extLst>
              <a:ext uri="{FF2B5EF4-FFF2-40B4-BE49-F238E27FC236}">
                <a16:creationId xmlns:a16="http://schemas.microsoft.com/office/drawing/2014/main" id="{A21FBB9E-4FC9-46CA-AAA9-AEA0E18FC41F}"/>
              </a:ext>
            </a:extLst>
          </p:cNvPr>
          <p:cNvSpPr/>
          <p:nvPr userDrawn="1"/>
        </p:nvSpPr>
        <p:spPr>
          <a:xfrm>
            <a:off x="6"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Espace réservé du texte 3">
            <a:extLst>
              <a:ext uri="{FF2B5EF4-FFF2-40B4-BE49-F238E27FC236}">
                <a16:creationId xmlns:a16="http://schemas.microsoft.com/office/drawing/2014/main" id="{64F4B034-C0CC-49CC-A0A9-94A7F62B7FE2}"/>
              </a:ext>
            </a:extLst>
          </p:cNvPr>
          <p:cNvSpPr>
            <a:spLocks noGrp="1"/>
          </p:cNvSpPr>
          <p:nvPr>
            <p:ph type="body" sz="quarter" idx="12"/>
          </p:nvPr>
        </p:nvSpPr>
        <p:spPr>
          <a:xfrm>
            <a:off x="133663" y="3133541"/>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sp>
        <p:nvSpPr>
          <p:cNvPr id="14" name="ZoneTexte 13">
            <a:extLst>
              <a:ext uri="{FF2B5EF4-FFF2-40B4-BE49-F238E27FC236}">
                <a16:creationId xmlns:a16="http://schemas.microsoft.com/office/drawing/2014/main" id="{3AD045E3-5770-48F7-9834-6541757F14B3}"/>
              </a:ext>
            </a:extLst>
          </p:cNvPr>
          <p:cNvSpPr txBox="1"/>
          <p:nvPr userDrawn="1"/>
        </p:nvSpPr>
        <p:spPr>
          <a:xfrm>
            <a:off x="11552653" y="6557762"/>
            <a:ext cx="258083"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a:t>
            </a:fld>
            <a:endParaRPr lang="en-US" sz="1100">
              <a:solidFill>
                <a:schemeClr val="bg1"/>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F10E4C1D-CA6B-41E2-882F-4B0EA9229BFE}"/>
              </a:ext>
            </a:extLst>
          </p:cNvPr>
          <p:cNvSpPr txBox="1">
            <a:spLocks/>
          </p:cNvSpPr>
          <p:nvPr userDrawn="1"/>
        </p:nvSpPr>
        <p:spPr>
          <a:xfrm>
            <a:off x="444502" y="6555196"/>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19" name="Espace réservé du pied de page 24">
            <a:extLst>
              <a:ext uri="{FF2B5EF4-FFF2-40B4-BE49-F238E27FC236}">
                <a16:creationId xmlns:a16="http://schemas.microsoft.com/office/drawing/2014/main" id="{D56CF27C-B4B8-433B-ACC5-244363B4A359}"/>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Pied de page | </a:t>
            </a:r>
            <a:fld id="{7E74C1EB-D0C9-4102-9435-B97D94E7CC62}" type="datetime4">
              <a:rPr lang="fr-FR" smtClean="0"/>
              <a:pPr/>
              <a:t>15 février 2024</a:t>
            </a:fld>
            <a:r>
              <a:rPr lang="en-US"/>
              <a:t> |</a:t>
            </a:r>
          </a:p>
        </p:txBody>
      </p:sp>
      <p:pic>
        <p:nvPicPr>
          <p:cNvPr id="3" name="Image 2" descr="Une image contenant dessin&#10;&#10;Description générée automatiquement">
            <a:extLst>
              <a:ext uri="{FF2B5EF4-FFF2-40B4-BE49-F238E27FC236}">
                <a16:creationId xmlns:a16="http://schemas.microsoft.com/office/drawing/2014/main" id="{86FBB6AB-EACC-4246-9C9C-F7636DCDA205}"/>
              </a:ext>
            </a:extLst>
          </p:cNvPr>
          <p:cNvPicPr>
            <a:picLocks noChangeAspect="1"/>
          </p:cNvPicPr>
          <p:nvPr userDrawn="1"/>
        </p:nvPicPr>
        <p:blipFill>
          <a:blip r:embed="rId6"/>
          <a:stretch>
            <a:fillRect/>
          </a:stretch>
        </p:blipFill>
        <p:spPr>
          <a:xfrm>
            <a:off x="10931035" y="130963"/>
            <a:ext cx="1224000" cy="688500"/>
          </a:xfrm>
          <a:prstGeom prst="rect">
            <a:avLst/>
          </a:prstGeom>
        </p:spPr>
      </p:pic>
    </p:spTree>
    <p:extLst>
      <p:ext uri="{BB962C8B-B14F-4D97-AF65-F5344CB8AC3E}">
        <p14:creationId xmlns:p14="http://schemas.microsoft.com/office/powerpoint/2010/main" val="4124622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870CE312-5FD2-5B48-B734-8E73E24E6ECC}"/>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150255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09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ACEC956D-B20C-7A4D-BF81-1FCFBEC776C3}"/>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5"/>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C9C78A23-7CE0-7D42-8993-C0F0CE658D3F}"/>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5"/>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5"/>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1ACC7F31-885B-9E45-93B4-324D8C70B198}"/>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787313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F1E01BA-D85B-6146-9CE2-B788D43751D4}"/>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510427409"/>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grpSp>
        <p:nvGrpSpPr>
          <p:cNvPr id="2" name="Group 11">
            <a:extLst>
              <a:ext uri="{FF2B5EF4-FFF2-40B4-BE49-F238E27FC236}">
                <a16:creationId xmlns:a16="http://schemas.microsoft.com/office/drawing/2014/main" id="{500B4B26-9499-C080-6622-6120D5D8CB88}"/>
              </a:ext>
            </a:extLst>
          </p:cNvPr>
          <p:cNvGrpSpPr/>
          <p:nvPr userDrawn="1"/>
        </p:nvGrpSpPr>
        <p:grpSpPr>
          <a:xfrm>
            <a:off x="-16626" y="0"/>
            <a:ext cx="258665" cy="6858000"/>
            <a:chOff x="1159010" y="48667"/>
            <a:chExt cx="258665" cy="6858000"/>
          </a:xfrm>
        </p:grpSpPr>
        <p:sp>
          <p:nvSpPr>
            <p:cNvPr id="5" name="Google Shape;209;p35">
              <a:extLst>
                <a:ext uri="{FF2B5EF4-FFF2-40B4-BE49-F238E27FC236}">
                  <a16:creationId xmlns:a16="http://schemas.microsoft.com/office/drawing/2014/main" id="{C7EC62AC-D0F3-5734-48DD-4E00784B7E4C}"/>
                </a:ext>
              </a:extLst>
            </p:cNvPr>
            <p:cNvSpPr/>
            <p:nvPr/>
          </p:nvSpPr>
          <p:spPr>
            <a:xfrm>
              <a:off x="1159010" y="48667"/>
              <a:ext cx="251101" cy="6858000"/>
            </a:xfrm>
            <a:prstGeom prst="rect">
              <a:avLst/>
            </a:prstGeom>
            <a:solidFill>
              <a:srgbClr val="E3F9E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6" name="Google Shape;210;p35">
              <a:extLst>
                <a:ext uri="{FF2B5EF4-FFF2-40B4-BE49-F238E27FC236}">
                  <a16:creationId xmlns:a16="http://schemas.microsoft.com/office/drawing/2014/main" id="{95590061-6524-4CF6-0C86-DC4765B0E82C}"/>
                </a:ext>
              </a:extLst>
            </p:cNvPr>
            <p:cNvSpPr/>
            <p:nvPr/>
          </p:nvSpPr>
          <p:spPr>
            <a:xfrm flipH="1">
              <a:off x="1159591" y="2980403"/>
              <a:ext cx="258084" cy="392626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01 w 10000"/>
                <a:gd name="connsiteY0" fmla="*/ 1012 h 10000"/>
                <a:gd name="connsiteX1" fmla="*/ 10000 w 10000"/>
                <a:gd name="connsiteY1" fmla="*/ 0 h 10000"/>
                <a:gd name="connsiteX2" fmla="*/ 10000 w 10000"/>
                <a:gd name="connsiteY2" fmla="*/ 10000 h 10000"/>
                <a:gd name="connsiteX3" fmla="*/ 0 w 10000"/>
                <a:gd name="connsiteY3" fmla="*/ 10000 h 10000"/>
                <a:gd name="connsiteX4" fmla="*/ 201 w 10000"/>
                <a:gd name="connsiteY4" fmla="*/ 1012 h 10000"/>
                <a:gd name="connsiteX0" fmla="*/ 364 w 10000"/>
                <a:gd name="connsiteY0" fmla="*/ 752 h 10000"/>
                <a:gd name="connsiteX1" fmla="*/ 10000 w 10000"/>
                <a:gd name="connsiteY1" fmla="*/ 0 h 10000"/>
                <a:gd name="connsiteX2" fmla="*/ 10000 w 10000"/>
                <a:gd name="connsiteY2" fmla="*/ 10000 h 10000"/>
                <a:gd name="connsiteX3" fmla="*/ 0 w 10000"/>
                <a:gd name="connsiteY3" fmla="*/ 10000 h 10000"/>
                <a:gd name="connsiteX4" fmla="*/ 364 w 10000"/>
                <a:gd name="connsiteY4" fmla="*/ 75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364" y="752"/>
                  </a:moveTo>
                  <a:lnTo>
                    <a:pt x="10000" y="0"/>
                  </a:lnTo>
                  <a:lnTo>
                    <a:pt x="10000" y="10000"/>
                  </a:lnTo>
                  <a:lnTo>
                    <a:pt x="0" y="10000"/>
                  </a:lnTo>
                  <a:cubicBezTo>
                    <a:pt x="121" y="6917"/>
                    <a:pt x="243" y="3835"/>
                    <a:pt x="364" y="752"/>
                  </a:cubicBezTo>
                  <a:close/>
                </a:path>
              </a:pathLst>
            </a:custGeom>
            <a:solidFill>
              <a:srgbClr val="45D89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grpSp>
    </p:spTree>
    <p:extLst>
      <p:ext uri="{BB962C8B-B14F-4D97-AF65-F5344CB8AC3E}">
        <p14:creationId xmlns:p14="http://schemas.microsoft.com/office/powerpoint/2010/main" val="15763019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B4FF22C-B2D8-B84D-B36D-0805879B48AD}"/>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8178056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0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FD5A02F9-6BF6-CB4C-8144-B02CAB7122EC}"/>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281FF"/>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9280105D-7FB2-1648-9C40-35D8D2C8E688}"/>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181FF"/>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181FF"/>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97A2C67D-B0D3-7C4F-B2D1-E1AA88303F1A}"/>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8016655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ACDB9FB-9B3F-2D4C-8CC3-5C1742B891F7}"/>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4187426072"/>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grpSp>
        <p:nvGrpSpPr>
          <p:cNvPr id="2" name="Group 6">
            <a:extLst>
              <a:ext uri="{FF2B5EF4-FFF2-40B4-BE49-F238E27FC236}">
                <a16:creationId xmlns:a16="http://schemas.microsoft.com/office/drawing/2014/main" id="{7D1749FB-8EEE-D062-8BA8-DCEB159CF8D2}"/>
              </a:ext>
            </a:extLst>
          </p:cNvPr>
          <p:cNvGrpSpPr/>
          <p:nvPr userDrawn="1"/>
        </p:nvGrpSpPr>
        <p:grpSpPr>
          <a:xfrm>
            <a:off x="-16625" y="0"/>
            <a:ext cx="258665" cy="6858000"/>
            <a:chOff x="916211" y="48667"/>
            <a:chExt cx="258665" cy="6858000"/>
          </a:xfrm>
        </p:grpSpPr>
        <p:sp>
          <p:nvSpPr>
            <p:cNvPr id="5" name="Google Shape;209;p35">
              <a:extLst>
                <a:ext uri="{FF2B5EF4-FFF2-40B4-BE49-F238E27FC236}">
                  <a16:creationId xmlns:a16="http://schemas.microsoft.com/office/drawing/2014/main" id="{0F0E9E9D-4CB4-3640-516C-6D31837CE7F1}"/>
                </a:ext>
              </a:extLst>
            </p:cNvPr>
            <p:cNvSpPr/>
            <p:nvPr/>
          </p:nvSpPr>
          <p:spPr>
            <a:xfrm>
              <a:off x="916211" y="48667"/>
              <a:ext cx="251101" cy="6858000"/>
            </a:xfrm>
            <a:prstGeom prst="rect">
              <a:avLst/>
            </a:prstGeom>
            <a:solidFill>
              <a:srgbClr val="E0EC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6" name="Google Shape;210;p35">
              <a:extLst>
                <a:ext uri="{FF2B5EF4-FFF2-40B4-BE49-F238E27FC236}">
                  <a16:creationId xmlns:a16="http://schemas.microsoft.com/office/drawing/2014/main" id="{A3C89DE1-D601-94EE-3A62-E96031A343D6}"/>
                </a:ext>
              </a:extLst>
            </p:cNvPr>
            <p:cNvSpPr/>
            <p:nvPr/>
          </p:nvSpPr>
          <p:spPr>
            <a:xfrm flipH="1">
              <a:off x="916792" y="2980403"/>
              <a:ext cx="258084" cy="392626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01 w 10000"/>
                <a:gd name="connsiteY0" fmla="*/ 1012 h 10000"/>
                <a:gd name="connsiteX1" fmla="*/ 10000 w 10000"/>
                <a:gd name="connsiteY1" fmla="*/ 0 h 10000"/>
                <a:gd name="connsiteX2" fmla="*/ 10000 w 10000"/>
                <a:gd name="connsiteY2" fmla="*/ 10000 h 10000"/>
                <a:gd name="connsiteX3" fmla="*/ 0 w 10000"/>
                <a:gd name="connsiteY3" fmla="*/ 10000 h 10000"/>
                <a:gd name="connsiteX4" fmla="*/ 201 w 10000"/>
                <a:gd name="connsiteY4" fmla="*/ 1012 h 10000"/>
                <a:gd name="connsiteX0" fmla="*/ 364 w 10000"/>
                <a:gd name="connsiteY0" fmla="*/ 752 h 10000"/>
                <a:gd name="connsiteX1" fmla="*/ 10000 w 10000"/>
                <a:gd name="connsiteY1" fmla="*/ 0 h 10000"/>
                <a:gd name="connsiteX2" fmla="*/ 10000 w 10000"/>
                <a:gd name="connsiteY2" fmla="*/ 10000 h 10000"/>
                <a:gd name="connsiteX3" fmla="*/ 0 w 10000"/>
                <a:gd name="connsiteY3" fmla="*/ 10000 h 10000"/>
                <a:gd name="connsiteX4" fmla="*/ 364 w 10000"/>
                <a:gd name="connsiteY4" fmla="*/ 75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364" y="752"/>
                  </a:moveTo>
                  <a:lnTo>
                    <a:pt x="10000" y="0"/>
                  </a:lnTo>
                  <a:lnTo>
                    <a:pt x="10000" y="10000"/>
                  </a:lnTo>
                  <a:lnTo>
                    <a:pt x="0" y="10000"/>
                  </a:lnTo>
                  <a:cubicBezTo>
                    <a:pt x="121" y="6917"/>
                    <a:pt x="243" y="3835"/>
                    <a:pt x="364" y="752"/>
                  </a:cubicBezTo>
                  <a:close/>
                </a:path>
              </a:pathLst>
            </a:cu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grpSp>
    </p:spTree>
    <p:extLst>
      <p:ext uri="{BB962C8B-B14F-4D97-AF65-F5344CB8AC3E}">
        <p14:creationId xmlns:p14="http://schemas.microsoft.com/office/powerpoint/2010/main" val="34431344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137F2DC-2C61-9940-BDD8-DE12DF0D0011}"/>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3511957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1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7D5F6F0B-36E4-9343-9FA3-20BB518542E5}"/>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3BFF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52585A64-3B91-594F-9B84-51EB088D6C4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3BFF8"/>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3BFF8"/>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4" name="Image 13">
            <a:extLst>
              <a:ext uri="{FF2B5EF4-FFF2-40B4-BE49-F238E27FC236}">
                <a16:creationId xmlns:a16="http://schemas.microsoft.com/office/drawing/2014/main" id="{F1C7D541-02B7-204D-98C2-A067C90E3C3B}"/>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502995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5">
            <a:alphaModFix/>
            <a:extLst>
              <a:ext uri="{28A0092B-C50C-407E-A947-70E740481C1C}">
                <a14:useLocalDpi xmlns:a14="http://schemas.microsoft.com/office/drawing/2010/main" val="0"/>
              </a:ext>
            </a:extLst>
          </a:blip>
          <a:srcRect/>
          <a:stretch/>
        </p:blipFill>
        <p:spPr>
          <a:xfrm>
            <a:off x="6"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l="11873"/>
          <a:stretch/>
        </p:blipFill>
        <p:spPr>
          <a:xfrm>
            <a:off x="2" y="-1"/>
            <a:ext cx="10652391"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7">
            <a:alphaModFix/>
            <a:extLst>
              <a:ext uri="{28A0092B-C50C-407E-A947-70E740481C1C}">
                <a14:useLocalDpi xmlns:a14="http://schemas.microsoft.com/office/drawing/2010/main" val="0"/>
              </a:ext>
            </a:extLst>
          </a:blip>
          <a:srcRect/>
          <a:stretch/>
        </p:blipFill>
        <p:spPr>
          <a:xfrm>
            <a:off x="7186550" y="2498215"/>
            <a:ext cx="3309151" cy="1861577"/>
          </a:xfrm>
          <a:prstGeom prst="rect">
            <a:avLst/>
          </a:prstGeom>
          <a:noFill/>
          <a:ln>
            <a:noFill/>
          </a:ln>
        </p:spPr>
      </p:pic>
    </p:spTree>
    <p:extLst>
      <p:ext uri="{BB962C8B-B14F-4D97-AF65-F5344CB8AC3E}">
        <p14:creationId xmlns:p14="http://schemas.microsoft.com/office/powerpoint/2010/main" val="209086015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E36BCDB7-24B3-364D-A6D7-1EBF30D980A7}"/>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409698152"/>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4091829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62DE4B6-1DF0-444C-A0CD-B75A15DA2F19}"/>
              </a:ext>
            </a:extLst>
          </p:cNvPr>
          <p:cNvPicPr preferRelativeResize="0"/>
          <p:nvPr/>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40622017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2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184715DD-3FAB-B64E-985C-F90130265141}"/>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4"/>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3C1DF095-9714-3D4A-83E8-98821845004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4"/>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4"/>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02BC8AC5-AA5F-3747-AE76-3F696833C72C}"/>
              </a:ext>
            </a:extLst>
          </p:cNvPr>
          <p:cNvPicPr>
            <a:picLocks noChangeAspect="1"/>
          </p:cNvPicPr>
          <p:nvPr/>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5898072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C4777419-0E48-AF40-B2B5-6B7363E213E7}"/>
              </a:ext>
            </a:extLst>
          </p:cNvPr>
          <p:cNvPicPr preferRelativeResize="0"/>
          <p:nvPr/>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574849676"/>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5737744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Cloture">
  <p:cSld name="Cloture">
    <p:spTree>
      <p:nvGrpSpPr>
        <p:cNvPr id="1" name="Shape 273"/>
        <p:cNvGrpSpPr/>
        <p:nvPr/>
      </p:nvGrpSpPr>
      <p:grpSpPr>
        <a:xfrm>
          <a:off x="0" y="0"/>
          <a:ext cx="0" cy="0"/>
          <a:chOff x="0" y="0"/>
          <a:chExt cx="0" cy="0"/>
        </a:xfrm>
      </p:grpSpPr>
      <p:pic>
        <p:nvPicPr>
          <p:cNvPr id="274" name="Google Shape;274;p66"/>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275" name="Google Shape;275;p66"/>
          <p:cNvPicPr preferRelativeResize="0"/>
          <p:nvPr/>
        </p:nvPicPr>
        <p:blipFill rotWithShape="1">
          <a:blip r:embed="rId3" cstate="screen">
            <a:alphaModFix/>
            <a:extLst>
              <a:ext uri="{28A0092B-C50C-407E-A947-70E740481C1C}">
                <a14:useLocalDpi xmlns:a14="http://schemas.microsoft.com/office/drawing/2010/main"/>
              </a:ext>
            </a:extLst>
          </a:blip>
          <a:srcRect l="11872"/>
          <a:stretch/>
        </p:blipFill>
        <p:spPr>
          <a:xfrm>
            <a:off x="-1" y="-1"/>
            <a:ext cx="10652391" cy="6858000"/>
          </a:xfrm>
          <a:prstGeom prst="rect">
            <a:avLst/>
          </a:prstGeom>
          <a:noFill/>
          <a:ln>
            <a:noFill/>
          </a:ln>
        </p:spPr>
      </p:pic>
      <p:pic>
        <p:nvPicPr>
          <p:cNvPr id="276" name="Google Shape;276;p66"/>
          <p:cNvPicPr preferRelativeResize="0"/>
          <p:nvPr/>
        </p:nvPicPr>
        <p:blipFill rotWithShape="1">
          <a:blip r:embed="rId4">
            <a:alphaModFix/>
          </a:blip>
          <a:srcRect/>
          <a:stretch/>
        </p:blipFill>
        <p:spPr>
          <a:xfrm>
            <a:off x="7186547" y="2498213"/>
            <a:ext cx="3309151" cy="1861577"/>
          </a:xfrm>
          <a:prstGeom prst="rect">
            <a:avLst/>
          </a:prstGeom>
          <a:noFill/>
          <a:ln>
            <a:noFill/>
          </a:ln>
        </p:spPr>
      </p:pic>
      <p:sp>
        <p:nvSpPr>
          <p:cNvPr id="5" name="Google Shape;45;p44">
            <a:extLst>
              <a:ext uri="{FF2B5EF4-FFF2-40B4-BE49-F238E27FC236}">
                <a16:creationId xmlns:a16="http://schemas.microsoft.com/office/drawing/2014/main" id="{5406EDC3-AC1D-5546-8CF8-396834432F08}"/>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22147775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3"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pic>
        <p:nvPicPr>
          <p:cNvPr id="13" name="Image 12">
            <a:extLst>
              <a:ext uri="{FF2B5EF4-FFF2-40B4-BE49-F238E27FC236}">
                <a16:creationId xmlns:a16="http://schemas.microsoft.com/office/drawing/2014/main" id="{1B92915B-76AC-4E99-B0E0-7EC94EB283D6}"/>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6742"/>
            <a:ext cx="12191999" cy="6934017"/>
          </a:xfrm>
          <a:prstGeom prst="rect">
            <a:avLst/>
          </a:prstGeom>
        </p:spPr>
      </p:pic>
    </p:spTree>
    <p:extLst>
      <p:ext uri="{BB962C8B-B14F-4D97-AF65-F5344CB8AC3E}">
        <p14:creationId xmlns:p14="http://schemas.microsoft.com/office/powerpoint/2010/main" val="416096775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2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8" name="Google Shape;37;p43">
            <a:extLst>
              <a:ext uri="{FF2B5EF4-FFF2-40B4-BE49-F238E27FC236}">
                <a16:creationId xmlns:a16="http://schemas.microsoft.com/office/drawing/2014/main" id="{439B3FCF-7CE8-FB46-84A1-B8DD2495F4BC}"/>
              </a:ext>
            </a:extLst>
          </p:cNvPr>
          <p:cNvPicPr preferRelativeResize="0"/>
          <p:nvPr userDrawn="1"/>
        </p:nvPicPr>
        <p:blipFill>
          <a:blip r:embed="rId2"/>
          <a:srcRect/>
          <a:stretch/>
        </p:blipFill>
        <p:spPr>
          <a:xfrm>
            <a:off x="10722598" y="230321"/>
            <a:ext cx="1238400" cy="469627"/>
          </a:xfrm>
          <a:prstGeom prst="rect">
            <a:avLst/>
          </a:prstGeom>
          <a:noFill/>
          <a:ln>
            <a:noFill/>
          </a:ln>
        </p:spPr>
      </p:pic>
      <p:sp>
        <p:nvSpPr>
          <p:cNvPr id="9" name="Google Shape;44;p44">
            <a:extLst>
              <a:ext uri="{FF2B5EF4-FFF2-40B4-BE49-F238E27FC236}">
                <a16:creationId xmlns:a16="http://schemas.microsoft.com/office/drawing/2014/main" id="{AB6C925C-C441-EE43-A42E-411B1E9484A5}"/>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Montserrat"/>
                <a:ea typeface="Montserrat"/>
                <a:cs typeface="Montserrat"/>
                <a:sym typeface="Montserrat"/>
              </a:rPr>
              <a:t>Confidentiel</a:t>
            </a:r>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3" name="Google Shape;41;p7">
            <a:extLst>
              <a:ext uri="{FF2B5EF4-FFF2-40B4-BE49-F238E27FC236}">
                <a16:creationId xmlns:a16="http://schemas.microsoft.com/office/drawing/2014/main" id="{4F36EF97-2199-3544-A7C9-CDEC96F835AC}"/>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 name="Google Shape;82;p14">
            <a:extLst>
              <a:ext uri="{FF2B5EF4-FFF2-40B4-BE49-F238E27FC236}">
                <a16:creationId xmlns:a16="http://schemas.microsoft.com/office/drawing/2014/main" id="{9977BED4-1655-384E-8C2E-E995ACA1FE42}"/>
              </a:ext>
            </a:extLst>
          </p:cNvPr>
          <p:cNvSpPr txBox="1">
            <a:spLocks noGrp="1"/>
          </p:cNvSpPr>
          <p:nvPr>
            <p:ph type="title"/>
          </p:nvPr>
        </p:nvSpPr>
        <p:spPr>
          <a:xfrm>
            <a:off x="396655" y="292153"/>
            <a:ext cx="7709654"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Montserrat"/>
                <a:ea typeface="Montserrat"/>
                <a:cs typeface="Montserrat"/>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a:p>
        </p:txBody>
      </p:sp>
      <p:sp>
        <p:nvSpPr>
          <p:cNvPr id="15" name="Google Shape;86;p14">
            <a:extLst>
              <a:ext uri="{FF2B5EF4-FFF2-40B4-BE49-F238E27FC236}">
                <a16:creationId xmlns:a16="http://schemas.microsoft.com/office/drawing/2014/main" id="{A96D3317-44F6-6941-92DC-7E7866011317}"/>
              </a:ext>
            </a:extLst>
          </p:cNvPr>
          <p:cNvSpPr/>
          <p:nvPr userDrawn="1"/>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a:ea typeface="Arial"/>
              <a:cs typeface="Arial"/>
              <a:sym typeface="Arial"/>
            </a:endParaRPr>
          </a:p>
        </p:txBody>
      </p:sp>
    </p:spTree>
    <p:extLst>
      <p:ext uri="{BB962C8B-B14F-4D97-AF65-F5344CB8AC3E}">
        <p14:creationId xmlns:p14="http://schemas.microsoft.com/office/powerpoint/2010/main" val="28070924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End 2">
    <p:spTree>
      <p:nvGrpSpPr>
        <p:cNvPr id="1" name=""/>
        <p:cNvGrpSpPr/>
        <p:nvPr/>
      </p:nvGrpSpPr>
      <p:grpSpPr>
        <a:xfrm>
          <a:off x="0" y="0"/>
          <a:ext cx="0" cy="0"/>
          <a:chOff x="0" y="0"/>
          <a:chExt cx="0" cy="0"/>
        </a:xfrm>
      </p:grpSpPr>
      <p:pic>
        <p:nvPicPr>
          <p:cNvPr id="4" name="Google Shape;50;p6">
            <a:extLst>
              <a:ext uri="{FF2B5EF4-FFF2-40B4-BE49-F238E27FC236}">
                <a16:creationId xmlns:a16="http://schemas.microsoft.com/office/drawing/2014/main" id="{94DE49F2-0F19-4B9D-AAC5-7464E5FF372E}"/>
              </a:ext>
            </a:extLst>
          </p:cNvPr>
          <p:cNvPicPr preferRelativeResize="0"/>
          <p:nvPr userDrawn="1"/>
        </p:nvPicPr>
        <p:blipFill rotWithShape="1">
          <a:blip r:embed="rId2">
            <a:alphaModFix/>
            <a:extLst>
              <a:ext uri="{BEBA8EAE-BF5A-486C-A8C5-ECC9F3942E4B}">
                <a14:imgProps xmlns:a14="http://schemas.microsoft.com/office/drawing/2010/main">
                  <a14:imgLayer r:embed="rId3">
                    <a14:imgEffect>
                      <a14:brightnessContrast contrast="40000"/>
                    </a14:imgEffect>
                  </a14:imgLayer>
                </a14:imgProps>
              </a:ext>
            </a:extLst>
          </a:blip>
          <a:srcRect/>
          <a:stretch/>
        </p:blipFill>
        <p:spPr>
          <a:xfrm>
            <a:off x="9267" y="0"/>
            <a:ext cx="12182736" cy="6858000"/>
          </a:xfrm>
          <a:prstGeom prst="rect">
            <a:avLst/>
          </a:prstGeom>
          <a:noFill/>
          <a:ln>
            <a:noFill/>
          </a:ln>
        </p:spPr>
      </p:pic>
      <p:sp>
        <p:nvSpPr>
          <p:cNvPr id="7" name="Google Shape;113;p19">
            <a:extLst>
              <a:ext uri="{FF2B5EF4-FFF2-40B4-BE49-F238E27FC236}">
                <a16:creationId xmlns:a16="http://schemas.microsoft.com/office/drawing/2014/main" id="{8E1B8028-B8CB-45F8-9C65-2D593F1C805B}"/>
              </a:ext>
            </a:extLst>
          </p:cNvPr>
          <p:cNvSpPr txBox="1">
            <a:spLocks noGrp="1"/>
          </p:cNvSpPr>
          <p:nvPr>
            <p:ph type="title"/>
          </p:nvPr>
        </p:nvSpPr>
        <p:spPr>
          <a:xfrm>
            <a:off x="9267" y="2905733"/>
            <a:ext cx="12182736"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0" i="0" u="none" strike="noStrike" cap="all" baseline="0">
                <a:solidFill>
                  <a:srgbClr val="FFFFFF"/>
                </a:solidFill>
                <a:latin typeface="Montserrat ExtraBold" panose="00000900000000000000" pitchFamily="2" charset="0"/>
                <a:ea typeface="Montserrat ExtraBold" panose="00000900000000000000" pitchFamily="2" charset="0"/>
                <a:cs typeface="Montserrat ExtraBold" panose="00000900000000000000" pitchFamily="2"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endParaRPr/>
          </a:p>
        </p:txBody>
      </p:sp>
      <p:pic>
        <p:nvPicPr>
          <p:cNvPr id="11" name="Image 10">
            <a:extLst>
              <a:ext uri="{FF2B5EF4-FFF2-40B4-BE49-F238E27FC236}">
                <a16:creationId xmlns:a16="http://schemas.microsoft.com/office/drawing/2014/main" id="{FB2E5030-0947-4222-917E-1BAE5B9056E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48667" y="6015620"/>
            <a:ext cx="1178724" cy="663645"/>
          </a:xfrm>
          <a:prstGeom prst="rect">
            <a:avLst/>
          </a:prstGeom>
        </p:spPr>
      </p:pic>
    </p:spTree>
    <p:extLst>
      <p:ext uri="{BB962C8B-B14F-4D97-AF65-F5344CB8AC3E}">
        <p14:creationId xmlns:p14="http://schemas.microsoft.com/office/powerpoint/2010/main" val="40995139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6" cstate="screen">
            <a:alphaModFix/>
            <a:extLst>
              <a:ext uri="{28A0092B-C50C-407E-A947-70E740481C1C}">
                <a14:useLocalDpi xmlns:a14="http://schemas.microsoft.com/office/drawing/2010/main"/>
              </a:ext>
            </a:extLst>
          </a:blip>
          <a:srcRect/>
          <a:stretch/>
        </p:blipFill>
        <p:spPr>
          <a:xfrm>
            <a:off x="5"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7">
            <a:alphaModFix/>
            <a:extLst>
              <a:ext uri="{28A0092B-C50C-407E-A947-70E740481C1C}">
                <a14:useLocalDpi xmlns:a14="http://schemas.microsoft.com/office/drawing/2010/main"/>
              </a:ext>
            </a:extLst>
          </a:blip>
          <a:srcRect/>
          <a:stretch/>
        </p:blipFill>
        <p:spPr>
          <a:xfrm>
            <a:off x="-1" y="-1"/>
            <a:ext cx="12087492"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8" cstate="screen">
            <a:alphaModFix/>
            <a:extLst>
              <a:ext uri="{28A0092B-C50C-407E-A947-70E740481C1C}">
                <a14:useLocalDpi xmlns:a14="http://schemas.microsoft.com/office/drawing/2010/main"/>
              </a:ext>
            </a:extLst>
          </a:blip>
          <a:srcRect/>
          <a:stretch/>
        </p:blipFill>
        <p:spPr>
          <a:xfrm>
            <a:off x="8621649" y="2498214"/>
            <a:ext cx="3309151" cy="1861577"/>
          </a:xfrm>
          <a:prstGeom prst="rect">
            <a:avLst/>
          </a:prstGeom>
          <a:noFill/>
          <a:ln>
            <a:noFill/>
          </a:ln>
        </p:spPr>
      </p:pic>
      <p:sp>
        <p:nvSpPr>
          <p:cNvPr id="2" name="Titre 1">
            <a:extLst>
              <a:ext uri="{FF2B5EF4-FFF2-40B4-BE49-F238E27FC236}">
                <a16:creationId xmlns:a16="http://schemas.microsoft.com/office/drawing/2014/main" id="{97F4ECCA-ED68-478D-B970-E02E953A2CD6}"/>
              </a:ext>
            </a:extLst>
          </p:cNvPr>
          <p:cNvSpPr>
            <a:spLocks noGrp="1"/>
          </p:cNvSpPr>
          <p:nvPr>
            <p:ph type="ctrTitle" hasCustomPrompt="1"/>
          </p:nvPr>
        </p:nvSpPr>
        <p:spPr>
          <a:xfrm>
            <a:off x="350533" y="697582"/>
            <a:ext cx="9144000" cy="443199"/>
          </a:xfrm>
          <a:prstGeom prst="rect">
            <a:avLst/>
          </a:prstGeom>
        </p:spPr>
        <p:txBody>
          <a:bodyPr lIns="0" tIns="0" rIns="0" bIns="0" anchor="b">
            <a:spAutoFit/>
          </a:bodyPr>
          <a:lstStyle>
            <a:lvl1pPr algn="l">
              <a:defRPr sz="3200" b="1">
                <a:solidFill>
                  <a:schemeClr val="bg1"/>
                </a:solidFill>
                <a:latin typeface="Montserrat" panose="00000500000000000000" pitchFamily="2" charset="0"/>
              </a:defRPr>
            </a:lvl1pPr>
          </a:lstStyle>
          <a:p>
            <a:r>
              <a:rPr lang="fr-FR"/>
              <a:t>Titre de la présentation</a:t>
            </a:r>
            <a:endParaRPr lang="en-US"/>
          </a:p>
        </p:txBody>
      </p:sp>
      <p:sp>
        <p:nvSpPr>
          <p:cNvPr id="3" name="Sous-titre 2">
            <a:extLst>
              <a:ext uri="{FF2B5EF4-FFF2-40B4-BE49-F238E27FC236}">
                <a16:creationId xmlns:a16="http://schemas.microsoft.com/office/drawing/2014/main" id="{7B0EF1DE-CC7A-4F58-84C3-E4D68AD9AA3C}"/>
              </a:ext>
            </a:extLst>
          </p:cNvPr>
          <p:cNvSpPr>
            <a:spLocks noGrp="1"/>
          </p:cNvSpPr>
          <p:nvPr>
            <p:ph type="subTitle" idx="1" hasCustomPrompt="1"/>
          </p:nvPr>
        </p:nvSpPr>
        <p:spPr>
          <a:xfrm>
            <a:off x="350533" y="1687290"/>
            <a:ext cx="9144000" cy="387799"/>
          </a:xfrm>
          <a:prstGeom prst="rect">
            <a:avLst/>
          </a:prstGeom>
        </p:spPr>
        <p:txBody>
          <a:bodyPr lIns="0" tIns="0" rIns="0" bIns="0">
            <a:spAutoFit/>
          </a:bodyPr>
          <a:lstStyle>
            <a:lvl1pPr marL="0" indent="0" algn="l">
              <a:buNone/>
              <a:defRPr sz="2800" b="0">
                <a:solidFill>
                  <a:schemeClr val="bg1"/>
                </a:solidFill>
                <a:latin typeface="Montserrat" panose="00000500000000000000" pitchFamily="2" charset="0"/>
              </a:defRPr>
            </a:lvl1pPr>
            <a:lvl2pPr marL="609539" indent="0" algn="ctr">
              <a:buNone/>
              <a:defRPr sz="2667"/>
            </a:lvl2pPr>
            <a:lvl3pPr marL="1219080" indent="0" algn="ctr">
              <a:buNone/>
              <a:defRPr sz="2400"/>
            </a:lvl3pPr>
            <a:lvl4pPr marL="1828618" indent="0" algn="ctr">
              <a:buNone/>
              <a:defRPr sz="2133"/>
            </a:lvl4pPr>
            <a:lvl5pPr marL="2438158" indent="0" algn="ctr">
              <a:buNone/>
              <a:defRPr sz="2133"/>
            </a:lvl5pPr>
            <a:lvl6pPr marL="3047696" indent="0" algn="ctr">
              <a:buNone/>
              <a:defRPr sz="2133"/>
            </a:lvl6pPr>
            <a:lvl7pPr marL="3657235" indent="0" algn="ctr">
              <a:buNone/>
              <a:defRPr sz="2133"/>
            </a:lvl7pPr>
            <a:lvl8pPr marL="4266773" indent="0" algn="ctr">
              <a:buNone/>
              <a:defRPr sz="2133"/>
            </a:lvl8pPr>
            <a:lvl9pPr marL="4876313" indent="0" algn="ctr">
              <a:buNone/>
              <a:defRPr sz="2133"/>
            </a:lvl9pPr>
          </a:lstStyle>
          <a:p>
            <a:r>
              <a:rPr lang="fr-FR"/>
              <a:t>Date</a:t>
            </a:r>
            <a:endParaRPr lang="en-US"/>
          </a:p>
        </p:txBody>
      </p:sp>
      <p:cxnSp>
        <p:nvCxnSpPr>
          <p:cNvPr id="14" name="Connecteur droit 13">
            <a:extLst>
              <a:ext uri="{FF2B5EF4-FFF2-40B4-BE49-F238E27FC236}">
                <a16:creationId xmlns:a16="http://schemas.microsoft.com/office/drawing/2014/main" id="{1F57DF4D-28C9-407C-B409-CBE3FAE9E3BA}"/>
              </a:ext>
            </a:extLst>
          </p:cNvPr>
          <p:cNvCxnSpPr/>
          <p:nvPr userDrawn="1"/>
        </p:nvCxnSpPr>
        <p:spPr>
          <a:xfrm>
            <a:off x="350533" y="495299"/>
            <a:ext cx="40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4" y="6555194"/>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spTree>
    <p:extLst>
      <p:ext uri="{BB962C8B-B14F-4D97-AF65-F5344CB8AC3E}">
        <p14:creationId xmlns:p14="http://schemas.microsoft.com/office/powerpoint/2010/main" val="1724092757"/>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03 Violet // Texte">
  <p:cSld name="03 Violet // Texte">
    <p:bg>
      <p:bgPr>
        <a:solidFill>
          <a:srgbClr val="FFFFFF"/>
        </a:solidFill>
        <a:effectLst/>
      </p:bgPr>
    </p:bg>
    <p:spTree>
      <p:nvGrpSpPr>
        <p:cNvPr id="1" name="Shape 28"/>
        <p:cNvGrpSpPr/>
        <p:nvPr/>
      </p:nvGrpSpPr>
      <p:grpSpPr>
        <a:xfrm>
          <a:off x="0" y="0"/>
          <a:ext cx="0" cy="0"/>
          <a:chOff x="0" y="0"/>
          <a:chExt cx="0" cy="0"/>
        </a:xfrm>
      </p:grpSpPr>
      <p:sp>
        <p:nvSpPr>
          <p:cNvPr id="30" name="Google Shape;30;p5"/>
          <p:cNvSpPr/>
          <p:nvPr/>
        </p:nvSpPr>
        <p:spPr>
          <a:xfrm>
            <a:off x="-9181" y="-43000"/>
            <a:ext cx="3543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9" name="Google Shape;29;p5"/>
          <p:cNvSpPr/>
          <p:nvPr/>
        </p:nvSpPr>
        <p:spPr>
          <a:xfrm flipH="1">
            <a:off x="-9181" y="4898993"/>
            <a:ext cx="3543600" cy="1969000"/>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31" name="Google Shape;31;p5"/>
          <p:cNvSpPr/>
          <p:nvPr/>
        </p:nvSpPr>
        <p:spPr>
          <a:xfrm>
            <a:off x="362400" y="509467"/>
            <a:ext cx="334800" cy="25200"/>
          </a:xfrm>
          <a:prstGeom prst="rec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44388A"/>
              </a:solidFill>
              <a:latin typeface="Arial"/>
              <a:ea typeface="Arial"/>
              <a:cs typeface="Arial"/>
              <a:sym typeface="Arial"/>
            </a:endParaRPr>
          </a:p>
        </p:txBody>
      </p:sp>
      <p:sp>
        <p:nvSpPr>
          <p:cNvPr id="32" name="Google Shape;32;p5"/>
          <p:cNvSpPr/>
          <p:nvPr/>
        </p:nvSpPr>
        <p:spPr>
          <a:xfrm>
            <a:off x="7661933" y="383600"/>
            <a:ext cx="6090800" cy="6090800"/>
          </a:xfrm>
          <a:prstGeom prst="donut">
            <a:avLst>
              <a:gd name="adj" fmla="val 13694"/>
            </a:avLst>
          </a:prstGeom>
          <a:solidFill>
            <a:srgbClr val="44388A">
              <a:alpha val="2745"/>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33" name="Google Shape;33;p5"/>
          <p:cNvSpPr txBox="1">
            <a:spLocks noGrp="1"/>
          </p:cNvSpPr>
          <p:nvPr>
            <p:ph type="body" idx="1"/>
          </p:nvPr>
        </p:nvSpPr>
        <p:spPr>
          <a:xfrm>
            <a:off x="3726000" y="788267"/>
            <a:ext cx="8245600" cy="5390400"/>
          </a:xfrm>
          <a:prstGeom prst="rect">
            <a:avLst/>
          </a:prstGeom>
          <a:noFill/>
          <a:ln>
            <a:noFill/>
          </a:ln>
        </p:spPr>
        <p:txBody>
          <a:bodyPr spcFirstLastPara="1" wrap="square" lIns="91425" tIns="91425" rIns="91425" bIns="91425" anchor="t" anchorCtr="0">
            <a:noAutofit/>
          </a:bodyPr>
          <a:lstStyle>
            <a:lvl1pPr marL="609585" marR="0" lvl="0"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34" name="Google Shape;34;p5"/>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44388A"/>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35" name="Google Shape;35;p5"/>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44388A"/>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11" name="Google Shape;61;p10">
            <a:extLst>
              <a:ext uri="{FF2B5EF4-FFF2-40B4-BE49-F238E27FC236}">
                <a16:creationId xmlns:a16="http://schemas.microsoft.com/office/drawing/2014/main" id="{FBE302DB-D40E-B347-965F-205B0650D880}"/>
              </a:ext>
            </a:extLst>
          </p:cNvPr>
          <p:cNvPicPr preferRelativeResize="0"/>
          <p:nvPr userDrawn="1"/>
        </p:nvPicPr>
        <p:blipFill rotWithShape="1">
          <a:blip r:embed="rId2" cstate="print">
            <a:extLst>
              <a:ext uri="{28A0092B-C50C-407E-A947-70E740481C1C}">
                <a14:useLocalDpi xmlns:a14="http://schemas.microsoft.com/office/drawing/2010/main"/>
              </a:ext>
            </a:extLst>
          </a:blip>
          <a:srcRect/>
          <a:stretch/>
        </p:blipFill>
        <p:spPr>
          <a:xfrm>
            <a:off x="322831" y="6012001"/>
            <a:ext cx="1256135" cy="706860"/>
          </a:xfrm>
          <a:prstGeom prst="rect">
            <a:avLst/>
          </a:prstGeom>
          <a:noFill/>
          <a:ln>
            <a:noFill/>
          </a:ln>
        </p:spPr>
      </p:pic>
      <p:sp>
        <p:nvSpPr>
          <p:cNvPr id="3" name="Google Shape;45;p44">
            <a:extLst>
              <a:ext uri="{FF2B5EF4-FFF2-40B4-BE49-F238E27FC236}">
                <a16:creationId xmlns:a16="http://schemas.microsoft.com/office/drawing/2014/main" id="{97CD7A67-AA31-E44E-36C8-6CF8F1BF28A8}"/>
              </a:ext>
            </a:extLst>
          </p:cNvPr>
          <p:cNvSpPr txBox="1"/>
          <p:nvPr userDrawn="1"/>
        </p:nvSpPr>
        <p:spPr>
          <a:xfrm>
            <a:off x="3726000" y="6583334"/>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933360838"/>
      </p:ext>
    </p:extLst>
  </p:cSld>
  <p:clrMapOvr>
    <a:masterClrMapping/>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1" y="1"/>
            <a:ext cx="266420" cy="6906667"/>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9181" y="2899068"/>
            <a:ext cx="27561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pPr marL="0" marR="0" lvl="0" indent="0" algn="ctr" rtl="0">
                <a:spcBef>
                  <a:spcPts val="0"/>
                </a:spcBef>
                <a:spcAft>
                  <a:spcPts val="0"/>
                </a:spcAft>
                <a:buNone/>
              </a:pPr>
              <a:t>‹#›</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3" y="268518"/>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6" y="260224"/>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3" y="268517"/>
            <a:ext cx="334800" cy="25200"/>
          </a:xfrm>
          <a:prstGeom prst="rect">
            <a:avLst/>
          </a:prstGeom>
          <a:solidFill>
            <a:srgbClr val="44378A"/>
          </a:solidFill>
          <a:ln>
            <a:solidFill>
              <a:srgbClr val="44378A"/>
            </a:solid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7" y="835753"/>
            <a:ext cx="11574945" cy="5581067"/>
          </a:xfrm>
          <a:prstGeom prst="rect">
            <a:avLst/>
          </a:prstGeom>
          <a:noFill/>
          <a:ln>
            <a:noFill/>
          </a:ln>
        </p:spPr>
        <p:txBody>
          <a:bodyPr spcFirstLastPara="1" wrap="square" lIns="91425" tIns="91425" rIns="91425" bIns="91425" anchor="t" anchorCtr="0">
            <a:noAutofit/>
          </a:bodyPr>
          <a:lstStyle>
            <a:lvl1pPr marL="186258"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40" marR="0" lvl="1" indent="-423312"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09" marR="0" lvl="2"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278" marR="0" lvl="3"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848" marR="0" lvl="4"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418" marR="0" lvl="5"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6987" marR="0" lvl="6"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557" marR="0" lvl="7"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126" marR="0" lvl="8"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5" name="Google Shape;69;p4">
            <a:extLst>
              <a:ext uri="{FF2B5EF4-FFF2-40B4-BE49-F238E27FC236}">
                <a16:creationId xmlns:a16="http://schemas.microsoft.com/office/drawing/2014/main" id="{E0D8909F-6344-3E4F-9FBB-1955CCD6250F}"/>
              </a:ext>
            </a:extLst>
          </p:cNvPr>
          <p:cNvPicPr>
            <a:picLocks noChangeAspect="1"/>
          </p:cNvPicPr>
          <p:nvPr userDrawn="1"/>
        </p:nvPicPr>
        <p:blipFill>
          <a:blip r:embed="rId2"/>
          <a:srcRect/>
          <a:stretch>
            <a:fillRect/>
          </a:stretch>
        </p:blipFill>
        <p:spPr>
          <a:xfrm>
            <a:off x="10596838" y="130963"/>
            <a:ext cx="1238399" cy="588544"/>
          </a:xfrm>
          <a:prstGeom prst="rect">
            <a:avLst/>
          </a:prstGeom>
          <a:noFill/>
          <a:ln cap="flat">
            <a:noFill/>
          </a:ln>
        </p:spPr>
      </p:pic>
      <p:sp>
        <p:nvSpPr>
          <p:cNvPr id="2" name="Google Shape;45;p44">
            <a:extLst>
              <a:ext uri="{FF2B5EF4-FFF2-40B4-BE49-F238E27FC236}">
                <a16:creationId xmlns:a16="http://schemas.microsoft.com/office/drawing/2014/main" id="{0EF89C76-DCF7-6AF6-8CE2-4EFA6B0353A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3779568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extLst>
              <p:ext uri="{D42A27DB-BD31-4B8C-83A1-F6EECF244321}">
                <p14:modId xmlns:p14="http://schemas.microsoft.com/office/powerpoint/2010/main" val="2068310480"/>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6">
            <a:alphaModFix/>
            <a:extLst>
              <a:ext uri="{28A0092B-C50C-407E-A947-70E740481C1C}">
                <a14:useLocalDpi xmlns:a14="http://schemas.microsoft.com/office/drawing/2010/main" val="0"/>
              </a:ext>
            </a:extLst>
          </a:blip>
          <a:srcRect/>
          <a:stretch/>
        </p:blipFill>
        <p:spPr>
          <a:xfrm>
            <a:off x="8621647" y="2498213"/>
            <a:ext cx="3309151" cy="1861577"/>
          </a:xfrm>
          <a:prstGeom prst="rect">
            <a:avLst/>
          </a:prstGeom>
          <a:noFill/>
          <a:ln>
            <a:noFill/>
          </a:ln>
        </p:spPr>
      </p:pic>
      <p:sp>
        <p:nvSpPr>
          <p:cNvPr id="2" name="Titre 1">
            <a:extLst>
              <a:ext uri="{FF2B5EF4-FFF2-40B4-BE49-F238E27FC236}">
                <a16:creationId xmlns:a16="http://schemas.microsoft.com/office/drawing/2014/main" id="{97F4ECCA-ED68-478D-B970-E02E953A2CD6}"/>
              </a:ext>
            </a:extLst>
          </p:cNvPr>
          <p:cNvSpPr>
            <a:spLocks noGrp="1"/>
          </p:cNvSpPr>
          <p:nvPr>
            <p:ph type="ctrTitle" hasCustomPrompt="1"/>
          </p:nvPr>
        </p:nvSpPr>
        <p:spPr>
          <a:xfrm>
            <a:off x="350533" y="697581"/>
            <a:ext cx="9144000" cy="443199"/>
          </a:xfrm>
          <a:prstGeom prst="rect">
            <a:avLst/>
          </a:prstGeom>
        </p:spPr>
        <p:txBody>
          <a:bodyPr lIns="0" tIns="0" rIns="0" bIns="0" anchor="b">
            <a:spAutoFit/>
          </a:bodyPr>
          <a:lstStyle>
            <a:lvl1pPr algn="l">
              <a:defRPr sz="3200" b="1">
                <a:solidFill>
                  <a:schemeClr val="bg1"/>
                </a:solidFill>
                <a:latin typeface="Montserrat" panose="00000500000000000000" pitchFamily="2" charset="0"/>
              </a:defRPr>
            </a:lvl1pPr>
          </a:lstStyle>
          <a:p>
            <a:r>
              <a:rPr lang="fr-FR"/>
              <a:t>Titre de la présentation</a:t>
            </a:r>
            <a:endParaRPr lang="en-US"/>
          </a:p>
        </p:txBody>
      </p:sp>
      <p:sp>
        <p:nvSpPr>
          <p:cNvPr id="3" name="Sous-titre 2">
            <a:extLst>
              <a:ext uri="{FF2B5EF4-FFF2-40B4-BE49-F238E27FC236}">
                <a16:creationId xmlns:a16="http://schemas.microsoft.com/office/drawing/2014/main" id="{7B0EF1DE-CC7A-4F58-84C3-E4D68AD9AA3C}"/>
              </a:ext>
            </a:extLst>
          </p:cNvPr>
          <p:cNvSpPr>
            <a:spLocks noGrp="1"/>
          </p:cNvSpPr>
          <p:nvPr>
            <p:ph type="subTitle" idx="1" hasCustomPrompt="1"/>
          </p:nvPr>
        </p:nvSpPr>
        <p:spPr>
          <a:xfrm>
            <a:off x="350533" y="1687289"/>
            <a:ext cx="9144000" cy="387798"/>
          </a:xfrm>
          <a:prstGeom prst="rect">
            <a:avLst/>
          </a:prstGeom>
        </p:spPr>
        <p:txBody>
          <a:bodyPr lIns="0" tIns="0" rIns="0" bIns="0">
            <a:spAutoFit/>
          </a:bodyPr>
          <a:lstStyle>
            <a:lvl1pPr marL="0" indent="0" algn="l">
              <a:buNone/>
              <a:defRPr sz="2800" b="0">
                <a:solidFill>
                  <a:schemeClr val="bg1"/>
                </a:solidFill>
                <a:latin typeface="Montserrat" panose="00000500000000000000" pitchFamily="2" charset="0"/>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fr-FR"/>
              <a:t>Date</a:t>
            </a:r>
            <a:endParaRPr lang="en-US"/>
          </a:p>
        </p:txBody>
      </p:sp>
      <p:cxnSp>
        <p:nvCxnSpPr>
          <p:cNvPr id="14" name="Connecteur droit 13">
            <a:extLst>
              <a:ext uri="{FF2B5EF4-FFF2-40B4-BE49-F238E27FC236}">
                <a16:creationId xmlns:a16="http://schemas.microsoft.com/office/drawing/2014/main" id="{1F57DF4D-28C9-407C-B409-CBE3FAE9E3BA}"/>
              </a:ext>
            </a:extLst>
          </p:cNvPr>
          <p:cNvCxnSpPr/>
          <p:nvPr userDrawn="1"/>
        </p:nvCxnSpPr>
        <p:spPr>
          <a:xfrm>
            <a:off x="350533" y="495299"/>
            <a:ext cx="40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3"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latin typeface="Montserrat" panose="00000500000000000000" pitchFamily="2" charset="0"/>
              </a:rPr>
              <a:t>Confidentiel</a:t>
            </a:r>
          </a:p>
        </p:txBody>
      </p:sp>
      <p:pic>
        <p:nvPicPr>
          <p:cNvPr id="13" name="Image 12">
            <a:extLst>
              <a:ext uri="{FF2B5EF4-FFF2-40B4-BE49-F238E27FC236}">
                <a16:creationId xmlns:a16="http://schemas.microsoft.com/office/drawing/2014/main" id="{F4915A78-AE95-465F-B540-0C9CE66FBEFF}"/>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742"/>
            <a:ext cx="12191999" cy="6934017"/>
          </a:xfrm>
          <a:prstGeom prst="rect">
            <a:avLst/>
          </a:prstGeom>
        </p:spPr>
      </p:pic>
    </p:spTree>
    <p:extLst>
      <p:ext uri="{BB962C8B-B14F-4D97-AF65-F5344CB8AC3E}">
        <p14:creationId xmlns:p14="http://schemas.microsoft.com/office/powerpoint/2010/main" val="172344253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Sommaire">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40E6028F-B1E4-467E-84BF-98D288DC6518}"/>
              </a:ext>
            </a:extLst>
          </p:cNvPr>
          <p:cNvGraphicFramePr>
            <a:graphicFrameLocks noChangeAspect="1"/>
          </p:cNvGraphicFramePr>
          <p:nvPr userDrawn="1">
            <p:custDataLst>
              <p:tags r:id="rId1"/>
            </p:custDataLst>
            <p:extLst>
              <p:ext uri="{D42A27DB-BD31-4B8C-83A1-F6EECF244321}">
                <p14:modId xmlns:p14="http://schemas.microsoft.com/office/powerpoint/2010/main" val="222848904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12" name="Objet 11" hidden="1">
                        <a:extLst>
                          <a:ext uri="{FF2B5EF4-FFF2-40B4-BE49-F238E27FC236}">
                            <a16:creationId xmlns:a16="http://schemas.microsoft.com/office/drawing/2014/main" id="{40E6028F-B1E4-467E-84BF-98D288DC6518}"/>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4" name="Image 13">
            <a:extLst>
              <a:ext uri="{FF2B5EF4-FFF2-40B4-BE49-F238E27FC236}">
                <a16:creationId xmlns:a16="http://schemas.microsoft.com/office/drawing/2014/main" id="{C20E9B0F-F267-43A5-A9C0-548FDECFD34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D56A2780-DED2-4572-9DB4-F2C67BB7AE1C}"/>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accent1"/>
                </a:solidFill>
                <a:latin typeface="Montserrat" panose="00000500000000000000" pitchFamily="2" charset="0"/>
                <a:sym typeface="Montserrat" panose="00000500000000000000" pitchFamily="2" charset="0"/>
              </a:defRPr>
            </a:lvl1pPr>
          </a:lstStyle>
          <a:p>
            <a:r>
              <a:rPr lang="fr-FR"/>
              <a:t>SOMMAIRE</a:t>
            </a:r>
            <a:endParaRPr lang="en-US"/>
          </a:p>
        </p:txBody>
      </p:sp>
      <p:cxnSp>
        <p:nvCxnSpPr>
          <p:cNvPr id="17" name="Connecteur droit 16">
            <a:extLst>
              <a:ext uri="{FF2B5EF4-FFF2-40B4-BE49-F238E27FC236}">
                <a16:creationId xmlns:a16="http://schemas.microsoft.com/office/drawing/2014/main" id="{7DADD991-AA4F-4885-BFC0-04BBC858DEB1}"/>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a:extLst>
              <a:ext uri="{FF2B5EF4-FFF2-40B4-BE49-F238E27FC236}">
                <a16:creationId xmlns:a16="http://schemas.microsoft.com/office/drawing/2014/main" id="{39B6A5A2-7DE9-4E90-9433-FF121AE1B139}"/>
              </a:ext>
            </a:extLst>
          </p:cNvPr>
          <p:cNvSpPr>
            <a:spLocks noGrp="1"/>
          </p:cNvSpPr>
          <p:nvPr>
            <p:ph idx="1"/>
          </p:nvPr>
        </p:nvSpPr>
        <p:spPr>
          <a:xfrm>
            <a:off x="444500" y="3568929"/>
            <a:ext cx="6120000" cy="215444"/>
          </a:xfrm>
          <a:prstGeom prst="rect">
            <a:avLst/>
          </a:prstGeom>
        </p:spPr>
        <p:txBody>
          <a:bodyPr wrap="square" lIns="0" tIns="0" rIns="0" bIns="0" anchor="ctr" anchorCtr="0">
            <a:spAutoFit/>
          </a:bodyPr>
          <a:lstStyle>
            <a:lvl1pPr marL="0" indent="0">
              <a:lnSpc>
                <a:spcPct val="100000"/>
              </a:lnSpc>
              <a:spcBef>
                <a:spcPts val="0"/>
              </a:spcBef>
              <a:spcAft>
                <a:spcPts val="150"/>
              </a:spcAft>
              <a:buNone/>
              <a:defRPr sz="1400" b="1">
                <a:solidFill>
                  <a:schemeClr val="accent4"/>
                </a:solidFill>
                <a:latin typeface="Montserrat" panose="00000500000000000000" pitchFamily="2" charset="0"/>
              </a:defRPr>
            </a:lvl1pPr>
            <a:lvl2pPr marL="609555" indent="0">
              <a:buNone/>
              <a:defRPr/>
            </a:lvl2pPr>
          </a:lstStyle>
          <a:p>
            <a:pPr lvl="0"/>
            <a:r>
              <a:rPr lang="fr-FR"/>
              <a:t>Modifier les styles du texte du masque</a:t>
            </a:r>
          </a:p>
        </p:txBody>
      </p:sp>
      <p:sp>
        <p:nvSpPr>
          <p:cNvPr id="9" name="Espace réservé du pied de page 24">
            <a:extLst>
              <a:ext uri="{FF2B5EF4-FFF2-40B4-BE49-F238E27FC236}">
                <a16:creationId xmlns:a16="http://schemas.microsoft.com/office/drawing/2014/main" id="{081F731C-35C6-4B7F-8B2B-4787A4EAF6D4}"/>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pic>
        <p:nvPicPr>
          <p:cNvPr id="10" name="Image 9">
            <a:extLst>
              <a:ext uri="{FF2B5EF4-FFF2-40B4-BE49-F238E27FC236}">
                <a16:creationId xmlns:a16="http://schemas.microsoft.com/office/drawing/2014/main" id="{34C73DE1-EA7A-48A1-BAA5-940800B8D1D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08148" y="6137250"/>
            <a:ext cx="1229681" cy="587219"/>
          </a:xfrm>
          <a:prstGeom prst="rect">
            <a:avLst/>
          </a:prstGeom>
        </p:spPr>
      </p:pic>
    </p:spTree>
    <p:extLst>
      <p:ext uri="{BB962C8B-B14F-4D97-AF65-F5344CB8AC3E}">
        <p14:creationId xmlns:p14="http://schemas.microsoft.com/office/powerpoint/2010/main" val="3166100537"/>
      </p:ext>
    </p:extLst>
  </p:cSld>
  <p:clrMapOvr>
    <a:masterClrMapping/>
  </p:clrMapOvr>
  <p:extLst>
    <p:ext uri="{DCECCB84-F9BA-43D5-87BE-67443E8EF086}">
      <p15:sldGuideLst xmlns:p15="http://schemas.microsoft.com/office/powerpoint/2012/main">
        <p15:guide id="1" orient="horz" pos="595">
          <p15:clr>
            <a:srgbClr val="FBAE40"/>
          </p15:clr>
        </p15:guide>
        <p15:guide id="3" orient="horz" pos="404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lan General">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252875004"/>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sym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sym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sym typeface="Montserrat" panose="00000500000000000000" pitchFamily="2" charset="0"/>
            </a:endParaRPr>
          </a:p>
        </p:txBody>
      </p:sp>
      <p:sp>
        <p:nvSpPr>
          <p:cNvPr id="22" name="Espace réservé du texte 9">
            <a:extLst>
              <a:ext uri="{FF2B5EF4-FFF2-40B4-BE49-F238E27FC236}">
                <a16:creationId xmlns:a16="http://schemas.microsoft.com/office/drawing/2014/main" id="{659FB0CE-9023-4572-A9EB-FF8DCD36C9A7}"/>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4">
                    <a:lumMod val="60000"/>
                    <a:lumOff val="40000"/>
                  </a:schemeClr>
                </a:solidFill>
                <a:latin typeface="Montserrat" panose="00000500000000000000" pitchFamily="2" charset="0"/>
                <a:sym typeface="Montserrat" panose="00000500000000000000" pitchFamily="2" charset="0"/>
              </a:defRPr>
            </a:lvl1pPr>
            <a:lvl2pPr>
              <a:defRPr sz="1100">
                <a:latin typeface="Montserrat" panose="00000500000000000000" pitchFamily="2" charset="0"/>
                <a:sym typeface="Montserrat" panose="00000500000000000000" pitchFamily="2" charset="0"/>
              </a:defRPr>
            </a:lvl2pPr>
            <a:lvl3pPr>
              <a:buClr>
                <a:schemeClr val="accent4">
                  <a:lumMod val="60000"/>
                  <a:lumOff val="40000"/>
                </a:schemeClr>
              </a:buClr>
              <a:defRPr sz="1100">
                <a:latin typeface="Montserrat" panose="00000500000000000000" pitchFamily="2" charset="0"/>
                <a:sym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4" name="Espace réservé du texte 9">
            <a:extLst>
              <a:ext uri="{FF2B5EF4-FFF2-40B4-BE49-F238E27FC236}">
                <a16:creationId xmlns:a16="http://schemas.microsoft.com/office/drawing/2014/main" id="{4FF74512-8B58-4AD4-BD57-01C746E8885B}"/>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4">
                    <a:lumMod val="60000"/>
                    <a:lumOff val="40000"/>
                  </a:schemeClr>
                </a:solidFill>
                <a:latin typeface="Montserrat" panose="00000500000000000000" pitchFamily="2" charset="0"/>
                <a:sym typeface="Montserrat" panose="00000500000000000000" pitchFamily="2" charset="0"/>
              </a:defRPr>
            </a:lvl1pPr>
            <a:lvl2pPr>
              <a:defRPr sz="1100">
                <a:latin typeface="Montserrat" panose="00000500000000000000" pitchFamily="2" charset="0"/>
                <a:sym typeface="Montserrat" panose="00000500000000000000" pitchFamily="2" charset="0"/>
              </a:defRPr>
            </a:lvl2pPr>
            <a:lvl3pPr>
              <a:buClr>
                <a:schemeClr val="accent4">
                  <a:lumMod val="60000"/>
                  <a:lumOff val="40000"/>
                </a:schemeClr>
              </a:buClr>
              <a:defRPr sz="1100">
                <a:latin typeface="Montserrat" panose="00000500000000000000" pitchFamily="2" charset="0"/>
                <a:sym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6" name="ZoneTexte 25">
            <a:extLst>
              <a:ext uri="{FF2B5EF4-FFF2-40B4-BE49-F238E27FC236}">
                <a16:creationId xmlns:a16="http://schemas.microsoft.com/office/drawing/2014/main" id="{D49C318F-4419-4BDC-926E-632BD79CFBE5}"/>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sym typeface="Montserrat" panose="00000500000000000000" pitchFamily="2" charset="0"/>
              </a:rPr>
              <a:pPr algn="ctr"/>
              <a:t>‹#›</a:t>
            </a:fld>
            <a:endParaRPr lang="en-US" sz="1100">
              <a:solidFill>
                <a:schemeClr val="tx2"/>
              </a:solidFill>
              <a:latin typeface="Montserrat" panose="00000500000000000000" pitchFamily="2" charset="0"/>
              <a:sym typeface="Montserrat" panose="00000500000000000000" pitchFamily="2" charset="0"/>
            </a:endParaRPr>
          </a:p>
        </p:txBody>
      </p:sp>
      <p:sp>
        <p:nvSpPr>
          <p:cNvPr id="27" name="Espace réservé du texte 9">
            <a:extLst>
              <a:ext uri="{FF2B5EF4-FFF2-40B4-BE49-F238E27FC236}">
                <a16:creationId xmlns:a16="http://schemas.microsoft.com/office/drawing/2014/main" id="{C64635A6-9829-457D-84DD-66F8E973D0C5}"/>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sym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4" name="Espace réservé du pied de page 24">
            <a:extLst>
              <a:ext uri="{FF2B5EF4-FFF2-40B4-BE49-F238E27FC236}">
                <a16:creationId xmlns:a16="http://schemas.microsoft.com/office/drawing/2014/main" id="{8BA75D24-8DC5-481D-8192-809BC7D3B272}"/>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sym typeface="Montserrat" panose="00000500000000000000" pitchFamily="2" charset="0"/>
              </a:rPr>
              <a:t>Confidentiel</a:t>
            </a:r>
          </a:p>
        </p:txBody>
      </p:sp>
      <p:sp>
        <p:nvSpPr>
          <p:cNvPr id="16" name="Espace réservé du pied de page 24">
            <a:extLst>
              <a:ext uri="{FF2B5EF4-FFF2-40B4-BE49-F238E27FC236}">
                <a16:creationId xmlns:a16="http://schemas.microsoft.com/office/drawing/2014/main" id="{41D2C29B-0860-431B-AE34-0B635BB91292}"/>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j-lt"/>
              </a:defRPr>
            </a:lvl1pPr>
          </a:lstStyle>
          <a:p>
            <a:r>
              <a:rPr lang="en-US">
                <a:solidFill>
                  <a:schemeClr val="tx2"/>
                </a:solidFill>
                <a:latin typeface="Montserrat" panose="00000500000000000000" pitchFamily="2" charset="0"/>
              </a:rPr>
              <a:t>Pied de page | </a:t>
            </a:r>
            <a:fld id="{7E74C1EB-D0C9-4102-9435-B97D94E7CC62}" type="datetime4">
              <a:rPr lang="fr-FR" smtClean="0">
                <a:solidFill>
                  <a:schemeClr val="tx2"/>
                </a:solidFill>
                <a:latin typeface="Montserrat" panose="00000500000000000000" pitchFamily="2" charset="0"/>
              </a:rPr>
              <a:pPr/>
              <a:t>15 février 2024</a:t>
            </a:fld>
            <a:r>
              <a:rPr lang="en-US">
                <a:solidFill>
                  <a:schemeClr val="tx2"/>
                </a:solidFill>
                <a:latin typeface="Montserrat" panose="00000500000000000000" pitchFamily="2" charset="0"/>
              </a:rPr>
              <a:t> |</a:t>
            </a:r>
          </a:p>
        </p:txBody>
      </p:sp>
      <p:pic>
        <p:nvPicPr>
          <p:cNvPr id="19" name="Google Shape;127;p20">
            <a:extLst>
              <a:ext uri="{FF2B5EF4-FFF2-40B4-BE49-F238E27FC236}">
                <a16:creationId xmlns:a16="http://schemas.microsoft.com/office/drawing/2014/main" id="{05FDC7E3-5103-40D7-8426-A57D74BBEDE6}"/>
              </a:ext>
            </a:extLst>
          </p:cNvPr>
          <p:cNvPicPr preferRelativeResize="0">
            <a:picLocks noChangeAspect="1"/>
          </p:cNvPicPr>
          <p:nvPr userDrawn="1"/>
        </p:nvPicPr>
        <p:blipFill rotWithShape="1">
          <a:blip r:embed="rId5">
            <a:alphaModFix/>
            <a:extLst>
              <a:ext uri="{28A0092B-C50C-407E-A947-70E740481C1C}">
                <a14:useLocalDpi xmlns:a14="http://schemas.microsoft.com/office/drawing/2010/main" val="0"/>
              </a:ext>
            </a:extLst>
          </a:blip>
          <a:srcRect/>
          <a:stretch/>
        </p:blipFill>
        <p:spPr>
          <a:xfrm>
            <a:off x="10461341" y="211708"/>
            <a:ext cx="1238400" cy="696860"/>
          </a:xfrm>
          <a:prstGeom prst="rect">
            <a:avLst/>
          </a:prstGeom>
          <a:noFill/>
          <a:ln>
            <a:noFill/>
          </a:ln>
        </p:spPr>
      </p:pic>
    </p:spTree>
    <p:extLst>
      <p:ext uri="{BB962C8B-B14F-4D97-AF65-F5344CB8AC3E}">
        <p14:creationId xmlns:p14="http://schemas.microsoft.com/office/powerpoint/2010/main" val="2590174432"/>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4" orient="horz" pos="4042">
          <p15:clr>
            <a:srgbClr val="FBAE40"/>
          </p15:clr>
        </p15:guide>
        <p15:guide id="5" pos="744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lan general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3866960323"/>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4" name="ZoneTexte 13">
            <a:extLst>
              <a:ext uri="{FF2B5EF4-FFF2-40B4-BE49-F238E27FC236}">
                <a16:creationId xmlns:a16="http://schemas.microsoft.com/office/drawing/2014/main" id="{8AE0677C-846C-4748-AA66-E6A0FC91D714}"/>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6" name="Espace réservé du pied de page 24">
            <a:extLst>
              <a:ext uri="{FF2B5EF4-FFF2-40B4-BE49-F238E27FC236}">
                <a16:creationId xmlns:a16="http://schemas.microsoft.com/office/drawing/2014/main" id="{A16512B2-9983-457D-80BD-9361F35133A7}"/>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17" name="Espace réservé du pied de page 24">
            <a:extLst>
              <a:ext uri="{FF2B5EF4-FFF2-40B4-BE49-F238E27FC236}">
                <a16:creationId xmlns:a16="http://schemas.microsoft.com/office/drawing/2014/main" id="{26D3DE87-EE78-4D50-BE28-323EF1C4ED9E}"/>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23" name="Google Shape;127;p20">
            <a:extLst>
              <a:ext uri="{FF2B5EF4-FFF2-40B4-BE49-F238E27FC236}">
                <a16:creationId xmlns:a16="http://schemas.microsoft.com/office/drawing/2014/main" id="{102688C9-6DE1-4272-8469-39EDCCF16761}"/>
              </a:ext>
            </a:extLst>
          </p:cNvPr>
          <p:cNvPicPr preferRelativeResize="0">
            <a:picLocks noChangeAspect="1"/>
          </p:cNvPicPr>
          <p:nvPr userDrawn="1"/>
        </p:nvPicPr>
        <p:blipFill rotWithShape="1">
          <a:blip r:embed="rId5">
            <a:alphaModFix/>
            <a:extLst>
              <a:ext uri="{28A0092B-C50C-407E-A947-70E740481C1C}">
                <a14:useLocalDpi xmlns:a14="http://schemas.microsoft.com/office/drawing/2010/main" val="0"/>
              </a:ext>
            </a:extLst>
          </a:blip>
          <a:srcRect/>
          <a:stretch/>
        </p:blipFill>
        <p:spPr>
          <a:xfrm>
            <a:off x="10461341" y="211708"/>
            <a:ext cx="1238400" cy="696860"/>
          </a:xfrm>
          <a:prstGeom prst="rect">
            <a:avLst/>
          </a:prstGeom>
          <a:noFill/>
          <a:ln>
            <a:noFill/>
          </a:ln>
        </p:spPr>
      </p:pic>
      <p:sp>
        <p:nvSpPr>
          <p:cNvPr id="30" name="Espace réservé du texte 9">
            <a:extLst>
              <a:ext uri="{FF2B5EF4-FFF2-40B4-BE49-F238E27FC236}">
                <a16:creationId xmlns:a16="http://schemas.microsoft.com/office/drawing/2014/main" id="{47716D85-CF90-41D9-8221-FB92CC208B2A}"/>
              </a:ext>
            </a:extLst>
          </p:cNvPr>
          <p:cNvSpPr>
            <a:spLocks noGrp="1"/>
          </p:cNvSpPr>
          <p:nvPr>
            <p:ph type="body" sz="quarter" idx="11" hasCustomPrompt="1"/>
          </p:nvPr>
        </p:nvSpPr>
        <p:spPr>
          <a:xfrm>
            <a:off x="444500" y="2016655"/>
            <a:ext cx="11376025" cy="664284"/>
          </a:xfrm>
          <a:prstGeom prst="rect">
            <a:avLst/>
          </a:prstGeom>
        </p:spPr>
        <p:txBody>
          <a:bodyPr wrap="square" lIns="0" tIns="0" rIns="0" bIns="0">
            <a:spAutoFit/>
          </a:bodyPr>
          <a:lstStyle>
            <a:lvl1pPr>
              <a:defRPr sz="1200">
                <a:solidFill>
                  <a:schemeClr val="accent4">
                    <a:lumMod val="60000"/>
                    <a:lumOff val="40000"/>
                  </a:schemeClr>
                </a:solidFill>
                <a:latin typeface="Montserrat" panose="00000500000000000000" pitchFamily="2" charset="0"/>
              </a:defRPr>
            </a:lvl1pPr>
            <a:lvl2pPr>
              <a:defRPr sz="1100">
                <a:latin typeface="Montserrat" panose="00000500000000000000" pitchFamily="2" charset="0"/>
              </a:defRPr>
            </a:lvl2pPr>
            <a:lvl3pPr>
              <a:buClr>
                <a:schemeClr val="accent4">
                  <a:lumMod val="60000"/>
                  <a:lumOff val="40000"/>
                </a:schemeClr>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156789690"/>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lan Solutions 1">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73554029"/>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Rectangle 15">
            <a:extLst>
              <a:ext uri="{FF2B5EF4-FFF2-40B4-BE49-F238E27FC236}">
                <a16:creationId xmlns:a16="http://schemas.microsoft.com/office/drawing/2014/main" id="{0075282A-1AA4-4984-B949-3EBCE3D57964}"/>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Rectangle 15">
            <a:extLst>
              <a:ext uri="{FF2B5EF4-FFF2-40B4-BE49-F238E27FC236}">
                <a16:creationId xmlns:a16="http://schemas.microsoft.com/office/drawing/2014/main" id="{2934F2EE-2C4D-44C8-943C-E71C5937BCC5}"/>
              </a:ext>
            </a:extLst>
          </p:cNvPr>
          <p:cNvSpPr/>
          <p:nvPr userDrawn="1"/>
        </p:nvSpPr>
        <p:spPr>
          <a:xfrm>
            <a:off x="0" y="1772594"/>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24" name="Google Shape;171;p30">
            <a:extLst>
              <a:ext uri="{FF2B5EF4-FFF2-40B4-BE49-F238E27FC236}">
                <a16:creationId xmlns:a16="http://schemas.microsoft.com/office/drawing/2014/main" id="{3BE0F9E9-8360-473A-BCA7-CBCDB01FB1CF}"/>
              </a:ext>
            </a:extLst>
          </p:cNvPr>
          <p:cNvPicPr preferRelativeResize="0"/>
          <p:nvPr userDrawn="1"/>
        </p:nvPicPr>
        <p:blipFill rotWithShape="1">
          <a:blip r:embed="rId5">
            <a:alphaModFix/>
            <a:extLst>
              <a:ext uri="{28A0092B-C50C-407E-A947-70E740481C1C}">
                <a14:useLocalDpi xmlns:a14="http://schemas.microsoft.com/office/drawing/2010/main" val="0"/>
              </a:ext>
            </a:extLst>
          </a:blip>
          <a:srcRect/>
          <a:stretch/>
        </p:blipFill>
        <p:spPr>
          <a:xfrm>
            <a:off x="470254" y="409695"/>
            <a:ext cx="2769999" cy="801100"/>
          </a:xfrm>
          <a:prstGeom prst="rect">
            <a:avLst/>
          </a:prstGeom>
          <a:noFill/>
          <a:ln>
            <a:noFill/>
          </a:ln>
        </p:spPr>
      </p:pic>
      <p:sp>
        <p:nvSpPr>
          <p:cNvPr id="3" name="Espace réservé du contenu 2">
            <a:extLst>
              <a:ext uri="{FF2B5EF4-FFF2-40B4-BE49-F238E27FC236}">
                <a16:creationId xmlns:a16="http://schemas.microsoft.com/office/drawing/2014/main" id="{09F15424-128E-4B1A-8801-AB04456E1044}"/>
              </a:ext>
            </a:extLst>
          </p:cNvPr>
          <p:cNvSpPr>
            <a:spLocks noGrp="1"/>
          </p:cNvSpPr>
          <p:nvPr>
            <p:ph sz="quarter" idx="12"/>
          </p:nvPr>
        </p:nvSpPr>
        <p:spPr>
          <a:xfrm>
            <a:off x="4165600" y="772055"/>
            <a:ext cx="7645046" cy="664284"/>
          </a:xfrm>
          <a:prstGeom prst="rect">
            <a:avLst/>
          </a:prstGeom>
        </p:spPr>
        <p:txBody>
          <a:bodyPr wrap="square" lIns="0" tIns="0" rIns="0" bIns="0">
            <a:spAutoFit/>
          </a:bodyPr>
          <a:lstStyle>
            <a:lvl1pPr>
              <a:defRPr sz="1200">
                <a:latin typeface="Montserrat" panose="00000500000000000000" pitchFamily="2" charset="0"/>
              </a:defRPr>
            </a:lvl1pPr>
            <a:lvl2pPr>
              <a:defRPr sz="1100">
                <a:latin typeface="Montserrat" panose="00000500000000000000" pitchFamily="2" charset="0"/>
              </a:defRPr>
            </a:lvl2pPr>
            <a:lvl3pP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5" name="ZoneTexte 14">
            <a:extLst>
              <a:ext uri="{FF2B5EF4-FFF2-40B4-BE49-F238E27FC236}">
                <a16:creationId xmlns:a16="http://schemas.microsoft.com/office/drawing/2014/main" id="{E505FD25-1E82-4E53-9D6D-2F10796684A9}"/>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18" name="Espace réservé du pied de page 24">
            <a:extLst>
              <a:ext uri="{FF2B5EF4-FFF2-40B4-BE49-F238E27FC236}">
                <a16:creationId xmlns:a16="http://schemas.microsoft.com/office/drawing/2014/main" id="{94D87BC4-66EF-4CE6-8E91-0B8CD12BFE1E}"/>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0" name="Espace réservé du pied de page 24">
            <a:extLst>
              <a:ext uri="{FF2B5EF4-FFF2-40B4-BE49-F238E27FC236}">
                <a16:creationId xmlns:a16="http://schemas.microsoft.com/office/drawing/2014/main" id="{5B91D6B8-E485-4CDF-9D15-1D19D35E48DF}"/>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1" name="Connecteur droit 20">
            <a:extLst>
              <a:ext uri="{FF2B5EF4-FFF2-40B4-BE49-F238E27FC236}">
                <a16:creationId xmlns:a16="http://schemas.microsoft.com/office/drawing/2014/main" id="{B982CE90-599E-49BC-AD4B-6F94309F255D}"/>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9">
            <a:extLst>
              <a:ext uri="{FF2B5EF4-FFF2-40B4-BE49-F238E27FC236}">
                <a16:creationId xmlns:a16="http://schemas.microsoft.com/office/drawing/2014/main" id="{4408FF49-4B6E-4471-A35C-09C205F5B754}"/>
              </a:ext>
            </a:extLst>
          </p:cNvPr>
          <p:cNvSpPr>
            <a:spLocks noGrp="1"/>
          </p:cNvSpPr>
          <p:nvPr>
            <p:ph type="body" sz="quarter" idx="11"/>
          </p:nvPr>
        </p:nvSpPr>
        <p:spPr>
          <a:xfrm>
            <a:off x="444499" y="2513169"/>
            <a:ext cx="2922815" cy="809965"/>
          </a:xfrm>
          <a:prstGeom prst="rect">
            <a:avLst/>
          </a:prstGeom>
        </p:spPr>
        <p:txBody>
          <a:bodyPr wrap="square" lIns="0" tIns="0" rIns="0" bIns="0">
            <a:spAutoFit/>
          </a:bodyPr>
          <a:lstStyle>
            <a:lvl1pPr>
              <a:defRPr sz="1800" b="0">
                <a:solidFill>
                  <a:schemeClr val="bg1"/>
                </a:solidFill>
                <a:latin typeface="Montserrat" panose="000005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3782675184"/>
      </p:ext>
    </p:extLst>
  </p:cSld>
  <p:clrMapOvr>
    <a:masterClrMapping/>
  </p:clrMapOvr>
  <p:extLst>
    <p:ext uri="{DCECCB84-F9BA-43D5-87BE-67443E8EF086}">
      <p15:sldGuideLst xmlns:p15="http://schemas.microsoft.com/office/powerpoint/2012/main">
        <p15:guide id="1" orient="horz" pos="1253">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lan Solutions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829319841"/>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6" name="Espace réservé du titre 22">
            <a:extLst>
              <a:ext uri="{FF2B5EF4-FFF2-40B4-BE49-F238E27FC236}">
                <a16:creationId xmlns:a16="http://schemas.microsoft.com/office/drawing/2014/main" id="{3A0E5F3D-B31A-444E-9339-01B84C153527}"/>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defRPr>
            </a:lvl1pPr>
          </a:lstStyle>
          <a:p>
            <a:r>
              <a:rPr lang="fr-FR"/>
              <a:t>MODIFIEZ LE STYLE DU TITRE</a:t>
            </a:r>
            <a:endParaRPr lang="en-US"/>
          </a:p>
        </p:txBody>
      </p:sp>
      <p:cxnSp>
        <p:nvCxnSpPr>
          <p:cNvPr id="17" name="Connecteur droit 16">
            <a:extLst>
              <a:ext uri="{FF2B5EF4-FFF2-40B4-BE49-F238E27FC236}">
                <a16:creationId xmlns:a16="http://schemas.microsoft.com/office/drawing/2014/main" id="{B680A76F-E6F2-443A-B0C7-05DE63A5C206}"/>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5">
            <a:extLst>
              <a:ext uri="{FF2B5EF4-FFF2-40B4-BE49-F238E27FC236}">
                <a16:creationId xmlns:a16="http://schemas.microsoft.com/office/drawing/2014/main" id="{D8812B66-2E26-49F0-BD36-BADA8A655651}"/>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9" name="Rectangle 15">
            <a:extLst>
              <a:ext uri="{FF2B5EF4-FFF2-40B4-BE49-F238E27FC236}">
                <a16:creationId xmlns:a16="http://schemas.microsoft.com/office/drawing/2014/main" id="{C744B43F-C76D-4777-9768-FFAC618E1725}"/>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3" name="Espace réservé du texte 9">
            <a:extLst>
              <a:ext uri="{FF2B5EF4-FFF2-40B4-BE49-F238E27FC236}">
                <a16:creationId xmlns:a16="http://schemas.microsoft.com/office/drawing/2014/main" id="{9107EE0B-BFCC-469C-90F8-FC82D7EE7556}"/>
              </a:ext>
            </a:extLst>
          </p:cNvPr>
          <p:cNvSpPr>
            <a:spLocks noGrp="1"/>
          </p:cNvSpPr>
          <p:nvPr>
            <p:ph type="body" sz="quarter" idx="11" hasCustomPrompt="1"/>
          </p:nvPr>
        </p:nvSpPr>
        <p:spPr>
          <a:xfrm>
            <a:off x="444500" y="2016655"/>
            <a:ext cx="5448301"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5" name="Espace réservé du texte 9">
            <a:extLst>
              <a:ext uri="{FF2B5EF4-FFF2-40B4-BE49-F238E27FC236}">
                <a16:creationId xmlns:a16="http://schemas.microsoft.com/office/drawing/2014/main" id="{B8952D59-835C-4785-9C5F-2B859F8CDDE7}"/>
              </a:ext>
            </a:extLst>
          </p:cNvPr>
          <p:cNvSpPr>
            <a:spLocks noGrp="1"/>
          </p:cNvSpPr>
          <p:nvPr>
            <p:ph type="body" sz="quarter" idx="12" hasCustomPrompt="1"/>
          </p:nvPr>
        </p:nvSpPr>
        <p:spPr>
          <a:xfrm>
            <a:off x="6362700" y="2016655"/>
            <a:ext cx="5448301"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28" name="Espace réservé du texte 9">
            <a:extLst>
              <a:ext uri="{FF2B5EF4-FFF2-40B4-BE49-F238E27FC236}">
                <a16:creationId xmlns:a16="http://schemas.microsoft.com/office/drawing/2014/main" id="{29C0BE77-41F0-4DC8-94AA-363A61905298}"/>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31" name="ZoneTexte 30">
            <a:extLst>
              <a:ext uri="{FF2B5EF4-FFF2-40B4-BE49-F238E27FC236}">
                <a16:creationId xmlns:a16="http://schemas.microsoft.com/office/drawing/2014/main" id="{14D994E9-6D7D-43B3-8E5A-BE6E319F34A1}"/>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32" name="Espace réservé du pied de page 24">
            <a:extLst>
              <a:ext uri="{FF2B5EF4-FFF2-40B4-BE49-F238E27FC236}">
                <a16:creationId xmlns:a16="http://schemas.microsoft.com/office/drawing/2014/main" id="{0839D8FE-90C2-4A0F-97FC-59D432D3F109}"/>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33" name="Espace réservé du pied de page 24">
            <a:extLst>
              <a:ext uri="{FF2B5EF4-FFF2-40B4-BE49-F238E27FC236}">
                <a16:creationId xmlns:a16="http://schemas.microsoft.com/office/drawing/2014/main" id="{064E0D3C-F294-4ECE-B587-4B837BBF8B24}"/>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51" name="Image 50">
            <a:extLst>
              <a:ext uri="{FF2B5EF4-FFF2-40B4-BE49-F238E27FC236}">
                <a16:creationId xmlns:a16="http://schemas.microsoft.com/office/drawing/2014/main" id="{D4D71B7A-1526-41F2-9057-24D071E4AB7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079074" cy="546337"/>
          </a:xfrm>
          <a:prstGeom prst="rect">
            <a:avLst/>
          </a:prstGeom>
        </p:spPr>
      </p:pic>
    </p:spTree>
    <p:extLst>
      <p:ext uri="{BB962C8B-B14F-4D97-AF65-F5344CB8AC3E}">
        <p14:creationId xmlns:p14="http://schemas.microsoft.com/office/powerpoint/2010/main" val="2582441376"/>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pos="4008">
          <p15:clr>
            <a:srgbClr val="FBAE40"/>
          </p15:clr>
        </p15:guide>
        <p15:guide id="4" orient="horz" pos="4042">
          <p15:clr>
            <a:srgbClr val="FBAE40"/>
          </p15:clr>
        </p15:guide>
        <p15:guide id="5" pos="744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lan Solutions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3137144564"/>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3"/>
            <a:ext cx="9900000" cy="276999"/>
          </a:xfrm>
          <a:prstGeom prst="rect">
            <a:avLst/>
          </a:prstGeom>
        </p:spPr>
        <p:txBody>
          <a:bodyPr vert="horz" wrap="square" lIns="0" tIns="0" rIns="0" bIns="0" rtlCol="0" anchor="t" anchorCtr="0">
            <a:spAutoFit/>
          </a:bodyPr>
          <a:lstStyle>
            <a:lvl1pPr>
              <a:defRPr sz="2000">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6"/>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9" name="ZoneTexte 18">
            <a:extLst>
              <a:ext uri="{FF2B5EF4-FFF2-40B4-BE49-F238E27FC236}">
                <a16:creationId xmlns:a16="http://schemas.microsoft.com/office/drawing/2014/main" id="{98E3E54D-C84A-4ECC-A9E4-8C9519240A3B}"/>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2" name="Espace réservé du pied de page 24">
            <a:extLst>
              <a:ext uri="{FF2B5EF4-FFF2-40B4-BE49-F238E27FC236}">
                <a16:creationId xmlns:a16="http://schemas.microsoft.com/office/drawing/2014/main" id="{E4FB37DA-3E13-45A0-9CB5-BCAAC480E655}"/>
              </a:ext>
            </a:extLst>
          </p:cNvPr>
          <p:cNvSpPr txBox="1">
            <a:spLocks/>
          </p:cNvSpPr>
          <p:nvPr userDrawn="1"/>
        </p:nvSpPr>
        <p:spPr>
          <a:xfrm>
            <a:off x="444499"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tx2"/>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10C0070F-DAB4-4316-BB7E-D8B9516BA533}"/>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26" name="Image 25">
            <a:extLst>
              <a:ext uri="{FF2B5EF4-FFF2-40B4-BE49-F238E27FC236}">
                <a16:creationId xmlns:a16="http://schemas.microsoft.com/office/drawing/2014/main" id="{122EA774-F7AA-4D73-95E6-9DFA3FFC928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4511" y="322410"/>
            <a:ext cx="1079074" cy="546337"/>
          </a:xfrm>
          <a:prstGeom prst="rect">
            <a:avLst/>
          </a:prstGeom>
        </p:spPr>
      </p:pic>
      <p:sp>
        <p:nvSpPr>
          <p:cNvPr id="31" name="Espace réservé du texte 9">
            <a:extLst>
              <a:ext uri="{FF2B5EF4-FFF2-40B4-BE49-F238E27FC236}">
                <a16:creationId xmlns:a16="http://schemas.microsoft.com/office/drawing/2014/main" id="{628599D4-2BEB-403A-8611-204A5D116676}"/>
              </a:ext>
            </a:extLst>
          </p:cNvPr>
          <p:cNvSpPr>
            <a:spLocks noGrp="1"/>
          </p:cNvSpPr>
          <p:nvPr>
            <p:ph type="body" sz="quarter" idx="11" hasCustomPrompt="1"/>
          </p:nvPr>
        </p:nvSpPr>
        <p:spPr>
          <a:xfrm>
            <a:off x="444500" y="2016655"/>
            <a:ext cx="11366234" cy="664284"/>
          </a:xfrm>
          <a:prstGeom prst="rect">
            <a:avLst/>
          </a:prstGeom>
        </p:spPr>
        <p:txBody>
          <a:bodyPr wrap="square" lIns="0" tIns="0" rIns="0" bIns="0">
            <a:spAutoFit/>
          </a:bodyPr>
          <a:lstStyle>
            <a:lvl1pPr>
              <a:defRPr sz="1200">
                <a:solidFill>
                  <a:schemeClr val="accent5"/>
                </a:solidFill>
                <a:latin typeface="Montserrat" panose="00000500000000000000" pitchFamily="2" charset="0"/>
              </a:defRPr>
            </a:lvl1pPr>
            <a:lvl2pPr>
              <a:defRPr sz="1100">
                <a:latin typeface="Montserrat" panose="00000500000000000000" pitchFamily="2" charset="0"/>
              </a:defRPr>
            </a:lvl2pPr>
            <a:lvl3pPr>
              <a:buClr>
                <a:schemeClr val="accent5"/>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786521528"/>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lan Operations 1">
    <p:spTree>
      <p:nvGrpSpPr>
        <p:cNvPr id="1" name=""/>
        <p:cNvGrpSpPr/>
        <p:nvPr/>
      </p:nvGrpSpPr>
      <p:grpSpPr>
        <a:xfrm>
          <a:off x="0" y="0"/>
          <a:ext cx="0" cy="0"/>
          <a:chOff x="0" y="0"/>
          <a:chExt cx="0" cy="0"/>
        </a:xfrm>
      </p:grpSpPr>
      <p:sp>
        <p:nvSpPr>
          <p:cNvPr id="14" name="Rectangle 15">
            <a:extLst>
              <a:ext uri="{FF2B5EF4-FFF2-40B4-BE49-F238E27FC236}">
                <a16:creationId xmlns:a16="http://schemas.microsoft.com/office/drawing/2014/main" id="{85A9C067-9624-432E-A510-44C1C04C7A4D}"/>
              </a:ext>
            </a:extLst>
          </p:cNvPr>
          <p:cNvSpPr/>
          <p:nvPr userDrawn="1"/>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9" name="Google Shape;188;p35">
            <a:extLst>
              <a:ext uri="{FF2B5EF4-FFF2-40B4-BE49-F238E27FC236}">
                <a16:creationId xmlns:a16="http://schemas.microsoft.com/office/drawing/2014/main" id="{8D2A2804-485B-4664-9A1B-65CCCFCBE4E2}"/>
              </a:ext>
            </a:extLst>
          </p:cNvPr>
          <p:cNvPicPr preferRelativeResize="0"/>
          <p:nvPr userDrawn="1"/>
        </p:nvPicPr>
        <p:blipFill rotWithShape="1">
          <a:blip r:embed="rId3">
            <a:alphaModFix/>
            <a:extLst>
              <a:ext uri="{28A0092B-C50C-407E-A947-70E740481C1C}">
                <a14:useLocalDpi xmlns:a14="http://schemas.microsoft.com/office/drawing/2010/main" val="0"/>
              </a:ext>
            </a:extLst>
          </a:blip>
          <a:srcRect/>
          <a:stretch/>
        </p:blipFill>
        <p:spPr>
          <a:xfrm>
            <a:off x="420798" y="476383"/>
            <a:ext cx="3095999" cy="801100"/>
          </a:xfrm>
          <a:prstGeom prst="rect">
            <a:avLst/>
          </a:prstGeom>
          <a:noFill/>
          <a:ln>
            <a:noFill/>
          </a:ln>
        </p:spPr>
      </p:pic>
      <p:sp>
        <p:nvSpPr>
          <p:cNvPr id="15" name="Rectangle 15">
            <a:extLst>
              <a:ext uri="{FF2B5EF4-FFF2-40B4-BE49-F238E27FC236}">
                <a16:creationId xmlns:a16="http://schemas.microsoft.com/office/drawing/2014/main" id="{233ED570-848C-47A2-99DC-47D5AD6F423E}"/>
              </a:ext>
            </a:extLst>
          </p:cNvPr>
          <p:cNvSpPr/>
          <p:nvPr userDrawn="1"/>
        </p:nvSpPr>
        <p:spPr>
          <a:xfrm>
            <a:off x="0" y="1772594"/>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extLst>
              <p:ext uri="{D42A27DB-BD31-4B8C-83A1-F6EECF244321}">
                <p14:modId xmlns:p14="http://schemas.microsoft.com/office/powerpoint/2010/main" val="78675907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5FF5947B-8CD6-411D-B9FA-6BFB39F6B25A}"/>
              </a:ext>
            </a:extLst>
          </p:cNvPr>
          <p:cNvSpPr>
            <a:spLocks noGrp="1"/>
          </p:cNvSpPr>
          <p:nvPr>
            <p:ph sz="quarter" idx="12"/>
          </p:nvPr>
        </p:nvSpPr>
        <p:spPr>
          <a:xfrm>
            <a:off x="4165600" y="772055"/>
            <a:ext cx="7645134" cy="664284"/>
          </a:xfrm>
          <a:prstGeom prst="rect">
            <a:avLst/>
          </a:prstGeom>
        </p:spPr>
        <p:txBody>
          <a:bodyPr wrap="square" lIns="0" tIns="0" rIns="0" bIns="0">
            <a:spAutoFit/>
          </a:bodyPr>
          <a:lstStyle>
            <a:lvl1pPr>
              <a:defRPr sz="1200">
                <a:solidFill>
                  <a:srgbClr val="AF94FF"/>
                </a:solidFill>
                <a:latin typeface="Montserrat" panose="00000500000000000000" pitchFamily="2" charset="0"/>
              </a:defRPr>
            </a:lvl1pPr>
            <a:lvl2pPr>
              <a:defRPr sz="1100">
                <a:latin typeface="Montserrat" panose="00000500000000000000" pitchFamily="2" charset="0"/>
              </a:defRPr>
            </a:lvl2pPr>
            <a:lvl3pPr>
              <a:buClr>
                <a:srgbClr val="AF94FF"/>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
        <p:nvSpPr>
          <p:cNvPr id="18" name="ZoneTexte 17">
            <a:extLst>
              <a:ext uri="{FF2B5EF4-FFF2-40B4-BE49-F238E27FC236}">
                <a16:creationId xmlns:a16="http://schemas.microsoft.com/office/drawing/2014/main" id="{9083C503-4B65-48F8-A710-E166F4D1CC27}"/>
              </a:ext>
            </a:extLst>
          </p:cNvPr>
          <p:cNvSpPr txBox="1"/>
          <p:nvPr userDrawn="1"/>
        </p:nvSpPr>
        <p:spPr>
          <a:xfrm>
            <a:off x="11552651" y="6557760"/>
            <a:ext cx="258084"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a:t>
            </a:fld>
            <a:endParaRPr lang="en-US" sz="1100">
              <a:solidFill>
                <a:schemeClr val="tx2"/>
              </a:solidFill>
              <a:latin typeface="Montserrat" panose="00000500000000000000" pitchFamily="2" charset="0"/>
            </a:endParaRPr>
          </a:p>
        </p:txBody>
      </p:sp>
      <p:sp>
        <p:nvSpPr>
          <p:cNvPr id="21" name="Espace réservé du pied de page 24">
            <a:extLst>
              <a:ext uri="{FF2B5EF4-FFF2-40B4-BE49-F238E27FC236}">
                <a16:creationId xmlns:a16="http://schemas.microsoft.com/office/drawing/2014/main" id="{1C19FCE3-2DF8-4F4E-853F-087BBFECF117}"/>
              </a:ext>
            </a:extLst>
          </p:cNvPr>
          <p:cNvSpPr txBox="1">
            <a:spLocks/>
          </p:cNvSpPr>
          <p:nvPr userDrawn="1"/>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solidFill>
                  <a:schemeClr val="bg1"/>
                </a:solidFill>
                <a:latin typeface="Montserrat" panose="00000500000000000000" pitchFamily="2" charset="0"/>
              </a:rPr>
              <a:t>Confidentiel</a:t>
            </a:r>
          </a:p>
        </p:txBody>
      </p:sp>
      <p:sp>
        <p:nvSpPr>
          <p:cNvPr id="23" name="Espace réservé du pied de page 24">
            <a:extLst>
              <a:ext uri="{FF2B5EF4-FFF2-40B4-BE49-F238E27FC236}">
                <a16:creationId xmlns:a16="http://schemas.microsoft.com/office/drawing/2014/main" id="{BDD5D874-D404-4811-AB12-6CE28EE751F5}"/>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cxnSp>
        <p:nvCxnSpPr>
          <p:cNvPr id="26" name="Connecteur droit 25">
            <a:extLst>
              <a:ext uri="{FF2B5EF4-FFF2-40B4-BE49-F238E27FC236}">
                <a16:creationId xmlns:a16="http://schemas.microsoft.com/office/drawing/2014/main" id="{DE771B3B-E54F-4697-8C26-17904766E2DF}"/>
              </a:ext>
            </a:extLst>
          </p:cNvPr>
          <p:cNvCxnSpPr/>
          <p:nvPr userDrawn="1"/>
        </p:nvCxnSpPr>
        <p:spPr>
          <a:xfrm>
            <a:off x="444499" y="2290232"/>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Espace réservé du texte 9">
            <a:extLst>
              <a:ext uri="{FF2B5EF4-FFF2-40B4-BE49-F238E27FC236}">
                <a16:creationId xmlns:a16="http://schemas.microsoft.com/office/drawing/2014/main" id="{D60E7A96-B883-42B6-A527-B8742AADFA58}"/>
              </a:ext>
            </a:extLst>
          </p:cNvPr>
          <p:cNvSpPr>
            <a:spLocks noGrp="1"/>
          </p:cNvSpPr>
          <p:nvPr>
            <p:ph type="body" sz="quarter" idx="11"/>
          </p:nvPr>
        </p:nvSpPr>
        <p:spPr>
          <a:xfrm>
            <a:off x="444499" y="2513169"/>
            <a:ext cx="2922815" cy="754566"/>
          </a:xfrm>
          <a:prstGeom prst="rect">
            <a:avLst/>
          </a:prstGeom>
        </p:spPr>
        <p:txBody>
          <a:bodyPr wrap="square" lIns="0" tIns="0" rIns="0" bIns="0">
            <a:spAutoFit/>
          </a:bodyPr>
          <a:lstStyle>
            <a:lvl1pPr>
              <a:defRPr sz="1600" b="0">
                <a:solidFill>
                  <a:schemeClr val="bg1"/>
                </a:solidFill>
                <a:latin typeface="Montserrat" panose="00000500000000000000" pitchFamily="2" charset="0"/>
              </a:defRPr>
            </a:lvl1pPr>
            <a:lvl2pPr marL="152388" indent="-152388">
              <a:buClr>
                <a:schemeClr val="bg1"/>
              </a:buClr>
              <a:buFont typeface="Arial" panose="020B0604020202020204" pitchFamily="34" charset="0"/>
              <a:buChar char="•"/>
              <a:defRPr sz="14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526217332"/>
      </p:ext>
    </p:extLst>
  </p:cSld>
  <p:clrMapOvr>
    <a:masterClrMapping/>
  </p:clrMapOvr>
  <p:extLst>
    <p:ext uri="{DCECCB84-F9BA-43D5-87BE-67443E8EF086}">
      <p15:sldGuideLst xmlns:p15="http://schemas.microsoft.com/office/powerpoint/2012/main">
        <p15:guide id="1" orient="horz" pos="1253">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theme" Target="../theme/theme2.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oleObject" Target="../embeddings/oleObject10.bin"/><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tags" Target="../tags/tag12.xml"/><Relationship Id="rId30"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image" Target="../media/image29.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theme" Target="../theme/theme4.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theme" Target="../theme/theme5.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emf"/><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oleObject" Target="../embeddings/oleObject38.bin"/><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tags" Target="../tags/tag4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slideLayout" Target="../slideLayouts/slideLayout169.xml"/><Relationship Id="rId55" Type="http://schemas.openxmlformats.org/officeDocument/2006/relationships/slideLayout" Target="../slideLayouts/slideLayout174.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slideLayout" Target="../slideLayouts/slideLayout172.xml"/><Relationship Id="rId58" Type="http://schemas.openxmlformats.org/officeDocument/2006/relationships/slideLayout" Target="../slideLayouts/slideLayout177.xml"/><Relationship Id="rId5" Type="http://schemas.openxmlformats.org/officeDocument/2006/relationships/slideLayout" Target="../slideLayouts/slideLayout124.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slideLayout" Target="../slideLayouts/slideLayout175.xml"/><Relationship Id="rId8" Type="http://schemas.openxmlformats.org/officeDocument/2006/relationships/slideLayout" Target="../slideLayouts/slideLayout127.xml"/><Relationship Id="rId51" Type="http://schemas.openxmlformats.org/officeDocument/2006/relationships/slideLayout" Target="../slideLayouts/slideLayout170.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slideLayout" Target="../slideLayouts/slideLayout178.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slideLayout" Target="../slideLayouts/slideLayout176.xml"/><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6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5" Type="http://schemas.openxmlformats.org/officeDocument/2006/relationships/slideLayout" Target="../slideLayouts/slideLayout183.xml"/><Relationship Id="rId4" Type="http://schemas.openxmlformats.org/officeDocument/2006/relationships/slideLayout" Target="../slideLayouts/slideLayout182.xml"/><Relationship Id="rId9" Type="http://schemas.openxmlformats.org/officeDocument/2006/relationships/image" Target="../media/image31.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slideLayout" Target="../slideLayouts/slideLayout224.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slideLayout" Target="../slideLayouts/slideLayout227.xml"/><Relationship Id="rId47" Type="http://schemas.openxmlformats.org/officeDocument/2006/relationships/slideLayout" Target="../slideLayouts/slideLayout232.xml"/><Relationship Id="rId50" Type="http://schemas.openxmlformats.org/officeDocument/2006/relationships/slideLayout" Target="../slideLayouts/slideLayout235.xml"/><Relationship Id="rId55" Type="http://schemas.openxmlformats.org/officeDocument/2006/relationships/slideLayout" Target="../slideLayouts/slideLayout240.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9" Type="http://schemas.openxmlformats.org/officeDocument/2006/relationships/slideLayout" Target="../slideLayouts/slideLayout214.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slideLayout" Target="../slideLayouts/slideLayout225.xml"/><Relationship Id="rId45" Type="http://schemas.openxmlformats.org/officeDocument/2006/relationships/slideLayout" Target="../slideLayouts/slideLayout230.xml"/><Relationship Id="rId53" Type="http://schemas.openxmlformats.org/officeDocument/2006/relationships/slideLayout" Target="../slideLayouts/slideLayout238.xml"/><Relationship Id="rId58" Type="http://schemas.openxmlformats.org/officeDocument/2006/relationships/theme" Target="../theme/theme8.xml"/><Relationship Id="rId5" Type="http://schemas.openxmlformats.org/officeDocument/2006/relationships/slideLayout" Target="../slideLayouts/slideLayout190.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slideLayout" Target="../slideLayouts/slideLayout228.xml"/><Relationship Id="rId48" Type="http://schemas.openxmlformats.org/officeDocument/2006/relationships/slideLayout" Target="../slideLayouts/slideLayout233.xml"/><Relationship Id="rId56" Type="http://schemas.openxmlformats.org/officeDocument/2006/relationships/slideLayout" Target="../slideLayouts/slideLayout241.xml"/><Relationship Id="rId8" Type="http://schemas.openxmlformats.org/officeDocument/2006/relationships/slideLayout" Target="../slideLayouts/slideLayout193.xml"/><Relationship Id="rId51" Type="http://schemas.openxmlformats.org/officeDocument/2006/relationships/slideLayout" Target="../slideLayouts/slideLayout236.xml"/><Relationship Id="rId3" Type="http://schemas.openxmlformats.org/officeDocument/2006/relationships/slideLayout" Target="../slideLayouts/slideLayout188.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slideLayout" Target="../slideLayouts/slideLayout223.xml"/><Relationship Id="rId46" Type="http://schemas.openxmlformats.org/officeDocument/2006/relationships/slideLayout" Target="../slideLayouts/slideLayout231.xml"/><Relationship Id="rId20" Type="http://schemas.openxmlformats.org/officeDocument/2006/relationships/slideLayout" Target="../slideLayouts/slideLayout205.xml"/><Relationship Id="rId41" Type="http://schemas.openxmlformats.org/officeDocument/2006/relationships/slideLayout" Target="../slideLayouts/slideLayout226.xml"/><Relationship Id="rId54" Type="http://schemas.openxmlformats.org/officeDocument/2006/relationships/slideLayout" Target="../slideLayouts/slideLayout239.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49" Type="http://schemas.openxmlformats.org/officeDocument/2006/relationships/slideLayout" Target="../slideLayouts/slideLayout234.xml"/><Relationship Id="rId57" Type="http://schemas.openxmlformats.org/officeDocument/2006/relationships/slideLayout" Target="../slideLayouts/slideLayout242.xml"/><Relationship Id="rId10" Type="http://schemas.openxmlformats.org/officeDocument/2006/relationships/slideLayout" Target="../slideLayouts/slideLayout195.xml"/><Relationship Id="rId31" Type="http://schemas.openxmlformats.org/officeDocument/2006/relationships/slideLayout" Target="../slideLayouts/slideLayout216.xml"/><Relationship Id="rId44" Type="http://schemas.openxmlformats.org/officeDocument/2006/relationships/slideLayout" Target="../slideLayouts/slideLayout229.xml"/><Relationship Id="rId52" Type="http://schemas.openxmlformats.org/officeDocument/2006/relationships/slideLayout" Target="../slideLayouts/slideLayout23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image" Target="../media/image1.emf"/><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oleObject" Target="../embeddings/oleObject69.bin"/><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tags" Target="../tags/tag89.xml"/><Relationship Id="rId5" Type="http://schemas.openxmlformats.org/officeDocument/2006/relationships/slideLayout" Target="../slideLayouts/slideLayout247.xml"/><Relationship Id="rId10" Type="http://schemas.openxmlformats.org/officeDocument/2006/relationships/theme" Target="../theme/theme9.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DC588F-ABC1-4471-9C42-42C28E1EE132}"/>
              </a:ext>
            </a:extLst>
          </p:cNvPr>
          <p:cNvGraphicFramePr>
            <a:graphicFrameLocks noChangeAspect="1"/>
          </p:cNvGraphicFramePr>
          <p:nvPr userDrawn="1">
            <p:custDataLst>
              <p:tags r:id="rId10"/>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11" imgW="384" imgH="384" progId="TCLayout.ActiveDocument.1">
                  <p:embed/>
                </p:oleObj>
              </mc:Choice>
              <mc:Fallback>
                <p:oleObj name="Diapositive think-cell" r:id="rId11" imgW="384" imgH="384" progId="TCLayout.ActiveDocument.1">
                  <p:embed/>
                  <p:pic>
                    <p:nvPicPr>
                      <p:cNvPr id="8" name="Objet 7" hidden="1">
                        <a:extLst>
                          <a:ext uri="{FF2B5EF4-FFF2-40B4-BE49-F238E27FC236}">
                            <a16:creationId xmlns:a16="http://schemas.microsoft.com/office/drawing/2014/main" id="{05DC588F-ABC1-4471-9C42-42C28E1EE132}"/>
                          </a:ext>
                        </a:extLst>
                      </p:cNvPr>
                      <p:cNvPicPr/>
                      <p:nvPr/>
                    </p:nvPicPr>
                    <p:blipFill>
                      <a:blip r:embed="rId12"/>
                      <a:stretch>
                        <a:fillRect/>
                      </a:stretch>
                    </p:blipFill>
                    <p:spPr>
                      <a:xfrm>
                        <a:off x="2120" y="2120"/>
                        <a:ext cx="2117" cy="2117"/>
                      </a:xfrm>
                      <a:prstGeom prst="rect">
                        <a:avLst/>
                      </a:prstGeom>
                    </p:spPr>
                  </p:pic>
                </p:oleObj>
              </mc:Fallback>
            </mc:AlternateContent>
          </a:graphicData>
        </a:graphic>
      </p:graphicFrame>
      <p:sp>
        <p:nvSpPr>
          <p:cNvPr id="5" name="Espace réservé du pied de page 24">
            <a:extLst>
              <a:ext uri="{FF2B5EF4-FFF2-40B4-BE49-F238E27FC236}">
                <a16:creationId xmlns:a16="http://schemas.microsoft.com/office/drawing/2014/main" id="{3B601A63-4580-4D48-94A5-37617E66AA02}"/>
              </a:ext>
            </a:extLst>
          </p:cNvPr>
          <p:cNvSpPr>
            <a:spLocks noGrp="1"/>
          </p:cNvSpPr>
          <p:nvPr>
            <p:ph type="ftr" sz="quarter" idx="3"/>
          </p:nvPr>
        </p:nvSpPr>
        <p:spPr>
          <a:xfrm>
            <a:off x="9056793"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469232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sldNum="0" hdr="0" dt="0"/>
  <p:txStyles>
    <p:titleStyle>
      <a:lvl1pPr algn="l" defTabSz="1219050" rtl="0" eaLnBrk="1" latinLnBrk="0" hangingPunct="1">
        <a:lnSpc>
          <a:spcPct val="90000"/>
        </a:lnSpc>
        <a:spcBef>
          <a:spcPct val="0"/>
        </a:spcBef>
        <a:buNone/>
        <a:defRPr sz="1867" b="1" kern="1200">
          <a:solidFill>
            <a:schemeClr val="accent1"/>
          </a:solidFill>
          <a:latin typeface="Montserrat" panose="00000500000000000000"/>
          <a:ea typeface="+mj-ea"/>
          <a:cs typeface="+mj-cs"/>
        </a:defRPr>
      </a:lvl1pPr>
    </p:titleStyle>
    <p:bodyStyle>
      <a:lvl1pPr marL="0" indent="0" algn="l" defTabSz="1219050" rtl="0" eaLnBrk="1" latinLnBrk="0" hangingPunct="1">
        <a:lnSpc>
          <a:spcPct val="90000"/>
        </a:lnSpc>
        <a:spcBef>
          <a:spcPts val="1333"/>
        </a:spcBef>
        <a:buFont typeface="Arial" panose="020B0604020202020204" pitchFamily="34" charset="0"/>
        <a:buNone/>
        <a:defRPr sz="1200" b="1" kern="1200">
          <a:solidFill>
            <a:schemeClr val="accent1"/>
          </a:solidFill>
          <a:latin typeface="+mj-lt"/>
          <a:ea typeface="+mn-ea"/>
          <a:cs typeface="+mn-cs"/>
        </a:defRPr>
      </a:lvl1pPr>
      <a:lvl2pPr marL="0" indent="0" algn="l" defTabSz="1219050" rtl="0" eaLnBrk="1" latinLnBrk="0" hangingPunct="1">
        <a:lnSpc>
          <a:spcPct val="90000"/>
        </a:lnSpc>
        <a:spcBef>
          <a:spcPts val="667"/>
        </a:spcBef>
        <a:buFont typeface="Arial" panose="020B0604020202020204" pitchFamily="34" charset="0"/>
        <a:buNone/>
        <a:defRPr sz="1200" kern="1200">
          <a:solidFill>
            <a:schemeClr val="tx2"/>
          </a:solidFill>
          <a:latin typeface="+mj-lt"/>
          <a:ea typeface="+mn-ea"/>
          <a:cs typeface="+mn-cs"/>
        </a:defRPr>
      </a:lvl2pPr>
      <a:lvl3pPr marL="152380" indent="-152380" algn="l" defTabSz="1219050" rtl="0" eaLnBrk="1" latinLnBrk="0" hangingPunct="1">
        <a:lnSpc>
          <a:spcPct val="90000"/>
        </a:lnSpc>
        <a:spcBef>
          <a:spcPts val="667"/>
        </a:spcBef>
        <a:buClr>
          <a:schemeClr val="accent1"/>
        </a:buClr>
        <a:buFont typeface="Arial" panose="020B0604020202020204" pitchFamily="34" charset="0"/>
        <a:buChar char="•"/>
        <a:defRPr sz="1200" kern="1200">
          <a:solidFill>
            <a:schemeClr val="tx2"/>
          </a:solidFill>
          <a:latin typeface="+mj-lt"/>
          <a:ea typeface="+mn-ea"/>
          <a:cs typeface="+mn-cs"/>
        </a:defRPr>
      </a:lvl3pPr>
      <a:lvl4pPr marL="1828573" indent="0" algn="l" defTabSz="121905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4pPr>
      <a:lvl5pPr marL="2438098" indent="0" algn="l" defTabSz="121905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5pPr>
      <a:lvl6pPr marL="3352380" indent="-304760" algn="l" defTabSz="121905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906" indent="-304760" algn="l" defTabSz="121905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430" indent="-304760" algn="l" defTabSz="121905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953" indent="-304760" algn="l" defTabSz="121905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050" rtl="0" eaLnBrk="1" latinLnBrk="0" hangingPunct="1">
        <a:defRPr sz="2400" kern="1200">
          <a:solidFill>
            <a:schemeClr val="tx1"/>
          </a:solidFill>
          <a:latin typeface="+mn-lt"/>
          <a:ea typeface="+mn-ea"/>
          <a:cs typeface="+mn-cs"/>
        </a:defRPr>
      </a:lvl1pPr>
      <a:lvl2pPr marL="609523" algn="l" defTabSz="1219050" rtl="0" eaLnBrk="1" latinLnBrk="0" hangingPunct="1">
        <a:defRPr sz="2400" kern="1200">
          <a:solidFill>
            <a:schemeClr val="tx1"/>
          </a:solidFill>
          <a:latin typeface="+mn-lt"/>
          <a:ea typeface="+mn-ea"/>
          <a:cs typeface="+mn-cs"/>
        </a:defRPr>
      </a:lvl2pPr>
      <a:lvl3pPr marL="1219050" algn="l" defTabSz="1219050" rtl="0" eaLnBrk="1" latinLnBrk="0" hangingPunct="1">
        <a:defRPr sz="2400" kern="1200">
          <a:solidFill>
            <a:schemeClr val="tx1"/>
          </a:solidFill>
          <a:latin typeface="+mn-lt"/>
          <a:ea typeface="+mn-ea"/>
          <a:cs typeface="+mn-cs"/>
        </a:defRPr>
      </a:lvl3pPr>
      <a:lvl4pPr marL="1828573" algn="l" defTabSz="1219050" rtl="0" eaLnBrk="1" latinLnBrk="0" hangingPunct="1">
        <a:defRPr sz="2400" kern="1200">
          <a:solidFill>
            <a:schemeClr val="tx1"/>
          </a:solidFill>
          <a:latin typeface="+mn-lt"/>
          <a:ea typeface="+mn-ea"/>
          <a:cs typeface="+mn-cs"/>
        </a:defRPr>
      </a:lvl4pPr>
      <a:lvl5pPr marL="2438098" algn="l" defTabSz="1219050" rtl="0" eaLnBrk="1" latinLnBrk="0" hangingPunct="1">
        <a:defRPr sz="2400" kern="1200">
          <a:solidFill>
            <a:schemeClr val="tx1"/>
          </a:solidFill>
          <a:latin typeface="+mn-lt"/>
          <a:ea typeface="+mn-ea"/>
          <a:cs typeface="+mn-cs"/>
        </a:defRPr>
      </a:lvl5pPr>
      <a:lvl6pPr marL="3047620" algn="l" defTabSz="1219050" rtl="0" eaLnBrk="1" latinLnBrk="0" hangingPunct="1">
        <a:defRPr sz="2400" kern="1200">
          <a:solidFill>
            <a:schemeClr val="tx1"/>
          </a:solidFill>
          <a:latin typeface="+mn-lt"/>
          <a:ea typeface="+mn-ea"/>
          <a:cs typeface="+mn-cs"/>
        </a:defRPr>
      </a:lvl6pPr>
      <a:lvl7pPr marL="3657143" algn="l" defTabSz="1219050" rtl="0" eaLnBrk="1" latinLnBrk="0" hangingPunct="1">
        <a:defRPr sz="2400" kern="1200">
          <a:solidFill>
            <a:schemeClr val="tx1"/>
          </a:solidFill>
          <a:latin typeface="+mn-lt"/>
          <a:ea typeface="+mn-ea"/>
          <a:cs typeface="+mn-cs"/>
        </a:defRPr>
      </a:lvl7pPr>
      <a:lvl8pPr marL="4266667" algn="l" defTabSz="1219050" rtl="0" eaLnBrk="1" latinLnBrk="0" hangingPunct="1">
        <a:defRPr sz="2400" kern="1200">
          <a:solidFill>
            <a:schemeClr val="tx1"/>
          </a:solidFill>
          <a:latin typeface="+mn-lt"/>
          <a:ea typeface="+mn-ea"/>
          <a:cs typeface="+mn-cs"/>
        </a:defRPr>
      </a:lvl8pPr>
      <a:lvl9pPr marL="4876191" algn="l" defTabSz="121905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DC588F-ABC1-4471-9C42-42C28E1EE132}"/>
              </a:ext>
            </a:extLst>
          </p:cNvPr>
          <p:cNvGraphicFramePr>
            <a:graphicFrameLocks noChangeAspect="1"/>
          </p:cNvGraphicFramePr>
          <p:nvPr userDrawn="1">
            <p:custDataLst>
              <p:tags r:id="rId27"/>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28" imgW="384" imgH="384" progId="TCLayout.ActiveDocument.1">
                  <p:embed/>
                </p:oleObj>
              </mc:Choice>
              <mc:Fallback>
                <p:oleObj name="Diapositive think-cell" r:id="rId28" imgW="384" imgH="384" progId="TCLayout.ActiveDocument.1">
                  <p:embed/>
                  <p:pic>
                    <p:nvPicPr>
                      <p:cNvPr id="8" name="Objet 7" hidden="1">
                        <a:extLst>
                          <a:ext uri="{FF2B5EF4-FFF2-40B4-BE49-F238E27FC236}">
                            <a16:creationId xmlns:a16="http://schemas.microsoft.com/office/drawing/2014/main" id="{05DC588F-ABC1-4471-9C42-42C28E1EE132}"/>
                          </a:ext>
                        </a:extLst>
                      </p:cNvPr>
                      <p:cNvPicPr/>
                      <p:nvPr/>
                    </p:nvPicPr>
                    <p:blipFill>
                      <a:blip r:embed="rId29"/>
                      <a:stretch>
                        <a:fillRect/>
                      </a:stretch>
                    </p:blipFill>
                    <p:spPr>
                      <a:xfrm>
                        <a:off x="2120" y="2120"/>
                        <a:ext cx="2117" cy="2117"/>
                      </a:xfrm>
                      <a:prstGeom prst="rect">
                        <a:avLst/>
                      </a:prstGeom>
                    </p:spPr>
                  </p:pic>
                </p:oleObj>
              </mc:Fallback>
            </mc:AlternateContent>
          </a:graphicData>
        </a:graphic>
      </p:graphicFrame>
      <p:sp>
        <p:nvSpPr>
          <p:cNvPr id="5" name="Espace réservé du pied de page 24">
            <a:extLst>
              <a:ext uri="{FF2B5EF4-FFF2-40B4-BE49-F238E27FC236}">
                <a16:creationId xmlns:a16="http://schemas.microsoft.com/office/drawing/2014/main" id="{3B601A63-4580-4D48-94A5-37617E66AA02}"/>
              </a:ext>
            </a:extLst>
          </p:cNvPr>
          <p:cNvSpPr>
            <a:spLocks noGrp="1"/>
          </p:cNvSpPr>
          <p:nvPr>
            <p:ph type="ftr" sz="quarter" idx="3"/>
          </p:nvPr>
        </p:nvSpPr>
        <p:spPr>
          <a:xfrm>
            <a:off x="9056792" y="6555192"/>
            <a:ext cx="2159245"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pic>
        <p:nvPicPr>
          <p:cNvPr id="4" name="Image 3">
            <a:extLst>
              <a:ext uri="{FF2B5EF4-FFF2-40B4-BE49-F238E27FC236}">
                <a16:creationId xmlns:a16="http://schemas.microsoft.com/office/drawing/2014/main" id="{B93F726F-193F-4C2B-8CDC-A8E7F3B3DF99}"/>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0554513" y="322411"/>
            <a:ext cx="1229681" cy="587219"/>
          </a:xfrm>
          <a:prstGeom prst="rect">
            <a:avLst/>
          </a:prstGeom>
        </p:spPr>
      </p:pic>
    </p:spTree>
    <p:extLst>
      <p:ext uri="{BB962C8B-B14F-4D97-AF65-F5344CB8AC3E}">
        <p14:creationId xmlns:p14="http://schemas.microsoft.com/office/powerpoint/2010/main" val="233466968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Lst>
  <p:hf sldNum="0" hdr="0" dt="0"/>
  <p:txStyles>
    <p:titleStyle>
      <a:lvl1pPr algn="l" defTabSz="1219080" rtl="0" eaLnBrk="1" latinLnBrk="0" hangingPunct="1">
        <a:lnSpc>
          <a:spcPct val="90000"/>
        </a:lnSpc>
        <a:spcBef>
          <a:spcPct val="0"/>
        </a:spcBef>
        <a:buNone/>
        <a:defRPr sz="1867" b="1" kern="1200">
          <a:solidFill>
            <a:schemeClr val="accent1"/>
          </a:solidFill>
          <a:latin typeface="Montserrat" panose="00000500000000000000"/>
          <a:ea typeface="+mj-ea"/>
          <a:cs typeface="+mj-cs"/>
        </a:defRPr>
      </a:lvl1pPr>
    </p:titleStyle>
    <p:bodyStyle>
      <a:lvl1pPr marL="0" indent="0" algn="l" defTabSz="1219080" rtl="0" eaLnBrk="1" latinLnBrk="0" hangingPunct="1">
        <a:lnSpc>
          <a:spcPct val="90000"/>
        </a:lnSpc>
        <a:spcBef>
          <a:spcPts val="1333"/>
        </a:spcBef>
        <a:buFont typeface="Arial" panose="020B0604020202020204" pitchFamily="34" charset="0"/>
        <a:buNone/>
        <a:defRPr sz="1200" b="1" kern="1200">
          <a:solidFill>
            <a:schemeClr val="accent1"/>
          </a:solidFill>
          <a:latin typeface="+mj-lt"/>
          <a:ea typeface="+mn-ea"/>
          <a:cs typeface="+mn-cs"/>
        </a:defRPr>
      </a:lvl1pPr>
      <a:lvl2pPr marL="0" indent="0" algn="l" defTabSz="1219080" rtl="0" eaLnBrk="1" latinLnBrk="0" hangingPunct="1">
        <a:lnSpc>
          <a:spcPct val="90000"/>
        </a:lnSpc>
        <a:spcBef>
          <a:spcPts val="667"/>
        </a:spcBef>
        <a:buFont typeface="Arial" panose="020B0604020202020204" pitchFamily="34" charset="0"/>
        <a:buNone/>
        <a:defRPr sz="1200" kern="1200">
          <a:solidFill>
            <a:schemeClr val="tx2"/>
          </a:solidFill>
          <a:latin typeface="+mj-lt"/>
          <a:ea typeface="+mn-ea"/>
          <a:cs typeface="+mn-cs"/>
        </a:defRPr>
      </a:lvl2pPr>
      <a:lvl3pPr marL="152384" indent="-152384" algn="l" defTabSz="1219080" rtl="0" eaLnBrk="1" latinLnBrk="0" hangingPunct="1">
        <a:lnSpc>
          <a:spcPct val="90000"/>
        </a:lnSpc>
        <a:spcBef>
          <a:spcPts val="667"/>
        </a:spcBef>
        <a:buClr>
          <a:schemeClr val="accent1"/>
        </a:buClr>
        <a:buFont typeface="Arial" panose="020B0604020202020204" pitchFamily="34" charset="0"/>
        <a:buChar char="•"/>
        <a:defRPr sz="1200" kern="1200">
          <a:solidFill>
            <a:schemeClr val="tx2"/>
          </a:solidFill>
          <a:latin typeface="+mj-lt"/>
          <a:ea typeface="+mn-ea"/>
          <a:cs typeface="+mn-cs"/>
        </a:defRPr>
      </a:lvl3pPr>
      <a:lvl4pPr marL="1828618" indent="0" algn="l" defTabSz="121908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4pPr>
      <a:lvl5pPr marL="2438158" indent="0" algn="l" defTabSz="121908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5pPr>
      <a:lvl6pPr marL="335246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5"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A92B4BA7-90B3-4978-9ED0-6805C9DB00FF}"/>
              </a:ext>
            </a:extLst>
          </p:cNvPr>
          <p:cNvSpPr>
            <a:spLocks noGrp="1"/>
          </p:cNvSpPr>
          <p:nvPr>
            <p:ph type="title"/>
          </p:nvPr>
        </p:nvSpPr>
        <p:spPr>
          <a:xfrm>
            <a:off x="444500" y="365127"/>
            <a:ext cx="9909176" cy="540397"/>
          </a:xfrm>
          <a:prstGeom prst="rect">
            <a:avLst/>
          </a:prstGeom>
        </p:spPr>
        <p:txBody>
          <a:bodyPr vert="horz" lIns="0" tIns="0" rIns="0" bIns="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4C4A5961-7618-4529-8200-47EADC9FFF1F}"/>
              </a:ext>
            </a:extLst>
          </p:cNvPr>
          <p:cNvSpPr>
            <a:spLocks noGrp="1"/>
          </p:cNvSpPr>
          <p:nvPr>
            <p:ph type="body" idx="1"/>
          </p:nvPr>
        </p:nvSpPr>
        <p:spPr>
          <a:xfrm>
            <a:off x="444501" y="1825625"/>
            <a:ext cx="11366235" cy="4351339"/>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marL="1142942" marR="0" lvl="2" indent="-228589" algn="l" defTabSz="914354"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3BC4BE59-C990-4404-A580-00679AA977DB}"/>
              </a:ext>
            </a:extLst>
          </p:cNvPr>
          <p:cNvSpPr>
            <a:spLocks noGrp="1"/>
          </p:cNvSpPr>
          <p:nvPr>
            <p:ph type="sldNum" sz="quarter" idx="4"/>
          </p:nvPr>
        </p:nvSpPr>
        <p:spPr>
          <a:xfrm>
            <a:off x="8610602" y="6552200"/>
            <a:ext cx="3200135" cy="169277"/>
          </a:xfrm>
          <a:prstGeom prst="rect">
            <a:avLst/>
          </a:prstGeom>
        </p:spPr>
        <p:txBody>
          <a:bodyPr vert="horz" lIns="91440" tIns="45720" rIns="91440" bIns="45720" rtlCol="0" anchor="ctr"/>
          <a:lstStyle>
            <a:lvl1pPr algn="r">
              <a:defRPr sz="1100">
                <a:solidFill>
                  <a:schemeClr val="tx1">
                    <a:tint val="75000"/>
                  </a:schemeClr>
                </a:solidFill>
                <a:latin typeface="Montserrat" panose="00000500000000000000" pitchFamily="50" charset="0"/>
              </a:defRPr>
            </a:lvl1pPr>
          </a:lstStyle>
          <a:p>
            <a:fld id="{EB9F9E3B-949D-4753-A311-C2E91B2B57EF}" type="slidenum">
              <a:rPr lang="fr-FR" smtClean="0"/>
              <a:pPr/>
              <a:t>‹#›</a:t>
            </a:fld>
            <a:endParaRPr lang="fr-FR"/>
          </a:p>
        </p:txBody>
      </p:sp>
      <p:cxnSp>
        <p:nvCxnSpPr>
          <p:cNvPr id="10" name="Google Shape;86;p6">
            <a:extLst>
              <a:ext uri="{FF2B5EF4-FFF2-40B4-BE49-F238E27FC236}">
                <a16:creationId xmlns:a16="http://schemas.microsoft.com/office/drawing/2014/main" id="{35E183A2-9904-4CF2-A4C9-846757865AF3}"/>
              </a:ext>
            </a:extLst>
          </p:cNvPr>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sp>
        <p:nvSpPr>
          <p:cNvPr id="15" name="Espace réservé du pied de page 11">
            <a:extLst>
              <a:ext uri="{FF2B5EF4-FFF2-40B4-BE49-F238E27FC236}">
                <a16:creationId xmlns:a16="http://schemas.microsoft.com/office/drawing/2014/main" id="{DC6BB0E7-A3D6-4C73-99DA-AA887A05EB70}"/>
              </a:ext>
            </a:extLst>
          </p:cNvPr>
          <p:cNvSpPr>
            <a:spLocks noGrp="1"/>
          </p:cNvSpPr>
          <p:nvPr>
            <p:ph type="ftr" sz="quarter" idx="3"/>
          </p:nvPr>
        </p:nvSpPr>
        <p:spPr>
          <a:xfrm>
            <a:off x="444499" y="6552200"/>
            <a:ext cx="4114800" cy="169277"/>
          </a:xfrm>
          <a:prstGeom prst="rect">
            <a:avLst/>
          </a:prstGeom>
        </p:spPr>
        <p:txBody>
          <a:bodyPr vert="horz" lIns="0" tIns="0" rIns="0" bIns="0" rtlCol="0" anchor="ctr"/>
          <a:lstStyle>
            <a:lvl1pPr algn="ctr">
              <a:defRPr sz="1200">
                <a:solidFill>
                  <a:schemeClr val="tx1">
                    <a:tint val="75000"/>
                  </a:schemeClr>
                </a:solidFill>
              </a:defRPr>
            </a:lvl1pPr>
          </a:lstStyle>
          <a:p>
            <a:pPr algn="l"/>
            <a:r>
              <a:rPr lang="fr-FR">
                <a:solidFill>
                  <a:schemeClr val="dk2"/>
                </a:solidFill>
                <a:latin typeface="Montserrat"/>
                <a:ea typeface="Montserrat"/>
                <a:cs typeface="Montserrat"/>
                <a:sym typeface="Montserrat"/>
              </a:rPr>
              <a:t>Confidentiel</a:t>
            </a:r>
          </a:p>
        </p:txBody>
      </p:sp>
      <p:pic>
        <p:nvPicPr>
          <p:cNvPr id="9" name="Picture 2" descr="Conseil - Le groupe Talan crée Talan Consulting, son pôle conseil | Talan">
            <a:extLst>
              <a:ext uri="{FF2B5EF4-FFF2-40B4-BE49-F238E27FC236}">
                <a16:creationId xmlns:a16="http://schemas.microsoft.com/office/drawing/2014/main" id="{D4A0421E-F48A-417F-8BF4-A0D9AC6ECAF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468827" y="166437"/>
            <a:ext cx="1216152" cy="664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94620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Lst>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hf hdr="0" ftr="0" dt="0"/>
  <p:txStyles>
    <p:titleStyle>
      <a:lvl1pPr algn="l" defTabSz="914354" rtl="0" eaLnBrk="1" latinLnBrk="0" hangingPunct="1">
        <a:lnSpc>
          <a:spcPct val="90000"/>
        </a:lnSpc>
        <a:spcBef>
          <a:spcPct val="0"/>
        </a:spcBef>
        <a:buNone/>
        <a:defRPr lang="fr-FR" sz="2000" b="1" i="0" u="none" strike="noStrike" kern="1200" cap="none" dirty="0">
          <a:solidFill>
            <a:schemeClr val="accent1"/>
          </a:solidFill>
          <a:latin typeface="Montserrat"/>
          <a:ea typeface="+mj-ea"/>
          <a:cs typeface="+mj-cs"/>
          <a:sym typeface="Montserrat"/>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400" b="1" kern="1200">
          <a:solidFill>
            <a:schemeClr val="accent1"/>
          </a:solidFill>
          <a:latin typeface="Montserrat" panose="00000500000000000000" pitchFamily="50" charset="0"/>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200" b="1" kern="1200">
          <a:solidFill>
            <a:schemeClr val="accent4">
              <a:lumMod val="60000"/>
              <a:lumOff val="40000"/>
            </a:schemeClr>
          </a:solidFill>
          <a:latin typeface="Montserrat" panose="00000500000000000000" pitchFamily="50" charset="0"/>
          <a:ea typeface="+mn-ea"/>
          <a:cs typeface="+mn-cs"/>
        </a:defRPr>
      </a:lvl2pPr>
      <a:lvl3pPr marL="1142942" marR="0" indent="-228589" algn="l" defTabSz="914354" rtl="0" eaLnBrk="1" fontAlgn="auto" latinLnBrk="0" hangingPunct="1">
        <a:lnSpc>
          <a:spcPct val="90000"/>
        </a:lnSpc>
        <a:spcBef>
          <a:spcPts val="500"/>
        </a:spcBef>
        <a:spcAft>
          <a:spcPts val="0"/>
        </a:spcAft>
        <a:buClrTx/>
        <a:buSzTx/>
        <a:buFont typeface="Arial" panose="020B0604020202020204" pitchFamily="34" charset="0"/>
        <a:buChar char="•"/>
        <a:tabLst/>
        <a:defRPr sz="1200" kern="1200">
          <a:solidFill>
            <a:schemeClr val="accent4">
              <a:lumMod val="60000"/>
              <a:lumOff val="40000"/>
            </a:schemeClr>
          </a:solidFill>
          <a:latin typeface="Montserrat" panose="00000500000000000000" pitchFamily="50" charset="0"/>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100" kern="1200">
          <a:solidFill>
            <a:schemeClr val="tx2"/>
          </a:solidFill>
          <a:latin typeface="Montserrat" panose="00000500000000000000" pitchFamily="50" charset="0"/>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000" kern="1200">
          <a:solidFill>
            <a:schemeClr val="tx2"/>
          </a:solidFill>
          <a:latin typeface="Montserrat" panose="00000500000000000000" pitchFamily="50" charset="0"/>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a:p>
        </p:txBody>
      </p:sp>
    </p:spTree>
    <p:extLst>
      <p:ext uri="{BB962C8B-B14F-4D97-AF65-F5344CB8AC3E}">
        <p14:creationId xmlns:p14="http://schemas.microsoft.com/office/powerpoint/2010/main" val="2531651770"/>
      </p:ext>
    </p:extLst>
  </p:cSld>
  <p:clrMap bg1="lt1" tx1="dk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 id="2147483733" r:id="rId32"/>
    <p:sldLayoutId id="2147483734" r:id="rId33"/>
    <p:sldLayoutId id="2147483735" r:id="rId34"/>
    <p:sldLayoutId id="2147483736" r:id="rId35"/>
    <p:sldLayoutId id="2147483737" r:id="rId36"/>
    <p:sldLayoutId id="2147483738" r:id="rId37"/>
    <p:sldLayoutId id="2147483739" r:id="rId38"/>
    <p:sldLayoutId id="2147483740" r:id="rId39"/>
    <p:sldLayoutId id="2147483741" r:id="rId40"/>
    <p:sldLayoutId id="2147483742" r:id="rId41"/>
    <p:sldLayoutId id="2147483743" r:id="rId42"/>
    <p:sldLayoutId id="2147483744" r:id="rId43"/>
    <p:sldLayoutId id="2147483745" r:id="rId44"/>
    <p:sldLayoutId id="2147483746" r:id="rId45"/>
    <p:sldLayoutId id="2147483747" r:id="rId46"/>
    <p:sldLayoutId id="2147483748" r:id="rId47"/>
    <p:sldLayoutId id="2147483749" r:id="rId48"/>
    <p:sldLayoutId id="2147483750" r:id="rId49"/>
    <p:sldLayoutId id="2147483751" r:id="rId50"/>
    <p:sldLayoutId id="2147483753" r:id="rId51"/>
    <p:sldLayoutId id="2147483754" r:id="rId52"/>
    <p:sldLayoutId id="2147483755" r:id="rId53"/>
    <p:sldLayoutId id="2147483757" r:id="rId54"/>
    <p:sldLayoutId id="2147483758" r:id="rId55"/>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DC588F-ABC1-4471-9C42-42C28E1EE132}"/>
              </a:ext>
            </a:extLst>
          </p:cNvPr>
          <p:cNvGraphicFramePr>
            <a:graphicFrameLocks noChangeAspect="1"/>
          </p:cNvGraphicFramePr>
          <p:nvPr userDrawn="1">
            <p:custDataLst>
              <p:tags r:id="rId30"/>
            </p:custDataLst>
            <p:extLst>
              <p:ext uri="{D42A27DB-BD31-4B8C-83A1-F6EECF244321}">
                <p14:modId xmlns:p14="http://schemas.microsoft.com/office/powerpoint/2010/main" val="1218685824"/>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1" imgW="384" imgH="384" progId="TCLayout.ActiveDocument.1">
                  <p:embed/>
                </p:oleObj>
              </mc:Choice>
              <mc:Fallback>
                <p:oleObj name="Diapositive think-cell" r:id="rId31" imgW="384" imgH="384" progId="TCLayout.ActiveDocument.1">
                  <p:embed/>
                  <p:pic>
                    <p:nvPicPr>
                      <p:cNvPr id="8" name="Objet 7" hidden="1">
                        <a:extLst>
                          <a:ext uri="{FF2B5EF4-FFF2-40B4-BE49-F238E27FC236}">
                            <a16:creationId xmlns:a16="http://schemas.microsoft.com/office/drawing/2014/main" id="{05DC588F-ABC1-4471-9C42-42C28E1EE132}"/>
                          </a:ext>
                        </a:extLst>
                      </p:cNvPr>
                      <p:cNvPicPr/>
                      <p:nvPr/>
                    </p:nvPicPr>
                    <p:blipFill>
                      <a:blip r:embed="rId32"/>
                      <a:stretch>
                        <a:fillRect/>
                      </a:stretch>
                    </p:blipFill>
                    <p:spPr>
                      <a:xfrm>
                        <a:off x="2120" y="2120"/>
                        <a:ext cx="2117" cy="2117"/>
                      </a:xfrm>
                      <a:prstGeom prst="rect">
                        <a:avLst/>
                      </a:prstGeom>
                    </p:spPr>
                  </p:pic>
                </p:oleObj>
              </mc:Fallback>
            </mc:AlternateContent>
          </a:graphicData>
        </a:graphic>
      </p:graphicFrame>
      <p:sp>
        <p:nvSpPr>
          <p:cNvPr id="5" name="Espace réservé du pied de page 24">
            <a:extLst>
              <a:ext uri="{FF2B5EF4-FFF2-40B4-BE49-F238E27FC236}">
                <a16:creationId xmlns:a16="http://schemas.microsoft.com/office/drawing/2014/main" id="{3B601A63-4580-4D48-94A5-37617E66AA02}"/>
              </a:ext>
            </a:extLst>
          </p:cNvPr>
          <p:cNvSpPr>
            <a:spLocks noGrp="1"/>
          </p:cNvSpPr>
          <p:nvPr>
            <p:ph type="ftr" sz="quarter" idx="3"/>
          </p:nvPr>
        </p:nvSpPr>
        <p:spPr>
          <a:xfrm>
            <a:off x="9095263" y="6555191"/>
            <a:ext cx="2120773"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Pied de page | </a:t>
            </a:r>
            <a:fld id="{7E74C1EB-D0C9-4102-9435-B97D94E7CC62}" type="datetime4">
              <a:rPr lang="fr-FR" smtClean="0">
                <a:solidFill>
                  <a:schemeClr val="tx2"/>
                </a:solidFill>
              </a:rPr>
              <a:pPr/>
              <a:t>15 février 2024</a:t>
            </a:fld>
            <a:r>
              <a:rPr lang="en-US">
                <a:solidFill>
                  <a:schemeClr val="tx2"/>
                </a:solidFill>
              </a:rPr>
              <a:t> |</a:t>
            </a:r>
          </a:p>
        </p:txBody>
      </p:sp>
    </p:spTree>
    <p:extLst>
      <p:ext uri="{BB962C8B-B14F-4D97-AF65-F5344CB8AC3E}">
        <p14:creationId xmlns:p14="http://schemas.microsoft.com/office/powerpoint/2010/main" val="317323485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Lst>
  <p:hf sldNum="0" hdr="0" dt="0"/>
  <p:txStyles>
    <p:titleStyle>
      <a:lvl1pPr algn="l" defTabSz="1219110" rtl="0" eaLnBrk="1" latinLnBrk="0" hangingPunct="1">
        <a:lnSpc>
          <a:spcPct val="90000"/>
        </a:lnSpc>
        <a:spcBef>
          <a:spcPct val="0"/>
        </a:spcBef>
        <a:buNone/>
        <a:defRPr sz="1867" b="1" kern="1200">
          <a:solidFill>
            <a:schemeClr val="accent1"/>
          </a:solidFill>
          <a:latin typeface="Montserrat" panose="00000500000000000000"/>
          <a:ea typeface="+mj-ea"/>
          <a:cs typeface="+mj-cs"/>
        </a:defRPr>
      </a:lvl1pPr>
    </p:titleStyle>
    <p:bodyStyle>
      <a:lvl1pPr marL="0" indent="0" algn="l" defTabSz="1219110" rtl="0" eaLnBrk="1" latinLnBrk="0" hangingPunct="1">
        <a:lnSpc>
          <a:spcPct val="90000"/>
        </a:lnSpc>
        <a:spcBef>
          <a:spcPts val="1333"/>
        </a:spcBef>
        <a:buFont typeface="Arial" panose="020B0604020202020204" pitchFamily="34" charset="0"/>
        <a:buNone/>
        <a:defRPr sz="1200" b="1" kern="1200">
          <a:solidFill>
            <a:schemeClr val="accent1"/>
          </a:solidFill>
          <a:latin typeface="+mj-lt"/>
          <a:ea typeface="+mn-ea"/>
          <a:cs typeface="+mn-cs"/>
        </a:defRPr>
      </a:lvl1pPr>
      <a:lvl2pPr marL="0" indent="0" algn="l" defTabSz="1219110" rtl="0" eaLnBrk="1" latinLnBrk="0" hangingPunct="1">
        <a:lnSpc>
          <a:spcPct val="90000"/>
        </a:lnSpc>
        <a:spcBef>
          <a:spcPts val="667"/>
        </a:spcBef>
        <a:buFont typeface="Arial" panose="020B0604020202020204" pitchFamily="34" charset="0"/>
        <a:buNone/>
        <a:defRPr sz="1200" kern="1200">
          <a:solidFill>
            <a:schemeClr val="tx2"/>
          </a:solidFill>
          <a:latin typeface="+mj-lt"/>
          <a:ea typeface="+mn-ea"/>
          <a:cs typeface="+mn-cs"/>
        </a:defRPr>
      </a:lvl2pPr>
      <a:lvl3pPr marL="152388" indent="-152388" algn="l" defTabSz="1219110" rtl="0" eaLnBrk="1" latinLnBrk="0" hangingPunct="1">
        <a:lnSpc>
          <a:spcPct val="90000"/>
        </a:lnSpc>
        <a:spcBef>
          <a:spcPts val="667"/>
        </a:spcBef>
        <a:buClr>
          <a:schemeClr val="accent1"/>
        </a:buClr>
        <a:buFont typeface="Arial" panose="020B0604020202020204" pitchFamily="34" charset="0"/>
        <a:buChar char="•"/>
        <a:defRPr sz="1200" kern="1200">
          <a:solidFill>
            <a:schemeClr val="tx2"/>
          </a:solidFill>
          <a:latin typeface="+mj-lt"/>
          <a:ea typeface="+mn-ea"/>
          <a:cs typeface="+mn-cs"/>
        </a:defRPr>
      </a:lvl3pPr>
      <a:lvl4pPr marL="1828664" indent="0" algn="l" defTabSz="121911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4pPr>
      <a:lvl5pPr marL="2438218" indent="0" algn="l" defTabSz="121911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5pPr>
      <a:lvl6pPr marL="335254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04"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65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212"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a:p>
        </p:txBody>
      </p:sp>
    </p:spTree>
    <p:extLst>
      <p:ext uri="{BB962C8B-B14F-4D97-AF65-F5344CB8AC3E}">
        <p14:creationId xmlns:p14="http://schemas.microsoft.com/office/powerpoint/2010/main" val="3044156055"/>
      </p:ext>
    </p:extLst>
  </p:cSld>
  <p:clrMap bg1="lt1" tx1="dk1" bg2="dk2" tx2="lt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 id="2147483825" r:id="rId37"/>
    <p:sldLayoutId id="2147483826" r:id="rId38"/>
    <p:sldLayoutId id="2147483827" r:id="rId39"/>
    <p:sldLayoutId id="2147483828" r:id="rId40"/>
    <p:sldLayoutId id="2147483829" r:id="rId41"/>
    <p:sldLayoutId id="2147483830" r:id="rId42"/>
    <p:sldLayoutId id="2147483831" r:id="rId43"/>
    <p:sldLayoutId id="2147483832" r:id="rId44"/>
    <p:sldLayoutId id="2147483833" r:id="rId45"/>
    <p:sldLayoutId id="2147483834" r:id="rId46"/>
    <p:sldLayoutId id="2147483835" r:id="rId47"/>
    <p:sldLayoutId id="2147483836" r:id="rId48"/>
    <p:sldLayoutId id="2147483837" r:id="rId49"/>
    <p:sldLayoutId id="2147483838" r:id="rId50"/>
    <p:sldLayoutId id="2147483839" r:id="rId51"/>
    <p:sldLayoutId id="2147483840" r:id="rId52"/>
    <p:sldLayoutId id="2147483841" r:id="rId53"/>
    <p:sldLayoutId id="2147483842" r:id="rId54"/>
    <p:sldLayoutId id="2147483843" r:id="rId55"/>
    <p:sldLayoutId id="2147483844" r:id="rId56"/>
    <p:sldLayoutId id="2147483845" r:id="rId57"/>
    <p:sldLayoutId id="2147483846" r:id="rId58"/>
    <p:sldLayoutId id="2147483847" r:id="rId59"/>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6D3CB276-B2FD-4C41-B467-CC6D0E559FC3}"/>
              </a:ext>
            </a:extLst>
          </p:cNvPr>
          <p:cNvSpPr>
            <a:spLocks noGrp="1"/>
          </p:cNvSpPr>
          <p:nvPr>
            <p:ph type="body" idx="1"/>
          </p:nvPr>
        </p:nvSpPr>
        <p:spPr>
          <a:xfrm>
            <a:off x="623888" y="1268760"/>
            <a:ext cx="10944720" cy="496852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Espace réservé de la date 4">
            <a:extLst>
              <a:ext uri="{FF2B5EF4-FFF2-40B4-BE49-F238E27FC236}">
                <a16:creationId xmlns:a16="http://schemas.microsoft.com/office/drawing/2014/main" id="{5425FD7D-1D31-4C49-BFE1-46CB3F09954A}"/>
              </a:ext>
            </a:extLst>
          </p:cNvPr>
          <p:cNvSpPr>
            <a:spLocks noGrp="1"/>
          </p:cNvSpPr>
          <p:nvPr>
            <p:ph type="dt" sz="half" idx="2"/>
          </p:nvPr>
        </p:nvSpPr>
        <p:spPr>
          <a:xfrm>
            <a:off x="332892" y="6356279"/>
            <a:ext cx="866565" cy="375927"/>
          </a:xfrm>
          <a:prstGeom prst="rect">
            <a:avLst/>
          </a:prstGeom>
        </p:spPr>
        <p:txBody>
          <a:bodyPr anchor="ctr"/>
          <a:lstStyle>
            <a:lvl1pPr>
              <a:defRPr sz="933"/>
            </a:lvl1pPr>
          </a:lstStyle>
          <a:p>
            <a:r>
              <a:rPr lang="fr-FR"/>
              <a:t>Juin 2021</a:t>
            </a:r>
          </a:p>
        </p:txBody>
      </p:sp>
      <p:sp>
        <p:nvSpPr>
          <p:cNvPr id="21" name="Espace réservé du pied de page 5">
            <a:extLst>
              <a:ext uri="{FF2B5EF4-FFF2-40B4-BE49-F238E27FC236}">
                <a16:creationId xmlns:a16="http://schemas.microsoft.com/office/drawing/2014/main" id="{DE749E37-FF38-4711-87C9-ACCF122616D6}"/>
              </a:ext>
            </a:extLst>
          </p:cNvPr>
          <p:cNvSpPr>
            <a:spLocks noGrp="1"/>
          </p:cNvSpPr>
          <p:nvPr>
            <p:ph type="ftr" sz="quarter" idx="3"/>
          </p:nvPr>
        </p:nvSpPr>
        <p:spPr>
          <a:xfrm>
            <a:off x="1199458" y="6374219"/>
            <a:ext cx="9217023" cy="314847"/>
          </a:xfrm>
          <a:prstGeom prst="rect">
            <a:avLst/>
          </a:prstGeom>
        </p:spPr>
        <p:txBody>
          <a:bodyPr/>
          <a:lstStyle>
            <a:lvl1pPr>
              <a:defRPr sz="933"/>
            </a:lvl1pPr>
          </a:lstStyle>
          <a:p>
            <a:r>
              <a:rPr lang="fr-FR"/>
              <a:t>BNP Paribas TP - Project Management Office Fonctionnel</a:t>
            </a:r>
          </a:p>
        </p:txBody>
      </p:sp>
      <p:sp>
        <p:nvSpPr>
          <p:cNvPr id="22" name="Espace réservé du numéro de diapositive 6">
            <a:extLst>
              <a:ext uri="{FF2B5EF4-FFF2-40B4-BE49-F238E27FC236}">
                <a16:creationId xmlns:a16="http://schemas.microsoft.com/office/drawing/2014/main" id="{672359F2-8FD1-4965-9D67-7360318AEA2C}"/>
              </a:ext>
            </a:extLst>
          </p:cNvPr>
          <p:cNvSpPr>
            <a:spLocks noGrp="1"/>
          </p:cNvSpPr>
          <p:nvPr>
            <p:ph type="sldNum" sz="quarter" idx="4"/>
          </p:nvPr>
        </p:nvSpPr>
        <p:spPr>
          <a:xfrm>
            <a:off x="11136560" y="6374219"/>
            <a:ext cx="708315" cy="365125"/>
          </a:xfrm>
          <a:prstGeom prst="rect">
            <a:avLst/>
          </a:prstGeom>
        </p:spPr>
        <p:txBody>
          <a:bodyPr/>
          <a:lstStyle>
            <a:lvl1pPr>
              <a:defRPr sz="1400"/>
            </a:lvl1pPr>
          </a:lstStyle>
          <a:p>
            <a:fld id="{4D32680D-9B82-467A-8A17-CD56308886EF}" type="slidenum">
              <a:rPr lang="fr-FR" smtClean="0"/>
              <a:pPr/>
              <a:t>‹#›</a:t>
            </a:fld>
            <a:endParaRPr lang="fr-FR"/>
          </a:p>
        </p:txBody>
      </p:sp>
      <p:sp>
        <p:nvSpPr>
          <p:cNvPr id="10" name="Google Shape;209;p35">
            <a:extLst>
              <a:ext uri="{FF2B5EF4-FFF2-40B4-BE49-F238E27FC236}">
                <a16:creationId xmlns:a16="http://schemas.microsoft.com/office/drawing/2014/main" id="{9C1CD919-27A7-24BF-8276-273A7C2831EE}"/>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2" name="Google Shape;210;p35">
            <a:extLst>
              <a:ext uri="{FF2B5EF4-FFF2-40B4-BE49-F238E27FC236}">
                <a16:creationId xmlns:a16="http://schemas.microsoft.com/office/drawing/2014/main" id="{475943A3-5277-ABFF-8DBD-BCC09A211535}"/>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pic>
        <p:nvPicPr>
          <p:cNvPr id="16" name="Google Shape;19;p3">
            <a:extLst>
              <a:ext uri="{FF2B5EF4-FFF2-40B4-BE49-F238E27FC236}">
                <a16:creationId xmlns:a16="http://schemas.microsoft.com/office/drawing/2014/main" id="{C86B5E40-D5C8-2D9E-3442-F63F4068E76D}"/>
              </a:ext>
            </a:extLst>
          </p:cNvPr>
          <p:cNvPicPr preferRelativeResize="0"/>
          <p:nvPr userDrawn="1"/>
        </p:nvPicPr>
        <p:blipFill>
          <a:blip r:embed="rId9"/>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65491669"/>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Lst>
  <p:transition>
    <p:fade/>
  </p:transition>
  <p:hf hdr="0"/>
  <p:txStyles>
    <p:titleStyle>
      <a:lvl1pPr algn="l" defTabSz="914377" rtl="0" eaLnBrk="1" latinLnBrk="0" hangingPunct="1">
        <a:lnSpc>
          <a:spcPct val="90000"/>
        </a:lnSpc>
        <a:spcBef>
          <a:spcPct val="0"/>
        </a:spcBef>
        <a:buNone/>
        <a:defRPr sz="1600" b="1" kern="1200" cap="all" baseline="0">
          <a:solidFill>
            <a:schemeClr val="accent1"/>
          </a:solidFill>
          <a:latin typeface="+mj-lt"/>
          <a:ea typeface="+mj-ea"/>
          <a:cs typeface="+mj-cs"/>
        </a:defRPr>
      </a:lvl1pPr>
    </p:titleStyle>
    <p:bodyStyle>
      <a:lvl1pPr marL="0" indent="0" algn="just" defTabSz="914377" rtl="0" eaLnBrk="1" latinLnBrk="0" hangingPunct="1">
        <a:lnSpc>
          <a:spcPct val="100000"/>
        </a:lnSpc>
        <a:spcBef>
          <a:spcPts val="0"/>
        </a:spcBef>
        <a:spcAft>
          <a:spcPts val="600"/>
        </a:spcAft>
        <a:buFont typeface="Arial" panose="020B0604020202020204" pitchFamily="34" charset="0"/>
        <a:buNone/>
        <a:defRPr sz="1600" b="1" kern="1200" cap="all" baseline="0">
          <a:solidFill>
            <a:schemeClr val="accent2"/>
          </a:solidFill>
          <a:latin typeface="+mn-lt"/>
          <a:ea typeface="+mn-ea"/>
          <a:cs typeface="+mn-cs"/>
        </a:defRPr>
      </a:lvl1pPr>
      <a:lvl2pPr marL="0" indent="0" algn="just" defTabSz="914377" rtl="0" eaLnBrk="1" latinLnBrk="0" hangingPunct="1">
        <a:lnSpc>
          <a:spcPct val="100000"/>
        </a:lnSpc>
        <a:spcBef>
          <a:spcPts val="600"/>
        </a:spcBef>
        <a:buFont typeface="Arial" panose="020B0604020202020204" pitchFamily="34" charset="0"/>
        <a:buNone/>
        <a:tabLst>
          <a:tab pos="1431890" algn="l"/>
        </a:tabLst>
        <a:defRPr sz="1600" kern="1200">
          <a:solidFill>
            <a:schemeClr val="tx1">
              <a:lumMod val="50000"/>
              <a:lumOff val="50000"/>
            </a:schemeClr>
          </a:solidFill>
          <a:latin typeface="+mn-lt"/>
          <a:ea typeface="+mn-ea"/>
          <a:cs typeface="+mn-cs"/>
        </a:defRPr>
      </a:lvl2pPr>
      <a:lvl3pPr marL="630223" indent="-228594" algn="just" defTabSz="914377" rtl="0" eaLnBrk="1" latinLnBrk="0" hangingPunct="1">
        <a:lnSpc>
          <a:spcPct val="100000"/>
        </a:lnSpc>
        <a:spcBef>
          <a:spcPts val="600"/>
        </a:spcBef>
        <a:buFont typeface="Arial" panose="020B0604020202020204" pitchFamily="34" charset="0"/>
        <a:buChar char="•"/>
        <a:tabLst>
          <a:tab pos="1431890" algn="l"/>
        </a:tabLst>
        <a:defRPr sz="1400" kern="1200">
          <a:solidFill>
            <a:schemeClr val="tx1">
              <a:lumMod val="50000"/>
              <a:lumOff val="50000"/>
            </a:schemeClr>
          </a:solidFill>
          <a:latin typeface="+mn-lt"/>
          <a:ea typeface="+mn-ea"/>
          <a:cs typeface="+mn-cs"/>
        </a:defRPr>
      </a:lvl3pPr>
      <a:lvl4pPr marL="982638" indent="-228594" algn="just" defTabSz="914377" rtl="0" eaLnBrk="1" latinLnBrk="0" hangingPunct="1">
        <a:lnSpc>
          <a:spcPct val="100000"/>
        </a:lnSpc>
        <a:spcBef>
          <a:spcPts val="600"/>
        </a:spcBef>
        <a:buFont typeface="Arial" panose="020B0604020202020204" pitchFamily="34" charset="0"/>
        <a:buChar char="•"/>
        <a:tabLst>
          <a:tab pos="1431890" algn="l"/>
        </a:tabLst>
        <a:defRPr sz="1200" kern="1200">
          <a:solidFill>
            <a:schemeClr val="tx1">
              <a:lumMod val="50000"/>
              <a:lumOff val="50000"/>
            </a:schemeClr>
          </a:solidFill>
          <a:latin typeface="+mn-lt"/>
          <a:ea typeface="+mn-ea"/>
          <a:cs typeface="+mn-cs"/>
        </a:defRPr>
      </a:lvl4pPr>
      <a:lvl5pPr marL="1431890" indent="-228594" algn="just" defTabSz="914377" rtl="0" eaLnBrk="1" latinLnBrk="0" hangingPunct="1">
        <a:lnSpc>
          <a:spcPct val="100000"/>
        </a:lnSpc>
        <a:spcBef>
          <a:spcPts val="600"/>
        </a:spcBef>
        <a:buFont typeface="Arial" panose="020B0604020202020204" pitchFamily="34" charset="0"/>
        <a:buChar char="•"/>
        <a:tabLst>
          <a:tab pos="1431890" algn="l"/>
        </a:tabLst>
        <a:defRPr sz="1200" kern="1200">
          <a:solidFill>
            <a:schemeClr val="tx1">
              <a:lumMod val="50000"/>
              <a:lumOff val="5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3929">
          <p15:clr>
            <a:srgbClr val="F26B43"/>
          </p15:clr>
        </p15:guide>
        <p15:guide id="4" orient="horz" pos="799">
          <p15:clr>
            <a:srgbClr val="F26B43"/>
          </p15:clr>
        </p15:guide>
        <p15:guide id="5" pos="7287">
          <p15:clr>
            <a:srgbClr val="F26B43"/>
          </p15:clr>
        </p15:guide>
        <p15:guide id="6" pos="39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a:p>
        </p:txBody>
      </p:sp>
    </p:spTree>
    <p:extLst>
      <p:ext uri="{BB962C8B-B14F-4D97-AF65-F5344CB8AC3E}">
        <p14:creationId xmlns:p14="http://schemas.microsoft.com/office/powerpoint/2010/main" val="4016139993"/>
      </p:ext>
    </p:extLst>
  </p:cSld>
  <p:clrMap bg1="lt1" tx1="dk1" bg2="dk2" tx2="lt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6" r:id="rId36"/>
    <p:sldLayoutId id="2147483897" r:id="rId37"/>
    <p:sldLayoutId id="2147483898" r:id="rId38"/>
    <p:sldLayoutId id="2147483899" r:id="rId39"/>
    <p:sldLayoutId id="2147483900" r:id="rId40"/>
    <p:sldLayoutId id="2147483901" r:id="rId41"/>
    <p:sldLayoutId id="2147483902" r:id="rId42"/>
    <p:sldLayoutId id="2147483903" r:id="rId43"/>
    <p:sldLayoutId id="2147483904" r:id="rId44"/>
    <p:sldLayoutId id="2147483905" r:id="rId45"/>
    <p:sldLayoutId id="2147483906" r:id="rId46"/>
    <p:sldLayoutId id="2147483907" r:id="rId47"/>
    <p:sldLayoutId id="2147483908" r:id="rId48"/>
    <p:sldLayoutId id="2147483909" r:id="rId49"/>
    <p:sldLayoutId id="2147483910" r:id="rId50"/>
    <p:sldLayoutId id="2147483911" r:id="rId51"/>
    <p:sldLayoutId id="2147483912" r:id="rId52"/>
    <p:sldLayoutId id="2147483913" r:id="rId53"/>
    <p:sldLayoutId id="2147483914" r:id="rId54"/>
    <p:sldLayoutId id="2147483915" r:id="rId55"/>
    <p:sldLayoutId id="2147483916" r:id="rId56"/>
    <p:sldLayoutId id="2147483917" r:id="rId57"/>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DC588F-ABC1-4471-9C42-42C28E1EE132}"/>
              </a:ext>
            </a:extLst>
          </p:cNvPr>
          <p:cNvGraphicFramePr>
            <a:graphicFrameLocks noChangeAspect="1"/>
          </p:cNvGraphicFramePr>
          <p:nvPr userDrawn="1">
            <p:custDataLst>
              <p:tags r:id="rId1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12" imgW="384" imgH="384" progId="TCLayout.ActiveDocument.1">
                  <p:embed/>
                </p:oleObj>
              </mc:Choice>
              <mc:Fallback>
                <p:oleObj name="Diapositive think-cell" r:id="rId12" imgW="384" imgH="384" progId="TCLayout.ActiveDocument.1">
                  <p:embed/>
                  <p:pic>
                    <p:nvPicPr>
                      <p:cNvPr id="8" name="Objet 7" hidden="1">
                        <a:extLst>
                          <a:ext uri="{FF2B5EF4-FFF2-40B4-BE49-F238E27FC236}">
                            <a16:creationId xmlns:a16="http://schemas.microsoft.com/office/drawing/2014/main" id="{05DC588F-ABC1-4471-9C42-42C28E1EE132}"/>
                          </a:ext>
                        </a:extLst>
                      </p:cNvPr>
                      <p:cNvPicPr/>
                      <p:nvPr/>
                    </p:nvPicPr>
                    <p:blipFill>
                      <a:blip r:embed="rId13"/>
                      <a:stretch>
                        <a:fillRect/>
                      </a:stretch>
                    </p:blipFill>
                    <p:spPr>
                      <a:xfrm>
                        <a:off x="2120" y="2120"/>
                        <a:ext cx="2117" cy="2117"/>
                      </a:xfrm>
                      <a:prstGeom prst="rect">
                        <a:avLst/>
                      </a:prstGeom>
                    </p:spPr>
                  </p:pic>
                </p:oleObj>
              </mc:Fallback>
            </mc:AlternateContent>
          </a:graphicData>
        </a:graphic>
      </p:graphicFrame>
      <p:pic>
        <p:nvPicPr>
          <p:cNvPr id="3" name="Image 2">
            <a:extLst>
              <a:ext uri="{FF2B5EF4-FFF2-40B4-BE49-F238E27FC236}">
                <a16:creationId xmlns:a16="http://schemas.microsoft.com/office/drawing/2014/main" id="{8B9D9476-DA41-4080-98DA-00EE472F0F0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554513" y="322411"/>
            <a:ext cx="1229681" cy="587219"/>
          </a:xfrm>
          <a:prstGeom prst="rect">
            <a:avLst/>
          </a:prstGeom>
        </p:spPr>
      </p:pic>
    </p:spTree>
    <p:extLst>
      <p:ext uri="{BB962C8B-B14F-4D97-AF65-F5344CB8AC3E}">
        <p14:creationId xmlns:p14="http://schemas.microsoft.com/office/powerpoint/2010/main" val="1847441422"/>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Lst>
  <p:hf sldNum="0" hdr="0" dt="0"/>
  <p:txStyles>
    <p:titleStyle>
      <a:lvl1pPr algn="l" defTabSz="1219080" rtl="0" eaLnBrk="1" latinLnBrk="0" hangingPunct="1">
        <a:lnSpc>
          <a:spcPct val="90000"/>
        </a:lnSpc>
        <a:spcBef>
          <a:spcPct val="0"/>
        </a:spcBef>
        <a:buNone/>
        <a:defRPr sz="1867" b="1" kern="1200">
          <a:solidFill>
            <a:schemeClr val="accent1"/>
          </a:solidFill>
          <a:latin typeface="Montserrat" panose="00000500000000000000"/>
          <a:ea typeface="+mj-ea"/>
          <a:cs typeface="+mj-cs"/>
        </a:defRPr>
      </a:lvl1pPr>
    </p:titleStyle>
    <p:bodyStyle>
      <a:lvl1pPr marL="0" indent="0" algn="l" defTabSz="1219080" rtl="0" eaLnBrk="1" latinLnBrk="0" hangingPunct="1">
        <a:lnSpc>
          <a:spcPct val="90000"/>
        </a:lnSpc>
        <a:spcBef>
          <a:spcPts val="1333"/>
        </a:spcBef>
        <a:buFont typeface="Arial" panose="020B0604020202020204" pitchFamily="34" charset="0"/>
        <a:buNone/>
        <a:defRPr sz="1200" b="1" kern="1200">
          <a:solidFill>
            <a:schemeClr val="accent1"/>
          </a:solidFill>
          <a:latin typeface="+mj-lt"/>
          <a:ea typeface="+mn-ea"/>
          <a:cs typeface="+mn-cs"/>
        </a:defRPr>
      </a:lvl1pPr>
      <a:lvl2pPr marL="0" indent="0" algn="l" defTabSz="1219080" rtl="0" eaLnBrk="1" latinLnBrk="0" hangingPunct="1">
        <a:lnSpc>
          <a:spcPct val="90000"/>
        </a:lnSpc>
        <a:spcBef>
          <a:spcPts val="667"/>
        </a:spcBef>
        <a:buFont typeface="Arial" panose="020B0604020202020204" pitchFamily="34" charset="0"/>
        <a:buNone/>
        <a:defRPr sz="1200" kern="1200">
          <a:solidFill>
            <a:schemeClr val="tx2"/>
          </a:solidFill>
          <a:latin typeface="+mj-lt"/>
          <a:ea typeface="+mn-ea"/>
          <a:cs typeface="+mn-cs"/>
        </a:defRPr>
      </a:lvl2pPr>
      <a:lvl3pPr marL="152384" indent="-152384" algn="l" defTabSz="1219080" rtl="0" eaLnBrk="1" latinLnBrk="0" hangingPunct="1">
        <a:lnSpc>
          <a:spcPct val="90000"/>
        </a:lnSpc>
        <a:spcBef>
          <a:spcPts val="667"/>
        </a:spcBef>
        <a:buClr>
          <a:schemeClr val="accent1"/>
        </a:buClr>
        <a:buFont typeface="Arial" panose="020B0604020202020204" pitchFamily="34" charset="0"/>
        <a:buChar char="•"/>
        <a:defRPr sz="1200" kern="1200">
          <a:solidFill>
            <a:schemeClr val="tx2"/>
          </a:solidFill>
          <a:latin typeface="+mj-lt"/>
          <a:ea typeface="+mn-ea"/>
          <a:cs typeface="+mn-cs"/>
        </a:defRPr>
      </a:lvl3pPr>
      <a:lvl4pPr marL="1828618" indent="0" algn="l" defTabSz="121908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4pPr>
      <a:lvl5pPr marL="2438158" indent="0" algn="l" defTabSz="121908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5pPr>
      <a:lvl6pPr marL="335246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5"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4.xml"/><Relationship Id="rId1" Type="http://schemas.openxmlformats.org/officeDocument/2006/relationships/slideLayout" Target="../slideLayouts/slideLayout193.xml"/><Relationship Id="rId6" Type="http://schemas.openxmlformats.org/officeDocument/2006/relationships/image" Target="../media/image89.svg"/><Relationship Id="rId5" Type="http://schemas.openxmlformats.org/officeDocument/2006/relationships/image" Target="../media/image88.png"/><Relationship Id="rId10" Type="http://schemas.openxmlformats.org/officeDocument/2006/relationships/image" Target="../media/image93.svg"/><Relationship Id="rId4" Type="http://schemas.openxmlformats.org/officeDocument/2006/relationships/image" Target="../media/image87.svg"/><Relationship Id="rId9" Type="http://schemas.openxmlformats.org/officeDocument/2006/relationships/image" Target="../media/image9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95.svg"/><Relationship Id="rId7" Type="http://schemas.openxmlformats.org/officeDocument/2006/relationships/image" Target="../media/image99.svg"/><Relationship Id="rId2" Type="http://schemas.openxmlformats.org/officeDocument/2006/relationships/image" Target="../media/image94.png"/><Relationship Id="rId1" Type="http://schemas.openxmlformats.org/officeDocument/2006/relationships/slideLayout" Target="../slideLayouts/slideLayout40.xml"/><Relationship Id="rId6" Type="http://schemas.openxmlformats.org/officeDocument/2006/relationships/image" Target="../media/image98.png"/><Relationship Id="rId5" Type="http://schemas.openxmlformats.org/officeDocument/2006/relationships/image" Target="../media/image97.svg"/><Relationship Id="rId4" Type="http://schemas.openxmlformats.org/officeDocument/2006/relationships/image" Target="../media/image96.png"/></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svg"/><Relationship Id="rId18" Type="http://schemas.openxmlformats.org/officeDocument/2006/relationships/image" Target="../media/image116.png"/><Relationship Id="rId3" Type="http://schemas.openxmlformats.org/officeDocument/2006/relationships/image" Target="../media/image101.svg"/><Relationship Id="rId21" Type="http://schemas.openxmlformats.org/officeDocument/2006/relationships/image" Target="../media/image119.svg"/><Relationship Id="rId7" Type="http://schemas.openxmlformats.org/officeDocument/2006/relationships/image" Target="../media/image105.svg"/><Relationship Id="rId12" Type="http://schemas.openxmlformats.org/officeDocument/2006/relationships/image" Target="../media/image110.png"/><Relationship Id="rId17" Type="http://schemas.openxmlformats.org/officeDocument/2006/relationships/image" Target="../media/image115.svg"/><Relationship Id="rId2" Type="http://schemas.openxmlformats.org/officeDocument/2006/relationships/image" Target="../media/image100.png"/><Relationship Id="rId16" Type="http://schemas.openxmlformats.org/officeDocument/2006/relationships/image" Target="../media/image114.png"/><Relationship Id="rId20" Type="http://schemas.openxmlformats.org/officeDocument/2006/relationships/image" Target="../media/image118.png"/><Relationship Id="rId1" Type="http://schemas.openxmlformats.org/officeDocument/2006/relationships/slideLayout" Target="../slideLayouts/slideLayout40.xml"/><Relationship Id="rId6" Type="http://schemas.openxmlformats.org/officeDocument/2006/relationships/image" Target="../media/image104.png"/><Relationship Id="rId11" Type="http://schemas.openxmlformats.org/officeDocument/2006/relationships/image" Target="../media/image109.svg"/><Relationship Id="rId5" Type="http://schemas.openxmlformats.org/officeDocument/2006/relationships/image" Target="../media/image103.svg"/><Relationship Id="rId15" Type="http://schemas.openxmlformats.org/officeDocument/2006/relationships/image" Target="../media/image113.svg"/><Relationship Id="rId10" Type="http://schemas.openxmlformats.org/officeDocument/2006/relationships/image" Target="../media/image108.png"/><Relationship Id="rId19" Type="http://schemas.openxmlformats.org/officeDocument/2006/relationships/image" Target="../media/image117.svg"/><Relationship Id="rId4" Type="http://schemas.openxmlformats.org/officeDocument/2006/relationships/image" Target="../media/image102.png"/><Relationship Id="rId9" Type="http://schemas.openxmlformats.org/officeDocument/2006/relationships/image" Target="../media/image107.svg"/><Relationship Id="rId14" Type="http://schemas.openxmlformats.org/officeDocument/2006/relationships/image" Target="../media/image112.png"/></Relationships>
</file>

<file path=ppt/slides/_rels/slide15.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72.jpeg"/><Relationship Id="rId7" Type="http://schemas.openxmlformats.org/officeDocument/2006/relationships/image" Target="../media/image123.png"/><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image" Target="../media/image122.png"/><Relationship Id="rId11" Type="http://schemas.openxmlformats.org/officeDocument/2006/relationships/image" Target="../media/image127.sv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16.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svg"/><Relationship Id="rId18" Type="http://schemas.openxmlformats.org/officeDocument/2006/relationships/image" Target="../media/image144.png"/><Relationship Id="rId3" Type="http://schemas.openxmlformats.org/officeDocument/2006/relationships/image" Target="../media/image129.svg"/><Relationship Id="rId7" Type="http://schemas.openxmlformats.org/officeDocument/2006/relationships/image" Target="../media/image133.svg"/><Relationship Id="rId12" Type="http://schemas.openxmlformats.org/officeDocument/2006/relationships/image" Target="../media/image138.png"/><Relationship Id="rId17" Type="http://schemas.openxmlformats.org/officeDocument/2006/relationships/image" Target="../media/image143.svg"/><Relationship Id="rId2" Type="http://schemas.openxmlformats.org/officeDocument/2006/relationships/image" Target="../media/image128.png"/><Relationship Id="rId16" Type="http://schemas.openxmlformats.org/officeDocument/2006/relationships/image" Target="../media/image142.png"/><Relationship Id="rId1" Type="http://schemas.openxmlformats.org/officeDocument/2006/relationships/slideLayout" Target="../slideLayouts/slideLayout44.xml"/><Relationship Id="rId6" Type="http://schemas.openxmlformats.org/officeDocument/2006/relationships/image" Target="../media/image132.png"/><Relationship Id="rId11" Type="http://schemas.openxmlformats.org/officeDocument/2006/relationships/image" Target="../media/image137.svg"/><Relationship Id="rId5" Type="http://schemas.openxmlformats.org/officeDocument/2006/relationships/image" Target="../media/image131.svg"/><Relationship Id="rId15" Type="http://schemas.openxmlformats.org/officeDocument/2006/relationships/image" Target="../media/image141.svg"/><Relationship Id="rId10" Type="http://schemas.openxmlformats.org/officeDocument/2006/relationships/image" Target="../media/image136.png"/><Relationship Id="rId19" Type="http://schemas.openxmlformats.org/officeDocument/2006/relationships/image" Target="../media/image145.svg"/><Relationship Id="rId4" Type="http://schemas.openxmlformats.org/officeDocument/2006/relationships/image" Target="../media/image130.png"/><Relationship Id="rId9" Type="http://schemas.openxmlformats.org/officeDocument/2006/relationships/image" Target="../media/image135.svg"/><Relationship Id="rId14" Type="http://schemas.openxmlformats.org/officeDocument/2006/relationships/image" Target="../media/image14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3" Type="http://schemas.openxmlformats.org/officeDocument/2006/relationships/image" Target="../media/image156.svg"/><Relationship Id="rId18" Type="http://schemas.openxmlformats.org/officeDocument/2006/relationships/image" Target="../media/image161.png"/><Relationship Id="rId26" Type="http://schemas.openxmlformats.org/officeDocument/2006/relationships/image" Target="../media/image169.png"/><Relationship Id="rId39" Type="http://schemas.openxmlformats.org/officeDocument/2006/relationships/image" Target="../media/image182.png"/><Relationship Id="rId21" Type="http://schemas.openxmlformats.org/officeDocument/2006/relationships/image" Target="../media/image164.svg"/><Relationship Id="rId34" Type="http://schemas.openxmlformats.org/officeDocument/2006/relationships/image" Target="../media/image177.svg"/><Relationship Id="rId42" Type="http://schemas.openxmlformats.org/officeDocument/2006/relationships/image" Target="../media/image185.svg"/><Relationship Id="rId7" Type="http://schemas.openxmlformats.org/officeDocument/2006/relationships/image" Target="../media/image150.png"/><Relationship Id="rId2" Type="http://schemas.openxmlformats.org/officeDocument/2006/relationships/notesSlide" Target="../notesSlides/notesSlide6.xml"/><Relationship Id="rId16" Type="http://schemas.openxmlformats.org/officeDocument/2006/relationships/image" Target="../media/image159.png"/><Relationship Id="rId29" Type="http://schemas.openxmlformats.org/officeDocument/2006/relationships/image" Target="../media/image172.png"/><Relationship Id="rId1" Type="http://schemas.openxmlformats.org/officeDocument/2006/relationships/slideLayout" Target="../slideLayouts/slideLayout40.xml"/><Relationship Id="rId6" Type="http://schemas.openxmlformats.org/officeDocument/2006/relationships/image" Target="../media/image149.svg"/><Relationship Id="rId11" Type="http://schemas.openxmlformats.org/officeDocument/2006/relationships/image" Target="../media/image154.svg"/><Relationship Id="rId24" Type="http://schemas.openxmlformats.org/officeDocument/2006/relationships/image" Target="../media/image167.emf"/><Relationship Id="rId32" Type="http://schemas.openxmlformats.org/officeDocument/2006/relationships/image" Target="../media/image175.svg"/><Relationship Id="rId37" Type="http://schemas.openxmlformats.org/officeDocument/2006/relationships/image" Target="../media/image180.png"/><Relationship Id="rId40" Type="http://schemas.openxmlformats.org/officeDocument/2006/relationships/image" Target="../media/image183.svg"/><Relationship Id="rId45" Type="http://schemas.openxmlformats.org/officeDocument/2006/relationships/image" Target="../media/image188.png"/><Relationship Id="rId5" Type="http://schemas.openxmlformats.org/officeDocument/2006/relationships/image" Target="../media/image148.png"/><Relationship Id="rId15" Type="http://schemas.openxmlformats.org/officeDocument/2006/relationships/image" Target="../media/image158.svg"/><Relationship Id="rId23" Type="http://schemas.openxmlformats.org/officeDocument/2006/relationships/image" Target="../media/image166.svg"/><Relationship Id="rId28" Type="http://schemas.openxmlformats.org/officeDocument/2006/relationships/image" Target="../media/image171.svg"/><Relationship Id="rId36" Type="http://schemas.openxmlformats.org/officeDocument/2006/relationships/image" Target="../media/image179.svg"/><Relationship Id="rId10" Type="http://schemas.openxmlformats.org/officeDocument/2006/relationships/image" Target="../media/image153.svg"/><Relationship Id="rId19" Type="http://schemas.openxmlformats.org/officeDocument/2006/relationships/image" Target="../media/image162.svg"/><Relationship Id="rId31" Type="http://schemas.openxmlformats.org/officeDocument/2006/relationships/image" Target="../media/image174.png"/><Relationship Id="rId44" Type="http://schemas.openxmlformats.org/officeDocument/2006/relationships/image" Target="../media/image187.svg"/><Relationship Id="rId4" Type="http://schemas.openxmlformats.org/officeDocument/2006/relationships/image" Target="../media/image147.svg"/><Relationship Id="rId9" Type="http://schemas.openxmlformats.org/officeDocument/2006/relationships/image" Target="../media/image152.png"/><Relationship Id="rId14" Type="http://schemas.openxmlformats.org/officeDocument/2006/relationships/image" Target="../media/image157.png"/><Relationship Id="rId22" Type="http://schemas.openxmlformats.org/officeDocument/2006/relationships/image" Target="../media/image165.png"/><Relationship Id="rId27" Type="http://schemas.openxmlformats.org/officeDocument/2006/relationships/image" Target="../media/image170.png"/><Relationship Id="rId30" Type="http://schemas.openxmlformats.org/officeDocument/2006/relationships/image" Target="../media/image173.svg"/><Relationship Id="rId35" Type="http://schemas.openxmlformats.org/officeDocument/2006/relationships/image" Target="../media/image178.png"/><Relationship Id="rId43" Type="http://schemas.openxmlformats.org/officeDocument/2006/relationships/image" Target="../media/image186.png"/><Relationship Id="rId8" Type="http://schemas.openxmlformats.org/officeDocument/2006/relationships/image" Target="../media/image151.svg"/><Relationship Id="rId3" Type="http://schemas.openxmlformats.org/officeDocument/2006/relationships/image" Target="../media/image146.png"/><Relationship Id="rId12" Type="http://schemas.openxmlformats.org/officeDocument/2006/relationships/image" Target="../media/image155.png"/><Relationship Id="rId17" Type="http://schemas.openxmlformats.org/officeDocument/2006/relationships/image" Target="../media/image160.svg"/><Relationship Id="rId25" Type="http://schemas.openxmlformats.org/officeDocument/2006/relationships/image" Target="../media/image168.png"/><Relationship Id="rId33" Type="http://schemas.openxmlformats.org/officeDocument/2006/relationships/image" Target="../media/image176.png"/><Relationship Id="rId38" Type="http://schemas.openxmlformats.org/officeDocument/2006/relationships/image" Target="../media/image181.svg"/><Relationship Id="rId20" Type="http://schemas.openxmlformats.org/officeDocument/2006/relationships/image" Target="../media/image163.png"/><Relationship Id="rId41" Type="http://schemas.openxmlformats.org/officeDocument/2006/relationships/image" Target="../media/image184.png"/></Relationships>
</file>

<file path=ppt/slides/_rels/slide19.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90.sv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89.png"/><Relationship Id="rId5" Type="http://schemas.openxmlformats.org/officeDocument/2006/relationships/notesSlide" Target="../notesSlides/notesSlide7.xml"/><Relationship Id="rId4"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61.emf"/><Relationship Id="rId5" Type="http://schemas.openxmlformats.org/officeDocument/2006/relationships/image" Target="../media/image60.png"/><Relationship Id="rId4" Type="http://schemas.openxmlformats.org/officeDocument/2006/relationships/image" Target="../media/image59.png"/></Relationships>
</file>

<file path=ppt/slides/_rels/slide20.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image" Target="../media/image201.pn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svg"/><Relationship Id="rId2" Type="http://schemas.openxmlformats.org/officeDocument/2006/relationships/notesSlide" Target="../notesSlides/notesSlide8.xml"/><Relationship Id="rId1" Type="http://schemas.openxmlformats.org/officeDocument/2006/relationships/slideLayout" Target="../slideLayouts/slideLayout40.xml"/><Relationship Id="rId6" Type="http://schemas.openxmlformats.org/officeDocument/2006/relationships/image" Target="../media/image194.svg"/><Relationship Id="rId11" Type="http://schemas.openxmlformats.org/officeDocument/2006/relationships/image" Target="../media/image199.png"/><Relationship Id="rId5" Type="http://schemas.openxmlformats.org/officeDocument/2006/relationships/image" Target="../media/image193.png"/><Relationship Id="rId10" Type="http://schemas.openxmlformats.org/officeDocument/2006/relationships/image" Target="../media/image198.svg"/><Relationship Id="rId4" Type="http://schemas.openxmlformats.org/officeDocument/2006/relationships/image" Target="../media/image192.svg"/><Relationship Id="rId9" Type="http://schemas.openxmlformats.org/officeDocument/2006/relationships/image" Target="../media/image197.png"/><Relationship Id="rId14" Type="http://schemas.openxmlformats.org/officeDocument/2006/relationships/image" Target="../media/image202.png"/></Relationships>
</file>

<file path=ppt/slides/_rels/slide21.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03.png"/><Relationship Id="rId7" Type="http://schemas.openxmlformats.org/officeDocument/2006/relationships/image" Target="../media/image207.png"/><Relationship Id="rId2" Type="http://schemas.openxmlformats.org/officeDocument/2006/relationships/notesSlide" Target="../notesSlides/notesSlide9.xml"/><Relationship Id="rId1" Type="http://schemas.openxmlformats.org/officeDocument/2006/relationships/slideLayout" Target="../slideLayouts/slideLayout40.xml"/><Relationship Id="rId6" Type="http://schemas.openxmlformats.org/officeDocument/2006/relationships/image" Target="../media/image206.jpeg"/><Relationship Id="rId5" Type="http://schemas.openxmlformats.org/officeDocument/2006/relationships/image" Target="../media/image205.jpeg"/><Relationship Id="rId4" Type="http://schemas.openxmlformats.org/officeDocument/2006/relationships/image" Target="../media/image204.png"/></Relationships>
</file>

<file path=ppt/slides/_rels/slide22.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image" Target="../media/image201.png"/><Relationship Id="rId3" Type="http://schemas.openxmlformats.org/officeDocument/2006/relationships/image" Target="../media/image193.png"/><Relationship Id="rId7" Type="http://schemas.openxmlformats.org/officeDocument/2006/relationships/image" Target="../media/image195.png"/><Relationship Id="rId12" Type="http://schemas.openxmlformats.org/officeDocument/2006/relationships/image" Target="../media/image198.svg"/><Relationship Id="rId2" Type="http://schemas.openxmlformats.org/officeDocument/2006/relationships/notesSlide" Target="../notesSlides/notesSlide10.xml"/><Relationship Id="rId1" Type="http://schemas.openxmlformats.org/officeDocument/2006/relationships/slideLayout" Target="../slideLayouts/slideLayout40.xml"/><Relationship Id="rId6" Type="http://schemas.openxmlformats.org/officeDocument/2006/relationships/image" Target="../media/image200.svg"/><Relationship Id="rId11" Type="http://schemas.openxmlformats.org/officeDocument/2006/relationships/image" Target="../media/image197.png"/><Relationship Id="rId5" Type="http://schemas.openxmlformats.org/officeDocument/2006/relationships/image" Target="../media/image199.png"/><Relationship Id="rId10" Type="http://schemas.openxmlformats.org/officeDocument/2006/relationships/image" Target="../media/image192.svg"/><Relationship Id="rId4" Type="http://schemas.openxmlformats.org/officeDocument/2006/relationships/image" Target="../media/image194.svg"/><Relationship Id="rId9" Type="http://schemas.openxmlformats.org/officeDocument/2006/relationships/image" Target="../media/image191.png"/><Relationship Id="rId14" Type="http://schemas.openxmlformats.org/officeDocument/2006/relationships/image" Target="../media/image202.png"/></Relationships>
</file>

<file path=ppt/slides/_rels/slide23.xml.rels><?xml version="1.0" encoding="UTF-8" standalone="yes"?>
<Relationships xmlns="http://schemas.openxmlformats.org/package/2006/relationships"><Relationship Id="rId8" Type="http://schemas.openxmlformats.org/officeDocument/2006/relationships/image" Target="../media/image214.svg"/><Relationship Id="rId13" Type="http://schemas.openxmlformats.org/officeDocument/2006/relationships/image" Target="../media/image219.png"/><Relationship Id="rId18" Type="http://schemas.openxmlformats.org/officeDocument/2006/relationships/image" Target="../media/image224.svg"/><Relationship Id="rId26" Type="http://schemas.openxmlformats.org/officeDocument/2006/relationships/image" Target="../media/image188.png"/><Relationship Id="rId3" Type="http://schemas.openxmlformats.org/officeDocument/2006/relationships/image" Target="../media/image209.png"/><Relationship Id="rId21" Type="http://schemas.openxmlformats.org/officeDocument/2006/relationships/image" Target="../media/image227.png"/><Relationship Id="rId7" Type="http://schemas.openxmlformats.org/officeDocument/2006/relationships/image" Target="../media/image213.png"/><Relationship Id="rId12" Type="http://schemas.openxmlformats.org/officeDocument/2006/relationships/image" Target="../media/image218.svg"/><Relationship Id="rId17" Type="http://schemas.openxmlformats.org/officeDocument/2006/relationships/image" Target="../media/image223.png"/><Relationship Id="rId25" Type="http://schemas.openxmlformats.org/officeDocument/2006/relationships/image" Target="../media/image230.png"/><Relationship Id="rId2" Type="http://schemas.openxmlformats.org/officeDocument/2006/relationships/notesSlide" Target="../notesSlides/notesSlide11.xml"/><Relationship Id="rId16" Type="http://schemas.openxmlformats.org/officeDocument/2006/relationships/image" Target="../media/image222.svg"/><Relationship Id="rId20" Type="http://schemas.openxmlformats.org/officeDocument/2006/relationships/image" Target="../media/image226.png"/><Relationship Id="rId1" Type="http://schemas.openxmlformats.org/officeDocument/2006/relationships/slideLayout" Target="../slideLayouts/slideLayout40.xml"/><Relationship Id="rId6" Type="http://schemas.openxmlformats.org/officeDocument/2006/relationships/image" Target="../media/image212.svg"/><Relationship Id="rId11" Type="http://schemas.openxmlformats.org/officeDocument/2006/relationships/image" Target="../media/image217.png"/><Relationship Id="rId24" Type="http://schemas.openxmlformats.org/officeDocument/2006/relationships/image" Target="../media/image229.png"/><Relationship Id="rId5" Type="http://schemas.openxmlformats.org/officeDocument/2006/relationships/image" Target="../media/image211.png"/><Relationship Id="rId15" Type="http://schemas.openxmlformats.org/officeDocument/2006/relationships/image" Target="../media/image221.png"/><Relationship Id="rId23" Type="http://schemas.openxmlformats.org/officeDocument/2006/relationships/image" Target="../media/image228.png"/><Relationship Id="rId10" Type="http://schemas.openxmlformats.org/officeDocument/2006/relationships/image" Target="../media/image216.svg"/><Relationship Id="rId19" Type="http://schemas.openxmlformats.org/officeDocument/2006/relationships/image" Target="../media/image225.emf"/><Relationship Id="rId4" Type="http://schemas.openxmlformats.org/officeDocument/2006/relationships/image" Target="../media/image210.png"/><Relationship Id="rId9" Type="http://schemas.openxmlformats.org/officeDocument/2006/relationships/image" Target="../media/image215.png"/><Relationship Id="rId14" Type="http://schemas.openxmlformats.org/officeDocument/2006/relationships/image" Target="../media/image220.svg"/><Relationship Id="rId22" Type="http://schemas.openxmlformats.org/officeDocument/2006/relationships/image" Target="../media/image167.emf"/></Relationships>
</file>

<file path=ppt/slides/_rels/slide24.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notesSlide" Target="../notesSlides/notesSlide12.xml"/><Relationship Id="rId1" Type="http://schemas.openxmlformats.org/officeDocument/2006/relationships/slideLayout" Target="../slideLayouts/slideLayout40.xml"/><Relationship Id="rId6" Type="http://schemas.openxmlformats.org/officeDocument/2006/relationships/image" Target="../media/image125.png"/><Relationship Id="rId5" Type="http://schemas.openxmlformats.org/officeDocument/2006/relationships/image" Target="../media/image233.png"/><Relationship Id="rId4" Type="http://schemas.openxmlformats.org/officeDocument/2006/relationships/image" Target="../media/image23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image" Target="../media/image201.pn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svg"/><Relationship Id="rId2" Type="http://schemas.openxmlformats.org/officeDocument/2006/relationships/notesSlide" Target="../notesSlides/notesSlide14.xml"/><Relationship Id="rId1" Type="http://schemas.openxmlformats.org/officeDocument/2006/relationships/slideLayout" Target="../slideLayouts/slideLayout40.xml"/><Relationship Id="rId6" Type="http://schemas.openxmlformats.org/officeDocument/2006/relationships/image" Target="../media/image194.svg"/><Relationship Id="rId11" Type="http://schemas.openxmlformats.org/officeDocument/2006/relationships/image" Target="../media/image199.png"/><Relationship Id="rId5" Type="http://schemas.openxmlformats.org/officeDocument/2006/relationships/image" Target="../media/image193.png"/><Relationship Id="rId10" Type="http://schemas.openxmlformats.org/officeDocument/2006/relationships/image" Target="../media/image198.svg"/><Relationship Id="rId4" Type="http://schemas.openxmlformats.org/officeDocument/2006/relationships/image" Target="../media/image192.svg"/><Relationship Id="rId9" Type="http://schemas.openxmlformats.org/officeDocument/2006/relationships/image" Target="../media/image197.png"/><Relationship Id="rId14" Type="http://schemas.openxmlformats.org/officeDocument/2006/relationships/image" Target="../media/image202.png"/></Relationships>
</file>

<file path=ppt/slides/_rels/slide27.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image" Target="../media/image234.png"/><Relationship Id="rId7" Type="http://schemas.openxmlformats.org/officeDocument/2006/relationships/image" Target="../media/image237.png"/><Relationship Id="rId2" Type="http://schemas.openxmlformats.org/officeDocument/2006/relationships/notesSlide" Target="../notesSlides/notesSlide15.xml"/><Relationship Id="rId1" Type="http://schemas.openxmlformats.org/officeDocument/2006/relationships/slideLayout" Target="../slideLayouts/slideLayout40.xml"/><Relationship Id="rId6" Type="http://schemas.openxmlformats.org/officeDocument/2006/relationships/image" Target="../media/image236.png"/><Relationship Id="rId5" Type="http://schemas.openxmlformats.org/officeDocument/2006/relationships/image" Target="../media/image235.emf"/><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239.png"/><Relationship Id="rId2" Type="http://schemas.openxmlformats.org/officeDocument/2006/relationships/tags" Target="../tags/tag105.xml"/><Relationship Id="rId16" Type="http://schemas.openxmlformats.org/officeDocument/2006/relationships/slideLayout" Target="../slideLayouts/slideLayout40.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240.png"/><Relationship Id="rId7" Type="http://schemas.openxmlformats.org/officeDocument/2006/relationships/image" Target="../media/image244.jpeg"/><Relationship Id="rId2" Type="http://schemas.openxmlformats.org/officeDocument/2006/relationships/notesSlide" Target="../notesSlides/notesSlide16.xml"/><Relationship Id="rId1" Type="http://schemas.openxmlformats.org/officeDocument/2006/relationships/slideLayout" Target="../slideLayouts/slideLayout128.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41.png"/></Relationships>
</file>

<file path=ppt/slides/_rels/slide31.xml.rels><?xml version="1.0" encoding="UTF-8" standalone="yes"?>
<Relationships xmlns="http://schemas.openxmlformats.org/package/2006/relationships"><Relationship Id="rId8" Type="http://schemas.openxmlformats.org/officeDocument/2006/relationships/image" Target="../media/image251.emf"/><Relationship Id="rId3" Type="http://schemas.openxmlformats.org/officeDocument/2006/relationships/image" Target="../media/image246.png"/><Relationship Id="rId7" Type="http://schemas.openxmlformats.org/officeDocument/2006/relationships/image" Target="../media/image250.png"/><Relationship Id="rId2" Type="http://schemas.openxmlformats.org/officeDocument/2006/relationships/notesSlide" Target="../notesSlides/notesSlide17.xml"/><Relationship Id="rId1" Type="http://schemas.openxmlformats.org/officeDocument/2006/relationships/slideLayout" Target="../slideLayouts/slideLayout128.xml"/><Relationship Id="rId6" Type="http://schemas.openxmlformats.org/officeDocument/2006/relationships/image" Target="../media/image249.png"/><Relationship Id="rId5" Type="http://schemas.openxmlformats.org/officeDocument/2006/relationships/image" Target="../media/image248.png"/><Relationship Id="rId4" Type="http://schemas.openxmlformats.org/officeDocument/2006/relationships/image" Target="../media/image24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33.xml.rels><?xml version="1.0" encoding="UTF-8" standalone="yes"?>
<Relationships xmlns="http://schemas.openxmlformats.org/package/2006/relationships"><Relationship Id="rId8" Type="http://schemas.openxmlformats.org/officeDocument/2006/relationships/image" Target="../media/image258.png"/><Relationship Id="rId13" Type="http://schemas.openxmlformats.org/officeDocument/2006/relationships/image" Target="../media/image262.jpeg"/><Relationship Id="rId3" Type="http://schemas.openxmlformats.org/officeDocument/2006/relationships/image" Target="../media/image253.jpeg"/><Relationship Id="rId7" Type="http://schemas.openxmlformats.org/officeDocument/2006/relationships/image" Target="../media/image257.jpeg"/><Relationship Id="rId12" Type="http://schemas.openxmlformats.org/officeDocument/2006/relationships/image" Target="../media/image202.png"/><Relationship Id="rId17" Type="http://schemas.openxmlformats.org/officeDocument/2006/relationships/image" Target="../media/image266.png"/><Relationship Id="rId2" Type="http://schemas.openxmlformats.org/officeDocument/2006/relationships/image" Target="../media/image252.jpeg"/><Relationship Id="rId16" Type="http://schemas.openxmlformats.org/officeDocument/2006/relationships/image" Target="../media/image265.png"/><Relationship Id="rId1" Type="http://schemas.openxmlformats.org/officeDocument/2006/relationships/slideLayout" Target="../slideLayouts/slideLayout124.xml"/><Relationship Id="rId6" Type="http://schemas.openxmlformats.org/officeDocument/2006/relationships/image" Target="../media/image256.png"/><Relationship Id="rId11" Type="http://schemas.openxmlformats.org/officeDocument/2006/relationships/image" Target="../media/image261.png"/><Relationship Id="rId5" Type="http://schemas.openxmlformats.org/officeDocument/2006/relationships/image" Target="../media/image255.png"/><Relationship Id="rId15" Type="http://schemas.openxmlformats.org/officeDocument/2006/relationships/image" Target="../media/image264.png"/><Relationship Id="rId10" Type="http://schemas.openxmlformats.org/officeDocument/2006/relationships/image" Target="../media/image260.png"/><Relationship Id="rId4" Type="http://schemas.openxmlformats.org/officeDocument/2006/relationships/image" Target="../media/image254.png"/><Relationship Id="rId9" Type="http://schemas.openxmlformats.org/officeDocument/2006/relationships/image" Target="../media/image259.jpeg"/><Relationship Id="rId14" Type="http://schemas.openxmlformats.org/officeDocument/2006/relationships/image" Target="../media/image263.png"/></Relationships>
</file>

<file path=ppt/slides/_rels/slide34.xml.rels><?xml version="1.0" encoding="UTF-8" standalone="yes"?>
<Relationships xmlns="http://schemas.openxmlformats.org/package/2006/relationships"><Relationship Id="rId3" Type="http://schemas.openxmlformats.org/officeDocument/2006/relationships/image" Target="../media/image268.svg"/><Relationship Id="rId2" Type="http://schemas.openxmlformats.org/officeDocument/2006/relationships/image" Target="../media/image267.png"/><Relationship Id="rId1" Type="http://schemas.openxmlformats.org/officeDocument/2006/relationships/slideLayout" Target="../slideLayouts/slideLayout40.xml"/><Relationship Id="rId6" Type="http://schemas.openxmlformats.org/officeDocument/2006/relationships/image" Target="../media/image202.png"/><Relationship Id="rId5" Type="http://schemas.openxmlformats.org/officeDocument/2006/relationships/image" Target="../media/image261.png"/><Relationship Id="rId4" Type="http://schemas.openxmlformats.org/officeDocument/2006/relationships/image" Target="../media/image26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8" Type="http://schemas.openxmlformats.org/officeDocument/2006/relationships/image" Target="../media/image275.png"/><Relationship Id="rId13" Type="http://schemas.openxmlformats.org/officeDocument/2006/relationships/image" Target="../media/image280.png"/><Relationship Id="rId3" Type="http://schemas.openxmlformats.org/officeDocument/2006/relationships/image" Target="../media/image270.svg"/><Relationship Id="rId7" Type="http://schemas.openxmlformats.org/officeDocument/2006/relationships/image" Target="../media/image274.png"/><Relationship Id="rId12" Type="http://schemas.openxmlformats.org/officeDocument/2006/relationships/image" Target="../media/image279.png"/><Relationship Id="rId2" Type="http://schemas.openxmlformats.org/officeDocument/2006/relationships/image" Target="../media/image269.png"/><Relationship Id="rId16" Type="http://schemas.openxmlformats.org/officeDocument/2006/relationships/image" Target="../media/image266.png"/><Relationship Id="rId1" Type="http://schemas.openxmlformats.org/officeDocument/2006/relationships/slideLayout" Target="../slideLayouts/slideLayout40.xml"/><Relationship Id="rId6" Type="http://schemas.openxmlformats.org/officeDocument/2006/relationships/image" Target="../media/image273.jpeg"/><Relationship Id="rId11" Type="http://schemas.openxmlformats.org/officeDocument/2006/relationships/image" Target="../media/image278.jpeg"/><Relationship Id="rId5" Type="http://schemas.openxmlformats.org/officeDocument/2006/relationships/image" Target="../media/image272.svg"/><Relationship Id="rId15" Type="http://schemas.openxmlformats.org/officeDocument/2006/relationships/image" Target="../media/image282.jpeg"/><Relationship Id="rId10" Type="http://schemas.openxmlformats.org/officeDocument/2006/relationships/image" Target="../media/image277.png"/><Relationship Id="rId4" Type="http://schemas.openxmlformats.org/officeDocument/2006/relationships/image" Target="../media/image271.png"/><Relationship Id="rId9" Type="http://schemas.openxmlformats.org/officeDocument/2006/relationships/image" Target="../media/image276.jpeg"/><Relationship Id="rId14" Type="http://schemas.openxmlformats.org/officeDocument/2006/relationships/image" Target="../media/image281.png"/></Relationships>
</file>

<file path=ppt/slides/_rels/slide37.xml.rels><?xml version="1.0" encoding="UTF-8" standalone="yes"?>
<Relationships xmlns="http://schemas.openxmlformats.org/package/2006/relationships"><Relationship Id="rId8" Type="http://schemas.openxmlformats.org/officeDocument/2006/relationships/image" Target="../media/image269.png"/><Relationship Id="rId3" Type="http://schemas.openxmlformats.org/officeDocument/2006/relationships/image" Target="../media/image283.svg"/><Relationship Id="rId7" Type="http://schemas.openxmlformats.org/officeDocument/2006/relationships/image" Target="../media/image285.png"/><Relationship Id="rId2" Type="http://schemas.openxmlformats.org/officeDocument/2006/relationships/image" Target="../media/image271.png"/><Relationship Id="rId1" Type="http://schemas.openxmlformats.org/officeDocument/2006/relationships/slideLayout" Target="../slideLayouts/slideLayout40.xml"/><Relationship Id="rId6" Type="http://schemas.openxmlformats.org/officeDocument/2006/relationships/image" Target="../media/image282.jpeg"/><Relationship Id="rId5" Type="http://schemas.openxmlformats.org/officeDocument/2006/relationships/image" Target="../media/image266.png"/><Relationship Id="rId4" Type="http://schemas.openxmlformats.org/officeDocument/2006/relationships/image" Target="../media/image284.jpeg"/><Relationship Id="rId9" Type="http://schemas.openxmlformats.org/officeDocument/2006/relationships/image" Target="../media/image270.svg"/></Relationships>
</file>

<file path=ppt/slides/_rels/slide38.xml.rels><?xml version="1.0" encoding="UTF-8" standalone="yes"?>
<Relationships xmlns="http://schemas.openxmlformats.org/package/2006/relationships"><Relationship Id="rId3" Type="http://schemas.openxmlformats.org/officeDocument/2006/relationships/image" Target="../media/image286.svg"/><Relationship Id="rId7" Type="http://schemas.openxmlformats.org/officeDocument/2006/relationships/image" Target="../media/image252.jpeg"/><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287.jpeg"/><Relationship Id="rId5" Type="http://schemas.openxmlformats.org/officeDocument/2006/relationships/image" Target="../media/image283.svg"/><Relationship Id="rId4" Type="http://schemas.openxmlformats.org/officeDocument/2006/relationships/image" Target="../media/image271.png"/></Relationships>
</file>

<file path=ppt/slides/_rels/slide39.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6.svg"/><Relationship Id="rId7" Type="http://schemas.openxmlformats.org/officeDocument/2006/relationships/image" Target="../media/image288.png"/><Relationship Id="rId12" Type="http://schemas.openxmlformats.org/officeDocument/2006/relationships/image" Target="../media/image292.png"/><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287.jpeg"/><Relationship Id="rId11" Type="http://schemas.openxmlformats.org/officeDocument/2006/relationships/image" Target="../media/image291.svg"/><Relationship Id="rId5" Type="http://schemas.openxmlformats.org/officeDocument/2006/relationships/image" Target="../media/image283.svg"/><Relationship Id="rId10" Type="http://schemas.openxmlformats.org/officeDocument/2006/relationships/image" Target="../media/image290.png"/><Relationship Id="rId4" Type="http://schemas.openxmlformats.org/officeDocument/2006/relationships/image" Target="../media/image271.png"/><Relationship Id="rId9" Type="http://schemas.openxmlformats.org/officeDocument/2006/relationships/image" Target="../media/image252.jpeg"/></Relationships>
</file>

<file path=ppt/slides/_rels/slide4.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Layout" Target="../slideLayouts/slideLayout40.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s>
</file>

<file path=ppt/slides/_rels/slide40.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image" Target="../media/image286.svg"/><Relationship Id="rId7" Type="http://schemas.openxmlformats.org/officeDocument/2006/relationships/image" Target="../media/image294.png"/><Relationship Id="rId12" Type="http://schemas.openxmlformats.org/officeDocument/2006/relationships/image" Target="../media/image252.jpeg"/><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293.png"/><Relationship Id="rId11" Type="http://schemas.openxmlformats.org/officeDocument/2006/relationships/image" Target="../media/image297.png"/><Relationship Id="rId5" Type="http://schemas.openxmlformats.org/officeDocument/2006/relationships/image" Target="../media/image283.svg"/><Relationship Id="rId10" Type="http://schemas.openxmlformats.org/officeDocument/2006/relationships/image" Target="../media/image296.jpeg"/><Relationship Id="rId4" Type="http://schemas.openxmlformats.org/officeDocument/2006/relationships/image" Target="../media/image271.png"/><Relationship Id="rId9" Type="http://schemas.openxmlformats.org/officeDocument/2006/relationships/image" Target="../media/image28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8" Type="http://schemas.openxmlformats.org/officeDocument/2006/relationships/image" Target="../media/image300.png"/><Relationship Id="rId3" Type="http://schemas.openxmlformats.org/officeDocument/2006/relationships/image" Target="../media/image286.svg"/><Relationship Id="rId7" Type="http://schemas.openxmlformats.org/officeDocument/2006/relationships/image" Target="../media/image299.png"/><Relationship Id="rId2" Type="http://schemas.openxmlformats.org/officeDocument/2006/relationships/image" Target="../media/image269.png"/><Relationship Id="rId1" Type="http://schemas.openxmlformats.org/officeDocument/2006/relationships/slideLayout" Target="../slideLayouts/slideLayout44.xml"/><Relationship Id="rId6" Type="http://schemas.openxmlformats.org/officeDocument/2006/relationships/image" Target="../media/image298.png"/><Relationship Id="rId5" Type="http://schemas.openxmlformats.org/officeDocument/2006/relationships/image" Target="../media/image283.svg"/><Relationship Id="rId4" Type="http://schemas.openxmlformats.org/officeDocument/2006/relationships/image" Target="../media/image271.png"/><Relationship Id="rId9" Type="http://schemas.openxmlformats.org/officeDocument/2006/relationships/image" Target="../media/image301.png"/></Relationships>
</file>

<file path=ppt/slides/_rels/slide43.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image" Target="../media/image286.svg"/><Relationship Id="rId7" Type="http://schemas.openxmlformats.org/officeDocument/2006/relationships/image" Target="../media/image303.png"/><Relationship Id="rId2" Type="http://schemas.openxmlformats.org/officeDocument/2006/relationships/image" Target="../media/image269.png"/><Relationship Id="rId1" Type="http://schemas.openxmlformats.org/officeDocument/2006/relationships/slideLayout" Target="../slideLayouts/slideLayout44.xml"/><Relationship Id="rId6" Type="http://schemas.openxmlformats.org/officeDocument/2006/relationships/image" Target="../media/image302.png"/><Relationship Id="rId11" Type="http://schemas.openxmlformats.org/officeDocument/2006/relationships/image" Target="../media/image306.png"/><Relationship Id="rId5" Type="http://schemas.openxmlformats.org/officeDocument/2006/relationships/image" Target="../media/image283.svg"/><Relationship Id="rId10" Type="http://schemas.openxmlformats.org/officeDocument/2006/relationships/image" Target="../media/image305.png"/><Relationship Id="rId4" Type="http://schemas.openxmlformats.org/officeDocument/2006/relationships/image" Target="../media/image271.png"/><Relationship Id="rId9" Type="http://schemas.openxmlformats.org/officeDocument/2006/relationships/image" Target="../media/image298.png"/></Relationships>
</file>

<file path=ppt/slides/_rels/slide44.xml.rels><?xml version="1.0" encoding="UTF-8" standalone="yes"?>
<Relationships xmlns="http://schemas.openxmlformats.org/package/2006/relationships"><Relationship Id="rId8" Type="http://schemas.openxmlformats.org/officeDocument/2006/relationships/image" Target="../media/image309.jpeg"/><Relationship Id="rId3" Type="http://schemas.openxmlformats.org/officeDocument/2006/relationships/image" Target="../media/image286.svg"/><Relationship Id="rId7" Type="http://schemas.openxmlformats.org/officeDocument/2006/relationships/image" Target="../media/image308.png"/><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307.png"/><Relationship Id="rId11" Type="http://schemas.openxmlformats.org/officeDocument/2006/relationships/image" Target="../media/image257.jpeg"/><Relationship Id="rId5" Type="http://schemas.openxmlformats.org/officeDocument/2006/relationships/image" Target="../media/image283.svg"/><Relationship Id="rId10" Type="http://schemas.openxmlformats.org/officeDocument/2006/relationships/image" Target="../media/image311.png"/><Relationship Id="rId4" Type="http://schemas.openxmlformats.org/officeDocument/2006/relationships/image" Target="../media/image271.png"/><Relationship Id="rId9" Type="http://schemas.openxmlformats.org/officeDocument/2006/relationships/image" Target="../media/image310.jpeg"/></Relationships>
</file>

<file path=ppt/slides/_rels/slide45.xml.rels><?xml version="1.0" encoding="UTF-8" standalone="yes"?>
<Relationships xmlns="http://schemas.openxmlformats.org/package/2006/relationships"><Relationship Id="rId8" Type="http://schemas.openxmlformats.org/officeDocument/2006/relationships/image" Target="../media/image259.jpeg"/><Relationship Id="rId3" Type="http://schemas.openxmlformats.org/officeDocument/2006/relationships/image" Target="../media/image283.svg"/><Relationship Id="rId7" Type="http://schemas.openxmlformats.org/officeDocument/2006/relationships/image" Target="../media/image313.png"/><Relationship Id="rId2" Type="http://schemas.openxmlformats.org/officeDocument/2006/relationships/image" Target="../media/image271.png"/><Relationship Id="rId1" Type="http://schemas.openxmlformats.org/officeDocument/2006/relationships/slideLayout" Target="../slideLayouts/slideLayout40.xml"/><Relationship Id="rId6" Type="http://schemas.openxmlformats.org/officeDocument/2006/relationships/image" Target="../media/image312.jpeg"/><Relationship Id="rId5" Type="http://schemas.openxmlformats.org/officeDocument/2006/relationships/image" Target="../media/image286.svg"/><Relationship Id="rId4" Type="http://schemas.openxmlformats.org/officeDocument/2006/relationships/image" Target="../media/image269.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8" Type="http://schemas.openxmlformats.org/officeDocument/2006/relationships/image" Target="../media/image316.jpeg"/><Relationship Id="rId13" Type="http://schemas.openxmlformats.org/officeDocument/2006/relationships/image" Target="../media/image286.svg"/><Relationship Id="rId3" Type="http://schemas.openxmlformats.org/officeDocument/2006/relationships/notesSlide" Target="../notesSlides/notesSlide18.xml"/><Relationship Id="rId7" Type="http://schemas.openxmlformats.org/officeDocument/2006/relationships/image" Target="../media/image315.png"/><Relationship Id="rId12" Type="http://schemas.openxmlformats.org/officeDocument/2006/relationships/image" Target="../media/image269.png"/><Relationship Id="rId2" Type="http://schemas.openxmlformats.org/officeDocument/2006/relationships/slideLayout" Target="../slideLayouts/slideLayout40.xml"/><Relationship Id="rId1" Type="http://schemas.openxmlformats.org/officeDocument/2006/relationships/tags" Target="../tags/tag119.xml"/><Relationship Id="rId6" Type="http://schemas.openxmlformats.org/officeDocument/2006/relationships/image" Target="../media/image314.png"/><Relationship Id="rId11" Type="http://schemas.openxmlformats.org/officeDocument/2006/relationships/image" Target="../media/image283.svg"/><Relationship Id="rId5" Type="http://schemas.openxmlformats.org/officeDocument/2006/relationships/image" Target="../media/image1.emf"/><Relationship Id="rId10" Type="http://schemas.openxmlformats.org/officeDocument/2006/relationships/image" Target="../media/image271.png"/><Relationship Id="rId4" Type="http://schemas.openxmlformats.org/officeDocument/2006/relationships/oleObject" Target="../embeddings/oleObject79.bin"/><Relationship Id="rId9" Type="http://schemas.openxmlformats.org/officeDocument/2006/relationships/image" Target="../media/image253.jpeg"/></Relationships>
</file>

<file path=ppt/slides/_rels/slide48.xml.rels><?xml version="1.0" encoding="UTF-8" standalone="yes"?>
<Relationships xmlns="http://schemas.openxmlformats.org/package/2006/relationships"><Relationship Id="rId8" Type="http://schemas.openxmlformats.org/officeDocument/2006/relationships/image" Target="../media/image319.png"/><Relationship Id="rId3" Type="http://schemas.openxmlformats.org/officeDocument/2006/relationships/image" Target="../media/image286.svg"/><Relationship Id="rId7" Type="http://schemas.openxmlformats.org/officeDocument/2006/relationships/image" Target="../media/image318.png"/><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317.png"/><Relationship Id="rId5" Type="http://schemas.openxmlformats.org/officeDocument/2006/relationships/image" Target="../media/image283.svg"/><Relationship Id="rId10" Type="http://schemas.openxmlformats.org/officeDocument/2006/relationships/image" Target="../media/image262.jpeg"/><Relationship Id="rId4" Type="http://schemas.openxmlformats.org/officeDocument/2006/relationships/image" Target="../media/image271.png"/><Relationship Id="rId9" Type="http://schemas.openxmlformats.org/officeDocument/2006/relationships/image" Target="../media/image320.png"/></Relationships>
</file>

<file path=ppt/slides/_rels/slide49.xml.rels><?xml version="1.0" encoding="UTF-8" standalone="yes"?>
<Relationships xmlns="http://schemas.openxmlformats.org/package/2006/relationships"><Relationship Id="rId8" Type="http://schemas.openxmlformats.org/officeDocument/2006/relationships/image" Target="../media/image325.png"/><Relationship Id="rId3" Type="http://schemas.openxmlformats.org/officeDocument/2006/relationships/image" Target="../media/image286.svg"/><Relationship Id="rId7" Type="http://schemas.openxmlformats.org/officeDocument/2006/relationships/image" Target="../media/image324.png"/><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323.jpeg"/><Relationship Id="rId5" Type="http://schemas.openxmlformats.org/officeDocument/2006/relationships/image" Target="../media/image322.png"/><Relationship Id="rId4" Type="http://schemas.openxmlformats.org/officeDocument/2006/relationships/image" Target="../media/image321.png"/><Relationship Id="rId9" Type="http://schemas.openxmlformats.org/officeDocument/2006/relationships/image" Target="../media/image258.png"/></Relationships>
</file>

<file path=ppt/slides/_rels/slide5.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40.xml"/><Relationship Id="rId6" Type="http://schemas.openxmlformats.org/officeDocument/2006/relationships/image" Target="../media/image72.jpeg"/><Relationship Id="rId5" Type="http://schemas.openxmlformats.org/officeDocument/2006/relationships/image" Target="../media/image71.svg"/><Relationship Id="rId4" Type="http://schemas.openxmlformats.org/officeDocument/2006/relationships/image" Target="../media/image70.png"/></Relationships>
</file>

<file path=ppt/slides/_rels/slide50.xml.rels><?xml version="1.0" encoding="UTF-8" standalone="yes"?>
<Relationships xmlns="http://schemas.openxmlformats.org/package/2006/relationships"><Relationship Id="rId8" Type="http://schemas.openxmlformats.org/officeDocument/2006/relationships/image" Target="../media/image328.png"/><Relationship Id="rId13" Type="http://schemas.openxmlformats.org/officeDocument/2006/relationships/image" Target="../media/image283.svg"/><Relationship Id="rId3" Type="http://schemas.openxmlformats.org/officeDocument/2006/relationships/notesSlide" Target="../notesSlides/notesSlide19.xml"/><Relationship Id="rId7" Type="http://schemas.openxmlformats.org/officeDocument/2006/relationships/image" Target="../media/image327.png"/><Relationship Id="rId12" Type="http://schemas.openxmlformats.org/officeDocument/2006/relationships/image" Target="../media/image271.png"/><Relationship Id="rId2" Type="http://schemas.openxmlformats.org/officeDocument/2006/relationships/slideLayout" Target="../slideLayouts/slideLayout40.xml"/><Relationship Id="rId1" Type="http://schemas.openxmlformats.org/officeDocument/2006/relationships/tags" Target="../tags/tag120.xml"/><Relationship Id="rId6" Type="http://schemas.openxmlformats.org/officeDocument/2006/relationships/image" Target="../media/image326.jpeg"/><Relationship Id="rId11" Type="http://schemas.openxmlformats.org/officeDocument/2006/relationships/image" Target="../media/image286.svg"/><Relationship Id="rId5" Type="http://schemas.openxmlformats.org/officeDocument/2006/relationships/image" Target="../media/image1.emf"/><Relationship Id="rId10" Type="http://schemas.openxmlformats.org/officeDocument/2006/relationships/image" Target="../media/image269.png"/><Relationship Id="rId4" Type="http://schemas.openxmlformats.org/officeDocument/2006/relationships/oleObject" Target="../embeddings/oleObject80.bin"/><Relationship Id="rId9" Type="http://schemas.openxmlformats.org/officeDocument/2006/relationships/image" Target="../media/image255.png"/><Relationship Id="rId14" Type="http://schemas.openxmlformats.org/officeDocument/2006/relationships/image" Target="../media/image329.png"/></Relationships>
</file>

<file path=ppt/slides/_rels/slide51.xml.rels><?xml version="1.0" encoding="UTF-8" standalone="yes"?>
<Relationships xmlns="http://schemas.openxmlformats.org/package/2006/relationships"><Relationship Id="rId8" Type="http://schemas.openxmlformats.org/officeDocument/2006/relationships/image" Target="../media/image331.png"/><Relationship Id="rId3" Type="http://schemas.openxmlformats.org/officeDocument/2006/relationships/image" Target="../media/image286.svg"/><Relationship Id="rId7" Type="http://schemas.openxmlformats.org/officeDocument/2006/relationships/image" Target="../media/image251.emf"/><Relationship Id="rId2" Type="http://schemas.openxmlformats.org/officeDocument/2006/relationships/image" Target="../media/image269.png"/><Relationship Id="rId1" Type="http://schemas.openxmlformats.org/officeDocument/2006/relationships/slideLayout" Target="../slideLayouts/slideLayout40.xml"/><Relationship Id="rId6" Type="http://schemas.openxmlformats.org/officeDocument/2006/relationships/image" Target="../media/image330.png"/><Relationship Id="rId5" Type="http://schemas.openxmlformats.org/officeDocument/2006/relationships/image" Target="../media/image283.svg"/><Relationship Id="rId4" Type="http://schemas.openxmlformats.org/officeDocument/2006/relationships/image" Target="../media/image271.png"/><Relationship Id="rId9" Type="http://schemas.openxmlformats.org/officeDocument/2006/relationships/image" Target="../media/image256.png"/></Relationships>
</file>

<file path=ppt/slides/_rels/slide52.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0.xml"/><Relationship Id="rId1" Type="http://schemas.openxmlformats.org/officeDocument/2006/relationships/slideLayout" Target="../slideLayouts/slideLayout87.xml"/><Relationship Id="rId5" Type="http://schemas.openxmlformats.org/officeDocument/2006/relationships/image" Target="../media/image334.png"/><Relationship Id="rId4" Type="http://schemas.openxmlformats.org/officeDocument/2006/relationships/image" Target="../media/image333.png"/></Relationships>
</file>

<file path=ppt/slides/_rels/slide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5.png"/><Relationship Id="rId3" Type="http://schemas.openxmlformats.org/officeDocument/2006/relationships/image" Target="../media/image76.png"/><Relationship Id="rId7" Type="http://schemas.openxmlformats.org/officeDocument/2006/relationships/image" Target="../media/image80.jpeg"/><Relationship Id="rId12" Type="http://schemas.openxmlformats.org/officeDocument/2006/relationships/image" Target="../media/image84.png"/><Relationship Id="rId2" Type="http://schemas.openxmlformats.org/officeDocument/2006/relationships/image" Target="../media/image75.png"/><Relationship Id="rId1" Type="http://schemas.openxmlformats.org/officeDocument/2006/relationships/slideLayout" Target="../slideLayouts/slideLayout40.xml"/><Relationship Id="rId6" Type="http://schemas.openxmlformats.org/officeDocument/2006/relationships/image" Target="../media/image79.png"/><Relationship Id="rId11" Type="http://schemas.openxmlformats.org/officeDocument/2006/relationships/image" Target="../media/image83.png"/><Relationship Id="rId5" Type="http://schemas.openxmlformats.org/officeDocument/2006/relationships/image" Target="../media/image78.png"/><Relationship Id="rId10" Type="http://schemas.openxmlformats.org/officeDocument/2006/relationships/image" Target="../media/image82.png"/><Relationship Id="rId4" Type="http://schemas.openxmlformats.org/officeDocument/2006/relationships/image" Target="../media/image77.png"/><Relationship Id="rId9"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8"/>
        <p:cNvGrpSpPr/>
        <p:nvPr/>
      </p:nvGrpSpPr>
      <p:grpSpPr>
        <a:xfrm>
          <a:off x="0" y="0"/>
          <a:ext cx="0" cy="0"/>
          <a:chOff x="0" y="0"/>
          <a:chExt cx="0" cy="0"/>
        </a:xfrm>
      </p:grpSpPr>
      <p:sp>
        <p:nvSpPr>
          <p:cNvPr id="360" name="Google Shape;360;p48"/>
          <p:cNvSpPr txBox="1"/>
          <p:nvPr/>
        </p:nvSpPr>
        <p:spPr>
          <a:xfrm>
            <a:off x="11102467" y="6676567"/>
            <a:ext cx="4580800" cy="534400"/>
          </a:xfrm>
          <a:prstGeom prst="rect">
            <a:avLst/>
          </a:prstGeom>
          <a:noFill/>
          <a:ln>
            <a:noFill/>
          </a:ln>
        </p:spPr>
        <p:txBody>
          <a:bodyPr spcFirstLastPara="1" wrap="square" lIns="121900" tIns="121900" rIns="121900" bIns="121900" anchor="t" anchorCtr="0">
            <a:noAutofit/>
          </a:bodyPr>
          <a:lstStyle/>
          <a:p>
            <a:pPr defTabSz="1219140">
              <a:buClr>
                <a:srgbClr val="000000"/>
              </a:buClr>
              <a:buSzPts val="1400"/>
              <a:defRPr/>
            </a:pPr>
            <a:endParaRPr sz="1867" kern="0">
              <a:solidFill>
                <a:srgbClr val="000000"/>
              </a:solidFill>
              <a:latin typeface="Arial"/>
              <a:cs typeface="Arial"/>
              <a:sym typeface="Arial"/>
            </a:endParaRPr>
          </a:p>
        </p:txBody>
      </p:sp>
      <p:sp>
        <p:nvSpPr>
          <p:cNvPr id="3" name="ZoneTexte 2">
            <a:extLst>
              <a:ext uri="{FF2B5EF4-FFF2-40B4-BE49-F238E27FC236}">
                <a16:creationId xmlns:a16="http://schemas.microsoft.com/office/drawing/2014/main" id="{399B9426-33E8-4ED6-80A7-13ECACE50254}"/>
              </a:ext>
            </a:extLst>
          </p:cNvPr>
          <p:cNvSpPr txBox="1"/>
          <p:nvPr/>
        </p:nvSpPr>
        <p:spPr>
          <a:xfrm>
            <a:off x="355600" y="1219200"/>
            <a:ext cx="3870960" cy="379656"/>
          </a:xfrm>
          <a:prstGeom prst="rect">
            <a:avLst/>
          </a:prstGeom>
          <a:noFill/>
        </p:spPr>
        <p:txBody>
          <a:bodyPr wrap="square" rtlCol="0">
            <a:spAutoFit/>
          </a:bodyPr>
          <a:lstStyle/>
          <a:p>
            <a:pPr defTabSz="1219140">
              <a:buClr>
                <a:srgbClr val="000000"/>
              </a:buClr>
              <a:defRPr/>
            </a:pPr>
            <a:r>
              <a:rPr lang="fr-FR" sz="1867" b="1" kern="0">
                <a:solidFill>
                  <a:srgbClr val="FFFFFF"/>
                </a:solidFill>
                <a:latin typeface="Montserrat"/>
                <a:ea typeface="Montserrat"/>
                <a:cs typeface="Montserrat"/>
                <a:sym typeface="Montserrat"/>
              </a:rPr>
              <a:t>—</a:t>
            </a:r>
          </a:p>
        </p:txBody>
      </p:sp>
      <p:sp>
        <p:nvSpPr>
          <p:cNvPr id="2" name="Titre 1">
            <a:extLst>
              <a:ext uri="{FF2B5EF4-FFF2-40B4-BE49-F238E27FC236}">
                <a16:creationId xmlns:a16="http://schemas.microsoft.com/office/drawing/2014/main" id="{90633EB4-5B7F-471E-9E01-2A30008FFA87}"/>
              </a:ext>
            </a:extLst>
          </p:cNvPr>
          <p:cNvSpPr>
            <a:spLocks noGrp="1"/>
          </p:cNvSpPr>
          <p:nvPr>
            <p:ph type="ctrTitle"/>
          </p:nvPr>
        </p:nvSpPr>
        <p:spPr>
          <a:xfrm>
            <a:off x="350532" y="530847"/>
            <a:ext cx="11767403" cy="1661993"/>
          </a:xfrm>
        </p:spPr>
        <p:txBody>
          <a:bodyPr/>
          <a:lstStyle/>
          <a:p>
            <a:r>
              <a:rPr lang="fr-FR">
                <a:latin typeface="Arial" panose="020B0604020202020204" pitchFamily="34" charset="0"/>
                <a:cs typeface="Arial" panose="020B0604020202020204" pitchFamily="34" charset="0"/>
              </a:rPr>
              <a:t>Diagnostic sur l’efficacité opérationnelle des back-offices et plan d’actions à 24 mois</a:t>
            </a:r>
            <a:br>
              <a:rPr lang="fr-FR">
                <a:latin typeface="Arial" panose="020B0604020202020204" pitchFamily="34" charset="0"/>
                <a:cs typeface="Arial" panose="020B0604020202020204" pitchFamily="34" charset="0"/>
              </a:rPr>
            </a:br>
            <a:br>
              <a:rPr lang="fr-FR">
                <a:latin typeface="Arial" panose="020B0604020202020204" pitchFamily="34" charset="0"/>
                <a:cs typeface="Arial" panose="020B0604020202020204" pitchFamily="34" charset="0"/>
              </a:rPr>
            </a:br>
            <a:r>
              <a:rPr lang="fr-FR" sz="2400">
                <a:latin typeface="Arial" panose="020B0604020202020204" pitchFamily="34" charset="0"/>
                <a:cs typeface="Arial" panose="020B0604020202020204" pitchFamily="34" charset="0"/>
              </a:rPr>
              <a:t>Proposition d’intervention</a:t>
            </a:r>
            <a:endParaRPr lang="fr-FR">
              <a:latin typeface="Arial" panose="020B0604020202020204" pitchFamily="34" charset="0"/>
              <a:cs typeface="Arial" panose="020B0604020202020204" pitchFamily="34" charset="0"/>
            </a:endParaRPr>
          </a:p>
        </p:txBody>
      </p:sp>
      <p:sp>
        <p:nvSpPr>
          <p:cNvPr id="4" name="Sous-titre 3">
            <a:extLst>
              <a:ext uri="{FF2B5EF4-FFF2-40B4-BE49-F238E27FC236}">
                <a16:creationId xmlns:a16="http://schemas.microsoft.com/office/drawing/2014/main" id="{8CE7BE52-3F52-4BBA-9510-A74BF5FE88E0}"/>
              </a:ext>
            </a:extLst>
          </p:cNvPr>
          <p:cNvSpPr>
            <a:spLocks noGrp="1"/>
          </p:cNvSpPr>
          <p:nvPr>
            <p:ph type="subTitle" idx="1"/>
          </p:nvPr>
        </p:nvSpPr>
        <p:spPr>
          <a:xfrm>
            <a:off x="350532" y="5937743"/>
            <a:ext cx="9144000" cy="332399"/>
          </a:xfrm>
        </p:spPr>
        <p:txBody>
          <a:bodyPr/>
          <a:lstStyle/>
          <a:p>
            <a:r>
              <a:rPr lang="fr-FR" sz="2400">
                <a:latin typeface="Arial" panose="020B0604020202020204" pitchFamily="34" charset="0"/>
                <a:cs typeface="Arial" panose="020B0604020202020204" pitchFamily="34" charset="0"/>
              </a:rPr>
              <a:t>14 février 2024</a:t>
            </a:r>
          </a:p>
        </p:txBody>
      </p:sp>
      <p:pic>
        <p:nvPicPr>
          <p:cNvPr id="5" name="Image 4" descr="Une image contenant Graphique, Police, obscurité, noir&#10;&#10;Description générée automatiquement">
            <a:extLst>
              <a:ext uri="{FF2B5EF4-FFF2-40B4-BE49-F238E27FC236}">
                <a16:creationId xmlns:a16="http://schemas.microsoft.com/office/drawing/2014/main" id="{1702D6D7-8EE2-BC46-D3BA-75D407AEFCDB}"/>
              </a:ext>
            </a:extLst>
          </p:cNvPr>
          <p:cNvPicPr>
            <a:picLocks noChangeAspect="1"/>
          </p:cNvPicPr>
          <p:nvPr/>
        </p:nvPicPr>
        <p:blipFill rotWithShape="1">
          <a:blip r:embed="rId3">
            <a:extLst>
              <a:ext uri="{28A0092B-C50C-407E-A947-70E740481C1C}">
                <a14:useLocalDpi xmlns:a14="http://schemas.microsoft.com/office/drawing/2010/main" val="0"/>
              </a:ext>
            </a:extLst>
          </a:blip>
          <a:srcRect l="30469" t="31460" r="29448" b="32235"/>
          <a:stretch/>
        </p:blipFill>
        <p:spPr>
          <a:xfrm>
            <a:off x="2360936" y="2782869"/>
            <a:ext cx="2536396" cy="129226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F9FAFBE-2745-27BC-11D2-FDC606CA489F}"/>
              </a:ext>
            </a:extLst>
          </p:cNvPr>
          <p:cNvSpPr>
            <a:spLocks noGrp="1"/>
          </p:cNvSpPr>
          <p:nvPr>
            <p:ph type="title"/>
          </p:nvPr>
        </p:nvSpPr>
        <p:spPr>
          <a:xfrm>
            <a:off x="396654" y="159880"/>
            <a:ext cx="10042735" cy="407795"/>
          </a:xfrm>
          <a:solidFill>
            <a:schemeClr val="bg1"/>
          </a:solidFill>
        </p:spPr>
        <p:txBody>
          <a:bodyPr/>
          <a:lstStyle/>
          <a:p>
            <a:r>
              <a:rPr lang="fr-FR" sz="1800">
                <a:solidFill>
                  <a:schemeClr val="bg2"/>
                </a:solidFill>
              </a:rPr>
              <a:t>…QUI SOUHAITE OPTIMISER L’EFFICACITÉ DE SES BACK-OFFICES DE GESTION, EN FRANCE ET EN EUROPE</a:t>
            </a:r>
          </a:p>
        </p:txBody>
      </p:sp>
      <p:grpSp>
        <p:nvGrpSpPr>
          <p:cNvPr id="12" name="Groupe 11">
            <a:extLst>
              <a:ext uri="{FF2B5EF4-FFF2-40B4-BE49-F238E27FC236}">
                <a16:creationId xmlns:a16="http://schemas.microsoft.com/office/drawing/2014/main" id="{8DC654E5-288D-DFFA-079E-572CADA894DE}"/>
              </a:ext>
            </a:extLst>
          </p:cNvPr>
          <p:cNvGrpSpPr/>
          <p:nvPr/>
        </p:nvGrpSpPr>
        <p:grpSpPr>
          <a:xfrm>
            <a:off x="935297" y="1051088"/>
            <a:ext cx="10415190" cy="5501459"/>
            <a:chOff x="1795670" y="1709530"/>
            <a:chExt cx="10415190" cy="5181600"/>
          </a:xfrm>
        </p:grpSpPr>
        <p:cxnSp>
          <p:nvCxnSpPr>
            <p:cNvPr id="24" name="Connecteur droit 23">
              <a:extLst>
                <a:ext uri="{FF2B5EF4-FFF2-40B4-BE49-F238E27FC236}">
                  <a16:creationId xmlns:a16="http://schemas.microsoft.com/office/drawing/2014/main" id="{690E6291-D6AC-A490-3DFB-9192AE2BF344}"/>
                </a:ext>
              </a:extLst>
            </p:cNvPr>
            <p:cNvCxnSpPr>
              <a:cxnSpLocks/>
            </p:cNvCxnSpPr>
            <p:nvPr/>
          </p:nvCxnSpPr>
          <p:spPr>
            <a:xfrm>
              <a:off x="1815548" y="1709530"/>
              <a:ext cx="0" cy="51816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6B3555C7-5186-5C6B-5FDC-8857DB867248}"/>
                </a:ext>
              </a:extLst>
            </p:cNvPr>
            <p:cNvCxnSpPr>
              <a:cxnSpLocks/>
            </p:cNvCxnSpPr>
            <p:nvPr/>
          </p:nvCxnSpPr>
          <p:spPr>
            <a:xfrm>
              <a:off x="1795670" y="1709530"/>
              <a:ext cx="1041519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2" name="Ellipse 31">
            <a:extLst>
              <a:ext uri="{FF2B5EF4-FFF2-40B4-BE49-F238E27FC236}">
                <a16:creationId xmlns:a16="http://schemas.microsoft.com/office/drawing/2014/main" id="{66D141AC-5572-81AB-1D8C-C81CD03B0218}"/>
              </a:ext>
            </a:extLst>
          </p:cNvPr>
          <p:cNvSpPr/>
          <p:nvPr/>
        </p:nvSpPr>
        <p:spPr>
          <a:xfrm>
            <a:off x="879269" y="1727972"/>
            <a:ext cx="172279" cy="185531"/>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33" name="Graphique 32" descr="Plan contour">
            <a:extLst>
              <a:ext uri="{FF2B5EF4-FFF2-40B4-BE49-F238E27FC236}">
                <a16:creationId xmlns:a16="http://schemas.microsoft.com/office/drawing/2014/main" id="{8D5CF136-A417-2FDA-BF7E-D95F2B142F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3138" y="1433024"/>
            <a:ext cx="753730" cy="733914"/>
          </a:xfrm>
          <a:prstGeom prst="rect">
            <a:avLst/>
          </a:prstGeom>
        </p:spPr>
      </p:pic>
      <p:cxnSp>
        <p:nvCxnSpPr>
          <p:cNvPr id="34" name="Connecteur droit 33">
            <a:extLst>
              <a:ext uri="{FF2B5EF4-FFF2-40B4-BE49-F238E27FC236}">
                <a16:creationId xmlns:a16="http://schemas.microsoft.com/office/drawing/2014/main" id="{BEC07988-20B8-A494-7F5B-9D10BE51246E}"/>
              </a:ext>
            </a:extLst>
          </p:cNvPr>
          <p:cNvCxnSpPr>
            <a:cxnSpLocks/>
            <a:stCxn id="32" idx="6"/>
          </p:cNvCxnSpPr>
          <p:nvPr/>
        </p:nvCxnSpPr>
        <p:spPr>
          <a:xfrm>
            <a:off x="1051548" y="1820738"/>
            <a:ext cx="2323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41A4D21B-6887-2AEE-7991-8D8896B7C08F}"/>
              </a:ext>
            </a:extLst>
          </p:cNvPr>
          <p:cNvSpPr/>
          <p:nvPr/>
        </p:nvSpPr>
        <p:spPr>
          <a:xfrm>
            <a:off x="1252388" y="1299593"/>
            <a:ext cx="1055227" cy="1042290"/>
          </a:xfrm>
          <a:prstGeom prst="ellipse">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36" name="Groupe 35">
            <a:extLst>
              <a:ext uri="{FF2B5EF4-FFF2-40B4-BE49-F238E27FC236}">
                <a16:creationId xmlns:a16="http://schemas.microsoft.com/office/drawing/2014/main" id="{6E5FBDFE-6C0A-841F-3226-A9CF851EF981}"/>
              </a:ext>
            </a:extLst>
          </p:cNvPr>
          <p:cNvGrpSpPr/>
          <p:nvPr/>
        </p:nvGrpSpPr>
        <p:grpSpPr>
          <a:xfrm>
            <a:off x="2722301" y="1332251"/>
            <a:ext cx="8628200" cy="1084598"/>
            <a:chOff x="2923962" y="1168964"/>
            <a:chExt cx="8454985" cy="1084598"/>
          </a:xfrm>
        </p:grpSpPr>
        <p:sp>
          <p:nvSpPr>
            <p:cNvPr id="37" name="Rectangle 36">
              <a:extLst>
                <a:ext uri="{FF2B5EF4-FFF2-40B4-BE49-F238E27FC236}">
                  <a16:creationId xmlns:a16="http://schemas.microsoft.com/office/drawing/2014/main" id="{55892676-575A-3875-B88A-B94A73EE13BB}"/>
                </a:ext>
              </a:extLst>
            </p:cNvPr>
            <p:cNvSpPr/>
            <p:nvPr/>
          </p:nvSpPr>
          <p:spPr>
            <a:xfrm>
              <a:off x="8261920" y="1475102"/>
              <a:ext cx="887891" cy="778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38" name="Groupe 37">
              <a:extLst>
                <a:ext uri="{FF2B5EF4-FFF2-40B4-BE49-F238E27FC236}">
                  <a16:creationId xmlns:a16="http://schemas.microsoft.com/office/drawing/2014/main" id="{9D47A3F5-9C70-F216-394C-F0BB1D7DF83A}"/>
                </a:ext>
              </a:extLst>
            </p:cNvPr>
            <p:cNvGrpSpPr/>
            <p:nvPr/>
          </p:nvGrpSpPr>
          <p:grpSpPr>
            <a:xfrm>
              <a:off x="2923962" y="1168964"/>
              <a:ext cx="8454985" cy="931853"/>
              <a:chOff x="1992644" y="1168964"/>
              <a:chExt cx="8454985" cy="931853"/>
            </a:xfrm>
          </p:grpSpPr>
          <p:sp>
            <p:nvSpPr>
              <p:cNvPr id="39" name="Rectangle : coins arrondis 38">
                <a:extLst>
                  <a:ext uri="{FF2B5EF4-FFF2-40B4-BE49-F238E27FC236}">
                    <a16:creationId xmlns:a16="http://schemas.microsoft.com/office/drawing/2014/main" id="{19C52868-39BB-3B67-DBA0-621AA8399B3D}"/>
                  </a:ext>
                </a:extLst>
              </p:cNvPr>
              <p:cNvSpPr/>
              <p:nvPr/>
            </p:nvSpPr>
            <p:spPr>
              <a:xfrm>
                <a:off x="1992644" y="1168964"/>
                <a:ext cx="8454985" cy="931853"/>
              </a:xfrm>
              <a:prstGeom prst="roundRect">
                <a:avLst>
                  <a:gd name="adj" fmla="val 10216"/>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marL="0" marR="0" lvl="0" indent="0" algn="just" defTabSz="914377" rtl="0" eaLnBrk="1" fontAlgn="auto" latinLnBrk="0" hangingPunct="1">
                  <a:lnSpc>
                    <a:spcPct val="100000"/>
                  </a:lnSpc>
                  <a:spcBef>
                    <a:spcPts val="300"/>
                  </a:spcBef>
                  <a:spcAft>
                    <a:spcPts val="300"/>
                  </a:spcAft>
                  <a:buClrTx/>
                  <a:buSzTx/>
                  <a:buFont typeface="Arial"/>
                  <a:buNone/>
                  <a:tabLst/>
                  <a:defRPr/>
                </a:pPr>
                <a:endParaRPr kumimoji="0" lang="fr-FR"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377" rtl="0" eaLnBrk="1" fontAlgn="auto" latinLnBrk="0" hangingPunct="1">
                  <a:lnSpc>
                    <a:spcPct val="100000"/>
                  </a:lnSpc>
                  <a:spcBef>
                    <a:spcPts val="300"/>
                  </a:spcBef>
                  <a:spcAft>
                    <a:spcPts val="300"/>
                  </a:spcAft>
                  <a:buClrTx/>
                  <a:buSzTx/>
                  <a:buFont typeface="Arial"/>
                  <a:buNone/>
                  <a:tabLst/>
                  <a:defRPr/>
                </a:pPr>
                <a:r>
                  <a:rPr kumimoji="0" lang="fr-FR"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Vous souhaitez vous faire accompagner dans la réalisation d’une </a:t>
                </a:r>
                <a:r>
                  <a:rPr kumimoji="0" lang="fr-FR" sz="1050" b="1" i="0" u="none" strike="noStrike" kern="1200" cap="none" spc="0" normalizeH="0" baseline="0" noProof="0">
                    <a:ln>
                      <a:noFill/>
                    </a:ln>
                    <a:solidFill>
                      <a:srgbClr val="1F3F8D"/>
                    </a:solidFill>
                    <a:effectLst/>
                    <a:uLnTx/>
                    <a:uFillTx/>
                    <a:latin typeface="Arial" panose="020B0604020202020204" pitchFamily="34" charset="0"/>
                    <a:ea typeface="+mn-ea"/>
                    <a:cs typeface="Arial" panose="020B0604020202020204" pitchFamily="34" charset="0"/>
                    <a:sym typeface="Arial"/>
                  </a:rPr>
                  <a:t>mission de conseil opérationnel, afin de réaliser l’état des lieux des processus, organisations et outils de gestion internes de vos opérations back-office</a:t>
                </a:r>
                <a:r>
                  <a:rPr kumimoji="0" lang="fr-FR"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de manière à en </a:t>
                </a:r>
                <a:r>
                  <a:rPr kumimoji="0" lang="fr-FR" sz="1050" b="1" i="0" u="none" strike="noStrike" kern="1200" cap="none" spc="0" normalizeH="0" baseline="0" noProof="0">
                    <a:ln>
                      <a:noFill/>
                    </a:ln>
                    <a:solidFill>
                      <a:srgbClr val="1C377D"/>
                    </a:solidFill>
                    <a:effectLst/>
                    <a:uLnTx/>
                    <a:uFillTx/>
                    <a:latin typeface="Arial" panose="020B0604020202020204" pitchFamily="34" charset="0"/>
                    <a:ea typeface="+mn-ea"/>
                    <a:cs typeface="Arial" panose="020B0604020202020204" pitchFamily="34" charset="0"/>
                    <a:sym typeface="Arial"/>
                  </a:rPr>
                  <a:t>optimiser l’efficacité</a:t>
                </a:r>
                <a:r>
                  <a:rPr kumimoji="0" lang="fr-FR"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afin de répondre à vos enjeux de </a:t>
                </a:r>
                <a:r>
                  <a:rPr kumimoji="0" lang="fr-FR" sz="1050" b="1" i="0" u="none" strike="noStrike" kern="1200" cap="none" spc="0" normalizeH="0" baseline="0" noProof="0">
                    <a:ln>
                      <a:noFill/>
                    </a:ln>
                    <a:solidFill>
                      <a:srgbClr val="1C377D"/>
                    </a:solidFill>
                    <a:effectLst/>
                    <a:uLnTx/>
                    <a:uFillTx/>
                    <a:latin typeface="Arial" panose="020B0604020202020204" pitchFamily="34" charset="0"/>
                    <a:ea typeface="+mn-ea"/>
                    <a:cs typeface="Arial" panose="020B0604020202020204" pitchFamily="34" charset="0"/>
                    <a:sym typeface="Arial"/>
                  </a:rPr>
                  <a:t>réduction des coûts </a:t>
                </a:r>
                <a:r>
                  <a:rPr kumimoji="0" lang="fr-FR"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et d’</a:t>
                </a:r>
                <a:r>
                  <a:rPr kumimoji="0" lang="fr-FR" sz="1050" b="1" i="0" u="none" strike="noStrike" kern="1200" cap="none" spc="0" normalizeH="0" baseline="0" noProof="0">
                    <a:ln>
                      <a:noFill/>
                    </a:ln>
                    <a:solidFill>
                      <a:srgbClr val="1C377D"/>
                    </a:solidFill>
                    <a:effectLst/>
                    <a:uLnTx/>
                    <a:uFillTx/>
                    <a:latin typeface="Arial" panose="020B0604020202020204" pitchFamily="34" charset="0"/>
                    <a:ea typeface="+mn-ea"/>
                    <a:cs typeface="Arial" panose="020B0604020202020204" pitchFamily="34" charset="0"/>
                    <a:sym typeface="Arial"/>
                  </a:rPr>
                  <a:t>amélioration du service rendu aux clients</a:t>
                </a:r>
              </a:p>
            </p:txBody>
          </p:sp>
          <p:sp>
            <p:nvSpPr>
              <p:cNvPr id="41" name="Rectangle : coins arrondis 40">
                <a:extLst>
                  <a:ext uri="{FF2B5EF4-FFF2-40B4-BE49-F238E27FC236}">
                    <a16:creationId xmlns:a16="http://schemas.microsoft.com/office/drawing/2014/main" id="{53100C07-CC95-D61D-C564-CD27321CF21C}"/>
                  </a:ext>
                </a:extLst>
              </p:cNvPr>
              <p:cNvSpPr/>
              <p:nvPr/>
            </p:nvSpPr>
            <p:spPr>
              <a:xfrm>
                <a:off x="2008329" y="1186461"/>
                <a:ext cx="1411091" cy="270315"/>
              </a:xfrm>
              <a:prstGeom prst="roundRect">
                <a:avLst>
                  <a:gd name="adj" fmla="val 27819"/>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ea typeface="+mn-ea"/>
                    <a:cs typeface="+mn-cs"/>
                    <a:sym typeface="Arial"/>
                  </a:rPr>
                  <a:t>Besoin</a:t>
                </a:r>
              </a:p>
            </p:txBody>
          </p:sp>
        </p:grpSp>
      </p:grpSp>
      <p:sp>
        <p:nvSpPr>
          <p:cNvPr id="42" name="Ellipse 41">
            <a:extLst>
              <a:ext uri="{FF2B5EF4-FFF2-40B4-BE49-F238E27FC236}">
                <a16:creationId xmlns:a16="http://schemas.microsoft.com/office/drawing/2014/main" id="{12EE4E68-2C9B-2F00-D0F4-01EC40F732A3}"/>
              </a:ext>
            </a:extLst>
          </p:cNvPr>
          <p:cNvSpPr/>
          <p:nvPr/>
        </p:nvSpPr>
        <p:spPr>
          <a:xfrm>
            <a:off x="1273685" y="2649503"/>
            <a:ext cx="1055227" cy="1042290"/>
          </a:xfrm>
          <a:prstGeom prst="ellipse">
            <a:avLst/>
          </a:prstGeom>
          <a:noFill/>
          <a:ln w="38100">
            <a:solidFill>
              <a:srgbClr val="006E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3" name="Ellipse 42">
            <a:extLst>
              <a:ext uri="{FF2B5EF4-FFF2-40B4-BE49-F238E27FC236}">
                <a16:creationId xmlns:a16="http://schemas.microsoft.com/office/drawing/2014/main" id="{16E7A1E5-5174-C989-325A-788834B74EDB}"/>
              </a:ext>
            </a:extLst>
          </p:cNvPr>
          <p:cNvSpPr/>
          <p:nvPr/>
        </p:nvSpPr>
        <p:spPr>
          <a:xfrm>
            <a:off x="879269" y="3076776"/>
            <a:ext cx="172279" cy="185531"/>
          </a:xfrm>
          <a:prstGeom prst="ellipse">
            <a:avLst/>
          </a:prstGeom>
          <a:solidFill>
            <a:srgbClr val="006EB7"/>
          </a:solidFill>
          <a:ln>
            <a:solidFill>
              <a:srgbClr val="006E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4" name="Connecteur droit 43">
            <a:extLst>
              <a:ext uri="{FF2B5EF4-FFF2-40B4-BE49-F238E27FC236}">
                <a16:creationId xmlns:a16="http://schemas.microsoft.com/office/drawing/2014/main" id="{3F128A26-4B24-9A22-9203-FC9A44C3500F}"/>
              </a:ext>
            </a:extLst>
          </p:cNvPr>
          <p:cNvCxnSpPr>
            <a:cxnSpLocks/>
            <a:stCxn id="43" idx="6"/>
            <a:endCxn id="42" idx="2"/>
          </p:cNvCxnSpPr>
          <p:nvPr/>
        </p:nvCxnSpPr>
        <p:spPr>
          <a:xfrm>
            <a:off x="1051548" y="3169542"/>
            <a:ext cx="222137" cy="1106"/>
          </a:xfrm>
          <a:prstGeom prst="line">
            <a:avLst/>
          </a:prstGeom>
          <a:ln>
            <a:solidFill>
              <a:srgbClr val="2B64A4"/>
            </a:solidFill>
          </a:ln>
        </p:spPr>
        <p:style>
          <a:lnRef idx="1">
            <a:schemeClr val="accent1"/>
          </a:lnRef>
          <a:fillRef idx="0">
            <a:schemeClr val="accent1"/>
          </a:fillRef>
          <a:effectRef idx="0">
            <a:schemeClr val="accent1"/>
          </a:effectRef>
          <a:fontRef idx="minor">
            <a:schemeClr val="tx1"/>
          </a:fontRef>
        </p:style>
      </p:cxnSp>
      <p:pic>
        <p:nvPicPr>
          <p:cNvPr id="45" name="Graphique 44" descr="Presse-papiers vérifié contour">
            <a:extLst>
              <a:ext uri="{FF2B5EF4-FFF2-40B4-BE49-F238E27FC236}">
                <a16:creationId xmlns:a16="http://schemas.microsoft.com/office/drawing/2014/main" id="{26E3A1CD-416A-F74B-A466-314F44F0B7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13078" y="2785865"/>
            <a:ext cx="767351" cy="767351"/>
          </a:xfrm>
          <a:prstGeom prst="rect">
            <a:avLst/>
          </a:prstGeom>
        </p:spPr>
      </p:pic>
      <p:grpSp>
        <p:nvGrpSpPr>
          <p:cNvPr id="46" name="Groupe 45">
            <a:extLst>
              <a:ext uri="{FF2B5EF4-FFF2-40B4-BE49-F238E27FC236}">
                <a16:creationId xmlns:a16="http://schemas.microsoft.com/office/drawing/2014/main" id="{B80ED068-8397-89F3-DAD7-373E59C14662}"/>
              </a:ext>
            </a:extLst>
          </p:cNvPr>
          <p:cNvGrpSpPr/>
          <p:nvPr/>
        </p:nvGrpSpPr>
        <p:grpSpPr>
          <a:xfrm>
            <a:off x="2722298" y="2517245"/>
            <a:ext cx="8628204" cy="1212370"/>
            <a:chOff x="1992642" y="5109951"/>
            <a:chExt cx="8454990" cy="1212370"/>
          </a:xfrm>
        </p:grpSpPr>
        <p:sp>
          <p:nvSpPr>
            <p:cNvPr id="47" name="Rectangle : coins arrondis 46">
              <a:extLst>
                <a:ext uri="{FF2B5EF4-FFF2-40B4-BE49-F238E27FC236}">
                  <a16:creationId xmlns:a16="http://schemas.microsoft.com/office/drawing/2014/main" id="{5ACE338F-AA70-8C28-393B-1687C80E4BA8}"/>
                </a:ext>
              </a:extLst>
            </p:cNvPr>
            <p:cNvSpPr/>
            <p:nvPr/>
          </p:nvSpPr>
          <p:spPr>
            <a:xfrm>
              <a:off x="1992643" y="5116200"/>
              <a:ext cx="8454989" cy="1206121"/>
            </a:xfrm>
            <a:prstGeom prst="roundRect">
              <a:avLst>
                <a:gd name="adj" fmla="val 10673"/>
              </a:avLst>
            </a:prstGeom>
            <a:solidFill>
              <a:schemeClr val="bg1"/>
            </a:solidFill>
            <a:ln w="12700">
              <a:solidFill>
                <a:srgbClr val="006EB7"/>
              </a:solid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marL="171450" marR="0" lvl="0" indent="-171450" algn="l" defTabSz="1219170" rtl="0" eaLnBrk="1" fontAlgn="auto" latinLnBrk="0" hangingPunct="1">
                <a:lnSpc>
                  <a:spcPct val="100000"/>
                </a:lnSpc>
                <a:spcBef>
                  <a:spcPts val="200"/>
                </a:spcBef>
                <a:spcAft>
                  <a:spcPts val="0"/>
                </a:spcAft>
                <a:buClr>
                  <a:srgbClr val="45D1D7"/>
                </a:buClr>
                <a:buSzTx/>
                <a:buFont typeface="Wingdings" pitchFamily="2" charset="2"/>
                <a:buChar char="ü"/>
                <a:tabLst/>
                <a:defRPr/>
              </a:pPr>
              <a:endParaRPr kumimoji="0" lang="fr-FR" sz="1050" b="1" i="0" u="none" strike="noStrike" kern="0" cap="none" spc="0" normalizeH="0" baseline="0" noProof="0">
                <a:ln>
                  <a:noFill/>
                </a:ln>
                <a:solidFill>
                  <a:srgbClr val="45D1D7"/>
                </a:solidFill>
                <a:effectLst/>
                <a:uLnTx/>
                <a:uFillTx/>
                <a:latin typeface="Arial" panose="020B0604020202020204" pitchFamily="34" charset="0"/>
                <a:ea typeface="+mn-ea"/>
                <a:cs typeface="Arial" panose="020B0604020202020204" pitchFamily="34" charset="0"/>
                <a:sym typeface="Arial"/>
              </a:endParaRPr>
            </a:p>
            <a:p>
              <a:pPr marL="171450" marR="0" lvl="0" indent="-171450" algn="l" defTabSz="1219170" rtl="0" eaLnBrk="1" fontAlgn="auto" latinLnBrk="0" hangingPunct="1">
                <a:lnSpc>
                  <a:spcPct val="100000"/>
                </a:lnSpc>
                <a:spcBef>
                  <a:spcPts val="200"/>
                </a:spcBef>
                <a:spcAft>
                  <a:spcPts val="0"/>
                </a:spcAft>
                <a:buClr>
                  <a:srgbClr val="006EB7"/>
                </a:buClr>
                <a:buSzTx/>
                <a:buFont typeface="Wingdings" pitchFamily="2" charset="2"/>
                <a:buChar char="ü"/>
                <a:tabLst/>
                <a:defRPr/>
              </a:pP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isposer d’une </a:t>
              </a:r>
              <a:r>
                <a:rPr kumimoji="0" lang="fr-FR" sz="1050" b="1" i="0" u="none" strike="noStrike" kern="0" cap="none" spc="0" normalizeH="0" baseline="0" noProof="0">
                  <a:ln>
                    <a:noFill/>
                  </a:ln>
                  <a:solidFill>
                    <a:srgbClr val="016DB7"/>
                  </a:solidFill>
                  <a:effectLst/>
                  <a:uLnTx/>
                  <a:uFillTx/>
                  <a:latin typeface="Arial" panose="020B0604020202020204" pitchFamily="34" charset="0"/>
                  <a:ea typeface="+mn-ea"/>
                  <a:cs typeface="Arial" panose="020B0604020202020204" pitchFamily="34" charset="0"/>
                  <a:sym typeface="Arial"/>
                </a:rPr>
                <a:t>vision précise de l’activité de vos back-offices </a:t>
              </a:r>
            </a:p>
            <a:p>
              <a:pPr marL="628650" lvl="1" indent="-171450" defTabSz="1219170">
                <a:spcBef>
                  <a:spcPts val="200"/>
                </a:spcBef>
                <a:buClr>
                  <a:srgbClr val="006EB7"/>
                </a:buClr>
                <a:buFont typeface="Wingdings" pitchFamily="2" charset="2"/>
                <a:buChar char="ü"/>
                <a:defRPr/>
              </a:pP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Identifier les </a:t>
              </a:r>
              <a:r>
                <a:rPr kumimoji="0" lang="fr-FR" sz="1050" b="1" i="0" u="none" strike="noStrike" kern="0" cap="none" spc="0" normalizeH="0" baseline="0" noProof="0">
                  <a:ln>
                    <a:noFill/>
                  </a:ln>
                  <a:solidFill>
                    <a:srgbClr val="016DB7"/>
                  </a:solidFill>
                  <a:effectLst/>
                  <a:uLnTx/>
                  <a:uFillTx/>
                  <a:latin typeface="Arial" panose="020B0604020202020204" pitchFamily="34" charset="0"/>
                  <a:ea typeface="+mn-ea"/>
                  <a:cs typeface="Arial" panose="020B0604020202020204" pitchFamily="34" charset="0"/>
                  <a:sym typeface="Arial"/>
                </a:rPr>
                <a:t>forces et axes d’amélioration </a:t>
              </a: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 votre modèle d’organisation</a:t>
              </a:r>
            </a:p>
            <a:p>
              <a:pPr marL="628650" lvl="1" indent="-171450" defTabSz="1219170">
                <a:spcBef>
                  <a:spcPts val="200"/>
                </a:spcBef>
                <a:buClr>
                  <a:srgbClr val="006EB7"/>
                </a:buClr>
                <a:buFont typeface="Wingdings" pitchFamily="2" charset="2"/>
                <a:buChar char="ü"/>
                <a:defRPr/>
              </a:pPr>
              <a:r>
                <a:rPr lang="fr-FR" sz="1050" kern="0">
                  <a:solidFill>
                    <a:schemeClr val="tx1"/>
                  </a:solidFill>
                  <a:latin typeface="Arial" panose="020B0604020202020204" pitchFamily="34" charset="0"/>
                  <a:cs typeface="Arial" panose="020B0604020202020204" pitchFamily="34" charset="0"/>
                  <a:sym typeface="Arial"/>
                </a:rPr>
                <a:t>O</a:t>
              </a:r>
              <a:r>
                <a:rPr kumimoji="0" lang="fr-FR" sz="105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rPr>
                <a:t>bjectiver</a:t>
              </a: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 l’</a:t>
              </a:r>
              <a:r>
                <a:rPr kumimoji="0" lang="fr-FR" sz="1050" b="1" i="0" u="none" strike="noStrike" kern="0" cap="none" spc="0" normalizeH="0" baseline="0" noProof="0">
                  <a:ln>
                    <a:noFill/>
                  </a:ln>
                  <a:solidFill>
                    <a:srgbClr val="016DB7"/>
                  </a:solidFill>
                  <a:effectLst/>
                  <a:uLnTx/>
                  <a:uFillTx/>
                  <a:latin typeface="Arial" panose="020B0604020202020204" pitchFamily="34" charset="0"/>
                  <a:ea typeface="+mn-ea"/>
                  <a:cs typeface="Arial" panose="020B0604020202020204" pitchFamily="34" charset="0"/>
                  <a:sym typeface="Arial"/>
                </a:rPr>
                <a:t>efficacité globale de l’organisation</a:t>
              </a:r>
            </a:p>
            <a:p>
              <a:pPr marL="171450" marR="0" lvl="0" indent="-171450" algn="l" defTabSz="1219170" rtl="0" eaLnBrk="1" fontAlgn="auto" latinLnBrk="0" hangingPunct="1">
                <a:lnSpc>
                  <a:spcPct val="100000"/>
                </a:lnSpc>
                <a:spcBef>
                  <a:spcPts val="200"/>
                </a:spcBef>
                <a:spcAft>
                  <a:spcPts val="0"/>
                </a:spcAft>
                <a:buClr>
                  <a:srgbClr val="006EB7"/>
                </a:buClr>
                <a:buSzTx/>
                <a:buFont typeface="Wingdings" pitchFamily="2" charset="2"/>
                <a:buChar char="ü"/>
                <a:tabLst/>
                <a:defRPr/>
              </a:pP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éfinir le </a:t>
              </a:r>
              <a:r>
                <a:rPr kumimoji="0" lang="fr-FR" sz="1050" b="1" i="0" u="none" strike="noStrike" kern="0" cap="none" spc="0" normalizeH="0" baseline="0" noProof="0">
                  <a:ln>
                    <a:noFill/>
                  </a:ln>
                  <a:solidFill>
                    <a:srgbClr val="016DB7"/>
                  </a:solidFill>
                  <a:effectLst/>
                  <a:uLnTx/>
                  <a:uFillTx/>
                  <a:latin typeface="Arial" panose="020B0604020202020204" pitchFamily="34" charset="0"/>
                  <a:ea typeface="+mn-ea"/>
                  <a:cs typeface="Arial" panose="020B0604020202020204" pitchFamily="34" charset="0"/>
                  <a:sym typeface="Arial"/>
                </a:rPr>
                <a:t>modèle de coût </a:t>
              </a: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 vos back-offices</a:t>
              </a:r>
            </a:p>
            <a:p>
              <a:pPr marL="171450" marR="0" lvl="0" indent="-171450" algn="l" defTabSz="1219170" rtl="0" eaLnBrk="1" fontAlgn="auto" latinLnBrk="0" hangingPunct="1">
                <a:lnSpc>
                  <a:spcPct val="100000"/>
                </a:lnSpc>
                <a:spcBef>
                  <a:spcPts val="200"/>
                </a:spcBef>
                <a:spcAft>
                  <a:spcPts val="0"/>
                </a:spcAft>
                <a:buClr>
                  <a:srgbClr val="006EB7"/>
                </a:buClr>
                <a:buSzTx/>
                <a:buFont typeface="Wingdings" pitchFamily="2" charset="2"/>
                <a:buChar char="ü"/>
                <a:tabLst/>
                <a:defRPr/>
              </a:pP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Formaliser les </a:t>
              </a:r>
              <a:r>
                <a:rPr lang="fr-FR" sz="1050" b="1" kern="0">
                  <a:solidFill>
                    <a:srgbClr val="016DB7"/>
                  </a:solidFill>
                  <a:latin typeface="Arial" panose="020B0604020202020204" pitchFamily="34" charset="0"/>
                  <a:cs typeface="Arial" panose="020B0604020202020204" pitchFamily="34" charset="0"/>
                  <a:sym typeface="Arial"/>
                </a:rPr>
                <a:t>leviers d'amélioration </a:t>
              </a:r>
              <a:r>
                <a:rPr kumimoji="0" lang="fr-FR" sz="105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 performance actionnables </a:t>
              </a:r>
            </a:p>
          </p:txBody>
        </p:sp>
        <p:sp>
          <p:nvSpPr>
            <p:cNvPr id="49" name="Rectangle : coins arrondis 48">
              <a:extLst>
                <a:ext uri="{FF2B5EF4-FFF2-40B4-BE49-F238E27FC236}">
                  <a16:creationId xmlns:a16="http://schemas.microsoft.com/office/drawing/2014/main" id="{E588CFF5-BDF4-B8C8-6B16-CA00C49AFCE2}"/>
                </a:ext>
              </a:extLst>
            </p:cNvPr>
            <p:cNvSpPr/>
            <p:nvPr/>
          </p:nvSpPr>
          <p:spPr>
            <a:xfrm>
              <a:off x="1992642" y="5109951"/>
              <a:ext cx="1411092" cy="270315"/>
            </a:xfrm>
            <a:prstGeom prst="roundRect">
              <a:avLst>
                <a:gd name="adj" fmla="val 27819"/>
              </a:avLst>
            </a:prstGeom>
            <a:solidFill>
              <a:srgbClr val="006E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ea typeface="+mn-ea"/>
                  <a:cs typeface="+mn-cs"/>
                  <a:sym typeface="Arial"/>
                </a:rPr>
                <a:t>Objectifs</a:t>
              </a:r>
            </a:p>
          </p:txBody>
        </p:sp>
      </p:grpSp>
      <p:sp>
        <p:nvSpPr>
          <p:cNvPr id="51" name="Ellipse 50">
            <a:extLst>
              <a:ext uri="{FF2B5EF4-FFF2-40B4-BE49-F238E27FC236}">
                <a16:creationId xmlns:a16="http://schemas.microsoft.com/office/drawing/2014/main" id="{B6CE7B14-3BDD-2AD1-A6A2-D8F611819CFB}"/>
              </a:ext>
            </a:extLst>
          </p:cNvPr>
          <p:cNvSpPr/>
          <p:nvPr/>
        </p:nvSpPr>
        <p:spPr>
          <a:xfrm>
            <a:off x="879269" y="5853050"/>
            <a:ext cx="172279" cy="18553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2" name="Ellipse 51">
            <a:extLst>
              <a:ext uri="{FF2B5EF4-FFF2-40B4-BE49-F238E27FC236}">
                <a16:creationId xmlns:a16="http://schemas.microsoft.com/office/drawing/2014/main" id="{A8DCB1C2-4F0E-5E2A-AB22-32210C1CE8BD}"/>
              </a:ext>
            </a:extLst>
          </p:cNvPr>
          <p:cNvSpPr/>
          <p:nvPr/>
        </p:nvSpPr>
        <p:spPr>
          <a:xfrm>
            <a:off x="1273685" y="5425777"/>
            <a:ext cx="1055227" cy="1042290"/>
          </a:xfrm>
          <a:prstGeom prst="ellipse">
            <a:avLst/>
          </a:prstGeom>
          <a:noFill/>
          <a:ln w="381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53" name="Connecteur droit 52">
            <a:extLst>
              <a:ext uri="{FF2B5EF4-FFF2-40B4-BE49-F238E27FC236}">
                <a16:creationId xmlns:a16="http://schemas.microsoft.com/office/drawing/2014/main" id="{243B14CC-121A-6083-76DE-7A72EB31F91A}"/>
              </a:ext>
            </a:extLst>
          </p:cNvPr>
          <p:cNvCxnSpPr>
            <a:cxnSpLocks/>
            <a:stCxn id="51" idx="6"/>
            <a:endCxn id="52" idx="2"/>
          </p:cNvCxnSpPr>
          <p:nvPr/>
        </p:nvCxnSpPr>
        <p:spPr>
          <a:xfrm>
            <a:off x="1051548" y="5945816"/>
            <a:ext cx="222137" cy="1106"/>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4" name="Graphique 53" descr="Mille contour">
            <a:extLst>
              <a:ext uri="{FF2B5EF4-FFF2-40B4-BE49-F238E27FC236}">
                <a16:creationId xmlns:a16="http://schemas.microsoft.com/office/drawing/2014/main" id="{42B98030-C3B1-BC9B-8506-D14337E6A1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16638" y="5565202"/>
            <a:ext cx="766520" cy="766520"/>
          </a:xfrm>
          <a:prstGeom prst="rect">
            <a:avLst/>
          </a:prstGeom>
        </p:spPr>
      </p:pic>
      <p:sp>
        <p:nvSpPr>
          <p:cNvPr id="55" name="Ellipse 54">
            <a:extLst>
              <a:ext uri="{FF2B5EF4-FFF2-40B4-BE49-F238E27FC236}">
                <a16:creationId xmlns:a16="http://schemas.microsoft.com/office/drawing/2014/main" id="{50B41BE8-7FA5-C5B0-1B46-93F5D2E5F8C2}"/>
              </a:ext>
            </a:extLst>
          </p:cNvPr>
          <p:cNvSpPr/>
          <p:nvPr/>
        </p:nvSpPr>
        <p:spPr>
          <a:xfrm>
            <a:off x="879269" y="4457005"/>
            <a:ext cx="172279" cy="185531"/>
          </a:xfrm>
          <a:prstGeom prst="ellipse">
            <a:avLst/>
          </a:prstGeom>
          <a:solidFill>
            <a:srgbClr val="009F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56" name="Connecteur droit 55">
            <a:extLst>
              <a:ext uri="{FF2B5EF4-FFF2-40B4-BE49-F238E27FC236}">
                <a16:creationId xmlns:a16="http://schemas.microsoft.com/office/drawing/2014/main" id="{416EE50D-6EEE-D469-A0AA-D2F108F617F5}"/>
              </a:ext>
            </a:extLst>
          </p:cNvPr>
          <p:cNvCxnSpPr>
            <a:cxnSpLocks/>
            <a:stCxn id="55" idx="6"/>
          </p:cNvCxnSpPr>
          <p:nvPr/>
        </p:nvCxnSpPr>
        <p:spPr>
          <a:xfrm>
            <a:off x="1051548" y="4549771"/>
            <a:ext cx="232370" cy="1106"/>
          </a:xfrm>
          <a:prstGeom prst="line">
            <a:avLst/>
          </a:prstGeom>
          <a:ln>
            <a:solidFill>
              <a:srgbClr val="009FE3"/>
            </a:solidFill>
          </a:ln>
        </p:spPr>
        <p:style>
          <a:lnRef idx="1">
            <a:schemeClr val="accent1"/>
          </a:lnRef>
          <a:fillRef idx="0">
            <a:schemeClr val="accent1"/>
          </a:fillRef>
          <a:effectRef idx="0">
            <a:schemeClr val="accent1"/>
          </a:effectRef>
          <a:fontRef idx="minor">
            <a:schemeClr val="tx1"/>
          </a:fontRef>
        </p:style>
      </p:cxnSp>
      <p:sp>
        <p:nvSpPr>
          <p:cNvPr id="57" name="Ellipse 56">
            <a:extLst>
              <a:ext uri="{FF2B5EF4-FFF2-40B4-BE49-F238E27FC236}">
                <a16:creationId xmlns:a16="http://schemas.microsoft.com/office/drawing/2014/main" id="{C9975287-C273-B513-DED8-2372C5398228}"/>
              </a:ext>
            </a:extLst>
          </p:cNvPr>
          <p:cNvSpPr/>
          <p:nvPr/>
        </p:nvSpPr>
        <p:spPr>
          <a:xfrm>
            <a:off x="1252388" y="4029732"/>
            <a:ext cx="1055227" cy="1042290"/>
          </a:xfrm>
          <a:prstGeom prst="ellipse">
            <a:avLst/>
          </a:prstGeom>
          <a:noFill/>
          <a:ln w="38100">
            <a:solidFill>
              <a:srgbClr val="009FE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58" name="Groupe 57">
            <a:extLst>
              <a:ext uri="{FF2B5EF4-FFF2-40B4-BE49-F238E27FC236}">
                <a16:creationId xmlns:a16="http://schemas.microsoft.com/office/drawing/2014/main" id="{946738CE-2A4A-C009-FD81-EFC68CD96118}"/>
              </a:ext>
            </a:extLst>
          </p:cNvPr>
          <p:cNvGrpSpPr/>
          <p:nvPr/>
        </p:nvGrpSpPr>
        <p:grpSpPr>
          <a:xfrm>
            <a:off x="2722299" y="3882608"/>
            <a:ext cx="8628191" cy="1288106"/>
            <a:chOff x="1992643" y="2580648"/>
            <a:chExt cx="8454977" cy="1288106"/>
          </a:xfrm>
        </p:grpSpPr>
        <p:sp>
          <p:nvSpPr>
            <p:cNvPr id="59" name="Rectangle : coins arrondis 58">
              <a:extLst>
                <a:ext uri="{FF2B5EF4-FFF2-40B4-BE49-F238E27FC236}">
                  <a16:creationId xmlns:a16="http://schemas.microsoft.com/office/drawing/2014/main" id="{B494BF08-A54A-46AE-87BB-EC92C73635A4}"/>
                </a:ext>
              </a:extLst>
            </p:cNvPr>
            <p:cNvSpPr/>
            <p:nvPr/>
          </p:nvSpPr>
          <p:spPr>
            <a:xfrm>
              <a:off x="1992643" y="2580648"/>
              <a:ext cx="8454977" cy="1288106"/>
            </a:xfrm>
            <a:prstGeom prst="roundRect">
              <a:avLst>
                <a:gd name="adj" fmla="val 8374"/>
              </a:avLst>
            </a:prstGeom>
            <a:solidFill>
              <a:schemeClr val="bg1"/>
            </a:solidFill>
            <a:ln w="12700">
              <a:solidFill>
                <a:srgbClr val="009FE3"/>
              </a:solidFill>
            </a:ln>
          </p:spPr>
          <p:style>
            <a:lnRef idx="2">
              <a:schemeClr val="accent1">
                <a:shade val="15000"/>
              </a:schemeClr>
            </a:lnRef>
            <a:fillRef idx="1">
              <a:schemeClr val="accent1"/>
            </a:fillRef>
            <a:effectRef idx="0">
              <a:schemeClr val="accent1"/>
            </a:effectRef>
            <a:fontRef idx="minor">
              <a:schemeClr val="lt1"/>
            </a:fontRef>
          </p:style>
          <p:txBody>
            <a:bodyPr lIns="180000" rIns="180000" rtlCol="0" anchor="ctr"/>
            <a:lstStyle/>
            <a:p>
              <a:pPr marL="0" marR="0" lvl="0" indent="0" algn="just" defTabSz="914377" rtl="0" eaLnBrk="1" fontAlgn="auto" latinLnBrk="0" hangingPunct="1">
                <a:lnSpc>
                  <a:spcPct val="100000"/>
                </a:lnSpc>
                <a:spcBef>
                  <a:spcPts val="0"/>
                </a:spcBef>
                <a:spcAft>
                  <a:spcPts val="0"/>
                </a:spcAft>
                <a:buClrTx/>
                <a:buSzTx/>
                <a:buFont typeface="Arial"/>
                <a:buNone/>
                <a:tabLst/>
                <a:defRPr/>
              </a:pPr>
              <a:endParaRPr kumimoji="0" lang="fr-FR"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a:p>
              <a:pPr marL="285750" indent="-285750" algn="just">
                <a:spcBef>
                  <a:spcPts val="200"/>
                </a:spcBef>
                <a:buClr>
                  <a:srgbClr val="00A0E3"/>
                </a:buClr>
                <a:buFont typeface="Wingdings" pitchFamily="2" charset="2"/>
                <a:buChar char="ü"/>
                <a:defRPr/>
              </a:pPr>
              <a:r>
                <a:rPr kumimoji="0" lang="fr-FR"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état des lieux s’étendra sur </a:t>
              </a:r>
              <a:r>
                <a:rPr kumimoji="0" lang="fr-FR" sz="1050" b="1" i="0" u="none" strike="noStrike" kern="1200" cap="none" spc="0" normalizeH="0" baseline="0" noProof="0">
                  <a:ln>
                    <a:noFill/>
                  </a:ln>
                  <a:solidFill>
                    <a:srgbClr val="00A0E3"/>
                  </a:solidFill>
                  <a:effectLst/>
                  <a:uLnTx/>
                  <a:uFillTx/>
                  <a:latin typeface="Arial" panose="020B0604020202020204" pitchFamily="34" charset="0"/>
                  <a:cs typeface="Arial" panose="020B0604020202020204" pitchFamily="34" charset="0"/>
                </a:rPr>
                <a:t>l’ensemble des processus de gestion des opérations back-office </a:t>
              </a:r>
              <a:r>
                <a:rPr kumimoji="0" lang="fr-FR"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dhésions, vie du contrat et sinistres) </a:t>
              </a:r>
              <a:r>
                <a:rPr kumimoji="0" lang="fr-FR" sz="1050" b="1" i="0" u="none" strike="noStrike" kern="1200" cap="none" spc="0" normalizeH="0" baseline="0" noProof="0">
                  <a:ln>
                    <a:noFill/>
                  </a:ln>
                  <a:solidFill>
                    <a:srgbClr val="00A0E3"/>
                  </a:solidFill>
                  <a:effectLst/>
                  <a:uLnTx/>
                  <a:uFillTx/>
                  <a:latin typeface="Arial" panose="020B0604020202020204" pitchFamily="34" charset="0"/>
                  <a:cs typeface="Arial" panose="020B0604020202020204" pitchFamily="34" charset="0"/>
                </a:rPr>
                <a:t>jusqu’aux flux de trésorerie </a:t>
              </a:r>
              <a:r>
                <a:rPr kumimoji="0" lang="fr-FR"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élèvements, virements, paiements sinistres, gestion des impayés) et concernera toutes les opérations sur les contrats </a:t>
              </a:r>
              <a:r>
                <a:rPr kumimoji="0" lang="fr-FR" sz="1050" b="1" i="0" u="none" strike="noStrike" kern="1200" cap="none" spc="0" normalizeH="0" baseline="0" noProof="0">
                  <a:ln>
                    <a:noFill/>
                  </a:ln>
                  <a:solidFill>
                    <a:srgbClr val="00A0E3"/>
                  </a:solidFill>
                  <a:effectLst/>
                  <a:uLnTx/>
                  <a:uFillTx/>
                  <a:latin typeface="Arial" panose="020B0604020202020204" pitchFamily="34" charset="0"/>
                  <a:cs typeface="Arial" panose="020B0604020202020204" pitchFamily="34" charset="0"/>
                </a:rPr>
                <a:t>d’assurance emprunteur de prévoyance individuelle</a:t>
              </a:r>
              <a:r>
                <a:rPr lang="fr-FR" sz="1050">
                  <a:solidFill>
                    <a:prstClr val="black"/>
                  </a:solidFill>
                  <a:latin typeface="Arial" panose="020B0604020202020204" pitchFamily="34" charset="0"/>
                  <a:cs typeface="Arial" panose="020B0604020202020204" pitchFamily="34" charset="0"/>
                </a:rPr>
                <a:t>, soit un peu plus de </a:t>
              </a:r>
              <a:r>
                <a:rPr lang="fr-FR" sz="1050" b="1">
                  <a:solidFill>
                    <a:srgbClr val="00A0E3"/>
                  </a:solidFill>
                  <a:latin typeface="Arial" panose="020B0604020202020204" pitchFamily="34" charset="0"/>
                  <a:cs typeface="Arial" panose="020B0604020202020204" pitchFamily="34" charset="0"/>
                </a:rPr>
                <a:t>7 millions de contrats</a:t>
              </a:r>
              <a:r>
                <a:rPr lang="fr-FR" sz="1050">
                  <a:solidFill>
                    <a:prstClr val="black"/>
                  </a:solidFill>
                  <a:latin typeface="Arial" panose="020B0604020202020204" pitchFamily="34" charset="0"/>
                  <a:cs typeface="Arial" panose="020B0604020202020204" pitchFamily="34" charset="0"/>
                </a:rPr>
                <a:t>. </a:t>
              </a:r>
              <a:endParaRPr kumimoji="0" lang="fr-FR"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200"/>
                </a:spcBef>
                <a:spcAft>
                  <a:spcPts val="0"/>
                </a:spcAft>
                <a:buClr>
                  <a:srgbClr val="00A0E3"/>
                </a:buClr>
                <a:buSzTx/>
                <a:buFont typeface="Wingdings" pitchFamily="2" charset="2"/>
                <a:buChar char="ü"/>
                <a:tabLst/>
                <a:defRPr/>
              </a:pPr>
              <a:r>
                <a:rPr kumimoji="0" lang="fr-FR"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a mission couvrira les sites français (Saint-Herblain 425 ETP, Paris 11 ETP et Villeneuve-Loubet 27 ETP), espagnols (Barcelone et Madrid 70 ETP) et le site italien (Milan 67 ETP) (nécessité de parler anglais et italien).</a:t>
              </a:r>
            </a:p>
          </p:txBody>
        </p:sp>
        <p:sp>
          <p:nvSpPr>
            <p:cNvPr id="60" name="Rectangle : coins arrondis 59">
              <a:extLst>
                <a:ext uri="{FF2B5EF4-FFF2-40B4-BE49-F238E27FC236}">
                  <a16:creationId xmlns:a16="http://schemas.microsoft.com/office/drawing/2014/main" id="{4722ABE3-310B-D0DB-8901-9CC919EB182F}"/>
                </a:ext>
              </a:extLst>
            </p:cNvPr>
            <p:cNvSpPr/>
            <p:nvPr/>
          </p:nvSpPr>
          <p:spPr>
            <a:xfrm>
              <a:off x="2008328" y="2584789"/>
              <a:ext cx="1411091" cy="270315"/>
            </a:xfrm>
            <a:prstGeom prst="roundRect">
              <a:avLst>
                <a:gd name="adj" fmla="val 27819"/>
              </a:avLst>
            </a:prstGeom>
            <a:solidFill>
              <a:srgbClr val="009FE3"/>
            </a:solidFill>
            <a:ln>
              <a:solidFill>
                <a:srgbClr val="009FE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ea typeface="+mn-ea"/>
                  <a:cs typeface="+mn-cs"/>
                  <a:sym typeface="Arial"/>
                </a:rPr>
                <a:t>Périmètre</a:t>
              </a:r>
            </a:p>
          </p:txBody>
        </p:sp>
      </p:grpSp>
      <p:grpSp>
        <p:nvGrpSpPr>
          <p:cNvPr id="61" name="Groupe 60">
            <a:extLst>
              <a:ext uri="{FF2B5EF4-FFF2-40B4-BE49-F238E27FC236}">
                <a16:creationId xmlns:a16="http://schemas.microsoft.com/office/drawing/2014/main" id="{266C95D2-9574-5310-F74E-FB5104C79CD5}"/>
              </a:ext>
            </a:extLst>
          </p:cNvPr>
          <p:cNvGrpSpPr/>
          <p:nvPr/>
        </p:nvGrpSpPr>
        <p:grpSpPr>
          <a:xfrm>
            <a:off x="2722299" y="5333999"/>
            <a:ext cx="8628186" cy="1232556"/>
            <a:chOff x="1992643" y="3770432"/>
            <a:chExt cx="8454972" cy="1232556"/>
          </a:xfrm>
        </p:grpSpPr>
        <p:sp>
          <p:nvSpPr>
            <p:cNvPr id="62" name="Rectangle : coins arrondis 61">
              <a:extLst>
                <a:ext uri="{FF2B5EF4-FFF2-40B4-BE49-F238E27FC236}">
                  <a16:creationId xmlns:a16="http://schemas.microsoft.com/office/drawing/2014/main" id="{30C1B9DA-212A-ED9C-BA6A-7AB9B1421B65}"/>
                </a:ext>
              </a:extLst>
            </p:cNvPr>
            <p:cNvSpPr/>
            <p:nvPr/>
          </p:nvSpPr>
          <p:spPr>
            <a:xfrm>
              <a:off x="1992644" y="3770432"/>
              <a:ext cx="8454971" cy="1232556"/>
            </a:xfrm>
            <a:prstGeom prst="roundRect">
              <a:avLst>
                <a:gd name="adj" fmla="val 10082"/>
              </a:avLst>
            </a:prstGeom>
            <a:solidFill>
              <a:schemeClr val="bg1"/>
            </a:solidFill>
            <a:ln w="127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80000" tIns="45720" rIns="180000" bIns="45720" rtlCol="0" anchor="ctr"/>
            <a:lstStyle/>
            <a:p>
              <a:pPr marL="0" marR="0" lvl="0" indent="0" algn="just" defTabSz="914377" rtl="0" eaLnBrk="1" fontAlgn="auto" latinLnBrk="0" hangingPunct="1">
                <a:lnSpc>
                  <a:spcPct val="100000"/>
                </a:lnSpc>
                <a:spcBef>
                  <a:spcPts val="400"/>
                </a:spcBef>
                <a:spcAft>
                  <a:spcPts val="600"/>
                </a:spcAft>
                <a:buClrTx/>
                <a:buSzTx/>
                <a:buFont typeface="Arial"/>
                <a:buNone/>
                <a:tabLst/>
                <a:defRPr/>
              </a:pPr>
              <a:endParaRPr kumimoji="0" lang="fr-FR" sz="1050" b="0" i="0" u="none" strike="noStrike" kern="0" cap="none" spc="0" normalizeH="0" baseline="0" noProof="0">
                <a:ln>
                  <a:noFill/>
                </a:ln>
                <a:solidFill>
                  <a:srgbClr val="44398A">
                    <a:lumMod val="10000"/>
                  </a:srgbClr>
                </a:solidFill>
                <a:effectLst/>
                <a:uLnTx/>
                <a:uFillTx/>
                <a:latin typeface="Arial"/>
                <a:ea typeface="Verdana" panose="020B0604030504040204" pitchFamily="34" charset="0"/>
                <a:cs typeface="+mn-cs"/>
                <a:sym typeface="Arial"/>
              </a:endParaRPr>
            </a:p>
            <a:p>
              <a:pPr marL="171450" indent="-171450" defTabSz="1219170">
                <a:spcBef>
                  <a:spcPts val="200"/>
                </a:spcBef>
                <a:buClr>
                  <a:srgbClr val="45D1D7"/>
                </a:buClr>
                <a:buFont typeface="Wingdings" pitchFamily="2" charset="2"/>
                <a:buChar char="ü"/>
                <a:defRPr/>
              </a:pPr>
              <a:r>
                <a:rPr lang="fr-FR" sz="1050" kern="0">
                  <a:solidFill>
                    <a:schemeClr val="tx1"/>
                  </a:solidFill>
                  <a:latin typeface="Arial"/>
                  <a:cs typeface="Arial"/>
                </a:rPr>
                <a:t>Passer en revue les </a:t>
              </a:r>
              <a:r>
                <a:rPr lang="fr-FR" sz="1050" b="1" kern="0">
                  <a:solidFill>
                    <a:srgbClr val="45D1D7"/>
                  </a:solidFill>
                  <a:latin typeface="Arial"/>
                  <a:cs typeface="Arial"/>
                </a:rPr>
                <a:t>processus</a:t>
              </a:r>
              <a:r>
                <a:rPr lang="fr-FR" sz="1050" kern="0">
                  <a:solidFill>
                    <a:schemeClr val="tx1"/>
                  </a:solidFill>
                  <a:latin typeface="Arial"/>
                  <a:cs typeface="Arial"/>
                </a:rPr>
                <a:t>, </a:t>
              </a:r>
              <a:r>
                <a:rPr lang="fr-FR" sz="1050" b="1" kern="0">
                  <a:solidFill>
                    <a:srgbClr val="45D1D7"/>
                  </a:solidFill>
                  <a:latin typeface="Arial"/>
                  <a:cs typeface="Arial"/>
                </a:rPr>
                <a:t>l’organisation </a:t>
              </a:r>
              <a:r>
                <a:rPr lang="fr-FR" sz="1050" kern="0">
                  <a:solidFill>
                    <a:schemeClr val="tx1"/>
                  </a:solidFill>
                  <a:latin typeface="Arial"/>
                  <a:cs typeface="Arial"/>
                </a:rPr>
                <a:t>et les </a:t>
              </a:r>
              <a:r>
                <a:rPr lang="fr-FR" sz="1050" b="1" kern="0">
                  <a:solidFill>
                    <a:srgbClr val="45D1D7"/>
                  </a:solidFill>
                  <a:latin typeface="Arial"/>
                  <a:cs typeface="Arial"/>
                </a:rPr>
                <a:t>outils</a:t>
              </a:r>
              <a:r>
                <a:rPr lang="fr-FR" sz="1050" kern="0">
                  <a:solidFill>
                    <a:schemeClr val="tx1"/>
                  </a:solidFill>
                  <a:latin typeface="Arial"/>
                  <a:cs typeface="Arial"/>
                </a:rPr>
                <a:t> tout en parallélisant les travaux entre la France et l’Espagne/Italie</a:t>
              </a:r>
            </a:p>
            <a:p>
              <a:pPr marL="171450" indent="-171450" defTabSz="1219170">
                <a:spcBef>
                  <a:spcPts val="200"/>
                </a:spcBef>
                <a:buClr>
                  <a:srgbClr val="45D1D7"/>
                </a:buClr>
                <a:buFont typeface="Wingdings" pitchFamily="2" charset="2"/>
                <a:buChar char="ü"/>
                <a:defRPr/>
              </a:pPr>
              <a:r>
                <a:rPr lang="fr-FR" sz="1050" kern="0">
                  <a:solidFill>
                    <a:schemeClr val="tx1"/>
                  </a:solidFill>
                  <a:latin typeface="Arial"/>
                  <a:cs typeface="Arial"/>
                </a:rPr>
                <a:t>Auditer et mesurer la </a:t>
              </a:r>
              <a:r>
                <a:rPr lang="fr-FR" sz="1050" b="1" kern="0">
                  <a:solidFill>
                    <a:srgbClr val="45D1D7"/>
                  </a:solidFill>
                  <a:latin typeface="Arial"/>
                  <a:cs typeface="Arial"/>
                </a:rPr>
                <a:t>performance actuelle </a:t>
              </a:r>
              <a:r>
                <a:rPr lang="fr-FR" sz="1050" kern="0">
                  <a:solidFill>
                    <a:schemeClr val="tx1"/>
                  </a:solidFill>
                  <a:latin typeface="Arial"/>
                  <a:cs typeface="Arial"/>
                </a:rPr>
                <a:t>et les </a:t>
              </a:r>
              <a:r>
                <a:rPr lang="fr-FR" sz="1050" b="1" kern="0">
                  <a:solidFill>
                    <a:srgbClr val="45D1D7"/>
                  </a:solidFill>
                  <a:latin typeface="Arial"/>
                  <a:cs typeface="Arial"/>
                </a:rPr>
                <a:t>axes d'amélioration </a:t>
              </a:r>
            </a:p>
            <a:p>
              <a:pPr marL="171450" indent="-171450" defTabSz="1219170">
                <a:spcBef>
                  <a:spcPts val="200"/>
                </a:spcBef>
                <a:buClr>
                  <a:srgbClr val="45D1D7"/>
                </a:buClr>
                <a:buFont typeface="Wingdings" pitchFamily="2" charset="2"/>
                <a:buChar char="ü"/>
                <a:defRPr/>
              </a:pPr>
              <a:r>
                <a:rPr lang="fr-FR" sz="1050" kern="0">
                  <a:solidFill>
                    <a:schemeClr val="tx1"/>
                  </a:solidFill>
                  <a:latin typeface="Arial"/>
                  <a:cs typeface="Arial"/>
                </a:rPr>
                <a:t>Définir un </a:t>
              </a:r>
              <a:r>
                <a:rPr lang="fr-FR" sz="1050" b="1" kern="0">
                  <a:solidFill>
                    <a:srgbClr val="45D1D7"/>
                  </a:solidFill>
                  <a:latin typeface="Arial"/>
                  <a:cs typeface="Arial"/>
                </a:rPr>
                <a:t>plan d’actions d’améliorations opérationnelles </a:t>
              </a:r>
              <a:r>
                <a:rPr lang="fr-FR" sz="1050" kern="0">
                  <a:solidFill>
                    <a:schemeClr val="tx1"/>
                  </a:solidFill>
                  <a:latin typeface="Arial"/>
                  <a:cs typeface="Arial"/>
                </a:rPr>
                <a:t>(processus, organisations et outils) et proposer une </a:t>
              </a:r>
              <a:r>
                <a:rPr lang="fr-FR" sz="1050" b="1" kern="0">
                  <a:solidFill>
                    <a:srgbClr val="45D1D7"/>
                  </a:solidFill>
                  <a:latin typeface="Arial"/>
                  <a:cs typeface="Arial"/>
                </a:rPr>
                <a:t>roadmap sur 24 mois</a:t>
              </a:r>
            </a:p>
            <a:p>
              <a:pPr marL="171450" indent="-171450" defTabSz="1219170">
                <a:spcBef>
                  <a:spcPts val="200"/>
                </a:spcBef>
                <a:buClr>
                  <a:srgbClr val="45D1D7"/>
                </a:buClr>
                <a:buFont typeface="Wingdings" pitchFamily="2" charset="2"/>
                <a:buChar char="ü"/>
                <a:defRPr/>
              </a:pPr>
              <a:r>
                <a:rPr lang="fr-FR" sz="1050" kern="0">
                  <a:solidFill>
                    <a:schemeClr val="tx1"/>
                  </a:solidFill>
                  <a:latin typeface="Arial"/>
                  <a:cs typeface="Arial"/>
                  <a:sym typeface="Arial"/>
                </a:rPr>
                <a:t>I</a:t>
              </a:r>
              <a:r>
                <a:rPr kumimoji="0" lang="fr-FR" sz="1050" i="0" u="none" strike="noStrike" kern="0" cap="none" spc="0" normalizeH="0" baseline="0" noProof="0" err="1">
                  <a:ln>
                    <a:noFill/>
                  </a:ln>
                  <a:solidFill>
                    <a:schemeClr val="tx1"/>
                  </a:solidFill>
                  <a:effectLst/>
                  <a:uLnTx/>
                  <a:uFillTx/>
                  <a:latin typeface="Arial"/>
                  <a:cs typeface="Arial"/>
                  <a:sym typeface="Arial"/>
                </a:rPr>
                <a:t>dentifier</a:t>
              </a:r>
              <a:r>
                <a:rPr kumimoji="0" lang="fr-FR" sz="1050" i="0" u="none" strike="noStrike" kern="0" cap="none" spc="0" normalizeH="0" baseline="0" noProof="0">
                  <a:ln>
                    <a:noFill/>
                  </a:ln>
                  <a:solidFill>
                    <a:schemeClr val="tx1"/>
                  </a:solidFill>
                  <a:effectLst/>
                  <a:uLnTx/>
                  <a:uFillTx/>
                  <a:latin typeface="Arial"/>
                  <a:cs typeface="Arial"/>
                  <a:sym typeface="Arial"/>
                </a:rPr>
                <a:t> </a:t>
              </a:r>
              <a:r>
                <a:rPr kumimoji="0" lang="fr-FR" sz="1050" b="1" i="0" u="none" strike="noStrike" kern="0" cap="none" spc="0" normalizeH="0" baseline="0" noProof="0">
                  <a:ln>
                    <a:noFill/>
                  </a:ln>
                  <a:solidFill>
                    <a:srgbClr val="45D1D7"/>
                  </a:solidFill>
                  <a:effectLst/>
                  <a:uLnTx/>
                  <a:uFillTx/>
                  <a:latin typeface="Arial"/>
                  <a:cs typeface="Arial"/>
                  <a:sym typeface="Arial"/>
                </a:rPr>
                <a:t>les compétences clés </a:t>
              </a:r>
              <a:r>
                <a:rPr kumimoji="0" lang="fr-FR" sz="1050" i="0" u="none" strike="noStrike" kern="0" cap="none" spc="0" normalizeH="0" baseline="0" noProof="0">
                  <a:ln>
                    <a:noFill/>
                  </a:ln>
                  <a:solidFill>
                    <a:schemeClr val="tx1"/>
                  </a:solidFill>
                  <a:effectLst/>
                  <a:uLnTx/>
                  <a:uFillTx/>
                  <a:latin typeface="Arial"/>
                  <a:cs typeface="Arial"/>
                  <a:sym typeface="Arial"/>
                </a:rPr>
                <a:t>qui pourront opérer les </a:t>
              </a:r>
              <a:r>
                <a:rPr kumimoji="0" lang="fr-FR" sz="1050" b="1" i="0" u="none" strike="noStrike" kern="0" cap="none" spc="0" normalizeH="0" baseline="0" noProof="0">
                  <a:ln>
                    <a:noFill/>
                  </a:ln>
                  <a:solidFill>
                    <a:srgbClr val="45D1D7"/>
                  </a:solidFill>
                  <a:effectLst/>
                  <a:uLnTx/>
                  <a:uFillTx/>
                  <a:latin typeface="Arial"/>
                  <a:cs typeface="Arial"/>
                  <a:sym typeface="Arial"/>
                </a:rPr>
                <a:t>transformations nécessaires</a:t>
              </a:r>
              <a:endParaRPr lang="fr-FR" sz="1050" kern="0">
                <a:solidFill>
                  <a:srgbClr val="45D1D7"/>
                </a:solidFill>
                <a:latin typeface="Arial"/>
                <a:cs typeface="Arial"/>
              </a:endParaRPr>
            </a:p>
          </p:txBody>
        </p:sp>
        <p:sp>
          <p:nvSpPr>
            <p:cNvPr id="63" name="Rectangle : coins arrondis 62">
              <a:extLst>
                <a:ext uri="{FF2B5EF4-FFF2-40B4-BE49-F238E27FC236}">
                  <a16:creationId xmlns:a16="http://schemas.microsoft.com/office/drawing/2014/main" id="{03299EA1-C787-71D2-DA04-6ED2B0FB341A}"/>
                </a:ext>
              </a:extLst>
            </p:cNvPr>
            <p:cNvSpPr/>
            <p:nvPr/>
          </p:nvSpPr>
          <p:spPr>
            <a:xfrm>
              <a:off x="1992643" y="3770588"/>
              <a:ext cx="1411091" cy="270315"/>
            </a:xfrm>
            <a:prstGeom prst="roundRect">
              <a:avLst>
                <a:gd name="adj" fmla="val 27819"/>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ea typeface="+mn-ea"/>
                  <a:cs typeface="+mn-cs"/>
                  <a:sym typeface="Arial"/>
                </a:rPr>
                <a:t>Modalités</a:t>
              </a:r>
            </a:p>
          </p:txBody>
        </p:sp>
      </p:grpSp>
      <p:pic>
        <p:nvPicPr>
          <p:cNvPr id="64" name="Graphique 63" descr="Repère contour">
            <a:extLst>
              <a:ext uri="{FF2B5EF4-FFF2-40B4-BE49-F238E27FC236}">
                <a16:creationId xmlns:a16="http://schemas.microsoft.com/office/drawing/2014/main" id="{1DECB1EA-CE60-B839-3796-F151ABFC41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39131" y="4120991"/>
            <a:ext cx="914400" cy="914400"/>
          </a:xfrm>
          <a:prstGeom prst="rect">
            <a:avLst/>
          </a:prstGeom>
        </p:spPr>
      </p:pic>
    </p:spTree>
    <p:extLst>
      <p:ext uri="{BB962C8B-B14F-4D97-AF65-F5344CB8AC3E}">
        <p14:creationId xmlns:p14="http://schemas.microsoft.com/office/powerpoint/2010/main" val="29736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F010E3A-9898-4967-8E0E-189A53740B55}"/>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130FE673-0678-95B6-C3B9-B1E6E8BF77E1}"/>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49AD9D9-8EB9-40C8-817E-797AEF95B20C}"/>
              </a:ext>
            </a:extLst>
          </p:cNvPr>
          <p:cNvGraphicFramePr/>
          <p:nvPr>
            <p:extLst>
              <p:ext uri="{D42A27DB-BD31-4B8C-83A1-F6EECF244321}">
                <p14:modId xmlns:p14="http://schemas.microsoft.com/office/powerpoint/2010/main" val="178908375"/>
              </p:ext>
            </p:extLst>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0">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a:solidFill>
                            <a:schemeClr val="tx2"/>
                          </a:solidFill>
                          <a:latin typeface="+mj-lt"/>
                          <a:cs typeface="Calibri" panose="020F0502020204030204" pitchFamily="34" charset="0"/>
                          <a:sym typeface="Montserrat"/>
                        </a:rPr>
                        <a:t>Synthèse de notre proposition</a:t>
                      </a:r>
                      <a:endParaRPr lang="fr-FR" sz="1900" b="0">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0"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0"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402162129"/>
                  </a:ext>
                </a:extLst>
              </a:tr>
              <a:tr h="535332">
                <a:tc>
                  <a:txBody>
                    <a:bodyPr/>
                    <a:lstStyle/>
                    <a:p>
                      <a:pPr algn="ctr"/>
                      <a:r>
                        <a:rPr lang="fr-FR" sz="1600" b="1">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solidFill>
                      <a:srgbClr val="E6E3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1"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extLst>
                  <a:ext uri="{0D108BD9-81ED-4DB2-BD59-A6C34878D82A}">
                    <a16:rowId xmlns:a16="http://schemas.microsoft.com/office/drawing/2014/main" val="10001"/>
                  </a:ext>
                </a:extLst>
              </a:tr>
              <a:tr h="484169">
                <a:tc>
                  <a:txBody>
                    <a:bodyPr/>
                    <a:lstStyle/>
                    <a:p>
                      <a:pPr algn="ctr"/>
                      <a:r>
                        <a:rPr lang="fr-FR" sz="1600">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484169">
                <a:tc>
                  <a:txBody>
                    <a:bodyPr/>
                    <a:lstStyle/>
                    <a:p>
                      <a:pPr algn="ctr"/>
                      <a:r>
                        <a:rPr lang="fr-FR" sz="1600">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683504451"/>
                  </a:ext>
                </a:extLst>
              </a:tr>
              <a:tr h="484169">
                <a:tc>
                  <a:txBody>
                    <a:bodyPr/>
                    <a:lstStyle/>
                    <a:p>
                      <a:pPr algn="ctr"/>
                      <a:r>
                        <a:rPr lang="fr-FR" sz="1600">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472287062"/>
                  </a:ext>
                </a:extLst>
              </a:tr>
              <a:tr h="484169">
                <a:tc>
                  <a:txBody>
                    <a:bodyPr/>
                    <a:lstStyle/>
                    <a:p>
                      <a:pPr algn="ctr"/>
                      <a:r>
                        <a:rPr lang="fr-FR" sz="1600">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579240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B3BA93-CDF9-BDD9-B6F3-9F45915F3D59}"/>
              </a:ext>
            </a:extLst>
          </p:cNvPr>
          <p:cNvSpPr>
            <a:spLocks noGrp="1"/>
          </p:cNvSpPr>
          <p:nvPr>
            <p:ph type="title"/>
          </p:nvPr>
        </p:nvSpPr>
        <p:spPr>
          <a:xfrm>
            <a:off x="396655" y="217390"/>
            <a:ext cx="10186678" cy="715994"/>
          </a:xfrm>
          <a:solidFill>
            <a:schemeClr val="bg1"/>
          </a:solidFill>
        </p:spPr>
        <p:txBody>
          <a:bodyPr/>
          <a:lstStyle/>
          <a:p>
            <a:r>
              <a:rPr lang="fr-FR" sz="1800"/>
              <a:t>L’EFFICACITÉ OPÉRATIONNELLE S’INSCRIT DANS UNE DÉMARCHE D’ENTREPRISE…</a:t>
            </a:r>
          </a:p>
        </p:txBody>
      </p:sp>
      <p:sp>
        <p:nvSpPr>
          <p:cNvPr id="19" name="Rectangle 18">
            <a:extLst>
              <a:ext uri="{FF2B5EF4-FFF2-40B4-BE49-F238E27FC236}">
                <a16:creationId xmlns:a16="http://schemas.microsoft.com/office/drawing/2014/main" id="{450CC1F5-34C8-9D47-E61E-4AA3E04E75C5}"/>
              </a:ext>
            </a:extLst>
          </p:cNvPr>
          <p:cNvSpPr/>
          <p:nvPr/>
        </p:nvSpPr>
        <p:spPr>
          <a:xfrm>
            <a:off x="8087133" y="789273"/>
            <a:ext cx="3983527" cy="5669280"/>
          </a:xfrm>
          <a:prstGeom prst="rect">
            <a:avLst/>
          </a:prstGeom>
          <a:solidFill>
            <a:srgbClr val="F2F6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fr-FR" sz="1400" b="1">
                <a:solidFill>
                  <a:srgbClr val="006EB7"/>
                </a:solidFill>
              </a:rPr>
              <a:t>Dans le contexte Kereis</a:t>
            </a:r>
          </a:p>
        </p:txBody>
      </p:sp>
      <p:sp>
        <p:nvSpPr>
          <p:cNvPr id="6" name="Flèche : pentagone 5">
            <a:extLst>
              <a:ext uri="{FF2B5EF4-FFF2-40B4-BE49-F238E27FC236}">
                <a16:creationId xmlns:a16="http://schemas.microsoft.com/office/drawing/2014/main" id="{EC8C97A4-7199-80A8-CA46-D8DFBC3EDC52}"/>
              </a:ext>
            </a:extLst>
          </p:cNvPr>
          <p:cNvSpPr/>
          <p:nvPr/>
        </p:nvSpPr>
        <p:spPr>
          <a:xfrm>
            <a:off x="2296889" y="1389123"/>
            <a:ext cx="7200000" cy="180000"/>
          </a:xfrm>
          <a:prstGeom prst="homePlat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5" name="ZoneTexte 34">
            <a:extLst>
              <a:ext uri="{FF2B5EF4-FFF2-40B4-BE49-F238E27FC236}">
                <a16:creationId xmlns:a16="http://schemas.microsoft.com/office/drawing/2014/main" id="{6C2F0D4C-EB50-A7AC-DE5F-A2564E1FC3EA}"/>
              </a:ext>
            </a:extLst>
          </p:cNvPr>
          <p:cNvSpPr txBox="1"/>
          <p:nvPr/>
        </p:nvSpPr>
        <p:spPr>
          <a:xfrm>
            <a:off x="9460848" y="2248449"/>
            <a:ext cx="2628000" cy="1169551"/>
          </a:xfrm>
          <a:prstGeom prst="rect">
            <a:avLst/>
          </a:prstGeom>
          <a:noFill/>
        </p:spPr>
        <p:txBody>
          <a:bodyPr wrap="square" rtlCol="0">
            <a:spAutoFit/>
          </a:bodyPr>
          <a:lstStyle/>
          <a:p>
            <a:pPr marL="285750" indent="-285750">
              <a:buClr>
                <a:srgbClr val="000000"/>
              </a:buClr>
              <a:buFont typeface="Wingdings" panose="05000000000000000000" pitchFamily="2" charset="2"/>
              <a:buChar char="ü"/>
              <a:defRPr/>
            </a:pPr>
            <a:r>
              <a:rPr lang="fr-FR" sz="1400" kern="0">
                <a:solidFill>
                  <a:srgbClr val="000000"/>
                </a:solidFill>
                <a:latin typeface="Arial"/>
                <a:cs typeface="Arial"/>
                <a:sym typeface="Arial"/>
              </a:rPr>
              <a:t>Etablir le modèle de coûts</a:t>
            </a:r>
          </a:p>
          <a:p>
            <a:pPr marL="285750" indent="-285750">
              <a:buClr>
                <a:srgbClr val="000000"/>
              </a:buClr>
              <a:buFont typeface="Wingdings" panose="05000000000000000000" pitchFamily="2" charset="2"/>
              <a:buChar char="ü"/>
              <a:defRPr/>
            </a:pPr>
            <a:r>
              <a:rPr lang="fr-FR" sz="1400" kern="0">
                <a:solidFill>
                  <a:srgbClr val="000000"/>
                </a:solidFill>
                <a:latin typeface="Arial"/>
                <a:cs typeface="Arial"/>
                <a:sym typeface="Arial"/>
              </a:rPr>
              <a:t>Prioriser des gisements d’économies et d’améliorations du service rendu</a:t>
            </a:r>
          </a:p>
        </p:txBody>
      </p:sp>
      <p:sp>
        <p:nvSpPr>
          <p:cNvPr id="38" name="ZoneTexte 37">
            <a:extLst>
              <a:ext uri="{FF2B5EF4-FFF2-40B4-BE49-F238E27FC236}">
                <a16:creationId xmlns:a16="http://schemas.microsoft.com/office/drawing/2014/main" id="{03BC92C9-8904-71BC-377D-D5D242BE88C9}"/>
              </a:ext>
            </a:extLst>
          </p:cNvPr>
          <p:cNvSpPr txBox="1"/>
          <p:nvPr/>
        </p:nvSpPr>
        <p:spPr>
          <a:xfrm>
            <a:off x="9460848" y="4261762"/>
            <a:ext cx="2628000" cy="2031325"/>
          </a:xfrm>
          <a:prstGeom prst="rect">
            <a:avLst/>
          </a:prstGeom>
          <a:noFill/>
        </p:spPr>
        <p:txBody>
          <a:bodyPr wrap="square" lIns="91440" tIns="45720" rIns="91440" bIns="45720" rtlCol="0" anchor="t">
            <a:spAutoFit/>
          </a:bodyPr>
          <a:lstStyle/>
          <a:p>
            <a:pPr marL="285750" indent="-285750">
              <a:buClr>
                <a:srgbClr val="000000"/>
              </a:buClr>
              <a:buFont typeface="Wingdings" panose="05000000000000000000" pitchFamily="2" charset="2"/>
              <a:buChar char="ü"/>
              <a:defRPr/>
            </a:pPr>
            <a:r>
              <a:rPr lang="fr-FR" sz="1400" kern="0">
                <a:solidFill>
                  <a:srgbClr val="000000"/>
                </a:solidFill>
                <a:latin typeface="Arial"/>
                <a:cs typeface="Arial"/>
                <a:sym typeface="Arial"/>
              </a:rPr>
              <a:t>Définir des processus cibles</a:t>
            </a:r>
          </a:p>
          <a:p>
            <a:pPr marL="541338" indent="-285750">
              <a:buClr>
                <a:srgbClr val="000000"/>
              </a:buClr>
              <a:buFont typeface="Wingdings" panose="05000000000000000000" pitchFamily="2" charset="2"/>
              <a:buChar char="§"/>
              <a:defRPr/>
            </a:pPr>
            <a:r>
              <a:rPr lang="fr-FR" sz="1400" kern="0">
                <a:solidFill>
                  <a:srgbClr val="000000"/>
                </a:solidFill>
                <a:latin typeface="Arial"/>
                <a:cs typeface="Arial"/>
                <a:sym typeface="Arial"/>
              </a:rPr>
              <a:t>Impacts Orga &amp; compétences</a:t>
            </a:r>
          </a:p>
          <a:p>
            <a:pPr marL="541338" indent="-285750">
              <a:buClr>
                <a:srgbClr val="000000"/>
              </a:buClr>
              <a:buFont typeface="Wingdings" panose="05000000000000000000" pitchFamily="2" charset="2"/>
              <a:buChar char="§"/>
              <a:defRPr/>
            </a:pPr>
            <a:r>
              <a:rPr lang="fr-FR" sz="1400" kern="0">
                <a:solidFill>
                  <a:srgbClr val="000000"/>
                </a:solidFill>
                <a:latin typeface="Arial"/>
                <a:cs typeface="Arial"/>
                <a:sym typeface="Arial"/>
              </a:rPr>
              <a:t>Impacts Outils</a:t>
            </a:r>
          </a:p>
          <a:p>
            <a:pPr marL="285750" indent="-285750">
              <a:buClr>
                <a:srgbClr val="000000"/>
              </a:buClr>
              <a:buFont typeface="Wingdings" panose="05000000000000000000" pitchFamily="2" charset="2"/>
              <a:buChar char="ü"/>
              <a:defRPr/>
            </a:pPr>
            <a:endParaRPr lang="fr-FR" sz="1400" kern="0">
              <a:solidFill>
                <a:srgbClr val="000000"/>
              </a:solidFill>
              <a:latin typeface="Arial"/>
              <a:cs typeface="Arial"/>
              <a:sym typeface="Arial"/>
            </a:endParaRPr>
          </a:p>
          <a:p>
            <a:pPr marL="285750" indent="-285750">
              <a:buClr>
                <a:srgbClr val="000000"/>
              </a:buClr>
              <a:buFont typeface="Wingdings" panose="05000000000000000000" pitchFamily="2" charset="2"/>
              <a:buChar char="ü"/>
              <a:defRPr/>
            </a:pPr>
            <a:endParaRPr lang="fr-FR" sz="1400" kern="0">
              <a:solidFill>
                <a:srgbClr val="000000"/>
              </a:solidFill>
              <a:latin typeface="Arial"/>
              <a:cs typeface="Arial"/>
              <a:sym typeface="Arial"/>
            </a:endParaRPr>
          </a:p>
          <a:p>
            <a:pPr marL="285750" indent="-285750">
              <a:buClr>
                <a:srgbClr val="000000"/>
              </a:buClr>
              <a:buFont typeface="Wingdings" panose="05000000000000000000" pitchFamily="2" charset="2"/>
              <a:buChar char="ü"/>
              <a:defRPr/>
            </a:pPr>
            <a:r>
              <a:rPr lang="fr-FR" sz="1400" kern="0">
                <a:solidFill>
                  <a:srgbClr val="000000"/>
                </a:solidFill>
                <a:latin typeface="Arial"/>
                <a:cs typeface="Arial"/>
                <a:sym typeface="Arial"/>
              </a:rPr>
              <a:t>Construire la feuille de route à 24 mois</a:t>
            </a:r>
          </a:p>
        </p:txBody>
      </p:sp>
      <p:sp>
        <p:nvSpPr>
          <p:cNvPr id="31" name="ZoneTexte 30">
            <a:extLst>
              <a:ext uri="{FF2B5EF4-FFF2-40B4-BE49-F238E27FC236}">
                <a16:creationId xmlns:a16="http://schemas.microsoft.com/office/drawing/2014/main" id="{6890D102-F696-C051-A212-14A10CA664E4}"/>
              </a:ext>
            </a:extLst>
          </p:cNvPr>
          <p:cNvSpPr txBox="1"/>
          <p:nvPr/>
        </p:nvSpPr>
        <p:spPr>
          <a:xfrm>
            <a:off x="694048" y="1186736"/>
            <a:ext cx="18157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1" i="0" u="none" strike="noStrike" kern="0" cap="none" spc="0" normalizeH="0" baseline="0" noProof="0">
                <a:ln>
                  <a:noFill/>
                </a:ln>
                <a:solidFill>
                  <a:srgbClr val="000000"/>
                </a:solidFill>
                <a:effectLst/>
                <a:uLnTx/>
                <a:uFillTx/>
                <a:latin typeface="Arial"/>
                <a:cs typeface="Arial"/>
                <a:sym typeface="Arial"/>
              </a:rPr>
              <a:t>Que veut l’entreprise ?</a:t>
            </a:r>
          </a:p>
        </p:txBody>
      </p:sp>
      <p:sp>
        <p:nvSpPr>
          <p:cNvPr id="32" name="ZoneTexte 31">
            <a:extLst>
              <a:ext uri="{FF2B5EF4-FFF2-40B4-BE49-F238E27FC236}">
                <a16:creationId xmlns:a16="http://schemas.microsoft.com/office/drawing/2014/main" id="{052AEF4C-F558-910A-4BA6-2BE125735D5A}"/>
              </a:ext>
            </a:extLst>
          </p:cNvPr>
          <p:cNvSpPr txBox="1"/>
          <p:nvPr/>
        </p:nvSpPr>
        <p:spPr>
          <a:xfrm>
            <a:off x="694048" y="2180286"/>
            <a:ext cx="18157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1" i="0" u="none" strike="noStrike" kern="0" cap="none" spc="0" normalizeH="0" baseline="0" noProof="0">
                <a:ln>
                  <a:noFill/>
                </a:ln>
                <a:solidFill>
                  <a:srgbClr val="000000"/>
                </a:solidFill>
                <a:effectLst/>
                <a:uLnTx/>
                <a:uFillTx/>
                <a:latin typeface="Arial"/>
                <a:cs typeface="Arial"/>
                <a:sym typeface="Arial"/>
              </a:rPr>
              <a:t>S’adapter, mais par quoi commencer ?</a:t>
            </a:r>
          </a:p>
        </p:txBody>
      </p:sp>
      <p:sp>
        <p:nvSpPr>
          <p:cNvPr id="33" name="ZoneTexte 32">
            <a:extLst>
              <a:ext uri="{FF2B5EF4-FFF2-40B4-BE49-F238E27FC236}">
                <a16:creationId xmlns:a16="http://schemas.microsoft.com/office/drawing/2014/main" id="{93D9C987-20AF-61B2-A62F-5FCAAC5D5AD4}"/>
              </a:ext>
            </a:extLst>
          </p:cNvPr>
          <p:cNvSpPr txBox="1"/>
          <p:nvPr/>
        </p:nvSpPr>
        <p:spPr>
          <a:xfrm>
            <a:off x="694048" y="4169453"/>
            <a:ext cx="18157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1" i="0" u="none" strike="noStrike" kern="0" cap="none" spc="0" normalizeH="0" baseline="0" noProof="0">
                <a:ln>
                  <a:noFill/>
                </a:ln>
                <a:solidFill>
                  <a:srgbClr val="000000"/>
                </a:solidFill>
                <a:effectLst/>
                <a:uLnTx/>
                <a:uFillTx/>
                <a:latin typeface="Arial"/>
                <a:cs typeface="Arial"/>
                <a:sym typeface="Arial"/>
              </a:rPr>
              <a:t>Comment se transformer ?</a:t>
            </a:r>
          </a:p>
        </p:txBody>
      </p:sp>
      <p:sp>
        <p:nvSpPr>
          <p:cNvPr id="39" name="ZoneTexte 38">
            <a:extLst>
              <a:ext uri="{FF2B5EF4-FFF2-40B4-BE49-F238E27FC236}">
                <a16:creationId xmlns:a16="http://schemas.microsoft.com/office/drawing/2014/main" id="{03FE1E16-D62B-422F-E590-61004572A4A7}"/>
              </a:ext>
            </a:extLst>
          </p:cNvPr>
          <p:cNvSpPr txBox="1"/>
          <p:nvPr/>
        </p:nvSpPr>
        <p:spPr>
          <a:xfrm>
            <a:off x="9460848" y="1109791"/>
            <a:ext cx="2628000" cy="954107"/>
          </a:xfrm>
          <a:prstGeom prst="rect">
            <a:avLst/>
          </a:prstGeom>
          <a:noFill/>
        </p:spPr>
        <p:txBody>
          <a:bodyPr wrap="square" rtlCol="0">
            <a:spAutoFit/>
          </a:bodyPr>
          <a:lstStyle/>
          <a:p>
            <a:pPr marL="285750" indent="-285750">
              <a:buClr>
                <a:srgbClr val="000000"/>
              </a:buClr>
              <a:buFont typeface="Wingdings" panose="05000000000000000000" pitchFamily="2" charset="2"/>
              <a:buChar char="ü"/>
              <a:defRPr/>
            </a:pPr>
            <a:r>
              <a:rPr lang="fr-FR" sz="1400" kern="0">
                <a:solidFill>
                  <a:srgbClr val="000000"/>
                </a:solidFill>
                <a:latin typeface="Arial"/>
                <a:cs typeface="Arial"/>
                <a:sym typeface="Arial"/>
              </a:rPr>
              <a:t>Accroître la qualité du service rendu au client</a:t>
            </a:r>
          </a:p>
          <a:p>
            <a:pPr marL="285750" indent="-285750">
              <a:buClr>
                <a:srgbClr val="000000"/>
              </a:buClr>
              <a:buFont typeface="Wingdings" panose="05000000000000000000" pitchFamily="2" charset="2"/>
              <a:buChar char="ü"/>
              <a:defRPr/>
            </a:pPr>
            <a:r>
              <a:rPr lang="fr-FR" sz="1400" kern="0">
                <a:solidFill>
                  <a:srgbClr val="000000"/>
                </a:solidFill>
                <a:latin typeface="Arial"/>
                <a:cs typeface="Arial"/>
                <a:sym typeface="Arial"/>
              </a:rPr>
              <a:t>Gagner en efficience économique</a:t>
            </a:r>
          </a:p>
        </p:txBody>
      </p:sp>
      <p:pic>
        <p:nvPicPr>
          <p:cNvPr id="16" name="Graphique 15" descr="Badge avec un remplissage uni">
            <a:extLst>
              <a:ext uri="{FF2B5EF4-FFF2-40B4-BE49-F238E27FC236}">
                <a16:creationId xmlns:a16="http://schemas.microsoft.com/office/drawing/2014/main" id="{29457A4E-2AE2-942E-6DD5-AC410AEBD1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5275" y="2334174"/>
            <a:ext cx="468000" cy="468000"/>
          </a:xfrm>
          <a:prstGeom prst="rect">
            <a:avLst/>
          </a:prstGeom>
        </p:spPr>
      </p:pic>
      <p:pic>
        <p:nvPicPr>
          <p:cNvPr id="18" name="Graphique 17" descr="Badge 1 avec un remplissage uni">
            <a:extLst>
              <a:ext uri="{FF2B5EF4-FFF2-40B4-BE49-F238E27FC236}">
                <a16:creationId xmlns:a16="http://schemas.microsoft.com/office/drawing/2014/main" id="{990CF55B-84A0-3B42-2031-6A52E266768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5275" y="1209123"/>
            <a:ext cx="468000" cy="468000"/>
          </a:xfrm>
          <a:prstGeom prst="rect">
            <a:avLst/>
          </a:prstGeom>
        </p:spPr>
      </p:pic>
      <p:pic>
        <p:nvPicPr>
          <p:cNvPr id="20" name="Graphique 19" descr="Badge 3 avec un remplissage uni">
            <a:extLst>
              <a:ext uri="{FF2B5EF4-FFF2-40B4-BE49-F238E27FC236}">
                <a16:creationId xmlns:a16="http://schemas.microsoft.com/office/drawing/2014/main" id="{BC111A73-A472-3DB3-353A-70BAD8E5578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5275" y="4227840"/>
            <a:ext cx="468000" cy="468000"/>
          </a:xfrm>
          <a:prstGeom prst="rect">
            <a:avLst/>
          </a:prstGeom>
        </p:spPr>
      </p:pic>
      <p:sp>
        <p:nvSpPr>
          <p:cNvPr id="21" name="Trapèze 20">
            <a:extLst>
              <a:ext uri="{FF2B5EF4-FFF2-40B4-BE49-F238E27FC236}">
                <a16:creationId xmlns:a16="http://schemas.microsoft.com/office/drawing/2014/main" id="{2200C264-4EC1-0D06-C81E-8071E07BE836}"/>
              </a:ext>
            </a:extLst>
          </p:cNvPr>
          <p:cNvSpPr/>
          <p:nvPr/>
        </p:nvSpPr>
        <p:spPr>
          <a:xfrm rot="10800000">
            <a:off x="2400956" y="1186735"/>
            <a:ext cx="5236178" cy="4807553"/>
          </a:xfrm>
          <a:prstGeom prst="trapezoid">
            <a:avLst>
              <a:gd name="adj" fmla="val 2286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Flèche : pentagone 7">
            <a:extLst>
              <a:ext uri="{FF2B5EF4-FFF2-40B4-BE49-F238E27FC236}">
                <a16:creationId xmlns:a16="http://schemas.microsoft.com/office/drawing/2014/main" id="{F4CE6A2A-FD99-BE93-5D4D-87FA1876F5D2}"/>
              </a:ext>
            </a:extLst>
          </p:cNvPr>
          <p:cNvSpPr/>
          <p:nvPr/>
        </p:nvSpPr>
        <p:spPr>
          <a:xfrm>
            <a:off x="2296889" y="2505784"/>
            <a:ext cx="7200000" cy="180000"/>
          </a:xfrm>
          <a:prstGeom prst="homePlate">
            <a:avLst/>
          </a:prstGeom>
          <a:solidFill>
            <a:srgbClr val="4173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Rectangle : coins arrondis 9">
            <a:extLst>
              <a:ext uri="{FF2B5EF4-FFF2-40B4-BE49-F238E27FC236}">
                <a16:creationId xmlns:a16="http://schemas.microsoft.com/office/drawing/2014/main" id="{68FC8BC6-950B-F976-E3C7-1CBFECF82A4A}"/>
              </a:ext>
            </a:extLst>
          </p:cNvPr>
          <p:cNvSpPr/>
          <p:nvPr/>
        </p:nvSpPr>
        <p:spPr>
          <a:xfrm>
            <a:off x="2679044" y="2325784"/>
            <a:ext cx="4680000" cy="540000"/>
          </a:xfrm>
          <a:prstGeom prst="roundRect">
            <a:avLst/>
          </a:prstGeom>
          <a:solidFill>
            <a:srgbClr val="4173AD"/>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500" b="1" i="0" u="none" strike="noStrike" kern="0" cap="none" spc="0" normalizeH="0" baseline="0" noProof="0">
                <a:ln>
                  <a:noFill/>
                </a:ln>
                <a:solidFill>
                  <a:srgbClr val="FFFFFF"/>
                </a:solidFill>
                <a:effectLst/>
                <a:uLnTx/>
                <a:uFillTx/>
                <a:latin typeface="Arial"/>
                <a:ea typeface="+mn-ea"/>
                <a:cs typeface="+mn-cs"/>
                <a:sym typeface="Arial"/>
              </a:rPr>
              <a:t>Refonte du modèle opérationnel</a:t>
            </a:r>
          </a:p>
        </p:txBody>
      </p:sp>
      <p:sp>
        <p:nvSpPr>
          <p:cNvPr id="12" name="Flèche : pentagone 11">
            <a:extLst>
              <a:ext uri="{FF2B5EF4-FFF2-40B4-BE49-F238E27FC236}">
                <a16:creationId xmlns:a16="http://schemas.microsoft.com/office/drawing/2014/main" id="{381825CA-7C86-FFFB-02DB-C62FBEF445D5}"/>
              </a:ext>
            </a:extLst>
          </p:cNvPr>
          <p:cNvSpPr/>
          <p:nvPr/>
        </p:nvSpPr>
        <p:spPr>
          <a:xfrm>
            <a:off x="2296889" y="4347473"/>
            <a:ext cx="7200000" cy="180000"/>
          </a:xfrm>
          <a:prstGeom prst="homePlat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Rectangle : coins arrondis 13">
            <a:extLst>
              <a:ext uri="{FF2B5EF4-FFF2-40B4-BE49-F238E27FC236}">
                <a16:creationId xmlns:a16="http://schemas.microsoft.com/office/drawing/2014/main" id="{5D471D1F-13C6-74CD-2922-B3A10832ACB7}"/>
              </a:ext>
            </a:extLst>
          </p:cNvPr>
          <p:cNvSpPr/>
          <p:nvPr/>
        </p:nvSpPr>
        <p:spPr>
          <a:xfrm>
            <a:off x="2949044" y="4167473"/>
            <a:ext cx="4140000" cy="540000"/>
          </a:xfrm>
          <a:prstGeom prst="roundRect">
            <a:avLst/>
          </a:prstGeom>
          <a:solidFill>
            <a:schemeClr val="accent1">
              <a:lumMod val="40000"/>
              <a:lumOff val="60000"/>
            </a:schemeClr>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500" b="1" i="0" u="none" strike="noStrike" kern="0" cap="none" spc="0" normalizeH="0" baseline="0" noProof="0">
                <a:ln>
                  <a:noFill/>
                </a:ln>
                <a:solidFill>
                  <a:srgbClr val="FFFFFF"/>
                </a:solidFill>
                <a:effectLst/>
                <a:uLnTx/>
                <a:uFillTx/>
                <a:latin typeface="Arial"/>
                <a:ea typeface="+mn-ea"/>
                <a:cs typeface="+mn-cs"/>
                <a:sym typeface="Arial"/>
              </a:rPr>
              <a:t>Refonte et optimisation des processus</a:t>
            </a:r>
          </a:p>
        </p:txBody>
      </p:sp>
      <p:sp>
        <p:nvSpPr>
          <p:cNvPr id="3" name="Rectangle : coins arrondis 2">
            <a:extLst>
              <a:ext uri="{FF2B5EF4-FFF2-40B4-BE49-F238E27FC236}">
                <a16:creationId xmlns:a16="http://schemas.microsoft.com/office/drawing/2014/main" id="{8A290F6C-32EF-B937-F95A-F58BE140BDD3}"/>
              </a:ext>
            </a:extLst>
          </p:cNvPr>
          <p:cNvSpPr/>
          <p:nvPr/>
        </p:nvSpPr>
        <p:spPr>
          <a:xfrm>
            <a:off x="2409044" y="1209123"/>
            <a:ext cx="5220000" cy="540000"/>
          </a:xfrm>
          <a:prstGeom prst="roundRect">
            <a:avLst/>
          </a:prstGeom>
          <a:solidFill>
            <a:schemeClr val="tx2"/>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500" b="1" i="0" u="none" strike="noStrike" kern="0" cap="none" spc="0" normalizeH="0" baseline="0" noProof="0">
                <a:ln>
                  <a:noFill/>
                </a:ln>
                <a:solidFill>
                  <a:srgbClr val="FFFFFF"/>
                </a:solidFill>
                <a:effectLst/>
                <a:uLnTx/>
                <a:uFillTx/>
                <a:latin typeface="Arial"/>
                <a:ea typeface="+mn-ea"/>
                <a:cs typeface="+mn-cs"/>
                <a:sym typeface="Arial"/>
              </a:rPr>
              <a:t>Stratégie d’entreprise</a:t>
            </a:r>
          </a:p>
        </p:txBody>
      </p:sp>
      <p:sp>
        <p:nvSpPr>
          <p:cNvPr id="24" name="Rectangle 23">
            <a:extLst>
              <a:ext uri="{FF2B5EF4-FFF2-40B4-BE49-F238E27FC236}">
                <a16:creationId xmlns:a16="http://schemas.microsoft.com/office/drawing/2014/main" id="{32BAD4BE-EE46-5AD8-CFD3-1F27099F1049}"/>
              </a:ext>
            </a:extLst>
          </p:cNvPr>
          <p:cNvSpPr/>
          <p:nvPr/>
        </p:nvSpPr>
        <p:spPr>
          <a:xfrm>
            <a:off x="3129044" y="2871362"/>
            <a:ext cx="3780000" cy="1323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1" i="0" u="none" strike="noStrike" kern="0" cap="none" spc="0" normalizeH="0" baseline="0" noProof="0">
                <a:ln>
                  <a:noFill/>
                </a:ln>
                <a:solidFill>
                  <a:srgbClr val="000000"/>
                </a:solidFill>
                <a:effectLst/>
                <a:uLnTx/>
                <a:uFillTx/>
                <a:latin typeface="Arial"/>
                <a:ea typeface="+mn-ea"/>
                <a:cs typeface="+mn-cs"/>
                <a:sym typeface="Arial"/>
              </a:rPr>
              <a:t>Vue et analyse des macro-processus</a:t>
            </a:r>
            <a:endParaRPr kumimoji="0" lang="fr-FR" sz="1300" b="0" i="0" u="none" strike="noStrike" kern="0" cap="none" spc="0" normalizeH="0" baseline="0" noProof="0">
              <a:ln>
                <a:noFill/>
              </a:ln>
              <a:solidFill>
                <a:srgbClr val="000000"/>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0" i="1" u="none" strike="noStrike" kern="0" cap="none" spc="0" normalizeH="0" baseline="0" noProof="0">
                <a:ln>
                  <a:noFill/>
                </a:ln>
                <a:solidFill>
                  <a:srgbClr val="000000"/>
                </a:solidFill>
                <a:effectLst/>
                <a:uLnTx/>
                <a:uFillTx/>
                <a:latin typeface="Arial"/>
                <a:ea typeface="+mn-ea"/>
                <a:cs typeface="+mn-cs"/>
                <a:sym typeface="Arial"/>
              </a:rPr>
              <a:t>(Déterminer</a:t>
            </a:r>
            <a:r>
              <a:rPr kumimoji="0" lang="fr-FR" sz="1300" b="0" i="1" u="none" strike="noStrike" kern="0" cap="none" spc="0" normalizeH="0" baseline="0" noProof="0">
                <a:ln>
                  <a:noFill/>
                </a:ln>
                <a:solidFill>
                  <a:srgbClr val="000000"/>
                </a:solidFill>
                <a:effectLst/>
                <a:uLnTx/>
                <a:uFillTx/>
                <a:latin typeface="Arial"/>
                <a:ea typeface="+mn-ea"/>
                <a:cs typeface="+mn-cs"/>
                <a:sym typeface="Wingdings" panose="05000000000000000000" pitchFamily="2" charset="2"/>
              </a:rPr>
              <a:t> l’opportunité de la transformation, mesurer l’effort nécessaire et déterminer les niveaux de priorité)</a:t>
            </a:r>
            <a:endParaRPr kumimoji="0" lang="fr-FR" sz="1300" b="0" i="1" u="none" strike="noStrike" kern="0" cap="none" spc="0" normalizeH="0" baseline="0" noProof="0">
              <a:ln>
                <a:noFill/>
              </a:ln>
              <a:solidFill>
                <a:srgbClr val="000000"/>
              </a:solidFill>
              <a:effectLst/>
              <a:uLnTx/>
              <a:uFillTx/>
              <a:latin typeface="Arial"/>
              <a:ea typeface="+mn-ea"/>
              <a:cs typeface="Arial"/>
              <a:sym typeface="Arial"/>
            </a:endParaRPr>
          </a:p>
          <a:p>
            <a:pPr marL="285750" marR="0" lvl="0" indent="-28575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è"/>
              <a:tabLst/>
              <a:defRPr/>
            </a:pPr>
            <a:endParaRPr kumimoji="0" lang="fr-FR" sz="1300" b="1" i="0" u="none" strike="noStrike" kern="0" cap="none" spc="0" normalizeH="0" baseline="0" noProof="0">
              <a:ln>
                <a:noFill/>
              </a:ln>
              <a:solidFill>
                <a:srgbClr val="000000"/>
              </a:solidFill>
              <a:effectLst/>
              <a:uLnTx/>
              <a:uFillTx/>
              <a:latin typeface="Arial"/>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1" i="0" u="none" strike="noStrike" kern="0" cap="none" spc="0" normalizeH="0" baseline="0" noProof="0">
                <a:ln>
                  <a:noFill/>
                </a:ln>
                <a:solidFill>
                  <a:srgbClr val="000000"/>
                </a:solidFill>
                <a:effectLst/>
                <a:uLnTx/>
                <a:uFillTx/>
                <a:latin typeface="Arial"/>
                <a:ea typeface="+mn-ea"/>
                <a:cs typeface="+mn-cs"/>
                <a:sym typeface="Wingdings" panose="05000000000000000000" pitchFamily="2" charset="2"/>
              </a:rPr>
              <a:t>Vue sur l'organisation de l’activité</a:t>
            </a:r>
            <a:endParaRPr kumimoji="0" lang="fr-FR" sz="13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25" name="Rectangle 24">
            <a:extLst>
              <a:ext uri="{FF2B5EF4-FFF2-40B4-BE49-F238E27FC236}">
                <a16:creationId xmlns:a16="http://schemas.microsoft.com/office/drawing/2014/main" id="{B42F8D2A-9953-03C8-1E18-7D8DA53CCE45}"/>
              </a:ext>
            </a:extLst>
          </p:cNvPr>
          <p:cNvSpPr/>
          <p:nvPr/>
        </p:nvSpPr>
        <p:spPr>
          <a:xfrm>
            <a:off x="3129044" y="4797772"/>
            <a:ext cx="3780000" cy="11312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0" i="0" u="none" strike="noStrike" kern="0" cap="none" spc="0" normalizeH="0" baseline="0" noProof="0">
                <a:ln>
                  <a:noFill/>
                </a:ln>
                <a:solidFill>
                  <a:srgbClr val="000000"/>
                </a:solidFill>
                <a:effectLst/>
                <a:uLnTx/>
                <a:uFillTx/>
                <a:latin typeface="Arial"/>
                <a:ea typeface="+mn-ea"/>
                <a:cs typeface="+mn-cs"/>
                <a:sym typeface="Arial"/>
              </a:rPr>
              <a:t>Transformation des processus avec un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0" i="0" u="none" strike="noStrike" kern="0" cap="none" spc="0" normalizeH="0" baseline="0" noProof="0">
                <a:ln>
                  <a:noFill/>
                </a:ln>
                <a:solidFill>
                  <a:srgbClr val="000000"/>
                </a:solidFill>
                <a:effectLst/>
                <a:uLnTx/>
                <a:uFillTx/>
                <a:latin typeface="Arial"/>
                <a:ea typeface="+mn-ea"/>
                <a:cs typeface="+mn-cs"/>
                <a:sym typeface="Arial"/>
              </a:rPr>
              <a:t>vue 360 : impacts </a:t>
            </a:r>
            <a:r>
              <a:rPr lang="fr-FR" sz="1300" kern="0">
                <a:solidFill>
                  <a:srgbClr val="000000"/>
                </a:solidFill>
                <a:latin typeface="Arial"/>
                <a:sym typeface="Arial"/>
              </a:rPr>
              <a:t>process, organisation et RH, technologie</a:t>
            </a:r>
            <a:endParaRPr kumimoji="0" lang="fr-FR" sz="1300" b="0" i="0" u="none" strike="noStrike" kern="0" cap="none" spc="0" normalizeH="0" baseline="0" noProof="0">
              <a:ln>
                <a:noFill/>
              </a:ln>
              <a:solidFill>
                <a:srgbClr val="000000"/>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0" i="0" u="none" strike="noStrike" kern="0" cap="none" spc="0" normalizeH="0" baseline="0" noProof="0">
                <a:ln>
                  <a:noFill/>
                </a:ln>
                <a:solidFill>
                  <a:srgbClr val="000000"/>
                </a:solidFill>
                <a:effectLst/>
                <a:uLnTx/>
                <a:uFillTx/>
                <a:latin typeface="Arial"/>
                <a:ea typeface="+mn-ea"/>
                <a:cs typeface="+mn-cs"/>
                <a:sym typeface="Arial"/>
              </a:rPr>
              <a:t>Différentes méthodes</a:t>
            </a:r>
            <a:r>
              <a:rPr kumimoji="0" lang="fr-FR" sz="1300" b="0" i="1" u="none" strike="noStrike" kern="0" cap="none" spc="0" normalizeH="0" baseline="0" noProof="0">
                <a:ln>
                  <a:noFill/>
                </a:ln>
                <a:solidFill>
                  <a:srgbClr val="000000"/>
                </a:solidFill>
                <a:effectLst/>
                <a:uLnTx/>
                <a:uFillTx/>
                <a:latin typeface="Arial"/>
                <a:ea typeface="+mn-ea"/>
                <a:cs typeface="+mn-cs"/>
                <a:sym typeface="Arial"/>
              </a:rPr>
              <a:t> (processus / data crunching, lean management, …)</a:t>
            </a:r>
            <a:endParaRPr kumimoji="0" lang="fr-FR" sz="1300" b="0" i="1"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 name="Rectangle 25">
            <a:extLst>
              <a:ext uri="{FF2B5EF4-FFF2-40B4-BE49-F238E27FC236}">
                <a16:creationId xmlns:a16="http://schemas.microsoft.com/office/drawing/2014/main" id="{B14ED9C8-637C-15A7-9DAE-F8C1D2500910}"/>
              </a:ext>
            </a:extLst>
          </p:cNvPr>
          <p:cNvSpPr/>
          <p:nvPr/>
        </p:nvSpPr>
        <p:spPr>
          <a:xfrm>
            <a:off x="3129044" y="1673541"/>
            <a:ext cx="3780000" cy="727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300" b="0" i="0" u="none" strike="noStrike" kern="0" cap="none" spc="0" normalizeH="0" baseline="0" noProof="0">
                <a:ln>
                  <a:noFill/>
                </a:ln>
                <a:solidFill>
                  <a:srgbClr val="000000"/>
                </a:solidFill>
                <a:effectLst/>
                <a:uLnTx/>
                <a:uFillTx/>
                <a:latin typeface="Arial"/>
                <a:ea typeface="+mn-ea"/>
                <a:cs typeface="+mn-cs"/>
                <a:sym typeface="Arial"/>
              </a:rPr>
              <a:t>Input à la définition des principes directeurs </a:t>
            </a:r>
            <a:br>
              <a:rPr kumimoji="0" lang="fr-FR" sz="1300" b="0" i="0" u="none" strike="noStrike" kern="0" cap="none" spc="0" normalizeH="0" baseline="0" noProof="0">
                <a:ln>
                  <a:noFill/>
                </a:ln>
                <a:solidFill>
                  <a:srgbClr val="000000"/>
                </a:solidFill>
                <a:effectLst/>
                <a:uLnTx/>
                <a:uFillTx/>
                <a:latin typeface="Arial"/>
                <a:ea typeface="+mn-ea"/>
                <a:cs typeface="+mn-cs"/>
                <a:sym typeface="Arial"/>
              </a:rPr>
            </a:br>
            <a:r>
              <a:rPr kumimoji="0" lang="fr-FR" sz="1300" b="0" i="0" u="none" strike="noStrike" kern="0" cap="none" spc="0" normalizeH="0" baseline="0" noProof="0">
                <a:ln>
                  <a:noFill/>
                </a:ln>
                <a:solidFill>
                  <a:srgbClr val="000000"/>
                </a:solidFill>
                <a:effectLst/>
                <a:uLnTx/>
                <a:uFillTx/>
                <a:latin typeface="Arial"/>
                <a:ea typeface="+mn-ea"/>
                <a:cs typeface="+mn-cs"/>
                <a:sym typeface="Arial"/>
              </a:rPr>
              <a:t>et des objectifs à poursuivre</a:t>
            </a:r>
          </a:p>
        </p:txBody>
      </p:sp>
      <p:sp>
        <p:nvSpPr>
          <p:cNvPr id="15" name="Rectangle 14">
            <a:extLst>
              <a:ext uri="{FF2B5EF4-FFF2-40B4-BE49-F238E27FC236}">
                <a16:creationId xmlns:a16="http://schemas.microsoft.com/office/drawing/2014/main" id="{10A12AC6-74CB-EC01-DCEC-CC23218ABB4E}"/>
              </a:ext>
            </a:extLst>
          </p:cNvPr>
          <p:cNvSpPr/>
          <p:nvPr/>
        </p:nvSpPr>
        <p:spPr>
          <a:xfrm>
            <a:off x="7525892" y="912611"/>
            <a:ext cx="4562956" cy="1300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Tree>
    <p:extLst>
      <p:ext uri="{BB962C8B-B14F-4D97-AF65-F5344CB8AC3E}">
        <p14:creationId xmlns:p14="http://schemas.microsoft.com/office/powerpoint/2010/main" val="2137399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B429B38F-DF09-604F-24D2-3685D4763F3D}"/>
              </a:ext>
            </a:extLst>
          </p:cNvPr>
          <p:cNvSpPr/>
          <p:nvPr/>
        </p:nvSpPr>
        <p:spPr>
          <a:xfrm>
            <a:off x="8626360" y="1865745"/>
            <a:ext cx="3565639" cy="479175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20" name="Graphique 19">
            <a:extLst>
              <a:ext uri="{FF2B5EF4-FFF2-40B4-BE49-F238E27FC236}">
                <a16:creationId xmlns:a16="http://schemas.microsoft.com/office/drawing/2014/main" id="{57E2A505-721E-E48E-436B-FF4100794D61}"/>
              </a:ext>
            </a:extLst>
          </p:cNvPr>
          <p:cNvGraphicFramePr/>
          <p:nvPr>
            <p:extLst>
              <p:ext uri="{D42A27DB-BD31-4B8C-83A1-F6EECF244321}">
                <p14:modId xmlns:p14="http://schemas.microsoft.com/office/powerpoint/2010/main" val="3232274027"/>
              </p:ext>
            </p:extLst>
          </p:nvPr>
        </p:nvGraphicFramePr>
        <p:xfrm>
          <a:off x="340723" y="585647"/>
          <a:ext cx="5749938" cy="6895033"/>
        </p:xfrm>
        <a:graphic>
          <a:graphicData uri="http://schemas.openxmlformats.org/drawingml/2006/chart">
            <c:chart xmlns:c="http://schemas.openxmlformats.org/drawingml/2006/chart" xmlns:r="http://schemas.openxmlformats.org/officeDocument/2006/relationships" r:id="rId2"/>
          </a:graphicData>
        </a:graphic>
      </p:graphicFrame>
      <p:sp>
        <p:nvSpPr>
          <p:cNvPr id="28" name="ZoneTexte 27">
            <a:extLst>
              <a:ext uri="{FF2B5EF4-FFF2-40B4-BE49-F238E27FC236}">
                <a16:creationId xmlns:a16="http://schemas.microsoft.com/office/drawing/2014/main" id="{A64141C2-3113-8DE7-4526-573ECBF431DE}"/>
              </a:ext>
            </a:extLst>
          </p:cNvPr>
          <p:cNvSpPr txBox="1"/>
          <p:nvPr/>
        </p:nvSpPr>
        <p:spPr>
          <a:xfrm>
            <a:off x="1352550" y="3916289"/>
            <a:ext cx="96202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a:ln>
                  <a:noFill/>
                </a:ln>
                <a:solidFill>
                  <a:srgbClr val="FFFFFF"/>
                </a:solidFill>
                <a:effectLst/>
                <a:uLnTx/>
                <a:uFillTx/>
                <a:latin typeface="Arial"/>
                <a:cs typeface="Arial"/>
                <a:sym typeface="Arial"/>
              </a:rPr>
              <a:t>Primes</a:t>
            </a:r>
          </a:p>
        </p:txBody>
      </p:sp>
      <p:sp>
        <p:nvSpPr>
          <p:cNvPr id="29" name="ZoneTexte 28">
            <a:extLst>
              <a:ext uri="{FF2B5EF4-FFF2-40B4-BE49-F238E27FC236}">
                <a16:creationId xmlns:a16="http://schemas.microsoft.com/office/drawing/2014/main" id="{1B44C68F-A00D-CB48-FB70-D9A5913B9958}"/>
              </a:ext>
            </a:extLst>
          </p:cNvPr>
          <p:cNvSpPr txBox="1"/>
          <p:nvPr/>
        </p:nvSpPr>
        <p:spPr>
          <a:xfrm>
            <a:off x="4114800" y="3793906"/>
            <a:ext cx="9620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FFFFFF"/>
                </a:solidFill>
                <a:effectLst/>
                <a:uLnTx/>
                <a:uFillTx/>
                <a:latin typeface="Arial"/>
                <a:cs typeface="Arial"/>
                <a:sym typeface="Arial"/>
              </a:rPr>
              <a:t>Coût sinistres</a:t>
            </a:r>
          </a:p>
        </p:txBody>
      </p:sp>
      <p:sp>
        <p:nvSpPr>
          <p:cNvPr id="31" name="ZoneTexte 30">
            <a:extLst>
              <a:ext uri="{FF2B5EF4-FFF2-40B4-BE49-F238E27FC236}">
                <a16:creationId xmlns:a16="http://schemas.microsoft.com/office/drawing/2014/main" id="{060BD229-24C8-8401-F3E3-DF588067CAAC}"/>
              </a:ext>
            </a:extLst>
          </p:cNvPr>
          <p:cNvSpPr txBox="1"/>
          <p:nvPr/>
        </p:nvSpPr>
        <p:spPr>
          <a:xfrm>
            <a:off x="4114800" y="4996806"/>
            <a:ext cx="96202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FFFFFF"/>
                </a:solidFill>
                <a:effectLst/>
                <a:uLnTx/>
                <a:uFillTx/>
                <a:latin typeface="Arial"/>
                <a:cs typeface="Arial"/>
                <a:sym typeface="Arial"/>
              </a:rPr>
              <a:t>Gestion sinistres</a:t>
            </a:r>
          </a:p>
        </p:txBody>
      </p:sp>
      <p:sp>
        <p:nvSpPr>
          <p:cNvPr id="32" name="ZoneTexte 31">
            <a:extLst>
              <a:ext uri="{FF2B5EF4-FFF2-40B4-BE49-F238E27FC236}">
                <a16:creationId xmlns:a16="http://schemas.microsoft.com/office/drawing/2014/main" id="{63094160-8112-776C-F4C7-95CFD41F0EBB}"/>
              </a:ext>
            </a:extLst>
          </p:cNvPr>
          <p:cNvSpPr txBox="1"/>
          <p:nvPr/>
        </p:nvSpPr>
        <p:spPr>
          <a:xfrm>
            <a:off x="4114800" y="4806769"/>
            <a:ext cx="9620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FFFFFF"/>
                </a:solidFill>
                <a:effectLst/>
                <a:uLnTx/>
                <a:uFillTx/>
                <a:latin typeface="Arial"/>
                <a:cs typeface="Arial"/>
                <a:sym typeface="Arial"/>
              </a:rPr>
              <a:t>Honoraires</a:t>
            </a:r>
          </a:p>
        </p:txBody>
      </p:sp>
      <p:sp>
        <p:nvSpPr>
          <p:cNvPr id="35" name="ZoneTexte 34">
            <a:extLst>
              <a:ext uri="{FF2B5EF4-FFF2-40B4-BE49-F238E27FC236}">
                <a16:creationId xmlns:a16="http://schemas.microsoft.com/office/drawing/2014/main" id="{3E10EB17-EEEA-CCF4-8CB5-66887DD9E88D}"/>
              </a:ext>
            </a:extLst>
          </p:cNvPr>
          <p:cNvSpPr txBox="1"/>
          <p:nvPr/>
        </p:nvSpPr>
        <p:spPr>
          <a:xfrm>
            <a:off x="4114800" y="5392545"/>
            <a:ext cx="9620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FFFFFF"/>
                </a:solidFill>
                <a:effectLst/>
                <a:uLnTx/>
                <a:uFillTx/>
                <a:latin typeface="Arial"/>
                <a:cs typeface="Arial"/>
                <a:sym typeface="Arial"/>
              </a:rPr>
              <a:t>Contrat</a:t>
            </a:r>
          </a:p>
        </p:txBody>
      </p:sp>
      <p:sp>
        <p:nvSpPr>
          <p:cNvPr id="42" name="ZoneTexte 41">
            <a:extLst>
              <a:ext uri="{FF2B5EF4-FFF2-40B4-BE49-F238E27FC236}">
                <a16:creationId xmlns:a16="http://schemas.microsoft.com/office/drawing/2014/main" id="{5D8F32D1-C840-2AFD-EA24-5189C838EB61}"/>
              </a:ext>
            </a:extLst>
          </p:cNvPr>
          <p:cNvSpPr txBox="1"/>
          <p:nvPr/>
        </p:nvSpPr>
        <p:spPr>
          <a:xfrm>
            <a:off x="4114800" y="5946068"/>
            <a:ext cx="9620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FFFFFF"/>
                </a:solidFill>
                <a:effectLst/>
                <a:uLnTx/>
                <a:uFillTx/>
                <a:latin typeface="Arial"/>
                <a:cs typeface="Arial"/>
                <a:sym typeface="Arial"/>
              </a:rPr>
              <a:t>Souscription</a:t>
            </a:r>
          </a:p>
        </p:txBody>
      </p:sp>
      <p:sp>
        <p:nvSpPr>
          <p:cNvPr id="43" name="ZoneTexte 42">
            <a:extLst>
              <a:ext uri="{FF2B5EF4-FFF2-40B4-BE49-F238E27FC236}">
                <a16:creationId xmlns:a16="http://schemas.microsoft.com/office/drawing/2014/main" id="{35F27379-DDDF-5B3A-E3B3-898784F8D850}"/>
              </a:ext>
            </a:extLst>
          </p:cNvPr>
          <p:cNvSpPr txBox="1"/>
          <p:nvPr/>
        </p:nvSpPr>
        <p:spPr>
          <a:xfrm>
            <a:off x="4029075" y="6383044"/>
            <a:ext cx="1133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FFFFFF"/>
                </a:solidFill>
                <a:effectLst/>
                <a:uLnTx/>
                <a:uFillTx/>
                <a:latin typeface="Arial"/>
                <a:cs typeface="Arial"/>
                <a:sym typeface="Arial"/>
              </a:rPr>
              <a:t>Réassurance</a:t>
            </a:r>
          </a:p>
        </p:txBody>
      </p:sp>
      <p:sp>
        <p:nvSpPr>
          <p:cNvPr id="45" name="ZoneTexte 44">
            <a:extLst>
              <a:ext uri="{FF2B5EF4-FFF2-40B4-BE49-F238E27FC236}">
                <a16:creationId xmlns:a16="http://schemas.microsoft.com/office/drawing/2014/main" id="{342146C9-3AE2-24E5-54BA-901F52F86A95}"/>
              </a:ext>
            </a:extLst>
          </p:cNvPr>
          <p:cNvSpPr txBox="1"/>
          <p:nvPr/>
        </p:nvSpPr>
        <p:spPr>
          <a:xfrm>
            <a:off x="923926" y="1270000"/>
            <a:ext cx="48672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1" u="none" strike="noStrike" kern="0" cap="none" spc="0" normalizeH="0" baseline="0" noProof="0">
                <a:ln>
                  <a:noFill/>
                </a:ln>
                <a:solidFill>
                  <a:srgbClr val="000000"/>
                </a:solidFill>
                <a:effectLst/>
                <a:uLnTx/>
                <a:uFillTx/>
                <a:latin typeface="Arial"/>
                <a:cs typeface="Arial"/>
                <a:sym typeface="Arial"/>
              </a:rPr>
              <a:t>Décomposition macro du compte de résultat (ADE et prév indiv)</a:t>
            </a:r>
          </a:p>
        </p:txBody>
      </p:sp>
      <p:sp>
        <p:nvSpPr>
          <p:cNvPr id="49" name="ZoneTexte 48">
            <a:extLst>
              <a:ext uri="{FF2B5EF4-FFF2-40B4-BE49-F238E27FC236}">
                <a16:creationId xmlns:a16="http://schemas.microsoft.com/office/drawing/2014/main" id="{C0380816-51B3-EEE3-8F57-A5C74F58BBC2}"/>
              </a:ext>
            </a:extLst>
          </p:cNvPr>
          <p:cNvSpPr txBox="1"/>
          <p:nvPr/>
        </p:nvSpPr>
        <p:spPr>
          <a:xfrm>
            <a:off x="6826370" y="1270000"/>
            <a:ext cx="5010043" cy="276999"/>
          </a:xfrm>
          <a:prstGeom prst="rect">
            <a:avLst/>
          </a:prstGeom>
          <a:noFill/>
        </p:spPr>
        <p:txBody>
          <a:bodyPr wrap="square" rtlCol="0">
            <a:spAutoFit/>
          </a:bodyPr>
          <a:lstStyle>
            <a:defPPr>
              <a:defRPr lang="fr-FR"/>
            </a:defPPr>
            <a:lvl1pPr marR="0" lvl="0" indent="0" algn="ctr" fontAlgn="auto">
              <a:lnSpc>
                <a:spcPct val="100000"/>
              </a:lnSpc>
              <a:spcBef>
                <a:spcPts val="0"/>
              </a:spcBef>
              <a:spcAft>
                <a:spcPts val="0"/>
              </a:spcAft>
              <a:buClr>
                <a:srgbClr val="000000"/>
              </a:buClr>
              <a:buSzTx/>
              <a:buFont typeface="Arial"/>
              <a:buNone/>
              <a:tabLst/>
              <a:defRPr kumimoji="0" sz="1200" b="1" i="1" u="none" strike="noStrike" kern="0" cap="none" spc="0" normalizeH="0" baseline="0">
                <a:ln>
                  <a:noFill/>
                </a:ln>
                <a:solidFill>
                  <a:srgbClr val="000000"/>
                </a:solidFill>
                <a:effectLst/>
                <a:uLnTx/>
                <a:uFillTx/>
                <a:latin typeface="Arial"/>
                <a:cs typeface="Arial"/>
              </a:defRPr>
            </a:lvl1pPr>
          </a:lstStyle>
          <a:p>
            <a:r>
              <a:rPr lang="fr-FR">
                <a:sym typeface="Arial"/>
              </a:rPr>
              <a:t>Exemples de leviers pour gagner en efficacité </a:t>
            </a:r>
          </a:p>
        </p:txBody>
      </p:sp>
      <p:sp>
        <p:nvSpPr>
          <p:cNvPr id="54" name="Accolade ouvrante 53">
            <a:extLst>
              <a:ext uri="{FF2B5EF4-FFF2-40B4-BE49-F238E27FC236}">
                <a16:creationId xmlns:a16="http://schemas.microsoft.com/office/drawing/2014/main" id="{FA1B747B-1A36-F63B-5058-228BAE2CC832}"/>
              </a:ext>
            </a:extLst>
          </p:cNvPr>
          <p:cNvSpPr/>
          <p:nvPr/>
        </p:nvSpPr>
        <p:spPr>
          <a:xfrm>
            <a:off x="3800475" y="2986449"/>
            <a:ext cx="153781" cy="357165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55" name="ZoneTexte 54">
            <a:extLst>
              <a:ext uri="{FF2B5EF4-FFF2-40B4-BE49-F238E27FC236}">
                <a16:creationId xmlns:a16="http://schemas.microsoft.com/office/drawing/2014/main" id="{89781E96-E0DF-1F0A-2100-D52587006FE0}"/>
              </a:ext>
            </a:extLst>
          </p:cNvPr>
          <p:cNvSpPr txBox="1"/>
          <p:nvPr/>
        </p:nvSpPr>
        <p:spPr>
          <a:xfrm>
            <a:off x="2629615" y="4549859"/>
            <a:ext cx="12451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1" u="none" strike="noStrike" kern="0" cap="none" spc="0" normalizeH="0" baseline="0" noProof="0">
                <a:ln>
                  <a:noFill/>
                </a:ln>
                <a:solidFill>
                  <a:srgbClr val="000000"/>
                </a:solidFill>
                <a:effectLst/>
                <a:uLnTx/>
                <a:uFillTx/>
                <a:latin typeface="Arial"/>
                <a:cs typeface="Arial"/>
                <a:sym typeface="Arial"/>
              </a:rPr>
              <a:t>Ratio combiné net : 69%</a:t>
            </a:r>
          </a:p>
        </p:txBody>
      </p:sp>
      <p:cxnSp>
        <p:nvCxnSpPr>
          <p:cNvPr id="60" name="Connecteur droit 59">
            <a:extLst>
              <a:ext uri="{FF2B5EF4-FFF2-40B4-BE49-F238E27FC236}">
                <a16:creationId xmlns:a16="http://schemas.microsoft.com/office/drawing/2014/main" id="{AA1A8815-2B5E-B3AB-B69F-F1B5C6B92FDF}"/>
              </a:ext>
            </a:extLst>
          </p:cNvPr>
          <p:cNvCxnSpPr>
            <a:cxnSpLocks/>
          </p:cNvCxnSpPr>
          <p:nvPr/>
        </p:nvCxnSpPr>
        <p:spPr>
          <a:xfrm flipV="1">
            <a:off x="5126898" y="3106030"/>
            <a:ext cx="1288285" cy="179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0908950-2625-6C0E-AED2-6370D2BB44F0}"/>
              </a:ext>
            </a:extLst>
          </p:cNvPr>
          <p:cNvSpPr/>
          <p:nvPr/>
        </p:nvSpPr>
        <p:spPr>
          <a:xfrm>
            <a:off x="6396134" y="2934410"/>
            <a:ext cx="5435497" cy="828000"/>
          </a:xfrm>
          <a:prstGeom prst="rect">
            <a:avLst/>
          </a:prstGeom>
          <a:solidFill>
            <a:schemeClr val="bg1">
              <a:lumMod val="95000"/>
            </a:scheme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000" rIns="36000" bIns="0" rtlCol="0" anchor="t"/>
          <a:lstStyle/>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Politique d’indemnisation : conditions de la confiance a priori  ; critères d’expertise médicale ; bonus qualité et délai</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Capitalisation sur les expertises passée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endParaRPr>
          </a:p>
        </p:txBody>
      </p:sp>
      <p:cxnSp>
        <p:nvCxnSpPr>
          <p:cNvPr id="63" name="Connecteur droit 62">
            <a:extLst>
              <a:ext uri="{FF2B5EF4-FFF2-40B4-BE49-F238E27FC236}">
                <a16:creationId xmlns:a16="http://schemas.microsoft.com/office/drawing/2014/main" id="{89ECDFF0-B1A9-D3A2-8360-8D265B657254}"/>
              </a:ext>
            </a:extLst>
          </p:cNvPr>
          <p:cNvCxnSpPr>
            <a:cxnSpLocks/>
          </p:cNvCxnSpPr>
          <p:nvPr/>
        </p:nvCxnSpPr>
        <p:spPr>
          <a:xfrm flipV="1">
            <a:off x="5126898" y="3909152"/>
            <a:ext cx="1269236" cy="124066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B727713A-EBF8-01A7-BB9A-1E585F7FB3BB}"/>
              </a:ext>
            </a:extLst>
          </p:cNvPr>
          <p:cNvSpPr/>
          <p:nvPr/>
        </p:nvSpPr>
        <p:spPr>
          <a:xfrm>
            <a:off x="6396134" y="3819286"/>
            <a:ext cx="5435497" cy="828000"/>
          </a:xfrm>
          <a:prstGeom prst="rect">
            <a:avLst/>
          </a:prstGeom>
          <a:solidFill>
            <a:schemeClr val="bg1">
              <a:lumMod val="95000"/>
            </a:scheme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000" rIns="36000" bIns="0" rtlCol="0" anchor="t"/>
          <a:lstStyle/>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Gestion mutualisée vs affectée</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fr-FR" sz="1100" kern="0">
                <a:solidFill>
                  <a:srgbClr val="000000">
                    <a:lumMod val="95000"/>
                    <a:lumOff val="5000"/>
                  </a:srgbClr>
                </a:solidFill>
                <a:latin typeface="Arial"/>
                <a:sym typeface="Arial"/>
              </a:rPr>
              <a:t>Polyvalence vs spécialisation</a:t>
            </a:r>
            <a:endPar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endParaRP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Selfcare client</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Exploitation data (échanges, RE, …) pour orienter, décider et prédire</a:t>
            </a:r>
          </a:p>
        </p:txBody>
      </p:sp>
      <p:sp>
        <p:nvSpPr>
          <p:cNvPr id="65" name="Rectangle 64">
            <a:extLst>
              <a:ext uri="{FF2B5EF4-FFF2-40B4-BE49-F238E27FC236}">
                <a16:creationId xmlns:a16="http://schemas.microsoft.com/office/drawing/2014/main" id="{7C1DBA7E-AF5C-D860-DA8F-27382A93C6E9}"/>
              </a:ext>
            </a:extLst>
          </p:cNvPr>
          <p:cNvSpPr/>
          <p:nvPr/>
        </p:nvSpPr>
        <p:spPr>
          <a:xfrm>
            <a:off x="6396134" y="4704605"/>
            <a:ext cx="5435496" cy="828000"/>
          </a:xfrm>
          <a:prstGeom prst="rect">
            <a:avLst/>
          </a:prstGeom>
          <a:solidFill>
            <a:schemeClr val="bg1">
              <a:lumMod val="95000"/>
            </a:scheme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000" bIns="0" rtlCol="0" anchor="t"/>
          <a:lstStyle/>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Organisation : mutualisation, spécialisation vs polyvalence, …</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Assister le gestionnaire dans ses décisions techniques</a:t>
            </a:r>
            <a:r>
              <a:rPr lang="fr-FR" sz="1100" kern="0">
                <a:solidFill>
                  <a:srgbClr val="000000">
                    <a:lumMod val="95000"/>
                    <a:lumOff val="5000"/>
                  </a:srgbClr>
                </a:solidFill>
                <a:latin typeface="Arial"/>
                <a:sym typeface="Arial"/>
              </a:rPr>
              <a:t> </a:t>
            </a: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échanges, RE, …)</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Automatiser l’administratif et selfcariser (client, courtier)</a:t>
            </a:r>
          </a:p>
        </p:txBody>
      </p:sp>
      <p:cxnSp>
        <p:nvCxnSpPr>
          <p:cNvPr id="66" name="Connecteur droit 65">
            <a:extLst>
              <a:ext uri="{FF2B5EF4-FFF2-40B4-BE49-F238E27FC236}">
                <a16:creationId xmlns:a16="http://schemas.microsoft.com/office/drawing/2014/main" id="{7F1C1366-89F1-158E-CF4D-26C88B86EBEF}"/>
              </a:ext>
            </a:extLst>
          </p:cNvPr>
          <p:cNvCxnSpPr>
            <a:cxnSpLocks/>
          </p:cNvCxnSpPr>
          <p:nvPr/>
        </p:nvCxnSpPr>
        <p:spPr>
          <a:xfrm flipV="1">
            <a:off x="5162550" y="4871879"/>
            <a:ext cx="1252633" cy="6283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DFBCA435-7E04-4C47-68F0-168E577F7C06}"/>
              </a:ext>
            </a:extLst>
          </p:cNvPr>
          <p:cNvSpPr/>
          <p:nvPr/>
        </p:nvSpPr>
        <p:spPr>
          <a:xfrm>
            <a:off x="6396134" y="5609379"/>
            <a:ext cx="5435496" cy="828000"/>
          </a:xfrm>
          <a:prstGeom prst="rect">
            <a:avLst/>
          </a:prstGeom>
          <a:solidFill>
            <a:schemeClr val="bg1">
              <a:lumMod val="95000"/>
            </a:schemeClr>
          </a:solidFill>
          <a:ln w="3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tIns="18000" bIns="0" rtlCol="0" anchor="t"/>
          <a:lstStyle/>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Améliorer la qualité des dossiers (contrats, justificatifs, …)</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Remonter des leads aux réseaux</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Fluidification parcours de vente et de souscription</a:t>
            </a:r>
          </a:p>
          <a:p>
            <a:pPr marL="180975" marR="0" lvl="0" indent="-18097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lumMod val="95000"/>
                    <a:lumOff val="5000"/>
                  </a:srgbClr>
                </a:solidFill>
                <a:effectLst/>
                <a:uLnTx/>
                <a:uFillTx/>
                <a:latin typeface="Arial"/>
                <a:ea typeface="+mn-ea"/>
                <a:cs typeface="+mn-cs"/>
                <a:sym typeface="Arial"/>
              </a:rPr>
              <a:t>Contrôle en amont des saisies, pièces, …</a:t>
            </a:r>
          </a:p>
        </p:txBody>
      </p:sp>
      <p:cxnSp>
        <p:nvCxnSpPr>
          <p:cNvPr id="69" name="Connecteur droit 68">
            <a:extLst>
              <a:ext uri="{FF2B5EF4-FFF2-40B4-BE49-F238E27FC236}">
                <a16:creationId xmlns:a16="http://schemas.microsoft.com/office/drawing/2014/main" id="{313C9BA5-6FE9-38E3-8045-C0C61124D188}"/>
              </a:ext>
            </a:extLst>
          </p:cNvPr>
          <p:cNvCxnSpPr>
            <a:cxnSpLocks/>
          </p:cNvCxnSpPr>
          <p:nvPr/>
        </p:nvCxnSpPr>
        <p:spPr>
          <a:xfrm>
            <a:off x="5126898" y="5714830"/>
            <a:ext cx="126923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7B465FB-301B-E616-F217-55DFB61789BD}"/>
              </a:ext>
            </a:extLst>
          </p:cNvPr>
          <p:cNvSpPr/>
          <p:nvPr/>
        </p:nvSpPr>
        <p:spPr>
          <a:xfrm>
            <a:off x="3983589" y="4784406"/>
            <a:ext cx="1194049" cy="1609356"/>
          </a:xfrm>
          <a:prstGeom prst="rect">
            <a:avLst/>
          </a:prstGeom>
          <a:noFill/>
          <a:ln>
            <a:solidFill>
              <a:srgbClr val="C0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 name="Rectangle 5">
            <a:extLst>
              <a:ext uri="{FF2B5EF4-FFF2-40B4-BE49-F238E27FC236}">
                <a16:creationId xmlns:a16="http://schemas.microsoft.com/office/drawing/2014/main" id="{E25C4568-CBD6-8A3F-6075-46A4887C05FC}"/>
              </a:ext>
            </a:extLst>
          </p:cNvPr>
          <p:cNvSpPr/>
          <p:nvPr/>
        </p:nvSpPr>
        <p:spPr>
          <a:xfrm>
            <a:off x="3584376" y="6624153"/>
            <a:ext cx="2010229" cy="223157"/>
          </a:xfrm>
          <a:prstGeom prst="rect">
            <a:avLst/>
          </a:prstGeom>
          <a:noFill/>
          <a:ln>
            <a:solidFill>
              <a:srgbClr val="C0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chemeClr val="tx1"/>
                </a:solidFill>
                <a:effectLst/>
                <a:uLnTx/>
                <a:uFillTx/>
                <a:latin typeface="Arial"/>
                <a:ea typeface="+mn-ea"/>
                <a:cs typeface="+mn-cs"/>
                <a:sym typeface="Arial"/>
              </a:rPr>
              <a:t>Périmètre du gestionnaire</a:t>
            </a:r>
          </a:p>
        </p:txBody>
      </p:sp>
      <p:sp>
        <p:nvSpPr>
          <p:cNvPr id="4" name="Titre 1">
            <a:extLst>
              <a:ext uri="{FF2B5EF4-FFF2-40B4-BE49-F238E27FC236}">
                <a16:creationId xmlns:a16="http://schemas.microsoft.com/office/drawing/2014/main" id="{37B1EDE0-46CE-C55F-AF68-B740F514CE38}"/>
              </a:ext>
            </a:extLst>
          </p:cNvPr>
          <p:cNvSpPr txBox="1">
            <a:spLocks/>
          </p:cNvSpPr>
          <p:nvPr/>
        </p:nvSpPr>
        <p:spPr>
          <a:xfrm>
            <a:off x="396655" y="211639"/>
            <a:ext cx="9907072"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latin typeface="Arial Black" panose="020B0A04020102020204" pitchFamily="34" charset="0"/>
                <a:cs typeface="Calibri" panose="020F0502020204030204" pitchFamily="34" charset="0"/>
                <a:sym typeface="Arial"/>
              </a:rPr>
              <a:t>… CE QUI NÉCESSITE DE DÉGAGER DES MARGES DE MANŒUVRE NOTAMMENT VIA UNE OPTIMISATION DES BACK-OFFICES</a:t>
            </a:r>
            <a:endParaRPr lang="fr-FR" sz="1800" kern="0"/>
          </a:p>
        </p:txBody>
      </p:sp>
    </p:spTree>
    <p:extLst>
      <p:ext uri="{BB962C8B-B14F-4D97-AF65-F5344CB8AC3E}">
        <p14:creationId xmlns:p14="http://schemas.microsoft.com/office/powerpoint/2010/main" val="3389911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57833B-F9F8-3CAB-30A5-335812052FC8}"/>
              </a:ext>
            </a:extLst>
          </p:cNvPr>
          <p:cNvSpPr>
            <a:spLocks noGrp="1"/>
          </p:cNvSpPr>
          <p:nvPr>
            <p:ph type="title"/>
          </p:nvPr>
        </p:nvSpPr>
        <p:spPr>
          <a:xfrm>
            <a:off x="396655" y="211639"/>
            <a:ext cx="9907072" cy="407795"/>
          </a:xfrm>
          <a:solidFill>
            <a:schemeClr val="bg1"/>
          </a:solidFill>
        </p:spPr>
        <p:txBody>
          <a:bodyPr/>
          <a:lstStyle/>
          <a:p>
            <a:r>
              <a:rPr lang="fr-FR" sz="1800"/>
              <a:t>NOTRE VISION DES GISEMENTS D’EFFICACITÉ DANS LA CHAÎNE DE VALEUR DE L’ASSURANCE EMPRUNTEUR ET DE LA PRÉVOYANCE INDIVIDUELLE</a:t>
            </a:r>
          </a:p>
        </p:txBody>
      </p:sp>
      <p:sp>
        <p:nvSpPr>
          <p:cNvPr id="6" name="Chevron 20">
            <a:extLst>
              <a:ext uri="{FF2B5EF4-FFF2-40B4-BE49-F238E27FC236}">
                <a16:creationId xmlns:a16="http://schemas.microsoft.com/office/drawing/2014/main" id="{A1E41D64-FD95-50CC-8966-70D3F683CECA}"/>
              </a:ext>
            </a:extLst>
          </p:cNvPr>
          <p:cNvSpPr/>
          <p:nvPr/>
        </p:nvSpPr>
        <p:spPr>
          <a:xfrm>
            <a:off x="10304569" y="1205765"/>
            <a:ext cx="1367985" cy="1283408"/>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006EB7"/>
                </a:solidFill>
                <a:latin typeface="+mj-lt"/>
                <a:cs typeface="Arial"/>
              </a:rPr>
              <a:t>Trésorerie, </a:t>
            </a:r>
            <a:br>
              <a:rPr lang="fr-FR" sz="900" b="1" kern="0">
                <a:solidFill>
                  <a:srgbClr val="006EB7"/>
                </a:solidFill>
                <a:latin typeface="+mj-lt"/>
                <a:cs typeface="Arial"/>
              </a:rPr>
            </a:br>
            <a:r>
              <a:rPr lang="fr-FR" sz="900" b="1" kern="0">
                <a:solidFill>
                  <a:srgbClr val="006EB7"/>
                </a:solidFill>
                <a:latin typeface="+mj-lt"/>
                <a:cs typeface="Arial"/>
              </a:rPr>
              <a:t>pilotage, </a:t>
            </a:r>
            <a:br>
              <a:rPr lang="fr-FR" sz="900" b="1" kern="0">
                <a:solidFill>
                  <a:srgbClr val="006EB7"/>
                </a:solidFill>
                <a:latin typeface="+mj-lt"/>
                <a:cs typeface="Arial"/>
              </a:rPr>
            </a:br>
            <a:r>
              <a:rPr lang="fr-FR" sz="900" b="1" kern="0">
                <a:solidFill>
                  <a:srgbClr val="006EB7"/>
                </a:solidFill>
                <a:latin typeface="+mj-lt"/>
                <a:cs typeface="Arial"/>
              </a:rPr>
              <a:t>compta</a:t>
            </a:r>
          </a:p>
        </p:txBody>
      </p:sp>
      <p:sp>
        <p:nvSpPr>
          <p:cNvPr id="5" name="Chevron 21">
            <a:extLst>
              <a:ext uri="{FF2B5EF4-FFF2-40B4-BE49-F238E27FC236}">
                <a16:creationId xmlns:a16="http://schemas.microsoft.com/office/drawing/2014/main" id="{02A81392-860F-FA2E-1A23-F5B48A76F7F1}"/>
              </a:ext>
            </a:extLst>
          </p:cNvPr>
          <p:cNvSpPr/>
          <p:nvPr/>
        </p:nvSpPr>
        <p:spPr>
          <a:xfrm>
            <a:off x="8902718" y="1205765"/>
            <a:ext cx="1367985" cy="1283411"/>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spcAft>
                <a:spcPts val="600"/>
              </a:spcAft>
              <a:buClr>
                <a:srgbClr val="000000"/>
              </a:buClr>
            </a:pPr>
            <a:r>
              <a:rPr lang="fr-FR" sz="900" b="1">
                <a:solidFill>
                  <a:srgbClr val="01AEB8"/>
                </a:solidFill>
                <a:latin typeface="+mj-lt"/>
                <a:cs typeface="Calibri" panose="020F0502020204030204" pitchFamily="34" charset="0"/>
              </a:rPr>
              <a:t>Gestion </a:t>
            </a:r>
            <a:br>
              <a:rPr lang="fr-FR" sz="900" b="1">
                <a:solidFill>
                  <a:srgbClr val="01AEB8"/>
                </a:solidFill>
                <a:latin typeface="+mj-lt"/>
                <a:cs typeface="Calibri" panose="020F0502020204030204" pitchFamily="34" charset="0"/>
              </a:rPr>
            </a:br>
            <a:r>
              <a:rPr lang="fr-FR" sz="900" b="1">
                <a:solidFill>
                  <a:srgbClr val="01AEB8"/>
                </a:solidFill>
                <a:latin typeface="+mj-lt"/>
                <a:cs typeface="Calibri" panose="020F0502020204030204" pitchFamily="34" charset="0"/>
              </a:rPr>
              <a:t>des sinistres</a:t>
            </a:r>
          </a:p>
        </p:txBody>
      </p:sp>
      <p:sp>
        <p:nvSpPr>
          <p:cNvPr id="7" name="Chevron 21">
            <a:extLst>
              <a:ext uri="{FF2B5EF4-FFF2-40B4-BE49-F238E27FC236}">
                <a16:creationId xmlns:a16="http://schemas.microsoft.com/office/drawing/2014/main" id="{213E6CC4-AD4D-F30E-91AB-24842EE07D5F}"/>
              </a:ext>
            </a:extLst>
          </p:cNvPr>
          <p:cNvSpPr/>
          <p:nvPr/>
        </p:nvSpPr>
        <p:spPr>
          <a:xfrm>
            <a:off x="7500867" y="1205765"/>
            <a:ext cx="1367985" cy="1283408"/>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1D3D91"/>
                </a:solidFill>
                <a:latin typeface="+mj-lt"/>
                <a:cs typeface="Arial"/>
              </a:rPr>
              <a:t>Opérations </a:t>
            </a:r>
            <a:br>
              <a:rPr lang="fr-FR" sz="900" b="1" kern="0">
                <a:solidFill>
                  <a:srgbClr val="1D3D91"/>
                </a:solidFill>
                <a:latin typeface="+mj-lt"/>
                <a:cs typeface="Arial"/>
              </a:rPr>
            </a:br>
            <a:r>
              <a:rPr lang="fr-FR" sz="900" b="1" kern="0">
                <a:solidFill>
                  <a:srgbClr val="1D3D91"/>
                </a:solidFill>
                <a:latin typeface="+mj-lt"/>
                <a:cs typeface="Arial"/>
              </a:rPr>
              <a:t>après-vente</a:t>
            </a:r>
          </a:p>
        </p:txBody>
      </p:sp>
      <p:sp>
        <p:nvSpPr>
          <p:cNvPr id="8" name="Chevron 20">
            <a:extLst>
              <a:ext uri="{FF2B5EF4-FFF2-40B4-BE49-F238E27FC236}">
                <a16:creationId xmlns:a16="http://schemas.microsoft.com/office/drawing/2014/main" id="{2ACD1FCA-7E7D-E323-E3E9-B5E5B7FEC84F}"/>
              </a:ext>
            </a:extLst>
          </p:cNvPr>
          <p:cNvSpPr/>
          <p:nvPr/>
        </p:nvSpPr>
        <p:spPr>
          <a:xfrm>
            <a:off x="6099016" y="1205765"/>
            <a:ext cx="1367985" cy="1283408"/>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577CDD"/>
                </a:solidFill>
                <a:latin typeface="+mj-lt"/>
                <a:cs typeface="Arial"/>
              </a:rPr>
              <a:t>Souscription &amp; Adhésion</a:t>
            </a:r>
          </a:p>
        </p:txBody>
      </p:sp>
      <p:sp>
        <p:nvSpPr>
          <p:cNvPr id="11" name="Chevron 21">
            <a:extLst>
              <a:ext uri="{FF2B5EF4-FFF2-40B4-BE49-F238E27FC236}">
                <a16:creationId xmlns:a16="http://schemas.microsoft.com/office/drawing/2014/main" id="{98D3BB83-F691-BA68-D86E-137FDA08C607}"/>
              </a:ext>
            </a:extLst>
          </p:cNvPr>
          <p:cNvSpPr/>
          <p:nvPr/>
        </p:nvSpPr>
        <p:spPr>
          <a:xfrm>
            <a:off x="4697165" y="1205813"/>
            <a:ext cx="1367985" cy="1283210"/>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009DC5"/>
                </a:solidFill>
                <a:latin typeface="+mj-lt"/>
                <a:cs typeface="Arial"/>
              </a:rPr>
              <a:t>Tarification</a:t>
            </a:r>
          </a:p>
        </p:txBody>
      </p:sp>
      <p:sp>
        <p:nvSpPr>
          <p:cNvPr id="9" name="Chevron 21">
            <a:extLst>
              <a:ext uri="{FF2B5EF4-FFF2-40B4-BE49-F238E27FC236}">
                <a16:creationId xmlns:a16="http://schemas.microsoft.com/office/drawing/2014/main" id="{4EB9FAC3-686A-ADD1-E07E-DC7EC11628DB}"/>
              </a:ext>
            </a:extLst>
          </p:cNvPr>
          <p:cNvSpPr/>
          <p:nvPr/>
        </p:nvSpPr>
        <p:spPr>
          <a:xfrm>
            <a:off x="3295314" y="1205813"/>
            <a:ext cx="1367985" cy="1283210"/>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007694"/>
                </a:solidFill>
                <a:latin typeface="+mj-lt"/>
                <a:cs typeface="Arial"/>
              </a:rPr>
              <a:t>Sélection </a:t>
            </a:r>
            <a:br>
              <a:rPr lang="fr-FR" sz="900" b="1" kern="0">
                <a:solidFill>
                  <a:srgbClr val="007694"/>
                </a:solidFill>
                <a:latin typeface="+mj-lt"/>
                <a:cs typeface="Arial"/>
              </a:rPr>
            </a:br>
            <a:r>
              <a:rPr lang="fr-FR" sz="900" b="1" kern="0">
                <a:solidFill>
                  <a:srgbClr val="007694"/>
                </a:solidFill>
                <a:latin typeface="+mj-lt"/>
                <a:cs typeface="Arial"/>
              </a:rPr>
              <a:t>du risque</a:t>
            </a:r>
          </a:p>
        </p:txBody>
      </p:sp>
      <p:sp>
        <p:nvSpPr>
          <p:cNvPr id="10" name="Chevron 21">
            <a:extLst>
              <a:ext uri="{FF2B5EF4-FFF2-40B4-BE49-F238E27FC236}">
                <a16:creationId xmlns:a16="http://schemas.microsoft.com/office/drawing/2014/main" id="{F37F75AE-F663-658A-F793-F61B72503092}"/>
              </a:ext>
            </a:extLst>
          </p:cNvPr>
          <p:cNvSpPr/>
          <p:nvPr/>
        </p:nvSpPr>
        <p:spPr>
          <a:xfrm>
            <a:off x="1893463" y="1205813"/>
            <a:ext cx="1367985" cy="1283210"/>
          </a:xfrm>
          <a:prstGeom prst="chevron">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006EB7"/>
                </a:solidFill>
                <a:latin typeface="+mj-lt"/>
                <a:cs typeface="Arial"/>
              </a:rPr>
              <a:t>Distribution</a:t>
            </a:r>
          </a:p>
        </p:txBody>
      </p:sp>
      <p:sp>
        <p:nvSpPr>
          <p:cNvPr id="12" name="Pentagon 3">
            <a:extLst>
              <a:ext uri="{FF2B5EF4-FFF2-40B4-BE49-F238E27FC236}">
                <a16:creationId xmlns:a16="http://schemas.microsoft.com/office/drawing/2014/main" id="{FC4AF209-C34C-5D0E-34CC-812F896D6519}"/>
              </a:ext>
            </a:extLst>
          </p:cNvPr>
          <p:cNvSpPr/>
          <p:nvPr/>
        </p:nvSpPr>
        <p:spPr>
          <a:xfrm>
            <a:off x="491612" y="1205813"/>
            <a:ext cx="1367985" cy="1283210"/>
          </a:xfrm>
          <a:prstGeom prst="homePlate">
            <a:avLst>
              <a:gd name="adj" fmla="val 0"/>
            </a:avLst>
          </a:prstGeom>
          <a:solidFill>
            <a:srgbClr val="F2F6F8"/>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ctr">
              <a:buClr>
                <a:srgbClr val="000000"/>
              </a:buClr>
            </a:pPr>
            <a:r>
              <a:rPr lang="fr-FR" sz="900" b="1" kern="0">
                <a:solidFill>
                  <a:srgbClr val="5C64B7"/>
                </a:solidFill>
                <a:latin typeface="+mj-lt"/>
                <a:cs typeface="Arial"/>
              </a:rPr>
              <a:t>Marketing de l’offre </a:t>
            </a:r>
            <a:br>
              <a:rPr lang="fr-FR" sz="900" b="1" kern="0">
                <a:solidFill>
                  <a:srgbClr val="5C64B7"/>
                </a:solidFill>
                <a:latin typeface="+mj-lt"/>
                <a:cs typeface="Arial"/>
              </a:rPr>
            </a:br>
            <a:r>
              <a:rPr lang="fr-FR" sz="900" b="1" kern="0">
                <a:solidFill>
                  <a:srgbClr val="5C64B7"/>
                </a:solidFill>
                <a:latin typeface="+mj-lt"/>
                <a:cs typeface="Arial"/>
              </a:rPr>
              <a:t>et conception </a:t>
            </a:r>
            <a:br>
              <a:rPr lang="fr-FR" sz="900" b="1" kern="0">
                <a:solidFill>
                  <a:srgbClr val="5C64B7"/>
                </a:solidFill>
                <a:latin typeface="+mj-lt"/>
                <a:cs typeface="Arial"/>
              </a:rPr>
            </a:br>
            <a:r>
              <a:rPr lang="fr-FR" sz="900" b="1" kern="0">
                <a:solidFill>
                  <a:srgbClr val="5C64B7"/>
                </a:solidFill>
                <a:latin typeface="+mj-lt"/>
                <a:cs typeface="Arial"/>
              </a:rPr>
              <a:t>du produit et du tarif</a:t>
            </a:r>
          </a:p>
        </p:txBody>
      </p:sp>
      <p:sp>
        <p:nvSpPr>
          <p:cNvPr id="14" name="Rectangle 13">
            <a:extLst>
              <a:ext uri="{FF2B5EF4-FFF2-40B4-BE49-F238E27FC236}">
                <a16:creationId xmlns:a16="http://schemas.microsoft.com/office/drawing/2014/main" id="{C00A7B63-CF4B-B762-F6B5-E6C7B1118504}"/>
              </a:ext>
            </a:extLst>
          </p:cNvPr>
          <p:cNvSpPr/>
          <p:nvPr/>
        </p:nvSpPr>
        <p:spPr>
          <a:xfrm>
            <a:off x="491613" y="2496920"/>
            <a:ext cx="11180939" cy="840102"/>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36000" rIns="72000" bIns="3600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buClr>
                <a:srgbClr val="000000"/>
              </a:buClr>
              <a:buSzTx/>
              <a:buFont typeface="Arial"/>
              <a:buNone/>
              <a:tabLst/>
              <a:defRPr/>
            </a:pPr>
            <a:endParaRPr kumimoji="0" lang="fr-FR" sz="800" b="1" i="0" u="none" strike="noStrike" kern="0" cap="none" spc="0" normalizeH="0" baseline="0" noProof="0">
              <a:ln>
                <a:noFill/>
              </a:ln>
              <a:solidFill>
                <a:srgbClr val="000000"/>
              </a:solidFill>
              <a:effectLst/>
              <a:uLnTx/>
              <a:uFillTx/>
              <a:latin typeface="+mj-lt"/>
              <a:cs typeface="Arial"/>
              <a:sym typeface="Arial"/>
            </a:endParaRPr>
          </a:p>
        </p:txBody>
      </p:sp>
      <p:sp>
        <p:nvSpPr>
          <p:cNvPr id="16" name="Rectangle 15">
            <a:extLst>
              <a:ext uri="{FF2B5EF4-FFF2-40B4-BE49-F238E27FC236}">
                <a16:creationId xmlns:a16="http://schemas.microsoft.com/office/drawing/2014/main" id="{C3BE18C4-450B-E519-00B8-BCA906F0626A}"/>
              </a:ext>
            </a:extLst>
          </p:cNvPr>
          <p:cNvSpPr/>
          <p:nvPr/>
        </p:nvSpPr>
        <p:spPr>
          <a:xfrm>
            <a:off x="491614"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Suppression de la phase de vérification de l’équivalence des garanties et du risque de refus bancaire en proposant une assurance plus couvrante que les banques</a:t>
            </a:r>
            <a:endParaRPr lang="fr-FR" sz="800" kern="0">
              <a:solidFill>
                <a:sysClr val="windowText" lastClr="000000"/>
              </a:solidFill>
              <a:highlight>
                <a:srgbClr val="FFFF00"/>
              </a:highlight>
              <a:latin typeface="+mj-lt"/>
              <a:cs typeface="Arial"/>
              <a:sym typeface="Arial"/>
            </a:endParaRPr>
          </a:p>
        </p:txBody>
      </p:sp>
      <p:sp>
        <p:nvSpPr>
          <p:cNvPr id="17" name="Rectangle 16">
            <a:extLst>
              <a:ext uri="{FF2B5EF4-FFF2-40B4-BE49-F238E27FC236}">
                <a16:creationId xmlns:a16="http://schemas.microsoft.com/office/drawing/2014/main" id="{44D146EE-7B16-0FB2-7F71-69CEE9A564AE}"/>
              </a:ext>
            </a:extLst>
          </p:cNvPr>
          <p:cNvSpPr/>
          <p:nvPr/>
        </p:nvSpPr>
        <p:spPr>
          <a:xfrm>
            <a:off x="1893465"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Délégation de tâches </a:t>
            </a:r>
            <a:br>
              <a:rPr lang="fr-FR" sz="800" kern="0">
                <a:solidFill>
                  <a:sysClr val="windowText" lastClr="000000"/>
                </a:solidFill>
                <a:latin typeface="+mj-lt"/>
                <a:cs typeface="Arial"/>
                <a:sym typeface="Arial"/>
              </a:rPr>
            </a:br>
            <a:r>
              <a:rPr lang="fr-FR" sz="800" kern="0">
                <a:solidFill>
                  <a:sysClr val="windowText" lastClr="000000"/>
                </a:solidFill>
                <a:latin typeface="+mj-lt"/>
                <a:cs typeface="Arial"/>
                <a:sym typeface="Arial"/>
              </a:rPr>
              <a:t>à faible valeur ajoutée au distributeur final</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ccélération et automatisation de la comparaison avec les offres du marché pour un niveau de garanties donné</a:t>
            </a:r>
          </a:p>
        </p:txBody>
      </p:sp>
      <p:sp>
        <p:nvSpPr>
          <p:cNvPr id="18" name="Rectangle 17">
            <a:extLst>
              <a:ext uri="{FF2B5EF4-FFF2-40B4-BE49-F238E27FC236}">
                <a16:creationId xmlns:a16="http://schemas.microsoft.com/office/drawing/2014/main" id="{7F7B1867-AC2B-5A41-29FB-3BE812CC8B3C}"/>
              </a:ext>
            </a:extLst>
          </p:cNvPr>
          <p:cNvSpPr/>
          <p:nvPr/>
        </p:nvSpPr>
        <p:spPr>
          <a:xfrm>
            <a:off x="3295316"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llègement des formalités médicales</a:t>
            </a:r>
          </a:p>
          <a:p>
            <a:pPr marL="171450" indent="-171450">
              <a:buClr>
                <a:srgbClr val="000000"/>
              </a:buClr>
              <a:buFont typeface="Arial" panose="020B0604020202020204" pitchFamily="34" charset="0"/>
              <a:buChar char="•"/>
            </a:pPr>
            <a:r>
              <a:rPr lang="fr-FR" sz="800" kern="0">
                <a:solidFill>
                  <a:srgbClr val="000000"/>
                </a:solidFill>
                <a:latin typeface="+mj-lt"/>
                <a:cs typeface="Arial"/>
                <a:sym typeface="Arial"/>
              </a:rPr>
              <a:t>Concentration ou réduction des activités</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Challenge des responsabilités sur la sélection du risque entre courtier, gestionnaire, </a:t>
            </a:r>
            <a:br>
              <a:rPr lang="fr-FR" sz="800" kern="0">
                <a:solidFill>
                  <a:sysClr val="windowText" lastClr="000000"/>
                </a:solidFill>
                <a:latin typeface="+mj-lt"/>
                <a:cs typeface="Arial"/>
                <a:sym typeface="Arial"/>
              </a:rPr>
            </a:br>
            <a:r>
              <a:rPr lang="fr-FR" sz="800" kern="0">
                <a:solidFill>
                  <a:sysClr val="windowText" lastClr="000000"/>
                </a:solidFill>
                <a:latin typeface="+mj-lt"/>
                <a:cs typeface="Arial"/>
                <a:sym typeface="Arial"/>
              </a:rPr>
              <a:t>et assureur</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a:buClr>
                <a:srgbClr val="000000"/>
              </a:buCl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rgbClr val="000000"/>
                </a:solidFill>
                <a:latin typeface="+mj-lt"/>
                <a:cs typeface="Arial"/>
                <a:sym typeface="Arial"/>
              </a:rPr>
              <a:t>Utilisation de la sinistralité du portefeuille pour segmenter le degré de contrôle médical</a:t>
            </a:r>
          </a:p>
          <a:p>
            <a:pPr marL="171450" indent="-171450">
              <a:buClr>
                <a:srgbClr val="000000"/>
              </a:buClr>
              <a:buFont typeface="Arial" panose="020B0604020202020204" pitchFamily="34" charset="0"/>
              <a:buChar char="•"/>
            </a:pPr>
            <a:r>
              <a:rPr lang="fr-FR" sz="800" kern="0">
                <a:solidFill>
                  <a:srgbClr val="000000"/>
                </a:solidFill>
                <a:latin typeface="+mj-lt"/>
                <a:cs typeface="Arial"/>
                <a:sym typeface="Arial"/>
              </a:rPr>
              <a:t>Automatisation des activités </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p:txBody>
      </p:sp>
      <p:sp>
        <p:nvSpPr>
          <p:cNvPr id="19" name="Rectangle 18">
            <a:extLst>
              <a:ext uri="{FF2B5EF4-FFF2-40B4-BE49-F238E27FC236}">
                <a16:creationId xmlns:a16="http://schemas.microsoft.com/office/drawing/2014/main" id="{24D1E647-4177-1843-8400-A6621BE58909}"/>
              </a:ext>
            </a:extLst>
          </p:cNvPr>
          <p:cNvSpPr/>
          <p:nvPr/>
        </p:nvSpPr>
        <p:spPr>
          <a:xfrm>
            <a:off x="4697167"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Diminution du nombre d’étapes dans le parcours client avant la mise à disposition d’un tarif</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utomatisation de la tarification</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p:txBody>
      </p:sp>
      <p:sp>
        <p:nvSpPr>
          <p:cNvPr id="20" name="Rectangle 19">
            <a:extLst>
              <a:ext uri="{FF2B5EF4-FFF2-40B4-BE49-F238E27FC236}">
                <a16:creationId xmlns:a16="http://schemas.microsoft.com/office/drawing/2014/main" id="{53FFC4C0-4D44-3556-E52F-2239CFD5DF1C}"/>
              </a:ext>
            </a:extLst>
          </p:cNvPr>
          <p:cNvSpPr/>
          <p:nvPr/>
        </p:nvSpPr>
        <p:spPr>
          <a:xfrm>
            <a:off x="6099018"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Fluidification des interactions avec le client, le courtier, l’organisme de crédit</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Priorisation du traitement des pièces justificatives selon l’enjeu / le risque</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12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Intégration du contrat dans les outils</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utomatisation de la production et de l'envoi des documents à remettre au client</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Selfcare et dématérialisation (dossier, signature)</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utomatisation du contrôle des informations et de la véracité des PJ</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p:txBody>
      </p:sp>
      <p:sp>
        <p:nvSpPr>
          <p:cNvPr id="21" name="Rectangle 20">
            <a:extLst>
              <a:ext uri="{FF2B5EF4-FFF2-40B4-BE49-F238E27FC236}">
                <a16:creationId xmlns:a16="http://schemas.microsoft.com/office/drawing/2014/main" id="{37FBD1D1-2F94-3931-D590-88A8D4DF8381}"/>
              </a:ext>
            </a:extLst>
          </p:cNvPr>
          <p:cNvSpPr/>
          <p:nvPr/>
        </p:nvSpPr>
        <p:spPr>
          <a:xfrm>
            <a:off x="7500869"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Spécialisation sur les tâches administratives / sur la relation téléphonique</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Regroupement des communications sortantes</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Rationalisation de la gestion des réclamations</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Centralisation des informations contractuelles</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a:buClr>
                <a:srgbClr val="000000"/>
              </a:buCl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Dématérialisation et récupération automatique d’informations pour alimenter des actes de gestion</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utomatisation de contrôles pour vérification d’adresses, de RIB…</a:t>
            </a:r>
          </a:p>
        </p:txBody>
      </p:sp>
      <p:sp>
        <p:nvSpPr>
          <p:cNvPr id="22" name="Rectangle 21">
            <a:extLst>
              <a:ext uri="{FF2B5EF4-FFF2-40B4-BE49-F238E27FC236}">
                <a16:creationId xmlns:a16="http://schemas.microsoft.com/office/drawing/2014/main" id="{E660E33B-564E-2E2D-77FF-C875888D853E}"/>
              </a:ext>
            </a:extLst>
          </p:cNvPr>
          <p:cNvSpPr/>
          <p:nvPr/>
        </p:nvSpPr>
        <p:spPr>
          <a:xfrm>
            <a:off x="8902720"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p:txBody>
      </p:sp>
      <p:sp>
        <p:nvSpPr>
          <p:cNvPr id="23" name="Rectangle 22">
            <a:extLst>
              <a:ext uri="{FF2B5EF4-FFF2-40B4-BE49-F238E27FC236}">
                <a16:creationId xmlns:a16="http://schemas.microsoft.com/office/drawing/2014/main" id="{BC813C75-2773-035F-B17A-6E444E9022DD}"/>
              </a:ext>
            </a:extLst>
          </p:cNvPr>
          <p:cNvSpPr/>
          <p:nvPr/>
        </p:nvSpPr>
        <p:spPr>
          <a:xfrm>
            <a:off x="10304568" y="3318586"/>
            <a:ext cx="1367986" cy="3205669"/>
          </a:xfrm>
          <a:prstGeom prst="rect">
            <a:avLst/>
          </a:prstGeom>
          <a:solidFill>
            <a:srgbClr val="F0F5F7">
              <a:alpha val="89804"/>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Revue des règles de recouvrement à l’amiable</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Optimisation de la gestion des impayés, du précontentieux et du contentieux</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Utilisation de l’historique des paiements pour anticiper la gestion des mauvais payeurs</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a:buClr>
                <a:srgbClr val="000000"/>
              </a:buClr>
            </a:pPr>
            <a:endParaRPr lang="fr-FR" sz="12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Partager aux managers des indicateurs permettant l’amélioration continue</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daptation des reportings vis-à-vis des assureurs</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utomatisation des paiements des prestations</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p:txBody>
      </p:sp>
      <p:sp>
        <p:nvSpPr>
          <p:cNvPr id="3" name="Rectangle 2">
            <a:extLst>
              <a:ext uri="{FF2B5EF4-FFF2-40B4-BE49-F238E27FC236}">
                <a16:creationId xmlns:a16="http://schemas.microsoft.com/office/drawing/2014/main" id="{41FDDD5F-CFE8-1ABC-5B78-1040239B27A6}"/>
              </a:ext>
            </a:extLst>
          </p:cNvPr>
          <p:cNvSpPr/>
          <p:nvPr/>
        </p:nvSpPr>
        <p:spPr>
          <a:xfrm>
            <a:off x="580214"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Industrialisation du sur mesure</a:t>
            </a:r>
          </a:p>
        </p:txBody>
      </p:sp>
      <p:sp>
        <p:nvSpPr>
          <p:cNvPr id="15" name="Rectangle 14">
            <a:extLst>
              <a:ext uri="{FF2B5EF4-FFF2-40B4-BE49-F238E27FC236}">
                <a16:creationId xmlns:a16="http://schemas.microsoft.com/office/drawing/2014/main" id="{41B964A5-8B0F-46CC-5BBD-EB66B77C7AE0}"/>
              </a:ext>
            </a:extLst>
          </p:cNvPr>
          <p:cNvSpPr/>
          <p:nvPr/>
        </p:nvSpPr>
        <p:spPr>
          <a:xfrm>
            <a:off x="3383916"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Réduction du recours à l’expertise médicale</a:t>
            </a:r>
          </a:p>
        </p:txBody>
      </p:sp>
      <p:sp>
        <p:nvSpPr>
          <p:cNvPr id="24" name="Rectangle 23">
            <a:extLst>
              <a:ext uri="{FF2B5EF4-FFF2-40B4-BE49-F238E27FC236}">
                <a16:creationId xmlns:a16="http://schemas.microsoft.com/office/drawing/2014/main" id="{43D3ABA5-0808-ABC5-D5AD-83AA6942791E}"/>
              </a:ext>
            </a:extLst>
          </p:cNvPr>
          <p:cNvSpPr/>
          <p:nvPr/>
        </p:nvSpPr>
        <p:spPr>
          <a:xfrm>
            <a:off x="4785767"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Simplification de la tarification</a:t>
            </a:r>
          </a:p>
        </p:txBody>
      </p:sp>
      <p:sp>
        <p:nvSpPr>
          <p:cNvPr id="25" name="Rectangle 24">
            <a:extLst>
              <a:ext uri="{FF2B5EF4-FFF2-40B4-BE49-F238E27FC236}">
                <a16:creationId xmlns:a16="http://schemas.microsoft.com/office/drawing/2014/main" id="{26B70A9A-BDE8-6600-C247-D12A6C02E8DF}"/>
              </a:ext>
            </a:extLst>
          </p:cNvPr>
          <p:cNvSpPr/>
          <p:nvPr/>
        </p:nvSpPr>
        <p:spPr>
          <a:xfrm>
            <a:off x="6187618"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Fluidification des échanges entre acteurs</a:t>
            </a:r>
          </a:p>
        </p:txBody>
      </p:sp>
      <p:sp>
        <p:nvSpPr>
          <p:cNvPr id="26" name="Rectangle 25">
            <a:extLst>
              <a:ext uri="{FF2B5EF4-FFF2-40B4-BE49-F238E27FC236}">
                <a16:creationId xmlns:a16="http://schemas.microsoft.com/office/drawing/2014/main" id="{72BC13EE-27CD-924A-A420-6838537AD80A}"/>
              </a:ext>
            </a:extLst>
          </p:cNvPr>
          <p:cNvSpPr/>
          <p:nvPr/>
        </p:nvSpPr>
        <p:spPr>
          <a:xfrm>
            <a:off x="7589469"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ysClr val="windowText" lastClr="000000"/>
                </a:solidFill>
                <a:latin typeface="+mj-lt"/>
                <a:cs typeface="Arial"/>
                <a:sym typeface="Arial"/>
              </a:rPr>
              <a:t>Simplification de la gestion admin., des avenants et des résiliations</a:t>
            </a:r>
          </a:p>
        </p:txBody>
      </p:sp>
      <p:sp>
        <p:nvSpPr>
          <p:cNvPr id="27" name="Rectangle 26">
            <a:extLst>
              <a:ext uri="{FF2B5EF4-FFF2-40B4-BE49-F238E27FC236}">
                <a16:creationId xmlns:a16="http://schemas.microsoft.com/office/drawing/2014/main" id="{0937D6AD-2F75-61A5-7FA8-09075436B4B3}"/>
              </a:ext>
            </a:extLst>
          </p:cNvPr>
          <p:cNvSpPr/>
          <p:nvPr/>
        </p:nvSpPr>
        <p:spPr>
          <a:xfrm>
            <a:off x="8991320"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Exploitation des données historiques pour décider et anticiper</a:t>
            </a:r>
          </a:p>
        </p:txBody>
      </p:sp>
      <p:sp>
        <p:nvSpPr>
          <p:cNvPr id="28" name="Rectangle 27">
            <a:extLst>
              <a:ext uri="{FF2B5EF4-FFF2-40B4-BE49-F238E27FC236}">
                <a16:creationId xmlns:a16="http://schemas.microsoft.com/office/drawing/2014/main" id="{214159E9-73C8-F734-A2BD-65D5BA6E0994}"/>
              </a:ext>
            </a:extLst>
          </p:cNvPr>
          <p:cNvSpPr/>
          <p:nvPr/>
        </p:nvSpPr>
        <p:spPr>
          <a:xfrm>
            <a:off x="10393168"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Industrialisation des flux</a:t>
            </a:r>
          </a:p>
        </p:txBody>
      </p:sp>
      <p:pic>
        <p:nvPicPr>
          <p:cNvPr id="29" name="Graphique 28" descr="Logement contour">
            <a:extLst>
              <a:ext uri="{FF2B5EF4-FFF2-40B4-BE49-F238E27FC236}">
                <a16:creationId xmlns:a16="http://schemas.microsoft.com/office/drawing/2014/main" id="{51CFCE50-4A1F-21E4-3DEF-796EFECDB0B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1613" y="3901018"/>
            <a:ext cx="177718" cy="177718"/>
          </a:xfrm>
          <a:prstGeom prst="rect">
            <a:avLst/>
          </a:prstGeom>
        </p:spPr>
      </p:pic>
      <p:pic>
        <p:nvPicPr>
          <p:cNvPr id="60" name="Graphique 59" descr="Logement contour">
            <a:extLst>
              <a:ext uri="{FF2B5EF4-FFF2-40B4-BE49-F238E27FC236}">
                <a16:creationId xmlns:a16="http://schemas.microsoft.com/office/drawing/2014/main" id="{45B7EDF7-0E98-E906-B041-D7AEBB7EEA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92207" y="5749305"/>
            <a:ext cx="177718" cy="177718"/>
          </a:xfrm>
          <a:prstGeom prst="rect">
            <a:avLst/>
          </a:prstGeom>
        </p:spPr>
      </p:pic>
      <p:sp>
        <p:nvSpPr>
          <p:cNvPr id="61" name="Rectangle 60">
            <a:extLst>
              <a:ext uri="{FF2B5EF4-FFF2-40B4-BE49-F238E27FC236}">
                <a16:creationId xmlns:a16="http://schemas.microsoft.com/office/drawing/2014/main" id="{037056BC-75AC-8F8B-C597-4E145F52DD04}"/>
              </a:ext>
            </a:extLst>
          </p:cNvPr>
          <p:cNvSpPr/>
          <p:nvPr/>
        </p:nvSpPr>
        <p:spPr>
          <a:xfrm>
            <a:off x="1982065" y="1728386"/>
            <a:ext cx="1190786" cy="718200"/>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buClr>
                <a:srgbClr val="000000"/>
              </a:buClr>
            </a:pPr>
            <a:r>
              <a:rPr lang="fr-FR" sz="900" b="1" kern="0">
                <a:solidFill>
                  <a:srgbClr val="000000"/>
                </a:solidFill>
                <a:latin typeface="+mj-lt"/>
                <a:cs typeface="Arial"/>
                <a:sym typeface="Arial"/>
              </a:rPr>
              <a:t>Simplification du devoir de conseil</a:t>
            </a:r>
          </a:p>
        </p:txBody>
      </p:sp>
      <p:sp>
        <p:nvSpPr>
          <p:cNvPr id="33" name="Google Shape;401;p35">
            <a:extLst>
              <a:ext uri="{FF2B5EF4-FFF2-40B4-BE49-F238E27FC236}">
                <a16:creationId xmlns:a16="http://schemas.microsoft.com/office/drawing/2014/main" id="{A47E0638-6B7F-0A48-C050-C75BC012AC18}"/>
              </a:ext>
            </a:extLst>
          </p:cNvPr>
          <p:cNvSpPr/>
          <p:nvPr/>
        </p:nvSpPr>
        <p:spPr>
          <a:xfrm flipV="1">
            <a:off x="491613" y="4750960"/>
            <a:ext cx="11059002" cy="547191"/>
          </a:xfrm>
          <a:custGeom>
            <a:avLst/>
            <a:gdLst>
              <a:gd name="connsiteX0" fmla="*/ 0 w 4735719"/>
              <a:gd name="connsiteY0" fmla="*/ 564109 h 792832"/>
              <a:gd name="connsiteX1" fmla="*/ 1455590 w 4735719"/>
              <a:gd name="connsiteY1" fmla="*/ 82979 h 792832"/>
              <a:gd name="connsiteX2" fmla="*/ 2735005 w 4735719"/>
              <a:gd name="connsiteY2" fmla="*/ 792626 h 792832"/>
              <a:gd name="connsiteX3" fmla="*/ 4735719 w 4735719"/>
              <a:gd name="connsiteY3" fmla="*/ 0 h 792832"/>
              <a:gd name="connsiteX0" fmla="*/ 0 w 4735719"/>
              <a:gd name="connsiteY0" fmla="*/ 564109 h 801775"/>
              <a:gd name="connsiteX1" fmla="*/ 1455590 w 4735719"/>
              <a:gd name="connsiteY1" fmla="*/ 82979 h 801775"/>
              <a:gd name="connsiteX2" fmla="*/ 2735005 w 4735719"/>
              <a:gd name="connsiteY2" fmla="*/ 792626 h 801775"/>
              <a:gd name="connsiteX3" fmla="*/ 3744657 w 4735719"/>
              <a:gd name="connsiteY3" fmla="*/ 454532 h 801775"/>
              <a:gd name="connsiteX4" fmla="*/ 4735719 w 4735719"/>
              <a:gd name="connsiteY4" fmla="*/ 0 h 801775"/>
              <a:gd name="connsiteX0" fmla="*/ 0 w 4735719"/>
              <a:gd name="connsiteY0" fmla="*/ 857576 h 1088870"/>
              <a:gd name="connsiteX1" fmla="*/ 1455590 w 4735719"/>
              <a:gd name="connsiteY1" fmla="*/ 376446 h 1088870"/>
              <a:gd name="connsiteX2" fmla="*/ 2735005 w 4735719"/>
              <a:gd name="connsiteY2" fmla="*/ 1086093 h 1088870"/>
              <a:gd name="connsiteX3" fmla="*/ 3569160 w 4735719"/>
              <a:gd name="connsiteY3" fmla="*/ 23217 h 1088870"/>
              <a:gd name="connsiteX4" fmla="*/ 4735719 w 4735719"/>
              <a:gd name="connsiteY4" fmla="*/ 293467 h 1088870"/>
              <a:gd name="connsiteX0" fmla="*/ 0 w 4826493"/>
              <a:gd name="connsiteY0" fmla="*/ 847948 h 1079242"/>
              <a:gd name="connsiteX1" fmla="*/ 1455590 w 4826493"/>
              <a:gd name="connsiteY1" fmla="*/ 366818 h 1079242"/>
              <a:gd name="connsiteX2" fmla="*/ 2735005 w 4826493"/>
              <a:gd name="connsiteY2" fmla="*/ 1076465 h 1079242"/>
              <a:gd name="connsiteX3" fmla="*/ 3569160 w 4826493"/>
              <a:gd name="connsiteY3" fmla="*/ 13589 h 1079242"/>
              <a:gd name="connsiteX4" fmla="*/ 4826493 w 4826493"/>
              <a:gd name="connsiteY4" fmla="*/ 682193 h 1079242"/>
              <a:gd name="connsiteX0" fmla="*/ 0 w 4826493"/>
              <a:gd name="connsiteY0" fmla="*/ 859552 h 1090846"/>
              <a:gd name="connsiteX1" fmla="*/ 1455590 w 4826493"/>
              <a:gd name="connsiteY1" fmla="*/ 378422 h 1090846"/>
              <a:gd name="connsiteX2" fmla="*/ 2735005 w 4826493"/>
              <a:gd name="connsiteY2" fmla="*/ 1088069 h 1090846"/>
              <a:gd name="connsiteX3" fmla="*/ 3569160 w 4826493"/>
              <a:gd name="connsiteY3" fmla="*/ 25193 h 1090846"/>
              <a:gd name="connsiteX4" fmla="*/ 4826493 w 4826493"/>
              <a:gd name="connsiteY4" fmla="*/ 693797 h 1090846"/>
              <a:gd name="connsiteX0" fmla="*/ 0 w 4826493"/>
              <a:gd name="connsiteY0" fmla="*/ 859552 h 1030159"/>
              <a:gd name="connsiteX1" fmla="*/ 1455590 w 4826493"/>
              <a:gd name="connsiteY1" fmla="*/ 378422 h 1030159"/>
              <a:gd name="connsiteX2" fmla="*/ 2638179 w 4826493"/>
              <a:gd name="connsiteY2" fmla="*/ 1027209 h 1030159"/>
              <a:gd name="connsiteX3" fmla="*/ 3569160 w 4826493"/>
              <a:gd name="connsiteY3" fmla="*/ 25193 h 1030159"/>
              <a:gd name="connsiteX4" fmla="*/ 4826493 w 4826493"/>
              <a:gd name="connsiteY4" fmla="*/ 693797 h 1030159"/>
              <a:gd name="connsiteX0" fmla="*/ 0 w 4862802"/>
              <a:gd name="connsiteY0" fmla="*/ 903813 h 1030159"/>
              <a:gd name="connsiteX1" fmla="*/ 1491899 w 4862802"/>
              <a:gd name="connsiteY1" fmla="*/ 378422 h 1030159"/>
              <a:gd name="connsiteX2" fmla="*/ 2674488 w 4862802"/>
              <a:gd name="connsiteY2" fmla="*/ 1027209 h 1030159"/>
              <a:gd name="connsiteX3" fmla="*/ 3605469 w 4862802"/>
              <a:gd name="connsiteY3" fmla="*/ 25193 h 1030159"/>
              <a:gd name="connsiteX4" fmla="*/ 4862802 w 4862802"/>
              <a:gd name="connsiteY4" fmla="*/ 693797 h 1030159"/>
              <a:gd name="connsiteX0" fmla="*/ 0 w 4862802"/>
              <a:gd name="connsiteY0" fmla="*/ 903813 h 1030159"/>
              <a:gd name="connsiteX1" fmla="*/ 1255886 w 4862802"/>
              <a:gd name="connsiteY1" fmla="*/ 466945 h 1030159"/>
              <a:gd name="connsiteX2" fmla="*/ 2674488 w 4862802"/>
              <a:gd name="connsiteY2" fmla="*/ 1027209 h 1030159"/>
              <a:gd name="connsiteX3" fmla="*/ 3605469 w 4862802"/>
              <a:gd name="connsiteY3" fmla="*/ 25193 h 1030159"/>
              <a:gd name="connsiteX4" fmla="*/ 4862802 w 4862802"/>
              <a:gd name="connsiteY4" fmla="*/ 693797 h 1030159"/>
              <a:gd name="connsiteX0" fmla="*/ 0 w 4862802"/>
              <a:gd name="connsiteY0" fmla="*/ 903813 h 1063258"/>
              <a:gd name="connsiteX1" fmla="*/ 1255886 w 4862802"/>
              <a:gd name="connsiteY1" fmla="*/ 466945 h 1063258"/>
              <a:gd name="connsiteX2" fmla="*/ 2262979 w 4862802"/>
              <a:gd name="connsiteY2" fmla="*/ 1060405 h 1063258"/>
              <a:gd name="connsiteX3" fmla="*/ 3605469 w 4862802"/>
              <a:gd name="connsiteY3" fmla="*/ 25193 h 1063258"/>
              <a:gd name="connsiteX4" fmla="*/ 4862802 w 4862802"/>
              <a:gd name="connsiteY4" fmla="*/ 693797 h 1063258"/>
              <a:gd name="connsiteX0" fmla="*/ 0 w 4862802"/>
              <a:gd name="connsiteY0" fmla="*/ 903813 h 969496"/>
              <a:gd name="connsiteX1" fmla="*/ 1255886 w 4862802"/>
              <a:gd name="connsiteY1" fmla="*/ 466945 h 969496"/>
              <a:gd name="connsiteX2" fmla="*/ 1996709 w 4862802"/>
              <a:gd name="connsiteY2" fmla="*/ 966349 h 969496"/>
              <a:gd name="connsiteX3" fmla="*/ 3605469 w 4862802"/>
              <a:gd name="connsiteY3" fmla="*/ 25193 h 969496"/>
              <a:gd name="connsiteX4" fmla="*/ 4862802 w 4862802"/>
              <a:gd name="connsiteY4" fmla="*/ 693797 h 969496"/>
              <a:gd name="connsiteX0" fmla="*/ 0 w 4862802"/>
              <a:gd name="connsiteY0" fmla="*/ 903813 h 969496"/>
              <a:gd name="connsiteX1" fmla="*/ 1255886 w 4862802"/>
              <a:gd name="connsiteY1" fmla="*/ 466945 h 969496"/>
              <a:gd name="connsiteX2" fmla="*/ 1996709 w 4862802"/>
              <a:gd name="connsiteY2" fmla="*/ 966349 h 969496"/>
              <a:gd name="connsiteX3" fmla="*/ 3605469 w 4862802"/>
              <a:gd name="connsiteY3" fmla="*/ 25193 h 969496"/>
              <a:gd name="connsiteX4" fmla="*/ 4862802 w 4862802"/>
              <a:gd name="connsiteY4" fmla="*/ 693797 h 969496"/>
              <a:gd name="connsiteX0" fmla="*/ 0 w 4862802"/>
              <a:gd name="connsiteY0" fmla="*/ 903813 h 966728"/>
              <a:gd name="connsiteX1" fmla="*/ 1255886 w 4862802"/>
              <a:gd name="connsiteY1" fmla="*/ 466945 h 966728"/>
              <a:gd name="connsiteX2" fmla="*/ 1996709 w 4862802"/>
              <a:gd name="connsiteY2" fmla="*/ 966349 h 966728"/>
              <a:gd name="connsiteX3" fmla="*/ 2867175 w 4862802"/>
              <a:gd name="connsiteY3" fmla="*/ 539732 h 966728"/>
              <a:gd name="connsiteX4" fmla="*/ 3605469 w 4862802"/>
              <a:gd name="connsiteY4" fmla="*/ 25193 h 966728"/>
              <a:gd name="connsiteX5" fmla="*/ 4862802 w 4862802"/>
              <a:gd name="connsiteY5" fmla="*/ 693797 h 966728"/>
              <a:gd name="connsiteX0" fmla="*/ 0 w 4862802"/>
              <a:gd name="connsiteY0" fmla="*/ 903813 h 976322"/>
              <a:gd name="connsiteX1" fmla="*/ 1255886 w 4862802"/>
              <a:gd name="connsiteY1" fmla="*/ 466945 h 976322"/>
              <a:gd name="connsiteX2" fmla="*/ 1996709 w 4862802"/>
              <a:gd name="connsiteY2" fmla="*/ 966349 h 976322"/>
              <a:gd name="connsiteX3" fmla="*/ 2951898 w 4862802"/>
              <a:gd name="connsiteY3" fmla="*/ 849563 h 976322"/>
              <a:gd name="connsiteX4" fmla="*/ 3605469 w 4862802"/>
              <a:gd name="connsiteY4" fmla="*/ 25193 h 976322"/>
              <a:gd name="connsiteX5" fmla="*/ 4862802 w 4862802"/>
              <a:gd name="connsiteY5" fmla="*/ 693797 h 976322"/>
              <a:gd name="connsiteX0" fmla="*/ 0 w 4862802"/>
              <a:gd name="connsiteY0" fmla="*/ 903813 h 976322"/>
              <a:gd name="connsiteX1" fmla="*/ 1255886 w 4862802"/>
              <a:gd name="connsiteY1" fmla="*/ 466945 h 976322"/>
              <a:gd name="connsiteX2" fmla="*/ 1996709 w 4862802"/>
              <a:gd name="connsiteY2" fmla="*/ 966349 h 976322"/>
              <a:gd name="connsiteX3" fmla="*/ 2951898 w 4862802"/>
              <a:gd name="connsiteY3" fmla="*/ 849563 h 976322"/>
              <a:gd name="connsiteX4" fmla="*/ 3605469 w 4862802"/>
              <a:gd name="connsiteY4" fmla="*/ 25193 h 976322"/>
              <a:gd name="connsiteX5" fmla="*/ 4862802 w 4862802"/>
              <a:gd name="connsiteY5" fmla="*/ 693797 h 976322"/>
              <a:gd name="connsiteX0" fmla="*/ 0 w 4862802"/>
              <a:gd name="connsiteY0" fmla="*/ 1058458 h 1130967"/>
              <a:gd name="connsiteX1" fmla="*/ 1255886 w 4862802"/>
              <a:gd name="connsiteY1" fmla="*/ 621590 h 1130967"/>
              <a:gd name="connsiteX2" fmla="*/ 1996709 w 4862802"/>
              <a:gd name="connsiteY2" fmla="*/ 1120994 h 1130967"/>
              <a:gd name="connsiteX3" fmla="*/ 2951898 w 4862802"/>
              <a:gd name="connsiteY3" fmla="*/ 1004208 h 1130967"/>
              <a:gd name="connsiteX4" fmla="*/ 4023029 w 4862802"/>
              <a:gd name="connsiteY4" fmla="*/ 19390 h 1130967"/>
              <a:gd name="connsiteX5" fmla="*/ 4862802 w 4862802"/>
              <a:gd name="connsiteY5" fmla="*/ 848442 h 1130967"/>
              <a:gd name="connsiteX0" fmla="*/ 0 w 4862802"/>
              <a:gd name="connsiteY0" fmla="*/ 1058458 h 1130967"/>
              <a:gd name="connsiteX1" fmla="*/ 1255886 w 4862802"/>
              <a:gd name="connsiteY1" fmla="*/ 621590 h 1130967"/>
              <a:gd name="connsiteX2" fmla="*/ 1996709 w 4862802"/>
              <a:gd name="connsiteY2" fmla="*/ 1120994 h 1130967"/>
              <a:gd name="connsiteX3" fmla="*/ 2951898 w 4862802"/>
              <a:gd name="connsiteY3" fmla="*/ 1004208 h 1130967"/>
              <a:gd name="connsiteX4" fmla="*/ 4023029 w 4862802"/>
              <a:gd name="connsiteY4" fmla="*/ 19390 h 1130967"/>
              <a:gd name="connsiteX5" fmla="*/ 4862802 w 4862802"/>
              <a:gd name="connsiteY5" fmla="*/ 848442 h 1130967"/>
              <a:gd name="connsiteX0" fmla="*/ 0 w 4862802"/>
              <a:gd name="connsiteY0" fmla="*/ 1056303 h 1128812"/>
              <a:gd name="connsiteX1" fmla="*/ 1255886 w 4862802"/>
              <a:gd name="connsiteY1" fmla="*/ 619435 h 1128812"/>
              <a:gd name="connsiteX2" fmla="*/ 1996709 w 4862802"/>
              <a:gd name="connsiteY2" fmla="*/ 1118839 h 1128812"/>
              <a:gd name="connsiteX3" fmla="*/ 2951898 w 4862802"/>
              <a:gd name="connsiteY3" fmla="*/ 1002053 h 1128812"/>
              <a:gd name="connsiteX4" fmla="*/ 4023029 w 4862802"/>
              <a:gd name="connsiteY4" fmla="*/ 17235 h 1128812"/>
              <a:gd name="connsiteX5" fmla="*/ 4862802 w 4862802"/>
              <a:gd name="connsiteY5" fmla="*/ 846287 h 1128812"/>
              <a:gd name="connsiteX0" fmla="*/ 0 w 4995937"/>
              <a:gd name="connsiteY0" fmla="*/ 1056303 h 1128812"/>
              <a:gd name="connsiteX1" fmla="*/ 1255886 w 4995937"/>
              <a:gd name="connsiteY1" fmla="*/ 619435 h 1128812"/>
              <a:gd name="connsiteX2" fmla="*/ 1996709 w 4995937"/>
              <a:gd name="connsiteY2" fmla="*/ 1118839 h 1128812"/>
              <a:gd name="connsiteX3" fmla="*/ 2951898 w 4995937"/>
              <a:gd name="connsiteY3" fmla="*/ 1002053 h 1128812"/>
              <a:gd name="connsiteX4" fmla="*/ 4023029 w 4995937"/>
              <a:gd name="connsiteY4" fmla="*/ 17235 h 1128812"/>
              <a:gd name="connsiteX5" fmla="*/ 4995937 w 4995937"/>
              <a:gd name="connsiteY5" fmla="*/ 696904 h 1128812"/>
              <a:gd name="connsiteX0" fmla="*/ 0 w 4995937"/>
              <a:gd name="connsiteY0" fmla="*/ 1056303 h 1128812"/>
              <a:gd name="connsiteX1" fmla="*/ 1255886 w 4995937"/>
              <a:gd name="connsiteY1" fmla="*/ 619435 h 1128812"/>
              <a:gd name="connsiteX2" fmla="*/ 1996709 w 4995937"/>
              <a:gd name="connsiteY2" fmla="*/ 1118839 h 1128812"/>
              <a:gd name="connsiteX3" fmla="*/ 2951898 w 4995937"/>
              <a:gd name="connsiteY3" fmla="*/ 1002053 h 1128812"/>
              <a:gd name="connsiteX4" fmla="*/ 4023029 w 4995937"/>
              <a:gd name="connsiteY4" fmla="*/ 17235 h 1128812"/>
              <a:gd name="connsiteX5" fmla="*/ 4995937 w 4995937"/>
              <a:gd name="connsiteY5" fmla="*/ 696904 h 1128812"/>
              <a:gd name="connsiteX0" fmla="*/ 0 w 4995937"/>
              <a:gd name="connsiteY0" fmla="*/ 1056303 h 1128812"/>
              <a:gd name="connsiteX1" fmla="*/ 1255886 w 4995937"/>
              <a:gd name="connsiteY1" fmla="*/ 619435 h 1128812"/>
              <a:gd name="connsiteX2" fmla="*/ 1996709 w 4995937"/>
              <a:gd name="connsiteY2" fmla="*/ 1118839 h 1128812"/>
              <a:gd name="connsiteX3" fmla="*/ 2951898 w 4995937"/>
              <a:gd name="connsiteY3" fmla="*/ 1002053 h 1128812"/>
              <a:gd name="connsiteX4" fmla="*/ 4023029 w 4995937"/>
              <a:gd name="connsiteY4" fmla="*/ 17235 h 1128812"/>
              <a:gd name="connsiteX5" fmla="*/ 4995937 w 4995937"/>
              <a:gd name="connsiteY5" fmla="*/ 696904 h 1128812"/>
              <a:gd name="connsiteX0" fmla="*/ 0 w 4995937"/>
              <a:gd name="connsiteY0" fmla="*/ 1056303 h 1128812"/>
              <a:gd name="connsiteX1" fmla="*/ 1255886 w 4995937"/>
              <a:gd name="connsiteY1" fmla="*/ 619435 h 1128812"/>
              <a:gd name="connsiteX2" fmla="*/ 1996709 w 4995937"/>
              <a:gd name="connsiteY2" fmla="*/ 1118839 h 1128812"/>
              <a:gd name="connsiteX3" fmla="*/ 2951898 w 4995937"/>
              <a:gd name="connsiteY3" fmla="*/ 1002053 h 1128812"/>
              <a:gd name="connsiteX4" fmla="*/ 4023029 w 4995937"/>
              <a:gd name="connsiteY4" fmla="*/ 17235 h 1128812"/>
              <a:gd name="connsiteX5" fmla="*/ 4995937 w 4995937"/>
              <a:gd name="connsiteY5" fmla="*/ 696904 h 1128812"/>
              <a:gd name="connsiteX0" fmla="*/ 0 w 4995937"/>
              <a:gd name="connsiteY0" fmla="*/ 1039068 h 1111577"/>
              <a:gd name="connsiteX1" fmla="*/ 1255886 w 4995937"/>
              <a:gd name="connsiteY1" fmla="*/ 602200 h 1111577"/>
              <a:gd name="connsiteX2" fmla="*/ 1996709 w 4995937"/>
              <a:gd name="connsiteY2" fmla="*/ 1101604 h 1111577"/>
              <a:gd name="connsiteX3" fmla="*/ 2951898 w 4995937"/>
              <a:gd name="connsiteY3" fmla="*/ 984818 h 1111577"/>
              <a:gd name="connsiteX4" fmla="*/ 4023029 w 4995937"/>
              <a:gd name="connsiteY4" fmla="*/ 0 h 1111577"/>
              <a:gd name="connsiteX5" fmla="*/ 4995937 w 4995937"/>
              <a:gd name="connsiteY5" fmla="*/ 679669 h 1111577"/>
              <a:gd name="connsiteX0" fmla="*/ 0 w 4995937"/>
              <a:gd name="connsiteY0" fmla="*/ 1039068 h 1111577"/>
              <a:gd name="connsiteX1" fmla="*/ 1255886 w 4995937"/>
              <a:gd name="connsiteY1" fmla="*/ 602200 h 1111577"/>
              <a:gd name="connsiteX2" fmla="*/ 1996709 w 4995937"/>
              <a:gd name="connsiteY2" fmla="*/ 1101604 h 1111577"/>
              <a:gd name="connsiteX3" fmla="*/ 2951898 w 4995937"/>
              <a:gd name="connsiteY3" fmla="*/ 984818 h 1111577"/>
              <a:gd name="connsiteX4" fmla="*/ 4023029 w 4995937"/>
              <a:gd name="connsiteY4" fmla="*/ 0 h 1111577"/>
              <a:gd name="connsiteX5" fmla="*/ 4995937 w 4995937"/>
              <a:gd name="connsiteY5" fmla="*/ 679669 h 1111577"/>
              <a:gd name="connsiteX0" fmla="*/ 0 w 4995937"/>
              <a:gd name="connsiteY0" fmla="*/ 1039068 h 1067981"/>
              <a:gd name="connsiteX1" fmla="*/ 1255886 w 4995937"/>
              <a:gd name="connsiteY1" fmla="*/ 602200 h 1067981"/>
              <a:gd name="connsiteX2" fmla="*/ 2129845 w 4995937"/>
              <a:gd name="connsiteY2" fmla="*/ 1018614 h 1067981"/>
              <a:gd name="connsiteX3" fmla="*/ 2951898 w 4995937"/>
              <a:gd name="connsiteY3" fmla="*/ 984818 h 1067981"/>
              <a:gd name="connsiteX4" fmla="*/ 4023029 w 4995937"/>
              <a:gd name="connsiteY4" fmla="*/ 0 h 1067981"/>
              <a:gd name="connsiteX5" fmla="*/ 4995937 w 4995937"/>
              <a:gd name="connsiteY5" fmla="*/ 679669 h 1067981"/>
              <a:gd name="connsiteX0" fmla="*/ 0 w 4995937"/>
              <a:gd name="connsiteY0" fmla="*/ 1039068 h 1082147"/>
              <a:gd name="connsiteX1" fmla="*/ 1255886 w 4995937"/>
              <a:gd name="connsiteY1" fmla="*/ 602200 h 1082147"/>
              <a:gd name="connsiteX2" fmla="*/ 2129845 w 4995937"/>
              <a:gd name="connsiteY2" fmla="*/ 1018614 h 1082147"/>
              <a:gd name="connsiteX3" fmla="*/ 2951898 w 4995937"/>
              <a:gd name="connsiteY3" fmla="*/ 984818 h 1082147"/>
              <a:gd name="connsiteX4" fmla="*/ 4023029 w 4995937"/>
              <a:gd name="connsiteY4" fmla="*/ 0 h 1082147"/>
              <a:gd name="connsiteX5" fmla="*/ 4995937 w 4995937"/>
              <a:gd name="connsiteY5" fmla="*/ 679669 h 1082147"/>
              <a:gd name="connsiteX0" fmla="*/ 0 w 4995937"/>
              <a:gd name="connsiteY0" fmla="*/ 1039068 h 1082147"/>
              <a:gd name="connsiteX1" fmla="*/ 1255886 w 4995937"/>
              <a:gd name="connsiteY1" fmla="*/ 602200 h 1082147"/>
              <a:gd name="connsiteX2" fmla="*/ 2129845 w 4995937"/>
              <a:gd name="connsiteY2" fmla="*/ 1018614 h 1082147"/>
              <a:gd name="connsiteX3" fmla="*/ 2951898 w 4995937"/>
              <a:gd name="connsiteY3" fmla="*/ 984818 h 1082147"/>
              <a:gd name="connsiteX4" fmla="*/ 4023029 w 4995937"/>
              <a:gd name="connsiteY4" fmla="*/ 0 h 1082147"/>
              <a:gd name="connsiteX5" fmla="*/ 4995937 w 4995937"/>
              <a:gd name="connsiteY5" fmla="*/ 679669 h 1082147"/>
              <a:gd name="connsiteX0" fmla="*/ 0 w 4995937"/>
              <a:gd name="connsiteY0" fmla="*/ 1039068 h 1063565"/>
              <a:gd name="connsiteX1" fmla="*/ 1255886 w 4995937"/>
              <a:gd name="connsiteY1" fmla="*/ 602200 h 1063565"/>
              <a:gd name="connsiteX2" fmla="*/ 2184309 w 4995937"/>
              <a:gd name="connsiteY2" fmla="*/ 968819 h 1063565"/>
              <a:gd name="connsiteX3" fmla="*/ 2951898 w 4995937"/>
              <a:gd name="connsiteY3" fmla="*/ 984818 h 1063565"/>
              <a:gd name="connsiteX4" fmla="*/ 4023029 w 4995937"/>
              <a:gd name="connsiteY4" fmla="*/ 0 h 1063565"/>
              <a:gd name="connsiteX5" fmla="*/ 4995937 w 4995937"/>
              <a:gd name="connsiteY5" fmla="*/ 679669 h 1063565"/>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1039068 h 1076103"/>
              <a:gd name="connsiteX1" fmla="*/ 1255886 w 4995937"/>
              <a:gd name="connsiteY1" fmla="*/ 602200 h 1076103"/>
              <a:gd name="connsiteX2" fmla="*/ 2184309 w 4995937"/>
              <a:gd name="connsiteY2" fmla="*/ 968819 h 1076103"/>
              <a:gd name="connsiteX3" fmla="*/ 2951898 w 4995937"/>
              <a:gd name="connsiteY3" fmla="*/ 984818 h 1076103"/>
              <a:gd name="connsiteX4" fmla="*/ 4023029 w 4995937"/>
              <a:gd name="connsiteY4" fmla="*/ 0 h 1076103"/>
              <a:gd name="connsiteX5" fmla="*/ 4995937 w 4995937"/>
              <a:gd name="connsiteY5" fmla="*/ 679669 h 1076103"/>
              <a:gd name="connsiteX0" fmla="*/ 0 w 4995937"/>
              <a:gd name="connsiteY0" fmla="*/ 734770 h 771805"/>
              <a:gd name="connsiteX1" fmla="*/ 1255886 w 4995937"/>
              <a:gd name="connsiteY1" fmla="*/ 297902 h 771805"/>
              <a:gd name="connsiteX2" fmla="*/ 2184309 w 4995937"/>
              <a:gd name="connsiteY2" fmla="*/ 664521 h 771805"/>
              <a:gd name="connsiteX3" fmla="*/ 2951898 w 4995937"/>
              <a:gd name="connsiteY3" fmla="*/ 680520 h 771805"/>
              <a:gd name="connsiteX4" fmla="*/ 4265094 w 4995937"/>
              <a:gd name="connsiteY4" fmla="*/ 0 h 771805"/>
              <a:gd name="connsiteX5" fmla="*/ 4995937 w 4995937"/>
              <a:gd name="connsiteY5" fmla="*/ 375371 h 771805"/>
              <a:gd name="connsiteX0" fmla="*/ 0 w 4995937"/>
              <a:gd name="connsiteY0" fmla="*/ 734770 h 771805"/>
              <a:gd name="connsiteX1" fmla="*/ 1255886 w 4995937"/>
              <a:gd name="connsiteY1" fmla="*/ 297902 h 771805"/>
              <a:gd name="connsiteX2" fmla="*/ 2184309 w 4995937"/>
              <a:gd name="connsiteY2" fmla="*/ 664521 h 771805"/>
              <a:gd name="connsiteX3" fmla="*/ 2951898 w 4995937"/>
              <a:gd name="connsiteY3" fmla="*/ 680520 h 771805"/>
              <a:gd name="connsiteX4" fmla="*/ 4265094 w 4995937"/>
              <a:gd name="connsiteY4" fmla="*/ 0 h 771805"/>
              <a:gd name="connsiteX5" fmla="*/ 4995937 w 4995937"/>
              <a:gd name="connsiteY5" fmla="*/ 375371 h 771805"/>
              <a:gd name="connsiteX0" fmla="*/ 0 w 4995937"/>
              <a:gd name="connsiteY0" fmla="*/ 662845 h 699880"/>
              <a:gd name="connsiteX1" fmla="*/ 1255886 w 4995937"/>
              <a:gd name="connsiteY1" fmla="*/ 225977 h 699880"/>
              <a:gd name="connsiteX2" fmla="*/ 2184309 w 4995937"/>
              <a:gd name="connsiteY2" fmla="*/ 592596 h 699880"/>
              <a:gd name="connsiteX3" fmla="*/ 2951898 w 4995937"/>
              <a:gd name="connsiteY3" fmla="*/ 608595 h 699880"/>
              <a:gd name="connsiteX4" fmla="*/ 4198527 w 4995937"/>
              <a:gd name="connsiteY4" fmla="*/ 0 h 699880"/>
              <a:gd name="connsiteX5" fmla="*/ 4995937 w 4995937"/>
              <a:gd name="connsiteY5" fmla="*/ 303446 h 699880"/>
              <a:gd name="connsiteX0" fmla="*/ 0 w 4995937"/>
              <a:gd name="connsiteY0" fmla="*/ 662845 h 699880"/>
              <a:gd name="connsiteX1" fmla="*/ 1255886 w 4995937"/>
              <a:gd name="connsiteY1" fmla="*/ 225977 h 699880"/>
              <a:gd name="connsiteX2" fmla="*/ 2184309 w 4995937"/>
              <a:gd name="connsiteY2" fmla="*/ 592596 h 699880"/>
              <a:gd name="connsiteX3" fmla="*/ 2951898 w 4995937"/>
              <a:gd name="connsiteY3" fmla="*/ 608595 h 699880"/>
              <a:gd name="connsiteX4" fmla="*/ 4198527 w 4995937"/>
              <a:gd name="connsiteY4" fmla="*/ 0 h 699880"/>
              <a:gd name="connsiteX5" fmla="*/ 4995937 w 4995937"/>
              <a:gd name="connsiteY5" fmla="*/ 303446 h 699880"/>
              <a:gd name="connsiteX0" fmla="*/ 0 w 4995937"/>
              <a:gd name="connsiteY0" fmla="*/ 662845 h 699880"/>
              <a:gd name="connsiteX1" fmla="*/ 1255886 w 4995937"/>
              <a:gd name="connsiteY1" fmla="*/ 225977 h 699880"/>
              <a:gd name="connsiteX2" fmla="*/ 2184309 w 4995937"/>
              <a:gd name="connsiteY2" fmla="*/ 592596 h 699880"/>
              <a:gd name="connsiteX3" fmla="*/ 2951898 w 4995937"/>
              <a:gd name="connsiteY3" fmla="*/ 608595 h 699880"/>
              <a:gd name="connsiteX4" fmla="*/ 4198527 w 4995937"/>
              <a:gd name="connsiteY4" fmla="*/ 0 h 699880"/>
              <a:gd name="connsiteX5" fmla="*/ 4995937 w 4995937"/>
              <a:gd name="connsiteY5" fmla="*/ 303446 h 699880"/>
              <a:gd name="connsiteX0" fmla="*/ 0 w 4995937"/>
              <a:gd name="connsiteY0" fmla="*/ 662845 h 699880"/>
              <a:gd name="connsiteX1" fmla="*/ 1255886 w 4995937"/>
              <a:gd name="connsiteY1" fmla="*/ 225977 h 699880"/>
              <a:gd name="connsiteX2" fmla="*/ 2184309 w 4995937"/>
              <a:gd name="connsiteY2" fmla="*/ 592596 h 699880"/>
              <a:gd name="connsiteX3" fmla="*/ 2951898 w 4995937"/>
              <a:gd name="connsiteY3" fmla="*/ 608595 h 699880"/>
              <a:gd name="connsiteX4" fmla="*/ 4198527 w 4995937"/>
              <a:gd name="connsiteY4" fmla="*/ 0 h 699880"/>
              <a:gd name="connsiteX5" fmla="*/ 4995937 w 4995937"/>
              <a:gd name="connsiteY5" fmla="*/ 303446 h 699880"/>
              <a:gd name="connsiteX0" fmla="*/ 0 w 4995937"/>
              <a:gd name="connsiteY0" fmla="*/ 667797 h 704832"/>
              <a:gd name="connsiteX1" fmla="*/ 1255886 w 4995937"/>
              <a:gd name="connsiteY1" fmla="*/ 230929 h 704832"/>
              <a:gd name="connsiteX2" fmla="*/ 2184309 w 4995937"/>
              <a:gd name="connsiteY2" fmla="*/ 597548 h 704832"/>
              <a:gd name="connsiteX3" fmla="*/ 2951898 w 4995937"/>
              <a:gd name="connsiteY3" fmla="*/ 613547 h 704832"/>
              <a:gd name="connsiteX4" fmla="*/ 4198527 w 4995937"/>
              <a:gd name="connsiteY4" fmla="*/ 4952 h 704832"/>
              <a:gd name="connsiteX5" fmla="*/ 4995937 w 4995937"/>
              <a:gd name="connsiteY5" fmla="*/ 308398 h 704832"/>
              <a:gd name="connsiteX0" fmla="*/ 0 w 4995937"/>
              <a:gd name="connsiteY0" fmla="*/ 672180 h 709215"/>
              <a:gd name="connsiteX1" fmla="*/ 1255886 w 4995937"/>
              <a:gd name="connsiteY1" fmla="*/ 235312 h 709215"/>
              <a:gd name="connsiteX2" fmla="*/ 2184309 w 4995937"/>
              <a:gd name="connsiteY2" fmla="*/ 601931 h 709215"/>
              <a:gd name="connsiteX3" fmla="*/ 2951898 w 4995937"/>
              <a:gd name="connsiteY3" fmla="*/ 617930 h 709215"/>
              <a:gd name="connsiteX4" fmla="*/ 4198527 w 4995937"/>
              <a:gd name="connsiteY4" fmla="*/ 9335 h 709215"/>
              <a:gd name="connsiteX5" fmla="*/ 4995937 w 4995937"/>
              <a:gd name="connsiteY5" fmla="*/ 312781 h 709215"/>
              <a:gd name="connsiteX0" fmla="*/ 0 w 4995937"/>
              <a:gd name="connsiteY0" fmla="*/ 664466 h 701501"/>
              <a:gd name="connsiteX1" fmla="*/ 1255886 w 4995937"/>
              <a:gd name="connsiteY1" fmla="*/ 227598 h 701501"/>
              <a:gd name="connsiteX2" fmla="*/ 2184309 w 4995937"/>
              <a:gd name="connsiteY2" fmla="*/ 594217 h 701501"/>
              <a:gd name="connsiteX3" fmla="*/ 2951898 w 4995937"/>
              <a:gd name="connsiteY3" fmla="*/ 610216 h 701501"/>
              <a:gd name="connsiteX4" fmla="*/ 4198527 w 4995937"/>
              <a:gd name="connsiteY4" fmla="*/ 1621 h 701501"/>
              <a:gd name="connsiteX5" fmla="*/ 4995937 w 4995937"/>
              <a:gd name="connsiteY5" fmla="*/ 305067 h 701501"/>
              <a:gd name="connsiteX0" fmla="*/ 0 w 4995937"/>
              <a:gd name="connsiteY0" fmla="*/ 666339 h 703374"/>
              <a:gd name="connsiteX1" fmla="*/ 1255886 w 4995937"/>
              <a:gd name="connsiteY1" fmla="*/ 229471 h 703374"/>
              <a:gd name="connsiteX2" fmla="*/ 2184309 w 4995937"/>
              <a:gd name="connsiteY2" fmla="*/ 596090 h 703374"/>
              <a:gd name="connsiteX3" fmla="*/ 2951898 w 4995937"/>
              <a:gd name="connsiteY3" fmla="*/ 612089 h 703374"/>
              <a:gd name="connsiteX4" fmla="*/ 4198527 w 4995937"/>
              <a:gd name="connsiteY4" fmla="*/ 3494 h 703374"/>
              <a:gd name="connsiteX5" fmla="*/ 4995937 w 4995937"/>
              <a:gd name="connsiteY5" fmla="*/ 306940 h 703374"/>
              <a:gd name="connsiteX0" fmla="*/ 0 w 4995937"/>
              <a:gd name="connsiteY0" fmla="*/ 663251 h 700286"/>
              <a:gd name="connsiteX1" fmla="*/ 1255886 w 4995937"/>
              <a:gd name="connsiteY1" fmla="*/ 226383 h 700286"/>
              <a:gd name="connsiteX2" fmla="*/ 2184309 w 4995937"/>
              <a:gd name="connsiteY2" fmla="*/ 593002 h 700286"/>
              <a:gd name="connsiteX3" fmla="*/ 2951898 w 4995937"/>
              <a:gd name="connsiteY3" fmla="*/ 609001 h 700286"/>
              <a:gd name="connsiteX4" fmla="*/ 4198527 w 4995937"/>
              <a:gd name="connsiteY4" fmla="*/ 406 h 700286"/>
              <a:gd name="connsiteX5" fmla="*/ 4995937 w 4995937"/>
              <a:gd name="connsiteY5" fmla="*/ 303852 h 700286"/>
              <a:gd name="connsiteX0" fmla="*/ 0 w 4995937"/>
              <a:gd name="connsiteY0" fmla="*/ 668629 h 705664"/>
              <a:gd name="connsiteX1" fmla="*/ 1255886 w 4995937"/>
              <a:gd name="connsiteY1" fmla="*/ 231761 h 705664"/>
              <a:gd name="connsiteX2" fmla="*/ 2184309 w 4995937"/>
              <a:gd name="connsiteY2" fmla="*/ 598380 h 705664"/>
              <a:gd name="connsiteX3" fmla="*/ 2951898 w 4995937"/>
              <a:gd name="connsiteY3" fmla="*/ 614379 h 705664"/>
              <a:gd name="connsiteX4" fmla="*/ 4198527 w 4995937"/>
              <a:gd name="connsiteY4" fmla="*/ 5784 h 705664"/>
              <a:gd name="connsiteX5" fmla="*/ 4995937 w 4995937"/>
              <a:gd name="connsiteY5" fmla="*/ 309230 h 705664"/>
              <a:gd name="connsiteX0" fmla="*/ 0 w 4995937"/>
              <a:gd name="connsiteY0" fmla="*/ 668629 h 705664"/>
              <a:gd name="connsiteX1" fmla="*/ 1255886 w 4995937"/>
              <a:gd name="connsiteY1" fmla="*/ 231761 h 705664"/>
              <a:gd name="connsiteX2" fmla="*/ 2184309 w 4995937"/>
              <a:gd name="connsiteY2" fmla="*/ 598380 h 705664"/>
              <a:gd name="connsiteX3" fmla="*/ 2951898 w 4995937"/>
              <a:gd name="connsiteY3" fmla="*/ 614379 h 705664"/>
              <a:gd name="connsiteX4" fmla="*/ 4198527 w 4995937"/>
              <a:gd name="connsiteY4" fmla="*/ 5784 h 705664"/>
              <a:gd name="connsiteX5" fmla="*/ 4995937 w 4995937"/>
              <a:gd name="connsiteY5" fmla="*/ 309230 h 705664"/>
              <a:gd name="connsiteX0" fmla="*/ 0 w 4995937"/>
              <a:gd name="connsiteY0" fmla="*/ 668629 h 705664"/>
              <a:gd name="connsiteX1" fmla="*/ 1255886 w 4995937"/>
              <a:gd name="connsiteY1" fmla="*/ 231761 h 705664"/>
              <a:gd name="connsiteX2" fmla="*/ 2184309 w 4995937"/>
              <a:gd name="connsiteY2" fmla="*/ 598380 h 705664"/>
              <a:gd name="connsiteX3" fmla="*/ 2951898 w 4995937"/>
              <a:gd name="connsiteY3" fmla="*/ 614379 h 705664"/>
              <a:gd name="connsiteX4" fmla="*/ 4198527 w 4995937"/>
              <a:gd name="connsiteY4" fmla="*/ 5784 h 705664"/>
              <a:gd name="connsiteX5" fmla="*/ 4995937 w 4995937"/>
              <a:gd name="connsiteY5" fmla="*/ 309230 h 705664"/>
              <a:gd name="connsiteX0" fmla="*/ 0 w 4995937"/>
              <a:gd name="connsiteY0" fmla="*/ 668629 h 705664"/>
              <a:gd name="connsiteX1" fmla="*/ 1255886 w 4995937"/>
              <a:gd name="connsiteY1" fmla="*/ 231761 h 705664"/>
              <a:gd name="connsiteX2" fmla="*/ 2184309 w 4995937"/>
              <a:gd name="connsiteY2" fmla="*/ 598380 h 705664"/>
              <a:gd name="connsiteX3" fmla="*/ 2951898 w 4995937"/>
              <a:gd name="connsiteY3" fmla="*/ 614379 h 705664"/>
              <a:gd name="connsiteX4" fmla="*/ 4198527 w 4995937"/>
              <a:gd name="connsiteY4" fmla="*/ 5784 h 705664"/>
              <a:gd name="connsiteX5" fmla="*/ 4995937 w 4995937"/>
              <a:gd name="connsiteY5" fmla="*/ 309230 h 705664"/>
              <a:gd name="connsiteX0" fmla="*/ 0 w 4995937"/>
              <a:gd name="connsiteY0" fmla="*/ 668629 h 705664"/>
              <a:gd name="connsiteX1" fmla="*/ 1255886 w 4995937"/>
              <a:gd name="connsiteY1" fmla="*/ 231761 h 705664"/>
              <a:gd name="connsiteX2" fmla="*/ 2184309 w 4995937"/>
              <a:gd name="connsiteY2" fmla="*/ 598380 h 705664"/>
              <a:gd name="connsiteX3" fmla="*/ 2951898 w 4995937"/>
              <a:gd name="connsiteY3" fmla="*/ 614379 h 705664"/>
              <a:gd name="connsiteX4" fmla="*/ 4198527 w 4995937"/>
              <a:gd name="connsiteY4" fmla="*/ 5784 h 705664"/>
              <a:gd name="connsiteX5" fmla="*/ 4995937 w 4995937"/>
              <a:gd name="connsiteY5" fmla="*/ 309230 h 705664"/>
              <a:gd name="connsiteX0" fmla="*/ 0 w 5080660"/>
              <a:gd name="connsiteY0" fmla="*/ 664067 h 701102"/>
              <a:gd name="connsiteX1" fmla="*/ 1255886 w 5080660"/>
              <a:gd name="connsiteY1" fmla="*/ 227199 h 701102"/>
              <a:gd name="connsiteX2" fmla="*/ 2184309 w 5080660"/>
              <a:gd name="connsiteY2" fmla="*/ 593818 h 701102"/>
              <a:gd name="connsiteX3" fmla="*/ 2951898 w 5080660"/>
              <a:gd name="connsiteY3" fmla="*/ 609817 h 701102"/>
              <a:gd name="connsiteX4" fmla="*/ 4198527 w 5080660"/>
              <a:gd name="connsiteY4" fmla="*/ 1222 h 701102"/>
              <a:gd name="connsiteX5" fmla="*/ 5080660 w 5080660"/>
              <a:gd name="connsiteY5" fmla="*/ 365528 h 701102"/>
              <a:gd name="connsiteX0" fmla="*/ 0 w 5080660"/>
              <a:gd name="connsiteY0" fmla="*/ 663124 h 700159"/>
              <a:gd name="connsiteX1" fmla="*/ 1255886 w 5080660"/>
              <a:gd name="connsiteY1" fmla="*/ 226256 h 700159"/>
              <a:gd name="connsiteX2" fmla="*/ 2184309 w 5080660"/>
              <a:gd name="connsiteY2" fmla="*/ 592875 h 700159"/>
              <a:gd name="connsiteX3" fmla="*/ 2951898 w 5080660"/>
              <a:gd name="connsiteY3" fmla="*/ 608874 h 700159"/>
              <a:gd name="connsiteX4" fmla="*/ 4198527 w 5080660"/>
              <a:gd name="connsiteY4" fmla="*/ 279 h 700159"/>
              <a:gd name="connsiteX5" fmla="*/ 5080660 w 5080660"/>
              <a:gd name="connsiteY5" fmla="*/ 364585 h 700159"/>
              <a:gd name="connsiteX0" fmla="*/ 0 w 5080660"/>
              <a:gd name="connsiteY0" fmla="*/ 663124 h 700159"/>
              <a:gd name="connsiteX1" fmla="*/ 1255886 w 5080660"/>
              <a:gd name="connsiteY1" fmla="*/ 226256 h 700159"/>
              <a:gd name="connsiteX2" fmla="*/ 2184309 w 5080660"/>
              <a:gd name="connsiteY2" fmla="*/ 592875 h 700159"/>
              <a:gd name="connsiteX3" fmla="*/ 2951898 w 5080660"/>
              <a:gd name="connsiteY3" fmla="*/ 608874 h 700159"/>
              <a:gd name="connsiteX4" fmla="*/ 4198527 w 5080660"/>
              <a:gd name="connsiteY4" fmla="*/ 279 h 700159"/>
              <a:gd name="connsiteX5" fmla="*/ 5080660 w 5080660"/>
              <a:gd name="connsiteY5" fmla="*/ 364585 h 700159"/>
              <a:gd name="connsiteX0" fmla="*/ 0 w 5080660"/>
              <a:gd name="connsiteY0" fmla="*/ 663124 h 667423"/>
              <a:gd name="connsiteX1" fmla="*/ 1255886 w 5080660"/>
              <a:gd name="connsiteY1" fmla="*/ 226256 h 667423"/>
              <a:gd name="connsiteX2" fmla="*/ 2184309 w 5080660"/>
              <a:gd name="connsiteY2" fmla="*/ 592875 h 667423"/>
              <a:gd name="connsiteX3" fmla="*/ 3024517 w 5080660"/>
              <a:gd name="connsiteY3" fmla="*/ 548014 h 667423"/>
              <a:gd name="connsiteX4" fmla="*/ 4198527 w 5080660"/>
              <a:gd name="connsiteY4" fmla="*/ 279 h 667423"/>
              <a:gd name="connsiteX5" fmla="*/ 5080660 w 5080660"/>
              <a:gd name="connsiteY5" fmla="*/ 364585 h 667423"/>
              <a:gd name="connsiteX0" fmla="*/ 0 w 5080660"/>
              <a:gd name="connsiteY0" fmla="*/ 663124 h 663124"/>
              <a:gd name="connsiteX1" fmla="*/ 1255886 w 5080660"/>
              <a:gd name="connsiteY1" fmla="*/ 226256 h 663124"/>
              <a:gd name="connsiteX2" fmla="*/ 2184309 w 5080660"/>
              <a:gd name="connsiteY2" fmla="*/ 592875 h 663124"/>
              <a:gd name="connsiteX3" fmla="*/ 3024517 w 5080660"/>
              <a:gd name="connsiteY3" fmla="*/ 548014 h 663124"/>
              <a:gd name="connsiteX4" fmla="*/ 4198527 w 5080660"/>
              <a:gd name="connsiteY4" fmla="*/ 279 h 663124"/>
              <a:gd name="connsiteX5" fmla="*/ 5080660 w 5080660"/>
              <a:gd name="connsiteY5" fmla="*/ 364585 h 663124"/>
              <a:gd name="connsiteX0" fmla="*/ 0 w 5080660"/>
              <a:gd name="connsiteY0" fmla="*/ 663124 h 663124"/>
              <a:gd name="connsiteX1" fmla="*/ 1255886 w 5080660"/>
              <a:gd name="connsiteY1" fmla="*/ 226256 h 663124"/>
              <a:gd name="connsiteX2" fmla="*/ 2135896 w 5080660"/>
              <a:gd name="connsiteY2" fmla="*/ 532016 h 663124"/>
              <a:gd name="connsiteX3" fmla="*/ 3024517 w 5080660"/>
              <a:gd name="connsiteY3" fmla="*/ 548014 h 663124"/>
              <a:gd name="connsiteX4" fmla="*/ 4198527 w 5080660"/>
              <a:gd name="connsiteY4" fmla="*/ 279 h 663124"/>
              <a:gd name="connsiteX5" fmla="*/ 5080660 w 5080660"/>
              <a:gd name="connsiteY5" fmla="*/ 364585 h 663124"/>
              <a:gd name="connsiteX0" fmla="*/ 0 w 5080660"/>
              <a:gd name="connsiteY0" fmla="*/ 663124 h 663124"/>
              <a:gd name="connsiteX1" fmla="*/ 1255886 w 5080660"/>
              <a:gd name="connsiteY1" fmla="*/ 226256 h 663124"/>
              <a:gd name="connsiteX2" fmla="*/ 2226670 w 5080660"/>
              <a:gd name="connsiteY2" fmla="*/ 603941 h 663124"/>
              <a:gd name="connsiteX3" fmla="*/ 3024517 w 5080660"/>
              <a:gd name="connsiteY3" fmla="*/ 548014 h 663124"/>
              <a:gd name="connsiteX4" fmla="*/ 4198527 w 5080660"/>
              <a:gd name="connsiteY4" fmla="*/ 279 h 663124"/>
              <a:gd name="connsiteX5" fmla="*/ 5080660 w 5080660"/>
              <a:gd name="connsiteY5" fmla="*/ 364585 h 663124"/>
              <a:gd name="connsiteX0" fmla="*/ 0 w 5080660"/>
              <a:gd name="connsiteY0" fmla="*/ 663124 h 680556"/>
              <a:gd name="connsiteX1" fmla="*/ 1255886 w 5080660"/>
              <a:gd name="connsiteY1" fmla="*/ 226256 h 680556"/>
              <a:gd name="connsiteX2" fmla="*/ 2226670 w 5080660"/>
              <a:gd name="connsiteY2" fmla="*/ 603941 h 680556"/>
              <a:gd name="connsiteX3" fmla="*/ 3024517 w 5080660"/>
              <a:gd name="connsiteY3" fmla="*/ 548014 h 680556"/>
              <a:gd name="connsiteX4" fmla="*/ 4198527 w 5080660"/>
              <a:gd name="connsiteY4" fmla="*/ 279 h 680556"/>
              <a:gd name="connsiteX5" fmla="*/ 5080660 w 5080660"/>
              <a:gd name="connsiteY5" fmla="*/ 364585 h 680556"/>
              <a:gd name="connsiteX0" fmla="*/ 0 w 5080660"/>
              <a:gd name="connsiteY0" fmla="*/ 663124 h 680556"/>
              <a:gd name="connsiteX1" fmla="*/ 1255886 w 5080660"/>
              <a:gd name="connsiteY1" fmla="*/ 226256 h 680556"/>
              <a:gd name="connsiteX2" fmla="*/ 2226670 w 5080660"/>
              <a:gd name="connsiteY2" fmla="*/ 603941 h 680556"/>
              <a:gd name="connsiteX3" fmla="*/ 3024517 w 5080660"/>
              <a:gd name="connsiteY3" fmla="*/ 548014 h 680556"/>
              <a:gd name="connsiteX4" fmla="*/ 4198527 w 5080660"/>
              <a:gd name="connsiteY4" fmla="*/ 279 h 680556"/>
              <a:gd name="connsiteX5" fmla="*/ 5080660 w 5080660"/>
              <a:gd name="connsiteY5" fmla="*/ 364585 h 680556"/>
              <a:gd name="connsiteX0" fmla="*/ 0 w 5080660"/>
              <a:gd name="connsiteY0" fmla="*/ 663124 h 680556"/>
              <a:gd name="connsiteX1" fmla="*/ 1255886 w 5080660"/>
              <a:gd name="connsiteY1" fmla="*/ 226256 h 680556"/>
              <a:gd name="connsiteX2" fmla="*/ 2226670 w 5080660"/>
              <a:gd name="connsiteY2" fmla="*/ 603941 h 680556"/>
              <a:gd name="connsiteX3" fmla="*/ 3139498 w 5080660"/>
              <a:gd name="connsiteY3" fmla="*/ 548014 h 680556"/>
              <a:gd name="connsiteX4" fmla="*/ 4198527 w 5080660"/>
              <a:gd name="connsiteY4" fmla="*/ 279 h 680556"/>
              <a:gd name="connsiteX5" fmla="*/ 5080660 w 5080660"/>
              <a:gd name="connsiteY5" fmla="*/ 364585 h 6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0660" h="680556" extrusionOk="0">
                <a:moveTo>
                  <a:pt x="0" y="663124"/>
                </a:moveTo>
                <a:cubicBezTo>
                  <a:pt x="178908" y="463559"/>
                  <a:pt x="558996" y="243496"/>
                  <a:pt x="1255886" y="226256"/>
                </a:cubicBezTo>
                <a:cubicBezTo>
                  <a:pt x="1492856" y="236678"/>
                  <a:pt x="1746316" y="331774"/>
                  <a:pt x="2226670" y="603941"/>
                </a:cubicBezTo>
                <a:cubicBezTo>
                  <a:pt x="2434705" y="721194"/>
                  <a:pt x="2871371" y="704873"/>
                  <a:pt x="3139498" y="548014"/>
                </a:cubicBezTo>
                <a:cubicBezTo>
                  <a:pt x="3710206" y="164315"/>
                  <a:pt x="3778064" y="10954"/>
                  <a:pt x="4198527" y="279"/>
                </a:cubicBezTo>
                <a:cubicBezTo>
                  <a:pt x="4435312" y="-7184"/>
                  <a:pt x="4854967" y="136042"/>
                  <a:pt x="5080660" y="364585"/>
                </a:cubicBezTo>
              </a:path>
            </a:pathLst>
          </a:custGeom>
          <a:noFill/>
          <a:ln w="12700" cap="flat" cmpd="sng">
            <a:solidFill>
              <a:schemeClr val="tx1"/>
            </a:solidFill>
            <a:prstDash val="dash"/>
            <a:round/>
            <a:headEnd type="none" w="sm" len="sm"/>
            <a:tailEnd type="none" w="sm" len="sm"/>
          </a:ln>
        </p:spPr>
        <p:txBody>
          <a:bodyPr spcFirstLastPara="1" wrap="square" lIns="91425" tIns="45700" rIns="91425" bIns="45700" anchor="t" anchorCtr="0">
            <a:noAutofit/>
          </a:bodyPr>
          <a:lstStyle/>
          <a:p>
            <a:pPr>
              <a:buClr>
                <a:srgbClr val="000000"/>
              </a:buClr>
              <a:buSzPts val="1067"/>
            </a:pPr>
            <a:endParaRPr sz="1200">
              <a:solidFill>
                <a:srgbClr val="000000"/>
              </a:solidFill>
              <a:latin typeface="+mj-lt"/>
              <a:ea typeface="Arial"/>
              <a:cs typeface="Arial"/>
              <a:sym typeface="Arial"/>
            </a:endParaRPr>
          </a:p>
        </p:txBody>
      </p:sp>
      <p:grpSp>
        <p:nvGrpSpPr>
          <p:cNvPr id="37" name="Groupe 36">
            <a:extLst>
              <a:ext uri="{FF2B5EF4-FFF2-40B4-BE49-F238E27FC236}">
                <a16:creationId xmlns:a16="http://schemas.microsoft.com/office/drawing/2014/main" id="{E1D5A84C-A14B-0799-304F-0BCC2319E22D}"/>
              </a:ext>
            </a:extLst>
          </p:cNvPr>
          <p:cNvGrpSpPr/>
          <p:nvPr/>
        </p:nvGrpSpPr>
        <p:grpSpPr>
          <a:xfrm>
            <a:off x="2426184" y="4940273"/>
            <a:ext cx="302549" cy="302549"/>
            <a:chOff x="2426184" y="4906405"/>
            <a:chExt cx="302549" cy="302549"/>
          </a:xfrm>
        </p:grpSpPr>
        <p:sp>
          <p:nvSpPr>
            <p:cNvPr id="45" name="Oval 107">
              <a:extLst>
                <a:ext uri="{FF2B5EF4-FFF2-40B4-BE49-F238E27FC236}">
                  <a16:creationId xmlns:a16="http://schemas.microsoft.com/office/drawing/2014/main" id="{5B124099-8B11-41D5-CA6E-4C3F67BBA7B1}"/>
                </a:ext>
              </a:extLst>
            </p:cNvPr>
            <p:cNvSpPr>
              <a:spLocks noChangeAspect="1"/>
            </p:cNvSpPr>
            <p:nvPr/>
          </p:nvSpPr>
          <p:spPr>
            <a:xfrm>
              <a:off x="2426184" y="4906405"/>
              <a:ext cx="302549" cy="302549"/>
            </a:xfrm>
            <a:prstGeom prst="ellipse">
              <a:avLst/>
            </a:prstGeom>
            <a:solidFill>
              <a:srgbClr val="006EB7"/>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2" name="Graphique 51" descr="Magasin contour">
              <a:extLst>
                <a:ext uri="{FF2B5EF4-FFF2-40B4-BE49-F238E27FC236}">
                  <a16:creationId xmlns:a16="http://schemas.microsoft.com/office/drawing/2014/main" id="{19F32CCE-17A7-07B2-A5AE-D93D01CA8C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36668" y="4916892"/>
              <a:ext cx="281573" cy="281573"/>
            </a:xfrm>
            <a:prstGeom prst="rect">
              <a:avLst/>
            </a:prstGeom>
          </p:spPr>
        </p:pic>
      </p:grpSp>
      <p:grpSp>
        <p:nvGrpSpPr>
          <p:cNvPr id="71" name="Groupe 70">
            <a:extLst>
              <a:ext uri="{FF2B5EF4-FFF2-40B4-BE49-F238E27FC236}">
                <a16:creationId xmlns:a16="http://schemas.microsoft.com/office/drawing/2014/main" id="{7083F85D-5969-7EFF-6C9F-E320BE47DBB0}"/>
              </a:ext>
            </a:extLst>
          </p:cNvPr>
          <p:cNvGrpSpPr/>
          <p:nvPr/>
        </p:nvGrpSpPr>
        <p:grpSpPr>
          <a:xfrm>
            <a:off x="5229882" y="4649108"/>
            <a:ext cx="302549" cy="302549"/>
            <a:chOff x="5229882" y="4386638"/>
            <a:chExt cx="302549" cy="302549"/>
          </a:xfrm>
        </p:grpSpPr>
        <p:sp>
          <p:nvSpPr>
            <p:cNvPr id="47" name="Oval 107">
              <a:extLst>
                <a:ext uri="{FF2B5EF4-FFF2-40B4-BE49-F238E27FC236}">
                  <a16:creationId xmlns:a16="http://schemas.microsoft.com/office/drawing/2014/main" id="{24B1A331-951D-991A-86CA-85D94C819B4E}"/>
                </a:ext>
              </a:extLst>
            </p:cNvPr>
            <p:cNvSpPr>
              <a:spLocks noChangeAspect="1"/>
            </p:cNvSpPr>
            <p:nvPr/>
          </p:nvSpPr>
          <p:spPr>
            <a:xfrm>
              <a:off x="5229882" y="4386638"/>
              <a:ext cx="302549" cy="302549"/>
            </a:xfrm>
            <a:prstGeom prst="ellipse">
              <a:avLst/>
            </a:prstGeom>
            <a:solidFill>
              <a:srgbClr val="009DC5"/>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4" name="Graphique 53" descr="Argent contour">
              <a:extLst>
                <a:ext uri="{FF2B5EF4-FFF2-40B4-BE49-F238E27FC236}">
                  <a16:creationId xmlns:a16="http://schemas.microsoft.com/office/drawing/2014/main" id="{C059AEC9-C12D-15C7-C6D9-B13430DFED6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251455" y="4408211"/>
              <a:ext cx="259403" cy="259403"/>
            </a:xfrm>
            <a:prstGeom prst="rect">
              <a:avLst/>
            </a:prstGeom>
          </p:spPr>
        </p:pic>
      </p:grpSp>
      <p:grpSp>
        <p:nvGrpSpPr>
          <p:cNvPr id="73" name="Groupe 72">
            <a:extLst>
              <a:ext uri="{FF2B5EF4-FFF2-40B4-BE49-F238E27FC236}">
                <a16:creationId xmlns:a16="http://schemas.microsoft.com/office/drawing/2014/main" id="{6908C33D-A304-A60F-2D6D-86ECBDA2556A}"/>
              </a:ext>
            </a:extLst>
          </p:cNvPr>
          <p:cNvGrpSpPr/>
          <p:nvPr/>
        </p:nvGrpSpPr>
        <p:grpSpPr>
          <a:xfrm>
            <a:off x="6627090" y="4613777"/>
            <a:ext cx="302549" cy="302549"/>
            <a:chOff x="6627090" y="4359773"/>
            <a:chExt cx="302549" cy="302549"/>
          </a:xfrm>
        </p:grpSpPr>
        <p:sp>
          <p:nvSpPr>
            <p:cNvPr id="48" name="Oval 107">
              <a:extLst>
                <a:ext uri="{FF2B5EF4-FFF2-40B4-BE49-F238E27FC236}">
                  <a16:creationId xmlns:a16="http://schemas.microsoft.com/office/drawing/2014/main" id="{94F236EF-E2AC-A4FC-BB75-701484547951}"/>
                </a:ext>
              </a:extLst>
            </p:cNvPr>
            <p:cNvSpPr>
              <a:spLocks noChangeAspect="1"/>
            </p:cNvSpPr>
            <p:nvPr/>
          </p:nvSpPr>
          <p:spPr>
            <a:xfrm>
              <a:off x="6627090" y="4359773"/>
              <a:ext cx="302549" cy="302549"/>
            </a:xfrm>
            <a:prstGeom prst="ellipse">
              <a:avLst/>
            </a:prstGeom>
            <a:solidFill>
              <a:srgbClr val="577CDD"/>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5" name="Graphique 54" descr="Entrer contour">
              <a:extLst>
                <a:ext uri="{FF2B5EF4-FFF2-40B4-BE49-F238E27FC236}">
                  <a16:creationId xmlns:a16="http://schemas.microsoft.com/office/drawing/2014/main" id="{605B6943-1D4C-1199-4F2F-2137195B5C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664907" y="4397591"/>
              <a:ext cx="226913" cy="226913"/>
            </a:xfrm>
            <a:prstGeom prst="rect">
              <a:avLst/>
            </a:prstGeom>
          </p:spPr>
        </p:pic>
      </p:grpSp>
      <p:grpSp>
        <p:nvGrpSpPr>
          <p:cNvPr id="76" name="Groupe 75">
            <a:extLst>
              <a:ext uri="{FF2B5EF4-FFF2-40B4-BE49-F238E27FC236}">
                <a16:creationId xmlns:a16="http://schemas.microsoft.com/office/drawing/2014/main" id="{EF115809-A193-341B-B4E3-B78CF95D3469}"/>
              </a:ext>
            </a:extLst>
          </p:cNvPr>
          <p:cNvGrpSpPr/>
          <p:nvPr/>
        </p:nvGrpSpPr>
        <p:grpSpPr>
          <a:xfrm>
            <a:off x="8019454" y="4987284"/>
            <a:ext cx="302549" cy="302549"/>
            <a:chOff x="8019454" y="4834880"/>
            <a:chExt cx="302549" cy="302549"/>
          </a:xfrm>
        </p:grpSpPr>
        <p:sp>
          <p:nvSpPr>
            <p:cNvPr id="49" name="Oval 107">
              <a:extLst>
                <a:ext uri="{FF2B5EF4-FFF2-40B4-BE49-F238E27FC236}">
                  <a16:creationId xmlns:a16="http://schemas.microsoft.com/office/drawing/2014/main" id="{B5E093BC-22A7-00EF-BAE1-F7DF213B285D}"/>
                </a:ext>
              </a:extLst>
            </p:cNvPr>
            <p:cNvSpPr>
              <a:spLocks noChangeAspect="1"/>
            </p:cNvSpPr>
            <p:nvPr/>
          </p:nvSpPr>
          <p:spPr>
            <a:xfrm>
              <a:off x="8019454" y="4834880"/>
              <a:ext cx="302549" cy="302549"/>
            </a:xfrm>
            <a:prstGeom prst="ellipse">
              <a:avLst/>
            </a:prstGeom>
            <a:solidFill>
              <a:srgbClr val="1D3D91"/>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7" name="Graphique 56" descr="Porte-bloc contour">
              <a:extLst>
                <a:ext uri="{FF2B5EF4-FFF2-40B4-BE49-F238E27FC236}">
                  <a16:creationId xmlns:a16="http://schemas.microsoft.com/office/drawing/2014/main" id="{5F172907-1600-D81B-C939-1919F0F8DF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051219" y="4866645"/>
              <a:ext cx="239018" cy="239018"/>
            </a:xfrm>
            <a:prstGeom prst="rect">
              <a:avLst/>
            </a:prstGeom>
          </p:spPr>
        </p:pic>
      </p:grpSp>
      <p:sp>
        <p:nvSpPr>
          <p:cNvPr id="63" name="ZoneTexte 62">
            <a:extLst>
              <a:ext uri="{FF2B5EF4-FFF2-40B4-BE49-F238E27FC236}">
                <a16:creationId xmlns:a16="http://schemas.microsoft.com/office/drawing/2014/main" id="{857EE9F1-6074-32ED-3290-BA546503475E}"/>
              </a:ext>
            </a:extLst>
          </p:cNvPr>
          <p:cNvSpPr txBox="1"/>
          <p:nvPr/>
        </p:nvSpPr>
        <p:spPr>
          <a:xfrm>
            <a:off x="8840588" y="3338613"/>
            <a:ext cx="1527179" cy="3170099"/>
          </a:xfrm>
          <a:prstGeom prst="rect">
            <a:avLst/>
          </a:prstGeom>
          <a:noFill/>
        </p:spPr>
        <p:txBody>
          <a:bodyPr wrap="square" rtlCol="0">
            <a:spAutoFit/>
          </a:bodyPr>
          <a:lstStyle/>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Anticipation des demandes de documents </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Utilisation de l’historique pour orienter les contrôles médicaux, les stratégies de gestion</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Challenge des règles de contrôle médical et des responsabilités entre courtier, gestionnaire et assureur</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Remontée en amont des contrôles placés en aval (cf lutte contre la fraude)</a:t>
            </a: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endParaRPr lang="fr-FR" sz="800" kern="0">
              <a:solidFill>
                <a:sysClr val="windowText" lastClr="000000"/>
              </a:solidFill>
              <a:latin typeface="+mj-lt"/>
              <a:cs typeface="Arial"/>
              <a:sym typeface="Arial"/>
            </a:endParaRP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Priorisation des contrôles en fonction du taux de reconnaissance des PJ, au regard du volume de pièces et du volume financier</a:t>
            </a:r>
          </a:p>
          <a:p>
            <a:pPr marL="171450" indent="-171450">
              <a:buClr>
                <a:srgbClr val="000000"/>
              </a:buClr>
              <a:buFont typeface="Arial" panose="020B0604020202020204" pitchFamily="34" charset="0"/>
              <a:buChar char="•"/>
            </a:pPr>
            <a:r>
              <a:rPr lang="fr-FR" sz="800" kern="0">
                <a:solidFill>
                  <a:sysClr val="windowText" lastClr="000000"/>
                </a:solidFill>
                <a:latin typeface="+mj-lt"/>
                <a:cs typeface="Arial"/>
                <a:sym typeface="Arial"/>
              </a:rPr>
              <a:t>Selfcare et optimisation de l'ouverture du sinistre</a:t>
            </a:r>
          </a:p>
        </p:txBody>
      </p:sp>
      <p:grpSp>
        <p:nvGrpSpPr>
          <p:cNvPr id="77" name="Groupe 76">
            <a:extLst>
              <a:ext uri="{FF2B5EF4-FFF2-40B4-BE49-F238E27FC236}">
                <a16:creationId xmlns:a16="http://schemas.microsoft.com/office/drawing/2014/main" id="{E9974B25-3260-11C9-31F0-9ED1F28AD152}"/>
              </a:ext>
            </a:extLst>
          </p:cNvPr>
          <p:cNvGrpSpPr/>
          <p:nvPr/>
        </p:nvGrpSpPr>
        <p:grpSpPr>
          <a:xfrm>
            <a:off x="9435435" y="5133679"/>
            <a:ext cx="302549" cy="302549"/>
            <a:chOff x="9435435" y="5218348"/>
            <a:chExt cx="302549" cy="302549"/>
          </a:xfrm>
        </p:grpSpPr>
        <p:sp>
          <p:nvSpPr>
            <p:cNvPr id="50" name="Oval 107">
              <a:extLst>
                <a:ext uri="{FF2B5EF4-FFF2-40B4-BE49-F238E27FC236}">
                  <a16:creationId xmlns:a16="http://schemas.microsoft.com/office/drawing/2014/main" id="{6FE2FB38-F749-3C07-0B98-3CAC76B785A0}"/>
                </a:ext>
              </a:extLst>
            </p:cNvPr>
            <p:cNvSpPr>
              <a:spLocks noChangeAspect="1"/>
            </p:cNvSpPr>
            <p:nvPr/>
          </p:nvSpPr>
          <p:spPr>
            <a:xfrm>
              <a:off x="9435435" y="5218348"/>
              <a:ext cx="302549" cy="302549"/>
            </a:xfrm>
            <a:prstGeom prst="ellipse">
              <a:avLst/>
            </a:prstGeom>
            <a:solidFill>
              <a:srgbClr val="70CDD3"/>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8" name="Graphique 57" descr="Chèque contour">
              <a:extLst>
                <a:ext uri="{FF2B5EF4-FFF2-40B4-BE49-F238E27FC236}">
                  <a16:creationId xmlns:a16="http://schemas.microsoft.com/office/drawing/2014/main" id="{17E27A3F-C2B8-CF45-6972-EDDDDEF829C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9476529" y="5259442"/>
              <a:ext cx="220361" cy="220361"/>
            </a:xfrm>
            <a:prstGeom prst="rect">
              <a:avLst/>
            </a:prstGeom>
          </p:spPr>
        </p:pic>
      </p:grpSp>
      <p:grpSp>
        <p:nvGrpSpPr>
          <p:cNvPr id="78" name="Groupe 77">
            <a:extLst>
              <a:ext uri="{FF2B5EF4-FFF2-40B4-BE49-F238E27FC236}">
                <a16:creationId xmlns:a16="http://schemas.microsoft.com/office/drawing/2014/main" id="{C19AACD0-6CFC-8F19-2181-08986BB513E1}"/>
              </a:ext>
            </a:extLst>
          </p:cNvPr>
          <p:cNvGrpSpPr/>
          <p:nvPr/>
        </p:nvGrpSpPr>
        <p:grpSpPr>
          <a:xfrm>
            <a:off x="10837287" y="4928945"/>
            <a:ext cx="302549" cy="302549"/>
            <a:chOff x="10837287" y="4945879"/>
            <a:chExt cx="302549" cy="302549"/>
          </a:xfrm>
        </p:grpSpPr>
        <p:sp>
          <p:nvSpPr>
            <p:cNvPr id="51" name="Oval 107">
              <a:extLst>
                <a:ext uri="{FF2B5EF4-FFF2-40B4-BE49-F238E27FC236}">
                  <a16:creationId xmlns:a16="http://schemas.microsoft.com/office/drawing/2014/main" id="{0BD66E96-55FE-9231-DE4E-1BAAAC890437}"/>
                </a:ext>
              </a:extLst>
            </p:cNvPr>
            <p:cNvSpPr>
              <a:spLocks noChangeAspect="1"/>
            </p:cNvSpPr>
            <p:nvPr/>
          </p:nvSpPr>
          <p:spPr>
            <a:xfrm>
              <a:off x="10837287" y="4945879"/>
              <a:ext cx="302549" cy="302549"/>
            </a:xfrm>
            <a:prstGeom prst="ellipse">
              <a:avLst/>
            </a:prstGeom>
            <a:solidFill>
              <a:srgbClr val="006EB7"/>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9" name="Graphique 58" descr="Homme pilote contour">
              <a:extLst>
                <a:ext uri="{FF2B5EF4-FFF2-40B4-BE49-F238E27FC236}">
                  <a16:creationId xmlns:a16="http://schemas.microsoft.com/office/drawing/2014/main" id="{D2385570-525B-8B02-482A-9E99479A70E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0867564" y="4976156"/>
              <a:ext cx="241994" cy="241994"/>
            </a:xfrm>
            <a:prstGeom prst="rect">
              <a:avLst/>
            </a:prstGeom>
          </p:spPr>
        </p:pic>
      </p:grpSp>
      <p:pic>
        <p:nvPicPr>
          <p:cNvPr id="31" name="Graphique 30" descr="Pièces contour">
            <a:extLst>
              <a:ext uri="{FF2B5EF4-FFF2-40B4-BE49-F238E27FC236}">
                <a16:creationId xmlns:a16="http://schemas.microsoft.com/office/drawing/2014/main" id="{17E39801-3DAA-CCF3-2B18-FC790CD3626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551140" y="938431"/>
            <a:ext cx="378544" cy="378544"/>
          </a:xfrm>
          <a:prstGeom prst="rect">
            <a:avLst/>
          </a:prstGeom>
        </p:spPr>
      </p:pic>
      <p:pic>
        <p:nvPicPr>
          <p:cNvPr id="32" name="Graphique 31" descr="Pièces contour">
            <a:extLst>
              <a:ext uri="{FF2B5EF4-FFF2-40B4-BE49-F238E27FC236}">
                <a16:creationId xmlns:a16="http://schemas.microsoft.com/office/drawing/2014/main" id="{24DEB61C-E6AC-708F-169D-3D6D4D76DB4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38671" y="938431"/>
            <a:ext cx="378544" cy="378544"/>
          </a:xfrm>
          <a:prstGeom prst="rect">
            <a:avLst/>
          </a:prstGeom>
        </p:spPr>
      </p:pic>
      <p:pic>
        <p:nvPicPr>
          <p:cNvPr id="34" name="Graphique 33" descr="Pièces contour">
            <a:extLst>
              <a:ext uri="{FF2B5EF4-FFF2-40B4-BE49-F238E27FC236}">
                <a16:creationId xmlns:a16="http://schemas.microsoft.com/office/drawing/2014/main" id="{6DE5C6C5-D3BF-E8A4-62A5-22F7547797D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l="34125" t="42404" r="1" b="4754"/>
          <a:stretch/>
        </p:blipFill>
        <p:spPr>
          <a:xfrm>
            <a:off x="10839449" y="1089272"/>
            <a:ext cx="249365" cy="200027"/>
          </a:xfrm>
          <a:prstGeom prst="rect">
            <a:avLst/>
          </a:prstGeom>
        </p:spPr>
      </p:pic>
      <p:pic>
        <p:nvPicPr>
          <p:cNvPr id="42" name="Graphique 41" descr="Pièces contour">
            <a:extLst>
              <a:ext uri="{FF2B5EF4-FFF2-40B4-BE49-F238E27FC236}">
                <a16:creationId xmlns:a16="http://schemas.microsoft.com/office/drawing/2014/main" id="{5A512132-7E56-E759-1DAD-86FFAB06FD6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l="34125" t="42404" r="1" b="4754"/>
          <a:stretch/>
        </p:blipFill>
        <p:spPr>
          <a:xfrm>
            <a:off x="8060176" y="1062342"/>
            <a:ext cx="249365" cy="200027"/>
          </a:xfrm>
          <a:prstGeom prst="rect">
            <a:avLst/>
          </a:prstGeom>
        </p:spPr>
      </p:pic>
      <p:sp>
        <p:nvSpPr>
          <p:cNvPr id="62" name="Rectangle 61">
            <a:extLst>
              <a:ext uri="{FF2B5EF4-FFF2-40B4-BE49-F238E27FC236}">
                <a16:creationId xmlns:a16="http://schemas.microsoft.com/office/drawing/2014/main" id="{E5FBC0AB-932F-757F-C3C1-3106CC5D4AD2}"/>
              </a:ext>
            </a:extLst>
          </p:cNvPr>
          <p:cNvSpPr/>
          <p:nvPr/>
        </p:nvSpPr>
        <p:spPr>
          <a:xfrm>
            <a:off x="6120271" y="992422"/>
            <a:ext cx="5717157" cy="5766334"/>
          </a:xfrm>
          <a:prstGeom prst="rect">
            <a:avLst/>
          </a:prstGeom>
          <a:noFill/>
          <a:ln>
            <a:solidFill>
              <a:srgbClr val="C0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Ins="324000" rtlCol="0" anchor="b" anchorCtr="0"/>
          <a:lstStyle/>
          <a:p>
            <a:pPr algn="r">
              <a:buClr>
                <a:srgbClr val="000000"/>
              </a:buClr>
              <a:defRPr/>
            </a:pPr>
            <a:r>
              <a:rPr kumimoji="0" lang="fr-FR" sz="1100" b="0" i="0" u="none" strike="noStrike" kern="0" cap="none" spc="0" normalizeH="0" baseline="0" noProof="0">
                <a:ln>
                  <a:noFill/>
                </a:ln>
                <a:solidFill>
                  <a:srgbClr val="C00000"/>
                </a:solidFill>
                <a:effectLst/>
                <a:uLnTx/>
                <a:uFillTx/>
                <a:latin typeface="Arial"/>
                <a:ea typeface="+mn-ea"/>
                <a:cs typeface="+mn-cs"/>
                <a:sym typeface="Arial"/>
              </a:rPr>
              <a:t>Périmètre du diagnostic</a:t>
            </a:r>
            <a:endParaRPr kumimoji="0" lang="fr-FR" sz="1400" b="0" i="0" u="none" strike="noStrike" kern="0" cap="none" spc="0" normalizeH="0" baseline="0" noProof="0">
              <a:ln>
                <a:noFill/>
              </a:ln>
              <a:solidFill>
                <a:srgbClr val="C00000"/>
              </a:solidFill>
              <a:effectLst/>
              <a:uLnTx/>
              <a:uFillTx/>
              <a:latin typeface="Arial"/>
              <a:ea typeface="+mn-ea"/>
              <a:cs typeface="+mn-cs"/>
              <a:sym typeface="Arial"/>
            </a:endParaRPr>
          </a:p>
        </p:txBody>
      </p:sp>
      <p:grpSp>
        <p:nvGrpSpPr>
          <p:cNvPr id="4" name="Groupe 3">
            <a:extLst>
              <a:ext uri="{FF2B5EF4-FFF2-40B4-BE49-F238E27FC236}">
                <a16:creationId xmlns:a16="http://schemas.microsoft.com/office/drawing/2014/main" id="{FB63E1E1-7478-D864-DEA0-26AE2D7DBB8F}"/>
              </a:ext>
            </a:extLst>
          </p:cNvPr>
          <p:cNvGrpSpPr/>
          <p:nvPr/>
        </p:nvGrpSpPr>
        <p:grpSpPr>
          <a:xfrm>
            <a:off x="1024333" y="4803114"/>
            <a:ext cx="302549" cy="302549"/>
            <a:chOff x="1024333" y="4803114"/>
            <a:chExt cx="302549" cy="302549"/>
          </a:xfrm>
        </p:grpSpPr>
        <p:sp>
          <p:nvSpPr>
            <p:cNvPr id="44" name="Oval 107">
              <a:extLst>
                <a:ext uri="{FF2B5EF4-FFF2-40B4-BE49-F238E27FC236}">
                  <a16:creationId xmlns:a16="http://schemas.microsoft.com/office/drawing/2014/main" id="{D933028A-84B9-4735-E4FC-8D2DD92880C3}"/>
                </a:ext>
              </a:extLst>
            </p:cNvPr>
            <p:cNvSpPr>
              <a:spLocks noChangeAspect="1"/>
            </p:cNvSpPr>
            <p:nvPr/>
          </p:nvSpPr>
          <p:spPr>
            <a:xfrm>
              <a:off x="1024333" y="4803114"/>
              <a:ext cx="302549" cy="302549"/>
            </a:xfrm>
            <a:prstGeom prst="ellipse">
              <a:avLst/>
            </a:prstGeom>
            <a:solidFill>
              <a:srgbClr val="5C64B7"/>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74" name="Graphique 73" descr="Marketing contour">
              <a:extLst>
                <a:ext uri="{FF2B5EF4-FFF2-40B4-BE49-F238E27FC236}">
                  <a16:creationId xmlns:a16="http://schemas.microsoft.com/office/drawing/2014/main" id="{D9163BC7-685B-BAEB-5738-AB12E895558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1187" y="4819968"/>
              <a:ext cx="268841" cy="268841"/>
            </a:xfrm>
            <a:prstGeom prst="rect">
              <a:avLst/>
            </a:prstGeom>
          </p:spPr>
        </p:pic>
      </p:grpSp>
      <p:grpSp>
        <p:nvGrpSpPr>
          <p:cNvPr id="36" name="Groupe 35">
            <a:extLst>
              <a:ext uri="{FF2B5EF4-FFF2-40B4-BE49-F238E27FC236}">
                <a16:creationId xmlns:a16="http://schemas.microsoft.com/office/drawing/2014/main" id="{A8727112-914D-FA6A-5530-FCF3EB2226D5}"/>
              </a:ext>
            </a:extLst>
          </p:cNvPr>
          <p:cNvGrpSpPr/>
          <p:nvPr/>
        </p:nvGrpSpPr>
        <p:grpSpPr>
          <a:xfrm>
            <a:off x="3828035" y="4877965"/>
            <a:ext cx="302549" cy="302549"/>
            <a:chOff x="3828035" y="4767895"/>
            <a:chExt cx="302549" cy="302549"/>
          </a:xfrm>
        </p:grpSpPr>
        <p:sp>
          <p:nvSpPr>
            <p:cNvPr id="46" name="Oval 107">
              <a:extLst>
                <a:ext uri="{FF2B5EF4-FFF2-40B4-BE49-F238E27FC236}">
                  <a16:creationId xmlns:a16="http://schemas.microsoft.com/office/drawing/2014/main" id="{474FD90B-BC23-4C8D-3C60-E168B1B76646}"/>
                </a:ext>
              </a:extLst>
            </p:cNvPr>
            <p:cNvSpPr>
              <a:spLocks noChangeAspect="1"/>
            </p:cNvSpPr>
            <p:nvPr/>
          </p:nvSpPr>
          <p:spPr>
            <a:xfrm>
              <a:off x="3828035" y="4767895"/>
              <a:ext cx="302549" cy="302549"/>
            </a:xfrm>
            <a:prstGeom prst="ellipse">
              <a:avLst/>
            </a:prstGeom>
            <a:solidFill>
              <a:srgbClr val="007694"/>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pic>
          <p:nvPicPr>
            <p:cNvPr id="53" name="Graphique 52" descr="Avertissement contour">
              <a:extLst>
                <a:ext uri="{FF2B5EF4-FFF2-40B4-BE49-F238E27FC236}">
                  <a16:creationId xmlns:a16="http://schemas.microsoft.com/office/drawing/2014/main" id="{EEE8D42D-E4A3-4FCC-E025-0100A49046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860977" y="4800837"/>
              <a:ext cx="236664" cy="236664"/>
            </a:xfrm>
            <a:prstGeom prst="rect">
              <a:avLst/>
            </a:prstGeom>
          </p:spPr>
        </p:pic>
      </p:grpSp>
      <p:sp>
        <p:nvSpPr>
          <p:cNvPr id="40" name="Freeform 8">
            <a:extLst>
              <a:ext uri="{FF2B5EF4-FFF2-40B4-BE49-F238E27FC236}">
                <a16:creationId xmlns:a16="http://schemas.microsoft.com/office/drawing/2014/main" id="{8D8FDBA6-764A-7E1D-9EAF-C15DCD24C0E3}"/>
              </a:ext>
            </a:extLst>
          </p:cNvPr>
          <p:cNvSpPr>
            <a:spLocks/>
          </p:cNvSpPr>
          <p:nvPr/>
        </p:nvSpPr>
        <p:spPr bwMode="auto">
          <a:xfrm rot="19800000" flipH="1">
            <a:off x="11342145" y="4704987"/>
            <a:ext cx="768748" cy="96190"/>
          </a:xfrm>
          <a:custGeom>
            <a:avLst/>
            <a:gdLst>
              <a:gd name="T0" fmla="*/ 8902 w 12170"/>
              <a:gd name="T1" fmla="*/ 1519 h 1519"/>
              <a:gd name="T2" fmla="*/ 12170 w 12170"/>
              <a:gd name="T3" fmla="*/ 61 h 1519"/>
              <a:gd name="T4" fmla="*/ 0 w 12170"/>
              <a:gd name="T5" fmla="*/ 0 h 1519"/>
              <a:gd name="T6" fmla="*/ 8902 w 12170"/>
              <a:gd name="T7" fmla="*/ 1519 h 1519"/>
            </a:gdLst>
            <a:ahLst/>
            <a:cxnLst>
              <a:cxn ang="0">
                <a:pos x="T0" y="T1"/>
              </a:cxn>
              <a:cxn ang="0">
                <a:pos x="T2" y="T3"/>
              </a:cxn>
              <a:cxn ang="0">
                <a:pos x="T4" y="T5"/>
              </a:cxn>
              <a:cxn ang="0">
                <a:pos x="T6" y="T7"/>
              </a:cxn>
            </a:cxnLst>
            <a:rect l="0" t="0" r="r" b="b"/>
            <a:pathLst>
              <a:path w="12170" h="1519">
                <a:moveTo>
                  <a:pt x="8902" y="1519"/>
                </a:moveTo>
                <a:lnTo>
                  <a:pt x="12170" y="61"/>
                </a:lnTo>
                <a:lnTo>
                  <a:pt x="0" y="0"/>
                </a:lnTo>
                <a:lnTo>
                  <a:pt x="8902" y="15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j-lt"/>
              <a:ea typeface="+mn-ea"/>
              <a:cs typeface="+mn-cs"/>
            </a:endParaRPr>
          </a:p>
        </p:txBody>
      </p:sp>
      <p:sp>
        <p:nvSpPr>
          <p:cNvPr id="38" name="Freeform 6">
            <a:extLst>
              <a:ext uri="{FF2B5EF4-FFF2-40B4-BE49-F238E27FC236}">
                <a16:creationId xmlns:a16="http://schemas.microsoft.com/office/drawing/2014/main" id="{2E7B09F9-362E-FF99-C138-6FBABF638C48}"/>
              </a:ext>
            </a:extLst>
          </p:cNvPr>
          <p:cNvSpPr>
            <a:spLocks/>
          </p:cNvSpPr>
          <p:nvPr/>
        </p:nvSpPr>
        <p:spPr bwMode="auto">
          <a:xfrm rot="19800000" flipH="1">
            <a:off x="11575986" y="4665480"/>
            <a:ext cx="578368" cy="321034"/>
          </a:xfrm>
          <a:custGeom>
            <a:avLst/>
            <a:gdLst>
              <a:gd name="T0" fmla="*/ 800 w 960"/>
              <a:gd name="T1" fmla="*/ 283 h 534"/>
              <a:gd name="T2" fmla="*/ 960 w 960"/>
              <a:gd name="T3" fmla="*/ 534 h 534"/>
              <a:gd name="T4" fmla="*/ 933 w 960"/>
              <a:gd name="T5" fmla="*/ 160 h 534"/>
              <a:gd name="T6" fmla="*/ 0 w 960"/>
              <a:gd name="T7" fmla="*/ 0 h 534"/>
              <a:gd name="T8" fmla="*/ 800 w 960"/>
              <a:gd name="T9" fmla="*/ 283 h 534"/>
            </a:gdLst>
            <a:ahLst/>
            <a:cxnLst>
              <a:cxn ang="0">
                <a:pos x="T0" y="T1"/>
              </a:cxn>
              <a:cxn ang="0">
                <a:pos x="T2" y="T3"/>
              </a:cxn>
              <a:cxn ang="0">
                <a:pos x="T4" y="T5"/>
              </a:cxn>
              <a:cxn ang="0">
                <a:pos x="T6" y="T7"/>
              </a:cxn>
              <a:cxn ang="0">
                <a:pos x="T8" y="T9"/>
              </a:cxn>
            </a:cxnLst>
            <a:rect l="0" t="0" r="r" b="b"/>
            <a:pathLst>
              <a:path w="960" h="534">
                <a:moveTo>
                  <a:pt x="800" y="283"/>
                </a:moveTo>
                <a:lnTo>
                  <a:pt x="960" y="534"/>
                </a:lnTo>
                <a:lnTo>
                  <a:pt x="933" y="160"/>
                </a:lnTo>
                <a:lnTo>
                  <a:pt x="0" y="0"/>
                </a:lnTo>
                <a:lnTo>
                  <a:pt x="800" y="28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j-lt"/>
              <a:ea typeface="+mn-ea"/>
              <a:cs typeface="+mn-cs"/>
            </a:endParaRPr>
          </a:p>
        </p:txBody>
      </p:sp>
      <p:sp>
        <p:nvSpPr>
          <p:cNvPr id="39" name="Freeform 7">
            <a:extLst>
              <a:ext uri="{FF2B5EF4-FFF2-40B4-BE49-F238E27FC236}">
                <a16:creationId xmlns:a16="http://schemas.microsoft.com/office/drawing/2014/main" id="{F4D92648-4B6D-CFDE-A571-78F75181AA0E}"/>
              </a:ext>
            </a:extLst>
          </p:cNvPr>
          <p:cNvSpPr>
            <a:spLocks/>
          </p:cNvSpPr>
          <p:nvPr/>
        </p:nvSpPr>
        <p:spPr bwMode="auto">
          <a:xfrm rot="19800000" flipH="1">
            <a:off x="11618790" y="4994833"/>
            <a:ext cx="603" cy="601"/>
          </a:xfrm>
          <a:custGeom>
            <a:avLst/>
            <a:gdLst>
              <a:gd name="T0" fmla="*/ 7 w 7"/>
              <a:gd name="T1" fmla="*/ 10 h 10"/>
              <a:gd name="T2" fmla="*/ 6 w 7"/>
              <a:gd name="T3" fmla="*/ 2 h 10"/>
              <a:gd name="T4" fmla="*/ 0 w 7"/>
              <a:gd name="T5" fmla="*/ 0 h 10"/>
              <a:gd name="T6" fmla="*/ 7 w 7"/>
              <a:gd name="T7" fmla="*/ 10 h 10"/>
            </a:gdLst>
            <a:ahLst/>
            <a:cxnLst>
              <a:cxn ang="0">
                <a:pos x="T0" y="T1"/>
              </a:cxn>
              <a:cxn ang="0">
                <a:pos x="T2" y="T3"/>
              </a:cxn>
              <a:cxn ang="0">
                <a:pos x="T4" y="T5"/>
              </a:cxn>
              <a:cxn ang="0">
                <a:pos x="T6" y="T7"/>
              </a:cxn>
            </a:cxnLst>
            <a:rect l="0" t="0" r="r" b="b"/>
            <a:pathLst>
              <a:path w="7" h="10">
                <a:moveTo>
                  <a:pt x="7" y="10"/>
                </a:moveTo>
                <a:lnTo>
                  <a:pt x="6" y="2"/>
                </a:lnTo>
                <a:lnTo>
                  <a:pt x="0" y="0"/>
                </a:lnTo>
                <a:lnTo>
                  <a:pt x="7" y="10"/>
                </a:lnTo>
                <a:close/>
              </a:path>
            </a:pathLst>
          </a:custGeom>
          <a:solidFill>
            <a:srgbClr val="82BF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j-lt"/>
              <a:ea typeface="+mn-ea"/>
              <a:cs typeface="+mn-cs"/>
            </a:endParaRPr>
          </a:p>
        </p:txBody>
      </p:sp>
      <p:sp>
        <p:nvSpPr>
          <p:cNvPr id="41" name="Freeform 9">
            <a:extLst>
              <a:ext uri="{FF2B5EF4-FFF2-40B4-BE49-F238E27FC236}">
                <a16:creationId xmlns:a16="http://schemas.microsoft.com/office/drawing/2014/main" id="{B6570B4B-4734-DA4B-BD03-FDE6102DCDE9}"/>
              </a:ext>
            </a:extLst>
          </p:cNvPr>
          <p:cNvSpPr>
            <a:spLocks/>
          </p:cNvSpPr>
          <p:nvPr/>
        </p:nvSpPr>
        <p:spPr bwMode="auto">
          <a:xfrm rot="19800000" flipH="1">
            <a:off x="11645428" y="4926298"/>
            <a:ext cx="171101" cy="151499"/>
          </a:xfrm>
          <a:custGeom>
            <a:avLst/>
            <a:gdLst>
              <a:gd name="T0" fmla="*/ 0 w 284"/>
              <a:gd name="T1" fmla="*/ 145 h 252"/>
              <a:gd name="T2" fmla="*/ 282 w 284"/>
              <a:gd name="T3" fmla="*/ 252 h 252"/>
              <a:gd name="T4" fmla="*/ 283 w 284"/>
              <a:gd name="T5" fmla="*/ 252 h 252"/>
              <a:gd name="T6" fmla="*/ 284 w 284"/>
              <a:gd name="T7" fmla="*/ 252 h 252"/>
              <a:gd name="T8" fmla="*/ 283 w 284"/>
              <a:gd name="T9" fmla="*/ 251 h 252"/>
              <a:gd name="T10" fmla="*/ 123 w 284"/>
              <a:gd name="T11" fmla="*/ 0 h 252"/>
              <a:gd name="T12" fmla="*/ 0 w 284"/>
              <a:gd name="T13" fmla="*/ 145 h 252"/>
            </a:gdLst>
            <a:ahLst/>
            <a:cxnLst>
              <a:cxn ang="0">
                <a:pos x="T0" y="T1"/>
              </a:cxn>
              <a:cxn ang="0">
                <a:pos x="T2" y="T3"/>
              </a:cxn>
              <a:cxn ang="0">
                <a:pos x="T4" y="T5"/>
              </a:cxn>
              <a:cxn ang="0">
                <a:pos x="T6" y="T7"/>
              </a:cxn>
              <a:cxn ang="0">
                <a:pos x="T8" y="T9"/>
              </a:cxn>
              <a:cxn ang="0">
                <a:pos x="T10" y="T11"/>
              </a:cxn>
              <a:cxn ang="0">
                <a:pos x="T12" y="T13"/>
              </a:cxn>
            </a:cxnLst>
            <a:rect l="0" t="0" r="r" b="b"/>
            <a:pathLst>
              <a:path w="284" h="252">
                <a:moveTo>
                  <a:pt x="0" y="145"/>
                </a:moveTo>
                <a:lnTo>
                  <a:pt x="282" y="252"/>
                </a:lnTo>
                <a:lnTo>
                  <a:pt x="283" y="252"/>
                </a:lnTo>
                <a:lnTo>
                  <a:pt x="284" y="252"/>
                </a:lnTo>
                <a:lnTo>
                  <a:pt x="283" y="251"/>
                </a:lnTo>
                <a:lnTo>
                  <a:pt x="123" y="0"/>
                </a:lnTo>
                <a:lnTo>
                  <a:pt x="0" y="145"/>
                </a:lnTo>
                <a:close/>
              </a:path>
            </a:pathLst>
          </a:custGeom>
          <a:solidFill>
            <a:schemeClr val="accent1">
              <a:lumMod val="40000"/>
              <a:lumOff val="60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j-lt"/>
              <a:ea typeface="+mn-ea"/>
              <a:cs typeface="+mn-cs"/>
            </a:endParaRPr>
          </a:p>
        </p:txBody>
      </p:sp>
      <p:sp>
        <p:nvSpPr>
          <p:cNvPr id="43" name="Freeform 10">
            <a:extLst>
              <a:ext uri="{FF2B5EF4-FFF2-40B4-BE49-F238E27FC236}">
                <a16:creationId xmlns:a16="http://schemas.microsoft.com/office/drawing/2014/main" id="{7C3BC8C5-1429-AC35-A10F-0058EC414A31}"/>
              </a:ext>
            </a:extLst>
          </p:cNvPr>
          <p:cNvSpPr>
            <a:spLocks/>
          </p:cNvSpPr>
          <p:nvPr/>
        </p:nvSpPr>
        <p:spPr bwMode="auto">
          <a:xfrm rot="19800000" flipH="1">
            <a:off x="11685332" y="4633489"/>
            <a:ext cx="481973" cy="438866"/>
          </a:xfrm>
          <a:custGeom>
            <a:avLst/>
            <a:gdLst>
              <a:gd name="T0" fmla="*/ 4033 w 7629"/>
              <a:gd name="T1" fmla="*/ 6958 h 6958"/>
              <a:gd name="T2" fmla="*/ 7629 w 7629"/>
              <a:gd name="T3" fmla="*/ 2694 h 6958"/>
              <a:gd name="T4" fmla="*/ 0 w 7629"/>
              <a:gd name="T5" fmla="*/ 0 h 6958"/>
              <a:gd name="T6" fmla="*/ 4033 w 7629"/>
              <a:gd name="T7" fmla="*/ 6958 h 6958"/>
            </a:gdLst>
            <a:ahLst/>
            <a:cxnLst>
              <a:cxn ang="0">
                <a:pos x="T0" y="T1"/>
              </a:cxn>
              <a:cxn ang="0">
                <a:pos x="T2" y="T3"/>
              </a:cxn>
              <a:cxn ang="0">
                <a:pos x="T4" y="T5"/>
              </a:cxn>
              <a:cxn ang="0">
                <a:pos x="T6" y="T7"/>
              </a:cxn>
            </a:cxnLst>
            <a:rect l="0" t="0" r="r" b="b"/>
            <a:pathLst>
              <a:path w="7629" h="6958">
                <a:moveTo>
                  <a:pt x="4033" y="6958"/>
                </a:moveTo>
                <a:lnTo>
                  <a:pt x="7629" y="2694"/>
                </a:lnTo>
                <a:lnTo>
                  <a:pt x="0" y="0"/>
                </a:lnTo>
                <a:lnTo>
                  <a:pt x="4033" y="695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j-lt"/>
              <a:ea typeface="+mn-ea"/>
              <a:cs typeface="+mn-cs"/>
            </a:endParaRPr>
          </a:p>
        </p:txBody>
      </p:sp>
      <p:sp>
        <p:nvSpPr>
          <p:cNvPr id="69" name="Rectangle 68">
            <a:extLst>
              <a:ext uri="{FF2B5EF4-FFF2-40B4-BE49-F238E27FC236}">
                <a16:creationId xmlns:a16="http://schemas.microsoft.com/office/drawing/2014/main" id="{592A4850-34AD-AAF4-A979-C060EA6880A9}"/>
              </a:ext>
            </a:extLst>
          </p:cNvPr>
          <p:cNvSpPr/>
          <p:nvPr/>
        </p:nvSpPr>
        <p:spPr>
          <a:xfrm>
            <a:off x="3256331" y="992422"/>
            <a:ext cx="2815399" cy="5766334"/>
          </a:xfrm>
          <a:prstGeom prst="rect">
            <a:avLst/>
          </a:prstGeom>
          <a:noFill/>
          <a:ln>
            <a:solidFill>
              <a:schemeClr val="accent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Ins="324000" rtlCol="0" anchor="b" anchorCtr="0"/>
          <a:lstStyle/>
          <a:p>
            <a:pPr algn="r">
              <a:buClr>
                <a:srgbClr val="000000"/>
              </a:buClr>
              <a:defRPr/>
            </a:pPr>
            <a:r>
              <a:rPr kumimoji="0" lang="fr-FR" sz="1100" b="0" i="0" u="none" strike="noStrike" kern="0" cap="none" spc="0" normalizeH="0" baseline="0" noProof="0">
                <a:ln>
                  <a:noFill/>
                </a:ln>
                <a:solidFill>
                  <a:srgbClr val="44398A"/>
                </a:solidFill>
                <a:effectLst/>
                <a:uLnTx/>
                <a:uFillTx/>
                <a:latin typeface="Arial"/>
                <a:ea typeface="+mn-ea"/>
                <a:cs typeface="+mn-cs"/>
                <a:sym typeface="Arial"/>
              </a:rPr>
              <a:t>Périmètre adhérent au diagnostic</a:t>
            </a:r>
            <a:endParaRPr kumimoji="0" lang="fr-FR" sz="1400" b="0" i="0" u="none" strike="noStrike" kern="0" cap="none" spc="0" normalizeH="0" baseline="0" noProof="0">
              <a:ln>
                <a:noFill/>
              </a:ln>
              <a:solidFill>
                <a:srgbClr val="44398A"/>
              </a:solidFill>
              <a:effectLst/>
              <a:uLnTx/>
              <a:uFillTx/>
              <a:latin typeface="Arial"/>
              <a:ea typeface="+mn-ea"/>
              <a:cs typeface="+mn-cs"/>
              <a:sym typeface="Arial"/>
            </a:endParaRPr>
          </a:p>
        </p:txBody>
      </p:sp>
      <p:sp>
        <p:nvSpPr>
          <p:cNvPr id="75" name="Rectangle 74">
            <a:extLst>
              <a:ext uri="{FF2B5EF4-FFF2-40B4-BE49-F238E27FC236}">
                <a16:creationId xmlns:a16="http://schemas.microsoft.com/office/drawing/2014/main" id="{BC74EBA1-9E2E-CA18-C777-57BB3E586BF6}"/>
              </a:ext>
            </a:extLst>
          </p:cNvPr>
          <p:cNvSpPr/>
          <p:nvPr/>
        </p:nvSpPr>
        <p:spPr>
          <a:xfrm>
            <a:off x="4473034" y="2496052"/>
            <a:ext cx="5304350" cy="840970"/>
          </a:xfrm>
          <a:prstGeom prst="rect">
            <a:avLst/>
          </a:prstGeom>
          <a:solidFill>
            <a:srgbClr val="F0F5F7"/>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buClr>
                <a:srgbClr val="000000"/>
              </a:buClr>
              <a:defRPr/>
            </a:pPr>
            <a:r>
              <a:rPr kumimoji="0" lang="fr-FR" sz="900" i="0" u="none" strike="noStrike" kern="0" cap="none" spc="0" normalizeH="0" baseline="0" noProof="0">
                <a:ln>
                  <a:noFill/>
                </a:ln>
                <a:solidFill>
                  <a:srgbClr val="000000"/>
                </a:solidFill>
                <a:effectLst/>
                <a:uLnTx/>
                <a:uFillTx/>
                <a:latin typeface="+mj-lt"/>
                <a:cs typeface="Arial"/>
                <a:sym typeface="Arial"/>
              </a:rPr>
              <a:t>Optimisation du nombre d'acteurs intervenant et des responsabilités de chacun</a:t>
            </a:r>
          </a:p>
          <a:p>
            <a:pPr>
              <a:buClr>
                <a:srgbClr val="000000"/>
              </a:buClr>
              <a:defRPr/>
            </a:pPr>
            <a:r>
              <a:rPr lang="fr-FR" sz="900" kern="0">
                <a:solidFill>
                  <a:srgbClr val="000000"/>
                </a:solidFill>
                <a:latin typeface="+mj-lt"/>
                <a:cs typeface="Arial"/>
                <a:sym typeface="Arial"/>
              </a:rPr>
              <a:t>Limitation des ruptures grâce à la polyvalence des acteurs</a:t>
            </a:r>
          </a:p>
          <a:p>
            <a:pPr>
              <a:buClr>
                <a:srgbClr val="000000"/>
              </a:buClr>
              <a:defRPr/>
            </a:pPr>
            <a:r>
              <a:rPr kumimoji="0" lang="fr-FR" sz="900" i="0" u="none" strike="noStrike" kern="0" cap="none" spc="0" normalizeH="0" baseline="0" noProof="0">
                <a:ln>
                  <a:noFill/>
                </a:ln>
                <a:solidFill>
                  <a:srgbClr val="000000"/>
                </a:solidFill>
                <a:effectLst/>
                <a:uLnTx/>
                <a:uFillTx/>
                <a:latin typeface="+mj-lt"/>
                <a:cs typeface="Arial"/>
                <a:sym typeface="Arial"/>
              </a:rPr>
              <a:t>Organisation matricielle avec, par exemple, des équipes spécialisées sur certaines tâches com</a:t>
            </a:r>
            <a:r>
              <a:rPr lang="fr-FR" sz="900" kern="0">
                <a:solidFill>
                  <a:srgbClr val="000000"/>
                </a:solidFill>
                <a:latin typeface="+mj-lt"/>
                <a:cs typeface="Arial"/>
                <a:sym typeface="Arial"/>
              </a:rPr>
              <a:t>plexes</a:t>
            </a:r>
            <a:endParaRPr kumimoji="0" lang="fr-FR" sz="900" i="0" u="none" strike="noStrike" kern="0" cap="none" spc="0" normalizeH="0" baseline="0" noProof="0">
              <a:ln>
                <a:noFill/>
              </a:ln>
              <a:solidFill>
                <a:srgbClr val="000000"/>
              </a:solidFill>
              <a:effectLst/>
              <a:uLnTx/>
              <a:uFillTx/>
              <a:latin typeface="+mj-lt"/>
              <a:cs typeface="Arial"/>
              <a:sym typeface="Arial"/>
            </a:endParaRPr>
          </a:p>
          <a:p>
            <a:pPr marL="0" marR="0" lvl="0" indent="0" defTabSz="914400" rtl="0" eaLnBrk="1" fontAlgn="auto" latinLnBrk="0" hangingPunct="1">
              <a:lnSpc>
                <a:spcPct val="100000"/>
              </a:lnSpc>
              <a:spcBef>
                <a:spcPts val="0"/>
              </a:spcBef>
              <a:buClr>
                <a:srgbClr val="000000"/>
              </a:buClr>
              <a:buSzTx/>
              <a:buFont typeface="Arial"/>
              <a:buNone/>
              <a:tabLst/>
              <a:defRPr/>
            </a:pPr>
            <a:r>
              <a:rPr kumimoji="0" lang="fr-FR" sz="900" i="0" u="none" strike="noStrike" kern="0" cap="none" spc="0" normalizeH="0" baseline="0" noProof="0">
                <a:ln>
                  <a:noFill/>
                </a:ln>
                <a:solidFill>
                  <a:srgbClr val="000000"/>
                </a:solidFill>
                <a:effectLst/>
                <a:uLnTx/>
                <a:uFillTx/>
                <a:latin typeface="+mj-lt"/>
                <a:cs typeface="Arial"/>
                <a:sym typeface="Arial"/>
              </a:rPr>
              <a:t>Gestion des flux et centralisation des données</a:t>
            </a:r>
          </a:p>
          <a:p>
            <a:pPr marL="0" marR="0" lvl="0" indent="0" defTabSz="914400" rtl="0" eaLnBrk="1" fontAlgn="auto" latinLnBrk="0" hangingPunct="1">
              <a:lnSpc>
                <a:spcPct val="100000"/>
              </a:lnSpc>
              <a:spcBef>
                <a:spcPts val="0"/>
              </a:spcBef>
              <a:buClr>
                <a:srgbClr val="000000"/>
              </a:buClr>
              <a:buSzTx/>
              <a:buFont typeface="Arial"/>
              <a:buNone/>
              <a:tabLst/>
              <a:defRPr/>
            </a:pPr>
            <a:r>
              <a:rPr kumimoji="0" lang="fr-FR" sz="900" i="0" u="none" strike="noStrike" kern="0" cap="none" spc="0" normalizeH="0" baseline="0" noProof="0">
                <a:ln>
                  <a:noFill/>
                </a:ln>
                <a:solidFill>
                  <a:srgbClr val="000000"/>
                </a:solidFill>
                <a:effectLst/>
                <a:uLnTx/>
                <a:uFillTx/>
                <a:latin typeface="+mj-lt"/>
                <a:cs typeface="Arial"/>
                <a:sym typeface="Arial"/>
              </a:rPr>
              <a:t>Traitement différencié selon les alternatives dans un process</a:t>
            </a:r>
          </a:p>
          <a:p>
            <a:pPr marL="0" marR="0" lvl="0" indent="0" defTabSz="914400" rtl="0" eaLnBrk="1" fontAlgn="auto" latinLnBrk="0" hangingPunct="1">
              <a:lnSpc>
                <a:spcPct val="100000"/>
              </a:lnSpc>
              <a:spcBef>
                <a:spcPts val="0"/>
              </a:spcBef>
              <a:buClr>
                <a:srgbClr val="000000"/>
              </a:buClr>
              <a:buSzTx/>
              <a:buFont typeface="Arial"/>
              <a:buNone/>
              <a:tabLst/>
              <a:defRPr/>
            </a:pPr>
            <a:r>
              <a:rPr kumimoji="0" lang="fr-FR" sz="900" i="0" u="none" strike="noStrike" kern="0" cap="none" spc="0" normalizeH="0" baseline="0" noProof="0">
                <a:ln>
                  <a:noFill/>
                </a:ln>
                <a:solidFill>
                  <a:srgbClr val="000000"/>
                </a:solidFill>
                <a:effectLst/>
                <a:uLnTx/>
                <a:uFillTx/>
                <a:latin typeface="+mj-lt"/>
                <a:cs typeface="Arial"/>
                <a:sym typeface="Arial"/>
              </a:rPr>
              <a:t>Automatisation des actes administratifs très fréquents</a:t>
            </a:r>
            <a:endParaRPr lang="fr-FR" sz="900" kern="0">
              <a:solidFill>
                <a:srgbClr val="000000"/>
              </a:solidFill>
              <a:latin typeface="+mj-lt"/>
              <a:cs typeface="Arial"/>
              <a:sym typeface="Arial"/>
            </a:endParaRPr>
          </a:p>
        </p:txBody>
      </p:sp>
      <p:pic>
        <p:nvPicPr>
          <p:cNvPr id="72" name="Graphique 71" descr="Pièces contour">
            <a:extLst>
              <a:ext uri="{FF2B5EF4-FFF2-40B4-BE49-F238E27FC236}">
                <a16:creationId xmlns:a16="http://schemas.microsoft.com/office/drawing/2014/main" id="{327DBD20-46A3-EE14-AC08-824EA334C42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l="34125" t="42404" r="1" b="4754"/>
          <a:stretch/>
        </p:blipFill>
        <p:spPr>
          <a:xfrm>
            <a:off x="3874116" y="1124789"/>
            <a:ext cx="249365" cy="200027"/>
          </a:xfrm>
          <a:prstGeom prst="rect">
            <a:avLst/>
          </a:prstGeom>
        </p:spPr>
      </p:pic>
      <p:pic>
        <p:nvPicPr>
          <p:cNvPr id="80" name="Graphique 79" descr="Logement contour">
            <a:extLst>
              <a:ext uri="{FF2B5EF4-FFF2-40B4-BE49-F238E27FC236}">
                <a16:creationId xmlns:a16="http://schemas.microsoft.com/office/drawing/2014/main" id="{8C2C62F2-10B8-F5AC-A285-4D5304E608D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65171" y="6598910"/>
            <a:ext cx="177718" cy="177718"/>
          </a:xfrm>
          <a:prstGeom prst="rect">
            <a:avLst/>
          </a:prstGeom>
        </p:spPr>
      </p:pic>
      <p:sp>
        <p:nvSpPr>
          <p:cNvPr id="81" name="Rectangle 80">
            <a:extLst>
              <a:ext uri="{FF2B5EF4-FFF2-40B4-BE49-F238E27FC236}">
                <a16:creationId xmlns:a16="http://schemas.microsoft.com/office/drawing/2014/main" id="{9654FDBA-925A-DAFC-4566-46319DB04257}"/>
              </a:ext>
            </a:extLst>
          </p:cNvPr>
          <p:cNvSpPr/>
          <p:nvPr/>
        </p:nvSpPr>
        <p:spPr>
          <a:xfrm>
            <a:off x="1642889" y="6579134"/>
            <a:ext cx="1248575" cy="217271"/>
          </a:xfrm>
          <a:prstGeom prst="rect">
            <a:avLst/>
          </a:prstGeom>
          <a:no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buClr>
                <a:srgbClr val="000000"/>
              </a:buClr>
            </a:pPr>
            <a:r>
              <a:rPr lang="fr-FR" sz="800" kern="0">
                <a:solidFill>
                  <a:srgbClr val="000000"/>
                </a:solidFill>
                <a:latin typeface="+mj-lt"/>
                <a:cs typeface="Arial"/>
                <a:sym typeface="Arial"/>
              </a:rPr>
              <a:t>Concerne l’assurance </a:t>
            </a:r>
            <a:br>
              <a:rPr lang="fr-FR" sz="800" kern="0">
                <a:solidFill>
                  <a:srgbClr val="000000"/>
                </a:solidFill>
                <a:latin typeface="+mj-lt"/>
                <a:cs typeface="Arial"/>
                <a:sym typeface="Arial"/>
              </a:rPr>
            </a:br>
            <a:r>
              <a:rPr lang="fr-FR" sz="800" kern="0">
                <a:solidFill>
                  <a:srgbClr val="000000"/>
                </a:solidFill>
                <a:latin typeface="+mj-lt"/>
                <a:cs typeface="Arial"/>
                <a:sym typeface="Arial"/>
              </a:rPr>
              <a:t>emprunteur uniquement</a:t>
            </a:r>
          </a:p>
        </p:txBody>
      </p:sp>
    </p:spTree>
    <p:extLst>
      <p:ext uri="{BB962C8B-B14F-4D97-AF65-F5344CB8AC3E}">
        <p14:creationId xmlns:p14="http://schemas.microsoft.com/office/powerpoint/2010/main" val="3058333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Six Sigma and Business Analytics: Lean Six Sigma Analytics">
            <a:extLst>
              <a:ext uri="{FF2B5EF4-FFF2-40B4-BE49-F238E27FC236}">
                <a16:creationId xmlns:a16="http://schemas.microsoft.com/office/drawing/2014/main" id="{64DF2E6B-4467-3AD1-67F8-6B9E5A4A17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29868" y="3376611"/>
            <a:ext cx="360317" cy="364821"/>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e 45">
            <a:extLst>
              <a:ext uri="{FF2B5EF4-FFF2-40B4-BE49-F238E27FC236}">
                <a16:creationId xmlns:a16="http://schemas.microsoft.com/office/drawing/2014/main" id="{175CE625-4794-6C99-14D7-C57752997DAD}"/>
              </a:ext>
            </a:extLst>
          </p:cNvPr>
          <p:cNvGrpSpPr/>
          <p:nvPr/>
        </p:nvGrpSpPr>
        <p:grpSpPr>
          <a:xfrm>
            <a:off x="1374705" y="5008025"/>
            <a:ext cx="9697862" cy="706012"/>
            <a:chOff x="1796970" y="5427652"/>
            <a:chExt cx="9697862" cy="706012"/>
          </a:xfrm>
        </p:grpSpPr>
        <p:sp>
          <p:nvSpPr>
            <p:cNvPr id="26" name="Flèche : pentagone 25">
              <a:extLst>
                <a:ext uri="{FF2B5EF4-FFF2-40B4-BE49-F238E27FC236}">
                  <a16:creationId xmlns:a16="http://schemas.microsoft.com/office/drawing/2014/main" id="{D28D840D-9040-2F96-E213-A4B4BBC84C14}"/>
                </a:ext>
              </a:extLst>
            </p:cNvPr>
            <p:cNvSpPr>
              <a:spLocks noChangeAspect="1"/>
            </p:cNvSpPr>
            <p:nvPr/>
          </p:nvSpPr>
          <p:spPr>
            <a:xfrm>
              <a:off x="2092000" y="5427652"/>
              <a:ext cx="9402832" cy="706012"/>
            </a:xfrm>
            <a:prstGeom prst="homePlate">
              <a:avLst>
                <a:gd name="adj" fmla="val 36494"/>
              </a:avLst>
            </a:prstGeom>
            <a:solidFill>
              <a:schemeClr val="accent4">
                <a:lumMod val="40000"/>
                <a:lumOff val="60000"/>
                <a:alpha val="69804"/>
              </a:schemeClr>
            </a:solidFill>
            <a:ln w="25400" cap="flat" cmpd="sng" algn="ctr">
              <a:noFill/>
              <a:prstDash val="solid"/>
            </a:ln>
            <a:effectLst/>
          </p:spPr>
          <p:txBody>
            <a:bodyPr rtlCol="0" anchor="ctr"/>
            <a:lstStyle/>
            <a:p>
              <a:pPr marL="449263" marR="0" lvl="0" defTabSz="622300" eaLnBrk="1" fontAlgn="auto" latinLnBrk="0" hangingPunct="1">
                <a:lnSpc>
                  <a:spcPct val="90000"/>
                </a:lnSpc>
                <a:spcBef>
                  <a:spcPct val="0"/>
                </a:spcBef>
                <a:spcAft>
                  <a:spcPct val="35000"/>
                </a:spcAft>
                <a:buClrTx/>
                <a:buSzTx/>
                <a:buFontTx/>
                <a:buNone/>
                <a:tabLst/>
                <a:defRPr/>
              </a:pPr>
              <a:r>
                <a:rPr kumimoji="0" lang="fr-FR" sz="1400" b="1" i="0" u="none" strike="noStrike" kern="1200" cap="none" spc="0" normalizeH="0" baseline="0" noProof="0">
                  <a:ln>
                    <a:noFill/>
                  </a:ln>
                  <a:effectLst/>
                  <a:uLnTx/>
                  <a:uFillTx/>
                  <a:latin typeface="+mj-lt"/>
                  <a:ea typeface="+mn-ea"/>
                  <a:cs typeface="+mn-cs"/>
                </a:rPr>
                <a:t>S’appuyer sur des outils facilitant l’idéation et la conduite des analyses</a:t>
              </a:r>
              <a:endParaRPr kumimoji="0" lang="fr-FR" sz="1400" b="1" i="0" u="none" strike="noStrike" kern="1200" cap="none" spc="0" normalizeH="0" baseline="0" noProof="0">
                <a:ln>
                  <a:noFill/>
                </a:ln>
                <a:effectLst/>
                <a:highlight>
                  <a:srgbClr val="FFFF00"/>
                </a:highlight>
                <a:uLnTx/>
                <a:uFillTx/>
                <a:latin typeface="+mj-lt"/>
                <a:ea typeface="+mn-ea"/>
                <a:cs typeface="+mn-cs"/>
              </a:endParaRPr>
            </a:p>
          </p:txBody>
        </p:sp>
        <p:sp>
          <p:nvSpPr>
            <p:cNvPr id="27" name="Ellipse 26">
              <a:extLst>
                <a:ext uri="{FF2B5EF4-FFF2-40B4-BE49-F238E27FC236}">
                  <a16:creationId xmlns:a16="http://schemas.microsoft.com/office/drawing/2014/main" id="{4ED430CA-A705-2884-75AC-702A617DA0D8}"/>
                </a:ext>
              </a:extLst>
            </p:cNvPr>
            <p:cNvSpPr>
              <a:spLocks noChangeAspect="1"/>
            </p:cNvSpPr>
            <p:nvPr/>
          </p:nvSpPr>
          <p:spPr>
            <a:xfrm>
              <a:off x="1796970" y="5428402"/>
              <a:ext cx="704283" cy="704283"/>
            </a:xfrm>
            <a:prstGeom prst="ellipse">
              <a:avLst/>
            </a:prstGeom>
            <a:solidFill>
              <a:schemeClr val="bg1"/>
            </a:solidFill>
            <a:ln w="25400" cap="flat" cmpd="sng" algn="ctr">
              <a:solidFill>
                <a:schemeClr val="accent4"/>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38" name="Image 37">
              <a:extLst>
                <a:ext uri="{FF2B5EF4-FFF2-40B4-BE49-F238E27FC236}">
                  <a16:creationId xmlns:a16="http://schemas.microsoft.com/office/drawing/2014/main" id="{092758EB-32C8-C91D-1B1C-CC2BAB864DE5}"/>
                </a:ext>
              </a:extLst>
            </p:cNvPr>
            <p:cNvPicPr>
              <a:picLocks noChangeAspect="1"/>
            </p:cNvPicPr>
            <p:nvPr/>
          </p:nvPicPr>
          <p:blipFill>
            <a:blip r:embed="rId4">
              <a:duotone>
                <a:schemeClr val="accent4">
                  <a:shade val="45000"/>
                  <a:satMod val="135000"/>
                </a:schemeClr>
                <a:prstClr val="white"/>
              </a:duotone>
            </a:blip>
            <a:stretch>
              <a:fillRect/>
            </a:stretch>
          </p:blipFill>
          <p:spPr>
            <a:xfrm>
              <a:off x="1932467" y="5563899"/>
              <a:ext cx="433288" cy="433288"/>
            </a:xfrm>
            <a:prstGeom prst="rect">
              <a:avLst/>
            </a:prstGeom>
          </p:spPr>
        </p:pic>
      </p:grpSp>
      <p:grpSp>
        <p:nvGrpSpPr>
          <p:cNvPr id="45" name="Groupe 44">
            <a:extLst>
              <a:ext uri="{FF2B5EF4-FFF2-40B4-BE49-F238E27FC236}">
                <a16:creationId xmlns:a16="http://schemas.microsoft.com/office/drawing/2014/main" id="{4B1BE460-FBB7-D4B9-E93A-CA4890D9C98D}"/>
              </a:ext>
            </a:extLst>
          </p:cNvPr>
          <p:cNvGrpSpPr/>
          <p:nvPr/>
        </p:nvGrpSpPr>
        <p:grpSpPr>
          <a:xfrm>
            <a:off x="347810" y="1437799"/>
            <a:ext cx="9697862" cy="706012"/>
            <a:chOff x="1568058" y="4529156"/>
            <a:chExt cx="9697862" cy="706012"/>
          </a:xfrm>
        </p:grpSpPr>
        <p:sp>
          <p:nvSpPr>
            <p:cNvPr id="18" name="Flèche : pentagone 17">
              <a:extLst>
                <a:ext uri="{FF2B5EF4-FFF2-40B4-BE49-F238E27FC236}">
                  <a16:creationId xmlns:a16="http://schemas.microsoft.com/office/drawing/2014/main" id="{8D0F6BD6-D28E-550F-11AF-797E613226B3}"/>
                </a:ext>
              </a:extLst>
            </p:cNvPr>
            <p:cNvSpPr>
              <a:spLocks noChangeAspect="1"/>
            </p:cNvSpPr>
            <p:nvPr/>
          </p:nvSpPr>
          <p:spPr>
            <a:xfrm>
              <a:off x="1863088" y="4529156"/>
              <a:ext cx="9402832" cy="706012"/>
            </a:xfrm>
            <a:prstGeom prst="homePlate">
              <a:avLst>
                <a:gd name="adj" fmla="val 37169"/>
              </a:avLst>
            </a:prstGeom>
            <a:solidFill>
              <a:srgbClr val="DAF7EA"/>
            </a:solidFill>
            <a:ln w="25400" cap="flat" cmpd="sng" algn="ctr">
              <a:noFill/>
              <a:prstDash val="solid"/>
            </a:ln>
            <a:effectLst/>
          </p:spPr>
          <p:txBody>
            <a:bodyPr rtlCol="0" anchor="ctr"/>
            <a:lstStyle/>
            <a:p>
              <a:pPr marL="449263" marR="0" lvl="0" defTabSz="622300" eaLnBrk="1" fontAlgn="auto" latinLnBrk="0" hangingPunct="1">
                <a:lnSpc>
                  <a:spcPct val="90000"/>
                </a:lnSpc>
                <a:spcBef>
                  <a:spcPct val="0"/>
                </a:spcBef>
                <a:spcAft>
                  <a:spcPct val="35000"/>
                </a:spcAft>
                <a:buClrTx/>
                <a:buSzTx/>
                <a:buFontTx/>
                <a:buNone/>
                <a:tabLst/>
                <a:defRPr/>
              </a:pPr>
              <a:r>
                <a:rPr kumimoji="0" lang="fr-FR" sz="1400" b="1" i="0" u="none" strike="noStrike" kern="1200" cap="none" spc="0" normalizeH="0" baseline="0">
                  <a:ln>
                    <a:noFill/>
                  </a:ln>
                  <a:effectLst/>
                  <a:uLnTx/>
                  <a:uFillTx/>
                  <a:latin typeface="+mj-lt"/>
                  <a:ea typeface="+mn-ea"/>
                  <a:cs typeface="+mn-cs"/>
                </a:rPr>
                <a:t>S’assurer de la totale disponibilit</a:t>
              </a:r>
              <a:r>
                <a:rPr lang="fr-FR" sz="1400" b="1">
                  <a:latin typeface="+mj-lt"/>
                </a:rPr>
                <a:t>é d</a:t>
              </a:r>
              <a:r>
                <a:rPr kumimoji="0" lang="fr-FR" sz="1400" b="1" i="0" u="none" strike="noStrike" kern="1200" cap="none" spc="0" normalizeH="0" baseline="0">
                  <a:ln>
                    <a:noFill/>
                  </a:ln>
                  <a:effectLst/>
                  <a:uLnTx/>
                  <a:uFillTx/>
                  <a:latin typeface="+mj-lt"/>
                  <a:ea typeface="+mn-ea"/>
                  <a:cs typeface="+mn-cs"/>
                </a:rPr>
                <a:t>es équipes internes et de l’accessibilité de la documentation dès le démarrage de la mission </a:t>
              </a:r>
            </a:p>
          </p:txBody>
        </p:sp>
        <p:sp>
          <p:nvSpPr>
            <p:cNvPr id="20" name="Ellipse 19">
              <a:extLst>
                <a:ext uri="{FF2B5EF4-FFF2-40B4-BE49-F238E27FC236}">
                  <a16:creationId xmlns:a16="http://schemas.microsoft.com/office/drawing/2014/main" id="{12B05C26-95EC-A956-E705-3899CA9A4F8E}"/>
                </a:ext>
              </a:extLst>
            </p:cNvPr>
            <p:cNvSpPr>
              <a:spLocks noChangeAspect="1"/>
            </p:cNvSpPr>
            <p:nvPr/>
          </p:nvSpPr>
          <p:spPr>
            <a:xfrm>
              <a:off x="1568058" y="4529907"/>
              <a:ext cx="704283" cy="704283"/>
            </a:xfrm>
            <a:prstGeom prst="ellipse">
              <a:avLst/>
            </a:prstGeom>
            <a:solidFill>
              <a:schemeClr val="bg1"/>
            </a:solidFill>
            <a:ln w="25400" cap="flat" cmpd="sng" algn="ctr">
              <a:solidFill>
                <a:schemeClr val="accent6"/>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40" name="Image 39" descr="Une image contenant noir, obscurité&#10;&#10;Description générée automatiquement">
              <a:extLst>
                <a:ext uri="{FF2B5EF4-FFF2-40B4-BE49-F238E27FC236}">
                  <a16:creationId xmlns:a16="http://schemas.microsoft.com/office/drawing/2014/main" id="{71B761C2-765E-D6EF-F3C9-5F8817E5A294}"/>
                </a:ext>
              </a:extLst>
            </p:cNvPr>
            <p:cNvPicPr>
              <a:picLocks noChangeAspect="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703525" y="4665374"/>
              <a:ext cx="433348" cy="433348"/>
            </a:xfrm>
            <a:prstGeom prst="rect">
              <a:avLst/>
            </a:prstGeom>
          </p:spPr>
        </p:pic>
      </p:grpSp>
      <p:grpSp>
        <p:nvGrpSpPr>
          <p:cNvPr id="50" name="Groupe 49">
            <a:extLst>
              <a:ext uri="{FF2B5EF4-FFF2-40B4-BE49-F238E27FC236}">
                <a16:creationId xmlns:a16="http://schemas.microsoft.com/office/drawing/2014/main" id="{8203805C-4018-1313-4E22-76C4D268D26A}"/>
              </a:ext>
            </a:extLst>
          </p:cNvPr>
          <p:cNvGrpSpPr/>
          <p:nvPr/>
        </p:nvGrpSpPr>
        <p:grpSpPr>
          <a:xfrm>
            <a:off x="856399" y="3221292"/>
            <a:ext cx="9744797" cy="710009"/>
            <a:chOff x="826009" y="1834675"/>
            <a:chExt cx="9744797" cy="710009"/>
          </a:xfrm>
        </p:grpSpPr>
        <p:sp>
          <p:nvSpPr>
            <p:cNvPr id="10" name="Flèche : pentagone 9">
              <a:extLst>
                <a:ext uri="{FF2B5EF4-FFF2-40B4-BE49-F238E27FC236}">
                  <a16:creationId xmlns:a16="http://schemas.microsoft.com/office/drawing/2014/main" id="{5CC3FCF3-C9D6-2CC5-2FAB-EA87BAD383D4}"/>
                </a:ext>
              </a:extLst>
            </p:cNvPr>
            <p:cNvSpPr>
              <a:spLocks/>
            </p:cNvSpPr>
            <p:nvPr/>
          </p:nvSpPr>
          <p:spPr>
            <a:xfrm>
              <a:off x="1167974" y="1834675"/>
              <a:ext cx="9402832" cy="703711"/>
            </a:xfrm>
            <a:prstGeom prst="homePlate">
              <a:avLst>
                <a:gd name="adj" fmla="val 36494"/>
              </a:avLst>
            </a:prstGeom>
            <a:solidFill>
              <a:srgbClr val="E1E8F8"/>
            </a:solidFill>
            <a:ln w="25400" cap="flat" cmpd="sng" algn="ctr">
              <a:noFill/>
              <a:prstDash val="solid"/>
            </a:ln>
            <a:effectLst/>
          </p:spPr>
          <p:txBody>
            <a:bodyPr rtlCol="0" anchor="ctr"/>
            <a:lstStyle/>
            <a:p>
              <a:pPr marL="449263" defTabSz="622300">
                <a:lnSpc>
                  <a:spcPct val="90000"/>
                </a:lnSpc>
                <a:spcBef>
                  <a:spcPct val="0"/>
                </a:spcBef>
                <a:spcAft>
                  <a:spcPct val="35000"/>
                </a:spcAft>
                <a:defRPr/>
              </a:pPr>
              <a:r>
                <a:rPr kumimoji="0" lang="fr-FR" sz="1400" b="1" i="0" u="none" strike="noStrike" kern="1200" cap="none" spc="0" normalizeH="0" baseline="0" noProof="0">
                  <a:ln>
                    <a:noFill/>
                  </a:ln>
                  <a:effectLst/>
                  <a:uLnTx/>
                  <a:uFillTx/>
                  <a:latin typeface="+mj-lt"/>
                  <a:ea typeface="+mn-ea"/>
                  <a:cs typeface="+mn-cs"/>
                </a:rPr>
                <a:t>Adopter une méthode inspirée du Six Sigma pour analyser, dans des délais très contraints, les forces et faiblesses de l’organisation et des outils à partir des processus</a:t>
              </a:r>
            </a:p>
          </p:txBody>
        </p:sp>
        <p:sp>
          <p:nvSpPr>
            <p:cNvPr id="12" name="Ellipse 11">
              <a:extLst>
                <a:ext uri="{FF2B5EF4-FFF2-40B4-BE49-F238E27FC236}">
                  <a16:creationId xmlns:a16="http://schemas.microsoft.com/office/drawing/2014/main" id="{8B14E636-F4FD-DB8B-C6C8-56974E085836}"/>
                </a:ext>
              </a:extLst>
            </p:cNvPr>
            <p:cNvSpPr>
              <a:spLocks/>
            </p:cNvSpPr>
            <p:nvPr/>
          </p:nvSpPr>
          <p:spPr>
            <a:xfrm>
              <a:off x="826009" y="1840973"/>
              <a:ext cx="705600" cy="703711"/>
            </a:xfrm>
            <a:prstGeom prst="ellipse">
              <a:avLst/>
            </a:prstGeom>
            <a:solidFill>
              <a:schemeClr val="bg1"/>
            </a:solidFill>
            <a:ln w="25400" cap="flat" cmpd="sng" algn="ctr">
              <a:solidFill>
                <a:srgbClr val="44398A"/>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42" name="Image 41" descr="Une image contenant noir, obscurité&#10;&#10;Description générée automatiquement">
              <a:extLst>
                <a:ext uri="{FF2B5EF4-FFF2-40B4-BE49-F238E27FC236}">
                  <a16:creationId xmlns:a16="http://schemas.microsoft.com/office/drawing/2014/main" id="{CB0C7562-8C56-2742-CBAB-E047199E1299}"/>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2135" y="1976154"/>
              <a:ext cx="433348" cy="433348"/>
            </a:xfrm>
            <a:prstGeom prst="rect">
              <a:avLst/>
            </a:prstGeom>
          </p:spPr>
        </p:pic>
      </p:grpSp>
      <p:grpSp>
        <p:nvGrpSpPr>
          <p:cNvPr id="51" name="Groupe 50">
            <a:extLst>
              <a:ext uri="{FF2B5EF4-FFF2-40B4-BE49-F238E27FC236}">
                <a16:creationId xmlns:a16="http://schemas.microsoft.com/office/drawing/2014/main" id="{15AB5409-BA2B-9BC4-734E-0682893CB03A}"/>
              </a:ext>
            </a:extLst>
          </p:cNvPr>
          <p:cNvGrpSpPr/>
          <p:nvPr/>
        </p:nvGrpSpPr>
        <p:grpSpPr>
          <a:xfrm>
            <a:off x="1140627" y="4116656"/>
            <a:ext cx="9697862" cy="706012"/>
            <a:chOff x="1110237" y="2732165"/>
            <a:chExt cx="9697862" cy="706012"/>
          </a:xfrm>
        </p:grpSpPr>
        <p:sp>
          <p:nvSpPr>
            <p:cNvPr id="30" name="Flèche : pentagone 29">
              <a:extLst>
                <a:ext uri="{FF2B5EF4-FFF2-40B4-BE49-F238E27FC236}">
                  <a16:creationId xmlns:a16="http://schemas.microsoft.com/office/drawing/2014/main" id="{F2DD44DF-9784-A594-7A03-6BEECA56F396}"/>
                </a:ext>
              </a:extLst>
            </p:cNvPr>
            <p:cNvSpPr>
              <a:spLocks noChangeAspect="1"/>
            </p:cNvSpPr>
            <p:nvPr/>
          </p:nvSpPr>
          <p:spPr>
            <a:xfrm>
              <a:off x="1405267" y="2732165"/>
              <a:ext cx="9402832" cy="706012"/>
            </a:xfrm>
            <a:prstGeom prst="homePlate">
              <a:avLst>
                <a:gd name="adj" fmla="val 41896"/>
              </a:avLst>
            </a:prstGeom>
            <a:solidFill>
              <a:srgbClr val="E1E8F8"/>
            </a:solidFill>
            <a:ln w="25400" cap="flat" cmpd="sng" algn="ctr">
              <a:noFill/>
              <a:prstDash val="solid"/>
            </a:ln>
            <a:effectLst/>
          </p:spPr>
          <p:txBody>
            <a:bodyPr rtlCol="0" anchor="ctr"/>
            <a:lstStyle/>
            <a:p>
              <a:pPr marL="449263" marR="0" lvl="0" defTabSz="622300" eaLnBrk="1" fontAlgn="auto" latinLnBrk="0" hangingPunct="1">
                <a:lnSpc>
                  <a:spcPct val="90000"/>
                </a:lnSpc>
                <a:spcBef>
                  <a:spcPct val="0"/>
                </a:spcBef>
                <a:spcAft>
                  <a:spcPct val="35000"/>
                </a:spcAft>
                <a:buClrTx/>
                <a:buSzTx/>
                <a:buFontTx/>
                <a:buNone/>
                <a:tabLst/>
                <a:defRPr/>
              </a:pPr>
              <a:r>
                <a:rPr kumimoji="0" lang="fr-FR" sz="1400" b="1" i="0" u="none" strike="noStrike" kern="1200" cap="none" spc="0" normalizeH="0" baseline="0" noProof="0">
                  <a:ln>
                    <a:noFill/>
                  </a:ln>
                  <a:effectLst/>
                  <a:uLnTx/>
                  <a:uFillTx/>
                  <a:latin typeface="+mj-lt"/>
                </a:rPr>
                <a:t>Factualiser les données récoltées par la mesure et le chiffrage afin d’obtenir des résultats objectifs </a:t>
              </a:r>
            </a:p>
          </p:txBody>
        </p:sp>
        <p:sp>
          <p:nvSpPr>
            <p:cNvPr id="31" name="Ellipse 30">
              <a:extLst>
                <a:ext uri="{FF2B5EF4-FFF2-40B4-BE49-F238E27FC236}">
                  <a16:creationId xmlns:a16="http://schemas.microsoft.com/office/drawing/2014/main" id="{376A6590-0C0C-0C5E-9DC0-2613D50A8F52}"/>
                </a:ext>
              </a:extLst>
            </p:cNvPr>
            <p:cNvSpPr>
              <a:spLocks noChangeAspect="1"/>
            </p:cNvSpPr>
            <p:nvPr/>
          </p:nvSpPr>
          <p:spPr>
            <a:xfrm>
              <a:off x="1110237" y="2732915"/>
              <a:ext cx="704283" cy="704283"/>
            </a:xfrm>
            <a:prstGeom prst="ellipse">
              <a:avLst/>
            </a:prstGeom>
            <a:solidFill>
              <a:schemeClr val="bg1"/>
            </a:solidFill>
            <a:ln w="25400" cap="flat" cmpd="sng" algn="ctr">
              <a:solidFill>
                <a:srgbClr val="44398A"/>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47" name="Image 46" descr="Une image contenant noir, obscurité&#10;&#10;Description générée automatiquement">
              <a:extLst>
                <a:ext uri="{FF2B5EF4-FFF2-40B4-BE49-F238E27FC236}">
                  <a16:creationId xmlns:a16="http://schemas.microsoft.com/office/drawing/2014/main" id="{63D37AA3-1EF0-E078-5FEE-9D8300FC88DE}"/>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45704" y="2868382"/>
              <a:ext cx="433348" cy="433348"/>
            </a:xfrm>
            <a:prstGeom prst="rect">
              <a:avLst/>
            </a:prstGeom>
          </p:spPr>
        </p:pic>
      </p:grpSp>
      <p:grpSp>
        <p:nvGrpSpPr>
          <p:cNvPr id="49" name="Groupe 48">
            <a:extLst>
              <a:ext uri="{FF2B5EF4-FFF2-40B4-BE49-F238E27FC236}">
                <a16:creationId xmlns:a16="http://schemas.microsoft.com/office/drawing/2014/main" id="{B0A569CE-E6D1-499A-3269-0D5F517F5E5B}"/>
              </a:ext>
            </a:extLst>
          </p:cNvPr>
          <p:cNvGrpSpPr/>
          <p:nvPr/>
        </p:nvGrpSpPr>
        <p:grpSpPr>
          <a:xfrm>
            <a:off x="588599" y="2329166"/>
            <a:ext cx="9697862" cy="706771"/>
            <a:chOff x="558209" y="929165"/>
            <a:chExt cx="9697862" cy="706771"/>
          </a:xfrm>
        </p:grpSpPr>
        <p:sp>
          <p:nvSpPr>
            <p:cNvPr id="13" name="Flèche : pentagone 12">
              <a:extLst>
                <a:ext uri="{FF2B5EF4-FFF2-40B4-BE49-F238E27FC236}">
                  <a16:creationId xmlns:a16="http://schemas.microsoft.com/office/drawing/2014/main" id="{625BAB93-C0A5-CA04-C4E0-009F6402AE8E}"/>
                </a:ext>
              </a:extLst>
            </p:cNvPr>
            <p:cNvSpPr>
              <a:spLocks/>
            </p:cNvSpPr>
            <p:nvPr/>
          </p:nvSpPr>
          <p:spPr>
            <a:xfrm>
              <a:off x="853239" y="929165"/>
              <a:ext cx="9402832" cy="706771"/>
            </a:xfrm>
            <a:prstGeom prst="homePlate">
              <a:avLst>
                <a:gd name="adj" fmla="val 36494"/>
              </a:avLst>
            </a:prstGeom>
            <a:solidFill>
              <a:srgbClr val="C8D4F3">
                <a:alpha val="54118"/>
              </a:srgbClr>
            </a:solidFill>
            <a:ln w="25400" cap="flat" cmpd="sng" algn="ctr">
              <a:noFill/>
              <a:prstDash val="solid"/>
            </a:ln>
            <a:effectLst/>
          </p:spPr>
          <p:txBody>
            <a:bodyPr rtlCol="0" anchor="ctr"/>
            <a:lstStyle/>
            <a:p>
              <a:pPr marL="449263" marR="0" lvl="0" defTabSz="622300" eaLnBrk="1" fontAlgn="auto" latinLnBrk="0" hangingPunct="1">
                <a:lnSpc>
                  <a:spcPct val="90000"/>
                </a:lnSpc>
                <a:spcBef>
                  <a:spcPct val="0"/>
                </a:spcBef>
                <a:spcAft>
                  <a:spcPct val="35000"/>
                </a:spcAft>
                <a:buClrTx/>
                <a:buSzTx/>
                <a:buFontTx/>
                <a:buNone/>
                <a:tabLst/>
                <a:defRPr/>
              </a:pPr>
              <a:r>
                <a:rPr kumimoji="0" lang="fr-FR" sz="1400" b="1" u="none" strike="noStrike" kern="1200" cap="none" spc="0" normalizeH="0" baseline="0" noProof="0">
                  <a:ln>
                    <a:noFill/>
                  </a:ln>
                  <a:effectLst/>
                  <a:uLnTx/>
                  <a:uFillTx/>
                  <a:latin typeface="+mj-lt"/>
                  <a:ea typeface="+mn-ea"/>
                  <a:cs typeface="+mn-cs"/>
                </a:rPr>
                <a:t>Focaliser le diagnostic sur les axes Organisation &amp; Compétences, Processus et Outils en ayant systématiquement une approche d’optimisation des coûts</a:t>
              </a:r>
            </a:p>
          </p:txBody>
        </p:sp>
        <p:sp>
          <p:nvSpPr>
            <p:cNvPr id="14" name="Ellipse 13">
              <a:extLst>
                <a:ext uri="{FF2B5EF4-FFF2-40B4-BE49-F238E27FC236}">
                  <a16:creationId xmlns:a16="http://schemas.microsoft.com/office/drawing/2014/main" id="{1D8CCB36-C415-019F-6169-AF384BD47DEE}"/>
                </a:ext>
              </a:extLst>
            </p:cNvPr>
            <p:cNvSpPr>
              <a:spLocks/>
            </p:cNvSpPr>
            <p:nvPr/>
          </p:nvSpPr>
          <p:spPr>
            <a:xfrm>
              <a:off x="558209" y="929999"/>
              <a:ext cx="703712" cy="703712"/>
            </a:xfrm>
            <a:prstGeom prst="ellipse">
              <a:avLst/>
            </a:prstGeom>
            <a:solidFill>
              <a:schemeClr val="bg1"/>
            </a:solidFill>
            <a:ln w="25400" cap="flat" cmpd="sng" algn="ctr">
              <a:solidFill>
                <a:srgbClr val="44398A"/>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48" name="Image 47" descr="Une image contenant noir, obscurité&#10;&#10;Description générée automatiquement">
              <a:extLst>
                <a:ext uri="{FF2B5EF4-FFF2-40B4-BE49-F238E27FC236}">
                  <a16:creationId xmlns:a16="http://schemas.microsoft.com/office/drawing/2014/main" id="{472B2BA3-8EED-1FC6-83A6-C2D3F15EF3D6}"/>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93391" y="1065181"/>
              <a:ext cx="433348" cy="433348"/>
            </a:xfrm>
            <a:prstGeom prst="rect">
              <a:avLst/>
            </a:prstGeom>
          </p:spPr>
        </p:pic>
      </p:grpSp>
      <p:grpSp>
        <p:nvGrpSpPr>
          <p:cNvPr id="1032" name="Groupe 1031">
            <a:extLst>
              <a:ext uri="{FF2B5EF4-FFF2-40B4-BE49-F238E27FC236}">
                <a16:creationId xmlns:a16="http://schemas.microsoft.com/office/drawing/2014/main" id="{5CD64212-7966-11BE-56F1-1CBE2E3D02E5}"/>
              </a:ext>
            </a:extLst>
          </p:cNvPr>
          <p:cNvGrpSpPr/>
          <p:nvPr/>
        </p:nvGrpSpPr>
        <p:grpSpPr>
          <a:xfrm>
            <a:off x="6267616" y="6479570"/>
            <a:ext cx="5394963" cy="313809"/>
            <a:chOff x="3484345" y="6253316"/>
            <a:chExt cx="5394963" cy="313809"/>
          </a:xfrm>
        </p:grpSpPr>
        <p:sp>
          <p:nvSpPr>
            <p:cNvPr id="52" name="Rectangle : coins arrondis 51">
              <a:extLst>
                <a:ext uri="{FF2B5EF4-FFF2-40B4-BE49-F238E27FC236}">
                  <a16:creationId xmlns:a16="http://schemas.microsoft.com/office/drawing/2014/main" id="{6118F0F9-9749-8A0F-CF8F-6379289F1DF5}"/>
                </a:ext>
              </a:extLst>
            </p:cNvPr>
            <p:cNvSpPr/>
            <p:nvPr/>
          </p:nvSpPr>
          <p:spPr>
            <a:xfrm>
              <a:off x="3484345" y="6253316"/>
              <a:ext cx="5081805" cy="313809"/>
            </a:xfrm>
            <a:prstGeom prst="roundRect">
              <a:avLst>
                <a:gd name="adj" fmla="val 50000"/>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100" b="1">
                  <a:solidFill>
                    <a:schemeClr val="tx1"/>
                  </a:solidFill>
                </a:rPr>
                <a:t>Légende</a:t>
              </a:r>
            </a:p>
          </p:txBody>
        </p:sp>
        <p:grpSp>
          <p:nvGrpSpPr>
            <p:cNvPr id="1027" name="Groupe 1026">
              <a:extLst>
                <a:ext uri="{FF2B5EF4-FFF2-40B4-BE49-F238E27FC236}">
                  <a16:creationId xmlns:a16="http://schemas.microsoft.com/office/drawing/2014/main" id="{D4821A82-995A-253F-30CF-CB8472715F42}"/>
                </a:ext>
              </a:extLst>
            </p:cNvPr>
            <p:cNvGrpSpPr/>
            <p:nvPr/>
          </p:nvGrpSpPr>
          <p:grpSpPr>
            <a:xfrm>
              <a:off x="7396590" y="6266182"/>
              <a:ext cx="1482718" cy="288076"/>
              <a:chOff x="7936340" y="6266182"/>
              <a:chExt cx="1482718" cy="288076"/>
            </a:xfrm>
          </p:grpSpPr>
          <p:grpSp>
            <p:nvGrpSpPr>
              <p:cNvPr id="55" name="Groupe 54">
                <a:extLst>
                  <a:ext uri="{FF2B5EF4-FFF2-40B4-BE49-F238E27FC236}">
                    <a16:creationId xmlns:a16="http://schemas.microsoft.com/office/drawing/2014/main" id="{FEF62FF1-4EBA-D851-1107-797661CEFEAE}"/>
                  </a:ext>
                </a:extLst>
              </p:cNvPr>
              <p:cNvGrpSpPr>
                <a:grpSpLocks noChangeAspect="1"/>
              </p:cNvGrpSpPr>
              <p:nvPr/>
            </p:nvGrpSpPr>
            <p:grpSpPr>
              <a:xfrm>
                <a:off x="7936340" y="6266182"/>
                <a:ext cx="288076" cy="288076"/>
                <a:chOff x="1949370" y="5580802"/>
                <a:chExt cx="704283" cy="704283"/>
              </a:xfrm>
            </p:grpSpPr>
            <p:sp>
              <p:nvSpPr>
                <p:cNvPr id="53" name="Ellipse 52">
                  <a:extLst>
                    <a:ext uri="{FF2B5EF4-FFF2-40B4-BE49-F238E27FC236}">
                      <a16:creationId xmlns:a16="http://schemas.microsoft.com/office/drawing/2014/main" id="{893EC842-4BD8-432C-A4CD-F1FB01F4DE27}"/>
                    </a:ext>
                  </a:extLst>
                </p:cNvPr>
                <p:cNvSpPr>
                  <a:spLocks noChangeAspect="1"/>
                </p:cNvSpPr>
                <p:nvPr/>
              </p:nvSpPr>
              <p:spPr>
                <a:xfrm>
                  <a:off x="1949370" y="5580802"/>
                  <a:ext cx="704283" cy="704283"/>
                </a:xfrm>
                <a:prstGeom prst="ellipse">
                  <a:avLst/>
                </a:prstGeom>
                <a:solidFill>
                  <a:schemeClr val="bg1"/>
                </a:solidFill>
                <a:ln w="25400" cap="flat" cmpd="sng" algn="ctr">
                  <a:solidFill>
                    <a:schemeClr val="accent4"/>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54" name="Image 53">
                  <a:extLst>
                    <a:ext uri="{FF2B5EF4-FFF2-40B4-BE49-F238E27FC236}">
                      <a16:creationId xmlns:a16="http://schemas.microsoft.com/office/drawing/2014/main" id="{8B683649-82DA-D286-BCEF-18B5B9CC235E}"/>
                    </a:ext>
                  </a:extLst>
                </p:cNvPr>
                <p:cNvPicPr>
                  <a:picLocks noChangeAspect="1"/>
                </p:cNvPicPr>
                <p:nvPr/>
              </p:nvPicPr>
              <p:blipFill>
                <a:blip r:embed="rId4">
                  <a:duotone>
                    <a:schemeClr val="accent4">
                      <a:shade val="45000"/>
                      <a:satMod val="135000"/>
                    </a:schemeClr>
                    <a:prstClr val="white"/>
                  </a:duotone>
                </a:blip>
                <a:stretch>
                  <a:fillRect/>
                </a:stretch>
              </p:blipFill>
              <p:spPr>
                <a:xfrm>
                  <a:off x="2084867" y="5716299"/>
                  <a:ext cx="433289" cy="433289"/>
                </a:xfrm>
                <a:prstGeom prst="rect">
                  <a:avLst/>
                </a:prstGeom>
              </p:spPr>
            </p:pic>
          </p:grpSp>
          <p:sp>
            <p:nvSpPr>
              <p:cNvPr id="1025" name="ZoneTexte 1024">
                <a:extLst>
                  <a:ext uri="{FF2B5EF4-FFF2-40B4-BE49-F238E27FC236}">
                    <a16:creationId xmlns:a16="http://schemas.microsoft.com/office/drawing/2014/main" id="{C621CC93-A8F8-0D5C-1588-3823C6BB806F}"/>
                  </a:ext>
                </a:extLst>
              </p:cNvPr>
              <p:cNvSpPr txBox="1"/>
              <p:nvPr/>
            </p:nvSpPr>
            <p:spPr>
              <a:xfrm>
                <a:off x="8260014" y="6279415"/>
                <a:ext cx="1159044" cy="261610"/>
              </a:xfrm>
              <a:prstGeom prst="rect">
                <a:avLst/>
              </a:prstGeom>
              <a:noFill/>
            </p:spPr>
            <p:txBody>
              <a:bodyPr wrap="square">
                <a:spAutoFit/>
              </a:bodyPr>
              <a:lstStyle/>
              <a:p>
                <a:r>
                  <a:rPr lang="fr-FR" sz="1100">
                    <a:solidFill>
                      <a:schemeClr val="tx1"/>
                    </a:solidFill>
                  </a:rPr>
                  <a:t>Outil</a:t>
                </a:r>
                <a:endParaRPr lang="fr-FR" sz="1100"/>
              </a:p>
            </p:txBody>
          </p:sp>
        </p:grpSp>
      </p:grpSp>
      <p:sp>
        <p:nvSpPr>
          <p:cNvPr id="1043" name="Ellipse 1042">
            <a:extLst>
              <a:ext uri="{FF2B5EF4-FFF2-40B4-BE49-F238E27FC236}">
                <a16:creationId xmlns:a16="http://schemas.microsoft.com/office/drawing/2014/main" id="{1352E6E9-A61E-CE97-D6DE-8FFDDFAA64EA}"/>
              </a:ext>
            </a:extLst>
          </p:cNvPr>
          <p:cNvSpPr>
            <a:spLocks noChangeAspect="1"/>
          </p:cNvSpPr>
          <p:nvPr/>
        </p:nvSpPr>
        <p:spPr>
          <a:xfrm>
            <a:off x="7172756" y="6492436"/>
            <a:ext cx="288076" cy="288076"/>
          </a:xfrm>
          <a:prstGeom prst="ellipse">
            <a:avLst/>
          </a:prstGeom>
          <a:solidFill>
            <a:schemeClr val="bg1"/>
          </a:solidFill>
          <a:ln w="25400" cap="flat" cmpd="sng" algn="ctr">
            <a:solidFill>
              <a:schemeClr val="accent6"/>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1044" name="Image 1043" descr="Une image contenant noir, obscurité&#10;&#10;Description générée automatiquement">
            <a:extLst>
              <a:ext uri="{FF2B5EF4-FFF2-40B4-BE49-F238E27FC236}">
                <a16:creationId xmlns:a16="http://schemas.microsoft.com/office/drawing/2014/main" id="{BC85F3C9-5B14-6C7B-A8E3-9ECC813DCCBB}"/>
              </a:ext>
            </a:extLst>
          </p:cNvPr>
          <p:cNvPicPr>
            <a:picLocks noChangeAspect="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228167" y="6547847"/>
            <a:ext cx="177254" cy="177254"/>
          </a:xfrm>
          <a:prstGeom prst="rect">
            <a:avLst/>
          </a:prstGeom>
        </p:spPr>
      </p:pic>
      <p:sp>
        <p:nvSpPr>
          <p:cNvPr id="1045" name="ZoneTexte 1044">
            <a:extLst>
              <a:ext uri="{FF2B5EF4-FFF2-40B4-BE49-F238E27FC236}">
                <a16:creationId xmlns:a16="http://schemas.microsoft.com/office/drawing/2014/main" id="{4EADB92B-DD52-54F4-5387-B9C635A60758}"/>
              </a:ext>
            </a:extLst>
          </p:cNvPr>
          <p:cNvSpPr txBox="1"/>
          <p:nvPr/>
        </p:nvSpPr>
        <p:spPr>
          <a:xfrm>
            <a:off x="7492250" y="6505669"/>
            <a:ext cx="1159044" cy="261610"/>
          </a:xfrm>
          <a:prstGeom prst="rect">
            <a:avLst/>
          </a:prstGeom>
          <a:noFill/>
        </p:spPr>
        <p:txBody>
          <a:bodyPr wrap="square">
            <a:spAutoFit/>
          </a:bodyPr>
          <a:lstStyle/>
          <a:p>
            <a:r>
              <a:rPr lang="fr-FR" sz="1100">
                <a:solidFill>
                  <a:schemeClr val="tx1"/>
                </a:solidFill>
              </a:rPr>
              <a:t>Mobilisation</a:t>
            </a:r>
            <a:endParaRPr lang="fr-FR" sz="1100"/>
          </a:p>
        </p:txBody>
      </p:sp>
      <p:sp>
        <p:nvSpPr>
          <p:cNvPr id="1046" name="Ellipse 1045">
            <a:extLst>
              <a:ext uri="{FF2B5EF4-FFF2-40B4-BE49-F238E27FC236}">
                <a16:creationId xmlns:a16="http://schemas.microsoft.com/office/drawing/2014/main" id="{B060E1DF-EF9C-70D7-0C30-15D6B681AAD5}"/>
              </a:ext>
            </a:extLst>
          </p:cNvPr>
          <p:cNvSpPr>
            <a:spLocks noChangeAspect="1"/>
          </p:cNvSpPr>
          <p:nvPr/>
        </p:nvSpPr>
        <p:spPr>
          <a:xfrm>
            <a:off x="8622801" y="6492436"/>
            <a:ext cx="288076" cy="288076"/>
          </a:xfrm>
          <a:prstGeom prst="ellipse">
            <a:avLst/>
          </a:prstGeom>
          <a:solidFill>
            <a:schemeClr val="bg1"/>
          </a:solidFill>
          <a:ln w="25400" cap="flat" cmpd="sng" algn="ctr">
            <a:solidFill>
              <a:srgbClr val="44398A"/>
            </a:solidFill>
            <a:prstDash val="solid"/>
          </a:ln>
          <a:effectLst/>
        </p:spPr>
        <p:txBody>
          <a:bodyPr rtlCol="0" anchor="ctr"/>
          <a:lstStyle/>
          <a:p>
            <a:pPr algn="ctr" defTabSz="914377">
              <a:defRPr/>
            </a:pPr>
            <a:endParaRPr lang="fr-FR" sz="1400" kern="0">
              <a:solidFill>
                <a:srgbClr val="000000"/>
              </a:solidFill>
              <a:latin typeface="+mj-lt"/>
              <a:cs typeface="Calibri" panose="020F0502020204030204" pitchFamily="34" charset="0"/>
              <a:sym typeface="Arial"/>
            </a:endParaRPr>
          </a:p>
        </p:txBody>
      </p:sp>
      <p:pic>
        <p:nvPicPr>
          <p:cNvPr id="1047" name="Image 1046" descr="Une image contenant noir, obscurité&#10;&#10;Description générée automatiquement">
            <a:extLst>
              <a:ext uri="{FF2B5EF4-FFF2-40B4-BE49-F238E27FC236}">
                <a16:creationId xmlns:a16="http://schemas.microsoft.com/office/drawing/2014/main" id="{2AA747F6-2EF1-FC28-94AD-5B16EA864370}"/>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678212" y="6547847"/>
            <a:ext cx="177254" cy="177254"/>
          </a:xfrm>
          <a:prstGeom prst="rect">
            <a:avLst/>
          </a:prstGeom>
        </p:spPr>
      </p:pic>
      <p:sp>
        <p:nvSpPr>
          <p:cNvPr id="1048" name="ZoneTexte 1047">
            <a:extLst>
              <a:ext uri="{FF2B5EF4-FFF2-40B4-BE49-F238E27FC236}">
                <a16:creationId xmlns:a16="http://schemas.microsoft.com/office/drawing/2014/main" id="{3D396EE9-CE24-034A-E806-19F7B9DAE9A5}"/>
              </a:ext>
            </a:extLst>
          </p:cNvPr>
          <p:cNvSpPr txBox="1"/>
          <p:nvPr/>
        </p:nvSpPr>
        <p:spPr>
          <a:xfrm>
            <a:off x="8948489" y="6505669"/>
            <a:ext cx="1159044" cy="261610"/>
          </a:xfrm>
          <a:prstGeom prst="rect">
            <a:avLst/>
          </a:prstGeom>
          <a:noFill/>
        </p:spPr>
        <p:txBody>
          <a:bodyPr wrap="square">
            <a:spAutoFit/>
          </a:bodyPr>
          <a:lstStyle/>
          <a:p>
            <a:r>
              <a:rPr lang="fr-FR" sz="1100">
                <a:solidFill>
                  <a:schemeClr val="tx1"/>
                </a:solidFill>
              </a:rPr>
              <a:t>Méthodologie</a:t>
            </a:r>
            <a:endParaRPr lang="fr-FR" sz="1100"/>
          </a:p>
        </p:txBody>
      </p:sp>
      <p:sp>
        <p:nvSpPr>
          <p:cNvPr id="6" name="Titre 1">
            <a:extLst>
              <a:ext uri="{FF2B5EF4-FFF2-40B4-BE49-F238E27FC236}">
                <a16:creationId xmlns:a16="http://schemas.microsoft.com/office/drawing/2014/main" id="{24D38D3A-DED6-0D0B-FF01-3FDAD4CD913D}"/>
              </a:ext>
            </a:extLst>
          </p:cNvPr>
          <p:cNvSpPr txBox="1">
            <a:spLocks/>
          </p:cNvSpPr>
          <p:nvPr/>
        </p:nvSpPr>
        <p:spPr>
          <a:xfrm>
            <a:off x="396655" y="211639"/>
            <a:ext cx="9907072"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latin typeface="Arial Black" panose="020B0A04020102020204" pitchFamily="34" charset="0"/>
                <a:cs typeface="Calibri" panose="020F0502020204030204" pitchFamily="34" charset="0"/>
              </a:rPr>
              <a:t>FACTEURS CLEFS DE SUCCÈS</a:t>
            </a:r>
            <a:endParaRPr lang="fr-FR" sz="1800" kern="0"/>
          </a:p>
        </p:txBody>
      </p:sp>
      <p:grpSp>
        <p:nvGrpSpPr>
          <p:cNvPr id="11" name="Groupe 10">
            <a:extLst>
              <a:ext uri="{FF2B5EF4-FFF2-40B4-BE49-F238E27FC236}">
                <a16:creationId xmlns:a16="http://schemas.microsoft.com/office/drawing/2014/main" id="{E28AFED8-6D0C-CEC0-C327-B6C7EFE757F9}"/>
              </a:ext>
            </a:extLst>
          </p:cNvPr>
          <p:cNvGrpSpPr/>
          <p:nvPr/>
        </p:nvGrpSpPr>
        <p:grpSpPr>
          <a:xfrm>
            <a:off x="10398351" y="3452477"/>
            <a:ext cx="1199830" cy="288955"/>
            <a:chOff x="10590575" y="3776666"/>
            <a:chExt cx="1199830" cy="288955"/>
          </a:xfrm>
        </p:grpSpPr>
        <p:pic>
          <p:nvPicPr>
            <p:cNvPr id="19" name="Graphique 18" descr="Loupe avec un remplissage uni">
              <a:extLst>
                <a:ext uri="{FF2B5EF4-FFF2-40B4-BE49-F238E27FC236}">
                  <a16:creationId xmlns:a16="http://schemas.microsoft.com/office/drawing/2014/main" id="{5566F477-1CE2-8E2E-D2AC-D9AEEF40FA8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0575" y="3776666"/>
              <a:ext cx="288955" cy="288955"/>
            </a:xfrm>
            <a:prstGeom prst="rect">
              <a:avLst/>
            </a:prstGeom>
            <a:effectLst>
              <a:outerShdw blurRad="50800" dist="38100" dir="2700000" algn="tl" rotWithShape="0">
                <a:prstClr val="black">
                  <a:alpha val="40000"/>
                </a:prstClr>
              </a:outerShdw>
            </a:effectLst>
          </p:spPr>
        </p:pic>
        <p:sp>
          <p:nvSpPr>
            <p:cNvPr id="28" name="ZoneTexte 27">
              <a:extLst>
                <a:ext uri="{FF2B5EF4-FFF2-40B4-BE49-F238E27FC236}">
                  <a16:creationId xmlns:a16="http://schemas.microsoft.com/office/drawing/2014/main" id="{6665339A-B286-BD2D-9B8A-B5A1C1DAB789}"/>
                </a:ext>
              </a:extLst>
            </p:cNvPr>
            <p:cNvSpPr txBox="1"/>
            <p:nvPr/>
          </p:nvSpPr>
          <p:spPr>
            <a:xfrm>
              <a:off x="10795014" y="3790338"/>
              <a:ext cx="995391" cy="261610"/>
            </a:xfrm>
            <a:prstGeom prst="rect">
              <a:avLst/>
            </a:prstGeom>
            <a:noFill/>
          </p:spPr>
          <p:txBody>
            <a:bodyPr wrap="square" rtlCol="0">
              <a:spAutoFit/>
            </a:bodyPr>
            <a:lstStyle/>
            <a:p>
              <a:r>
                <a:rPr lang="fr-FR" sz="1050" i="1">
                  <a:solidFill>
                    <a:schemeClr val="bg1">
                      <a:lumMod val="50000"/>
                    </a:schemeClr>
                  </a:solidFill>
                </a:rPr>
                <a:t>Cf. zoom p18</a:t>
              </a:r>
            </a:p>
          </p:txBody>
        </p:sp>
      </p:grpSp>
      <p:pic>
        <p:nvPicPr>
          <p:cNvPr id="9" name="Image 8">
            <a:extLst>
              <a:ext uri="{FF2B5EF4-FFF2-40B4-BE49-F238E27FC236}">
                <a16:creationId xmlns:a16="http://schemas.microsoft.com/office/drawing/2014/main" id="{51C649B1-5EC9-BE37-EA45-8D0E9588999C}"/>
              </a:ext>
            </a:extLst>
          </p:cNvPr>
          <p:cNvPicPr>
            <a:picLocks noChangeAspect="1"/>
          </p:cNvPicPr>
          <p:nvPr/>
        </p:nvPicPr>
        <p:blipFill rotWithShape="1">
          <a:blip r:embed="rId9"/>
          <a:srcRect r="73965"/>
          <a:stretch/>
        </p:blipFill>
        <p:spPr>
          <a:xfrm>
            <a:off x="11746795" y="5471731"/>
            <a:ext cx="385544" cy="375997"/>
          </a:xfrm>
          <a:prstGeom prst="rect">
            <a:avLst/>
          </a:prstGeom>
        </p:spPr>
      </p:pic>
      <p:grpSp>
        <p:nvGrpSpPr>
          <p:cNvPr id="15" name="Groupe 14">
            <a:extLst>
              <a:ext uri="{FF2B5EF4-FFF2-40B4-BE49-F238E27FC236}">
                <a16:creationId xmlns:a16="http://schemas.microsoft.com/office/drawing/2014/main" id="{5DB63412-8081-B8F8-B50D-5D5A1F5B8224}"/>
              </a:ext>
            </a:extLst>
          </p:cNvPr>
          <p:cNvGrpSpPr/>
          <p:nvPr/>
        </p:nvGrpSpPr>
        <p:grpSpPr>
          <a:xfrm>
            <a:off x="10101091" y="2601623"/>
            <a:ext cx="1474796" cy="288955"/>
            <a:chOff x="10590575" y="3776666"/>
            <a:chExt cx="1474796" cy="288955"/>
          </a:xfrm>
        </p:grpSpPr>
        <p:pic>
          <p:nvPicPr>
            <p:cNvPr id="16" name="Graphique 15" descr="Loupe avec un remplissage uni">
              <a:extLst>
                <a:ext uri="{FF2B5EF4-FFF2-40B4-BE49-F238E27FC236}">
                  <a16:creationId xmlns:a16="http://schemas.microsoft.com/office/drawing/2014/main" id="{0F545585-5CE7-16EB-05E7-49D8668B61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0575" y="3776666"/>
              <a:ext cx="288955" cy="288955"/>
            </a:xfrm>
            <a:prstGeom prst="rect">
              <a:avLst/>
            </a:prstGeom>
            <a:effectLst>
              <a:outerShdw blurRad="50800" dist="38100" dir="2700000" algn="tl" rotWithShape="0">
                <a:prstClr val="black">
                  <a:alpha val="40000"/>
                </a:prstClr>
              </a:outerShdw>
            </a:effectLst>
          </p:spPr>
        </p:pic>
        <p:sp>
          <p:nvSpPr>
            <p:cNvPr id="17" name="ZoneTexte 16">
              <a:extLst>
                <a:ext uri="{FF2B5EF4-FFF2-40B4-BE49-F238E27FC236}">
                  <a16:creationId xmlns:a16="http://schemas.microsoft.com/office/drawing/2014/main" id="{469D69E2-FD92-2DBE-8D85-D1F4ECD77DD2}"/>
                </a:ext>
              </a:extLst>
            </p:cNvPr>
            <p:cNvSpPr txBox="1"/>
            <p:nvPr/>
          </p:nvSpPr>
          <p:spPr>
            <a:xfrm>
              <a:off x="10795014" y="3790338"/>
              <a:ext cx="1270357" cy="253916"/>
            </a:xfrm>
            <a:prstGeom prst="rect">
              <a:avLst/>
            </a:prstGeom>
            <a:noFill/>
          </p:spPr>
          <p:txBody>
            <a:bodyPr wrap="square" rtlCol="0">
              <a:spAutoFit/>
            </a:bodyPr>
            <a:lstStyle/>
            <a:p>
              <a:r>
                <a:rPr lang="fr-FR" sz="1050" i="1">
                  <a:solidFill>
                    <a:schemeClr val="bg1">
                      <a:lumMod val="50000"/>
                    </a:schemeClr>
                  </a:solidFill>
                </a:rPr>
                <a:t>Cf. zoom p.16</a:t>
              </a:r>
            </a:p>
          </p:txBody>
        </p:sp>
      </p:grpSp>
      <p:grpSp>
        <p:nvGrpSpPr>
          <p:cNvPr id="21" name="Groupe 20">
            <a:extLst>
              <a:ext uri="{FF2B5EF4-FFF2-40B4-BE49-F238E27FC236}">
                <a16:creationId xmlns:a16="http://schemas.microsoft.com/office/drawing/2014/main" id="{700E93AB-4E1D-7324-C605-C1905D669968}"/>
              </a:ext>
            </a:extLst>
          </p:cNvPr>
          <p:cNvGrpSpPr/>
          <p:nvPr/>
        </p:nvGrpSpPr>
        <p:grpSpPr>
          <a:xfrm>
            <a:off x="10813587" y="5228306"/>
            <a:ext cx="1276030" cy="288955"/>
            <a:chOff x="10590575" y="3776666"/>
            <a:chExt cx="1276030" cy="288955"/>
          </a:xfrm>
        </p:grpSpPr>
        <p:pic>
          <p:nvPicPr>
            <p:cNvPr id="22" name="Graphique 21" descr="Loupe avec un remplissage uni">
              <a:extLst>
                <a:ext uri="{FF2B5EF4-FFF2-40B4-BE49-F238E27FC236}">
                  <a16:creationId xmlns:a16="http://schemas.microsoft.com/office/drawing/2014/main" id="{AE4C4CFE-6408-C3C4-2148-AC1DB77FB0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90575" y="3776666"/>
              <a:ext cx="288955" cy="288955"/>
            </a:xfrm>
            <a:prstGeom prst="rect">
              <a:avLst/>
            </a:prstGeom>
            <a:effectLst>
              <a:outerShdw blurRad="50800" dist="38100" dir="2700000" algn="tl" rotWithShape="0">
                <a:prstClr val="black">
                  <a:alpha val="40000"/>
                </a:prstClr>
              </a:outerShdw>
            </a:effectLst>
          </p:spPr>
        </p:pic>
        <p:sp>
          <p:nvSpPr>
            <p:cNvPr id="24" name="ZoneTexte 23">
              <a:extLst>
                <a:ext uri="{FF2B5EF4-FFF2-40B4-BE49-F238E27FC236}">
                  <a16:creationId xmlns:a16="http://schemas.microsoft.com/office/drawing/2014/main" id="{8B72F721-84F4-8905-41E8-678E75CB9DCD}"/>
                </a:ext>
              </a:extLst>
            </p:cNvPr>
            <p:cNvSpPr txBox="1"/>
            <p:nvPr/>
          </p:nvSpPr>
          <p:spPr>
            <a:xfrm>
              <a:off x="10795014" y="3790338"/>
              <a:ext cx="1071591" cy="253916"/>
            </a:xfrm>
            <a:prstGeom prst="rect">
              <a:avLst/>
            </a:prstGeom>
            <a:noFill/>
          </p:spPr>
          <p:txBody>
            <a:bodyPr wrap="square" rtlCol="0">
              <a:spAutoFit/>
            </a:bodyPr>
            <a:lstStyle/>
            <a:p>
              <a:r>
                <a:rPr lang="fr-FR" sz="1050" i="1">
                  <a:solidFill>
                    <a:schemeClr val="bg1">
                      <a:lumMod val="50000"/>
                    </a:schemeClr>
                  </a:solidFill>
                </a:rPr>
                <a:t>Cf. zoom p.24</a:t>
              </a:r>
            </a:p>
          </p:txBody>
        </p:sp>
      </p:grpSp>
    </p:spTree>
    <p:extLst>
      <p:ext uri="{BB962C8B-B14F-4D97-AF65-F5344CB8AC3E}">
        <p14:creationId xmlns:p14="http://schemas.microsoft.com/office/powerpoint/2010/main" val="1464809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2DA54D8-BD8E-C42B-629D-8F6685218EA8}"/>
              </a:ext>
            </a:extLst>
          </p:cNvPr>
          <p:cNvSpPr>
            <a:spLocks noGrp="1"/>
          </p:cNvSpPr>
          <p:nvPr>
            <p:ph type="title"/>
          </p:nvPr>
        </p:nvSpPr>
        <p:spPr>
          <a:xfrm>
            <a:off x="287387" y="165648"/>
            <a:ext cx="10386586" cy="407795"/>
          </a:xfrm>
          <a:prstGeom prst="rect">
            <a:avLst/>
          </a:prstGeom>
          <a:solidFill>
            <a:schemeClr val="bg1"/>
          </a:solidFill>
        </p:spPr>
        <p:txBody>
          <a:bodyPr/>
          <a:lstStyle/>
          <a:p>
            <a:r>
              <a:rPr lang="fr-FR" sz="1800">
                <a:latin typeface="Arial Black" panose="020B0A04020102020204" pitchFamily="34" charset="0"/>
                <a:cs typeface="Calibri" panose="020F0502020204030204" pitchFamily="34" charset="0"/>
              </a:rPr>
              <a:t>UN DIAGNOSTIC EN TROIS AXES POUR IDENTIFIER DES GISEMENTS D’ÉCONOMIES</a:t>
            </a:r>
          </a:p>
        </p:txBody>
      </p:sp>
      <p:pic>
        <p:nvPicPr>
          <p:cNvPr id="31" name="Graphique 30" descr="Loupe avec un remplissage uni">
            <a:extLst>
              <a:ext uri="{FF2B5EF4-FFF2-40B4-BE49-F238E27FC236}">
                <a16:creationId xmlns:a16="http://schemas.microsoft.com/office/drawing/2014/main" id="{B2CD63DB-459D-3E7C-63AB-398DC5A3F2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65504" y="165648"/>
            <a:ext cx="577845" cy="577845"/>
          </a:xfrm>
          <a:prstGeom prst="rect">
            <a:avLst/>
          </a:prstGeom>
          <a:effectLst>
            <a:outerShdw blurRad="50800" dist="38100" dir="2700000" algn="tl" rotWithShape="0">
              <a:prstClr val="black">
                <a:alpha val="40000"/>
              </a:prstClr>
            </a:outerShdw>
          </a:effectLst>
        </p:spPr>
      </p:pic>
      <p:sp>
        <p:nvSpPr>
          <p:cNvPr id="35" name="Rectangle 34">
            <a:extLst>
              <a:ext uri="{FF2B5EF4-FFF2-40B4-BE49-F238E27FC236}">
                <a16:creationId xmlns:a16="http://schemas.microsoft.com/office/drawing/2014/main" id="{7FDF1BC2-9FF3-B550-12DC-696BB5FA8BD8}"/>
              </a:ext>
            </a:extLst>
          </p:cNvPr>
          <p:cNvSpPr/>
          <p:nvPr/>
        </p:nvSpPr>
        <p:spPr>
          <a:xfrm>
            <a:off x="731380" y="5286089"/>
            <a:ext cx="5496459" cy="1065284"/>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8" name="Groupe 27">
            <a:extLst>
              <a:ext uri="{FF2B5EF4-FFF2-40B4-BE49-F238E27FC236}">
                <a16:creationId xmlns:a16="http://schemas.microsoft.com/office/drawing/2014/main" id="{FD8BD64F-C7E0-1D01-C86A-0F3AF236D78A}"/>
              </a:ext>
            </a:extLst>
          </p:cNvPr>
          <p:cNvGrpSpPr/>
          <p:nvPr/>
        </p:nvGrpSpPr>
        <p:grpSpPr>
          <a:xfrm>
            <a:off x="732331" y="5276441"/>
            <a:ext cx="3165637" cy="1031240"/>
            <a:chOff x="3390684" y="933657"/>
            <a:chExt cx="2795863" cy="1031240"/>
          </a:xfrm>
        </p:grpSpPr>
        <p:sp>
          <p:nvSpPr>
            <p:cNvPr id="147568" name="ZoneTexte 147567">
              <a:extLst>
                <a:ext uri="{FF2B5EF4-FFF2-40B4-BE49-F238E27FC236}">
                  <a16:creationId xmlns:a16="http://schemas.microsoft.com/office/drawing/2014/main" id="{661FE3E9-347E-6FB0-5339-E457C54BB9B7}"/>
                </a:ext>
              </a:extLst>
            </p:cNvPr>
            <p:cNvSpPr txBox="1"/>
            <p:nvPr/>
          </p:nvSpPr>
          <p:spPr>
            <a:xfrm>
              <a:off x="3390684" y="933657"/>
              <a:ext cx="2795863" cy="965255"/>
            </a:xfrm>
            <a:prstGeom prst="rect">
              <a:avLst/>
            </a:prstGeom>
            <a:noFill/>
          </p:spPr>
          <p:txBody>
            <a:bodyPr wrap="square" lIns="0" tIns="36000" rIns="0" bIns="36000" rtlCol="0">
              <a:spAutoFit/>
            </a:bodyPr>
            <a:lstStyle/>
            <a:p>
              <a:pPr marL="92075"/>
              <a:r>
                <a:rPr lang="fr-FR" sz="1100" b="1">
                  <a:solidFill>
                    <a:srgbClr val="45D1D7"/>
                  </a:solidFill>
                </a:rPr>
                <a:t>Améliorations des outils informatiques </a:t>
              </a:r>
            </a:p>
            <a:p>
              <a:pPr marL="92075"/>
              <a:r>
                <a:rPr lang="fr-FR" sz="1050" b="1">
                  <a:solidFill>
                    <a:srgbClr val="45D1D7"/>
                  </a:solidFill>
                </a:rPr>
                <a:t>(investissements à moyen terme)</a:t>
              </a:r>
              <a:endParaRPr lang="fr-FR" sz="1050"/>
            </a:p>
            <a:p>
              <a:pPr marL="285750" indent="-193675">
                <a:spcBef>
                  <a:spcPts val="600"/>
                </a:spcBef>
                <a:buFont typeface="Arial" panose="020B0604020202020204" pitchFamily="34" charset="0"/>
                <a:buChar char="•"/>
              </a:pPr>
              <a:r>
                <a:rPr lang="fr-FR" sz="1050"/>
                <a:t>Niveau d’automatisation</a:t>
              </a:r>
            </a:p>
            <a:p>
              <a:pPr marL="285750" indent="-193675">
                <a:buFont typeface="Arial" panose="020B0604020202020204" pitchFamily="34" charset="0"/>
                <a:buChar char="•"/>
              </a:pPr>
              <a:r>
                <a:rPr lang="fr-FR" sz="1050"/>
                <a:t>Dématérialisation</a:t>
              </a:r>
            </a:p>
            <a:p>
              <a:pPr marL="285750" indent="-193675">
                <a:buFont typeface="Arial" panose="020B0604020202020204" pitchFamily="34" charset="0"/>
                <a:buChar char="•"/>
              </a:pPr>
              <a:r>
                <a:rPr lang="fr-FR" sz="1050" b="1"/>
                <a:t>Exploitation des nouvelles technologies</a:t>
              </a:r>
              <a:endParaRPr lang="fr-FR" sz="1050" b="1">
                <a:solidFill>
                  <a:schemeClr val="tx1"/>
                </a:solidFill>
              </a:endParaRPr>
            </a:p>
          </p:txBody>
        </p:sp>
        <p:pic>
          <p:nvPicPr>
            <p:cNvPr id="14" name="Graphique 13" descr="Lumières allumées contour">
              <a:extLst>
                <a:ext uri="{FF2B5EF4-FFF2-40B4-BE49-F238E27FC236}">
                  <a16:creationId xmlns:a16="http://schemas.microsoft.com/office/drawing/2014/main" id="{FDB594E9-6AE5-99B7-5F9D-97DD997668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15144" y="1758447"/>
              <a:ext cx="206450" cy="206450"/>
            </a:xfrm>
            <a:prstGeom prst="rect">
              <a:avLst/>
            </a:prstGeom>
          </p:spPr>
        </p:pic>
      </p:grpSp>
      <p:sp>
        <p:nvSpPr>
          <p:cNvPr id="33" name="Rectangle 32">
            <a:extLst>
              <a:ext uri="{FF2B5EF4-FFF2-40B4-BE49-F238E27FC236}">
                <a16:creationId xmlns:a16="http://schemas.microsoft.com/office/drawing/2014/main" id="{6623AD81-622E-0A4F-0A58-D2B35343F8FE}"/>
              </a:ext>
            </a:extLst>
          </p:cNvPr>
          <p:cNvSpPr/>
          <p:nvPr/>
        </p:nvSpPr>
        <p:spPr>
          <a:xfrm>
            <a:off x="732330" y="3065971"/>
            <a:ext cx="5496459" cy="1782951"/>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7" name="Groupe 6">
            <a:extLst>
              <a:ext uri="{FF2B5EF4-FFF2-40B4-BE49-F238E27FC236}">
                <a16:creationId xmlns:a16="http://schemas.microsoft.com/office/drawing/2014/main" id="{51B4FC3C-3B2A-3E7D-53CF-EA5F8880D807}"/>
              </a:ext>
            </a:extLst>
          </p:cNvPr>
          <p:cNvGrpSpPr/>
          <p:nvPr/>
        </p:nvGrpSpPr>
        <p:grpSpPr>
          <a:xfrm>
            <a:off x="732331" y="3069045"/>
            <a:ext cx="5278594" cy="1788111"/>
            <a:chOff x="3754020" y="741194"/>
            <a:chExt cx="5278594" cy="1788111"/>
          </a:xfrm>
        </p:grpSpPr>
        <p:sp>
          <p:nvSpPr>
            <p:cNvPr id="23" name="ZoneTexte 22">
              <a:extLst>
                <a:ext uri="{FF2B5EF4-FFF2-40B4-BE49-F238E27FC236}">
                  <a16:creationId xmlns:a16="http://schemas.microsoft.com/office/drawing/2014/main" id="{48E35052-F81C-453D-C1AA-83C5E423FAC3}"/>
                </a:ext>
              </a:extLst>
            </p:cNvPr>
            <p:cNvSpPr txBox="1"/>
            <p:nvPr/>
          </p:nvSpPr>
          <p:spPr>
            <a:xfrm>
              <a:off x="3824747" y="1163940"/>
              <a:ext cx="5207867" cy="1365365"/>
            </a:xfrm>
            <a:prstGeom prst="rect">
              <a:avLst/>
            </a:prstGeom>
            <a:noFill/>
          </p:spPr>
          <p:txBody>
            <a:bodyPr wrap="square" lIns="0" tIns="36000" rIns="0" bIns="36000" numCol="2" rtlCol="0">
              <a:spAutoFit/>
            </a:bodyPr>
            <a:lstStyle/>
            <a:p>
              <a:pPr marL="171450" indent="-171450">
                <a:buFont typeface="Arial" panose="020B0604020202020204" pitchFamily="34" charset="0"/>
                <a:buChar char="•"/>
              </a:pPr>
              <a:r>
                <a:rPr lang="fr-FR" sz="1050"/>
                <a:t>Organisation hiérarchique vs fonctionnelle</a:t>
              </a:r>
            </a:p>
            <a:p>
              <a:pPr marL="171450" indent="-171450">
                <a:buFont typeface="Arial" panose="020B0604020202020204" pitchFamily="34" charset="0"/>
                <a:buChar char="•"/>
              </a:pPr>
              <a:r>
                <a:rPr lang="fr-FR" sz="1050"/>
                <a:t>Rôles et responsabilités</a:t>
              </a:r>
            </a:p>
            <a:p>
              <a:pPr marL="171450" indent="-171450">
                <a:buFont typeface="Arial" panose="020B0604020202020204" pitchFamily="34" charset="0"/>
                <a:buChar char="•"/>
              </a:pPr>
              <a:r>
                <a:rPr lang="fr-FR" sz="1050"/>
                <a:t>Dimensionnement</a:t>
              </a:r>
            </a:p>
            <a:p>
              <a:pPr marL="171450" indent="-171450">
                <a:buFont typeface="Arial" panose="020B0604020202020204" pitchFamily="34" charset="0"/>
                <a:buChar char="•"/>
              </a:pPr>
              <a:r>
                <a:rPr lang="fr-FR" sz="1050"/>
                <a:t>Agilité</a:t>
              </a:r>
            </a:p>
            <a:p>
              <a:pPr marL="171450" indent="-171450">
                <a:buFont typeface="Arial" panose="020B0604020202020204" pitchFamily="34" charset="0"/>
                <a:buChar char="•"/>
              </a:pPr>
              <a:r>
                <a:rPr lang="fr-FR" sz="1050"/>
                <a:t>Capacité à décider</a:t>
              </a:r>
            </a:p>
            <a:p>
              <a:pPr marL="171450" indent="-171450">
                <a:buFont typeface="Arial" panose="020B0604020202020204" pitchFamily="34" charset="0"/>
                <a:buChar char="•"/>
              </a:pPr>
              <a:r>
                <a:rPr lang="fr-FR" sz="1050"/>
                <a:t>Décision prise au juste niveau</a:t>
              </a:r>
            </a:p>
            <a:p>
              <a:pPr marL="171450" indent="-171450">
                <a:buFont typeface="Arial" panose="020B0604020202020204" pitchFamily="34" charset="0"/>
                <a:buChar char="•"/>
              </a:pPr>
              <a:r>
                <a:rPr lang="fr-FR" sz="1050"/>
                <a:t>Latitude laissée au gestionnaire</a:t>
              </a:r>
            </a:p>
            <a:p>
              <a:pPr marL="171450" indent="-171450">
                <a:buFont typeface="Arial" panose="020B0604020202020204" pitchFamily="34" charset="0"/>
                <a:buChar char="•"/>
              </a:pPr>
              <a:r>
                <a:rPr lang="fr-FR" sz="1050"/>
                <a:t>Spécialisation vs polyvalence</a:t>
              </a:r>
            </a:p>
            <a:p>
              <a:pPr marL="171450" indent="-171450">
                <a:buFont typeface="Arial" panose="020B0604020202020204" pitchFamily="34" charset="0"/>
                <a:buChar char="•"/>
              </a:pPr>
              <a:r>
                <a:rPr lang="fr-FR" sz="1050"/>
                <a:t>Travail collectif vs affecté</a:t>
              </a:r>
            </a:p>
            <a:p>
              <a:pPr marL="171450" indent="-171450">
                <a:buFont typeface="Arial" panose="020B0604020202020204" pitchFamily="34" charset="0"/>
                <a:buChar char="•"/>
              </a:pPr>
              <a:r>
                <a:rPr lang="fr-FR" sz="1050"/>
                <a:t>Mode de management</a:t>
              </a:r>
            </a:p>
            <a:p>
              <a:pPr marL="171450" indent="-171450">
                <a:buFont typeface="Arial" panose="020B0604020202020204" pitchFamily="34" charset="0"/>
                <a:buChar char="•"/>
              </a:pPr>
              <a:r>
                <a:rPr lang="fr-FR" sz="1050"/>
                <a:t>Manager technicien vs manager inspirant</a:t>
              </a:r>
            </a:p>
            <a:p>
              <a:pPr marL="171450" indent="-171450">
                <a:buFont typeface="Arial" panose="020B0604020202020204" pitchFamily="34" charset="0"/>
                <a:buChar char="•"/>
              </a:pPr>
              <a:r>
                <a:rPr lang="fr-FR" sz="1050"/>
                <a:t>Technicité vs orientation client</a:t>
              </a:r>
            </a:p>
            <a:p>
              <a:pPr marL="171450" indent="-171450">
                <a:buFont typeface="Arial" panose="020B0604020202020204" pitchFamily="34" charset="0"/>
                <a:buChar char="•"/>
              </a:pPr>
              <a:r>
                <a:rPr lang="fr-FR" sz="1050"/>
                <a:t>Responsabilisation vs contrôle</a:t>
              </a:r>
            </a:p>
          </p:txBody>
        </p:sp>
        <p:sp>
          <p:nvSpPr>
            <p:cNvPr id="26" name="ZoneTexte 25">
              <a:extLst>
                <a:ext uri="{FF2B5EF4-FFF2-40B4-BE49-F238E27FC236}">
                  <a16:creationId xmlns:a16="http://schemas.microsoft.com/office/drawing/2014/main" id="{FA474A45-EFE2-CBCD-9BC2-53AF3FD9CFE9}"/>
                </a:ext>
              </a:extLst>
            </p:cNvPr>
            <p:cNvSpPr txBox="1"/>
            <p:nvPr/>
          </p:nvSpPr>
          <p:spPr>
            <a:xfrm>
              <a:off x="3754020" y="741194"/>
              <a:ext cx="4006814" cy="430887"/>
            </a:xfrm>
            <a:prstGeom prst="rect">
              <a:avLst/>
            </a:prstGeom>
            <a:noFill/>
          </p:spPr>
          <p:txBody>
            <a:bodyPr wrap="square">
              <a:spAutoFit/>
            </a:bodyPr>
            <a:lstStyle/>
            <a:p>
              <a:r>
                <a:rPr lang="fr-FR" sz="1100" b="1">
                  <a:solidFill>
                    <a:schemeClr val="bg2"/>
                  </a:solidFill>
                </a:rPr>
                <a:t>Structure des équipes, répartition des compétences et relations entre elles</a:t>
              </a:r>
            </a:p>
          </p:txBody>
        </p:sp>
      </p:grpSp>
      <p:sp>
        <p:nvSpPr>
          <p:cNvPr id="30" name="Rectangle 29">
            <a:extLst>
              <a:ext uri="{FF2B5EF4-FFF2-40B4-BE49-F238E27FC236}">
                <a16:creationId xmlns:a16="http://schemas.microsoft.com/office/drawing/2014/main" id="{13BA2ADD-EB7B-280A-7EF5-41F59EBECB1A}"/>
              </a:ext>
            </a:extLst>
          </p:cNvPr>
          <p:cNvSpPr/>
          <p:nvPr/>
        </p:nvSpPr>
        <p:spPr>
          <a:xfrm>
            <a:off x="732330" y="1168564"/>
            <a:ext cx="5496459" cy="1469889"/>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E75FA6B8-1677-5D11-88E1-6EEE860FAA77}"/>
              </a:ext>
            </a:extLst>
          </p:cNvPr>
          <p:cNvGrpSpPr/>
          <p:nvPr/>
        </p:nvGrpSpPr>
        <p:grpSpPr>
          <a:xfrm>
            <a:off x="732331" y="1179957"/>
            <a:ext cx="5278594" cy="1596996"/>
            <a:chOff x="3754020" y="924075"/>
            <a:chExt cx="5278594" cy="1596996"/>
          </a:xfrm>
        </p:grpSpPr>
        <p:sp>
          <p:nvSpPr>
            <p:cNvPr id="147562" name="ZoneTexte 147561">
              <a:extLst>
                <a:ext uri="{FF2B5EF4-FFF2-40B4-BE49-F238E27FC236}">
                  <a16:creationId xmlns:a16="http://schemas.microsoft.com/office/drawing/2014/main" id="{C82C3D6D-A135-A75D-8FFC-B52764058278}"/>
                </a:ext>
              </a:extLst>
            </p:cNvPr>
            <p:cNvSpPr txBox="1"/>
            <p:nvPr/>
          </p:nvSpPr>
          <p:spPr>
            <a:xfrm>
              <a:off x="3824747" y="1317289"/>
              <a:ext cx="5207867" cy="1203782"/>
            </a:xfrm>
            <a:prstGeom prst="rect">
              <a:avLst/>
            </a:prstGeom>
            <a:noFill/>
          </p:spPr>
          <p:txBody>
            <a:bodyPr wrap="square" lIns="0" tIns="36000" rIns="0" bIns="36000" numCol="2" rtlCol="0">
              <a:spAutoFit/>
            </a:bodyPr>
            <a:lstStyle/>
            <a:p>
              <a:pPr marL="171450" indent="-171450">
                <a:buFont typeface="Arial" panose="020B0604020202020204" pitchFamily="34" charset="0"/>
                <a:buChar char="•"/>
              </a:pPr>
              <a:r>
                <a:rPr lang="fr-FR" sz="1050">
                  <a:solidFill>
                    <a:schemeClr val="tx1"/>
                  </a:solidFill>
                </a:rPr>
                <a:t>Priorisation des activités</a:t>
              </a:r>
            </a:p>
            <a:p>
              <a:pPr marL="171450" indent="-171450">
                <a:buFont typeface="Arial" panose="020B0604020202020204" pitchFamily="34" charset="0"/>
                <a:buChar char="•"/>
              </a:pPr>
              <a:r>
                <a:rPr lang="fr-FR" sz="1050">
                  <a:solidFill>
                    <a:schemeClr val="tx1"/>
                  </a:solidFill>
                </a:rPr>
                <a:t>Affectation du juste effort</a:t>
              </a:r>
            </a:p>
            <a:p>
              <a:pPr marL="171450" indent="-171450">
                <a:buFont typeface="Arial" panose="020B0604020202020204" pitchFamily="34" charset="0"/>
                <a:buChar char="•"/>
              </a:pPr>
              <a:r>
                <a:rPr lang="fr-FR" sz="1050">
                  <a:solidFill>
                    <a:schemeClr val="tx1"/>
                  </a:solidFill>
                </a:rPr>
                <a:t>Ar</a:t>
              </a:r>
              <a:r>
                <a:rPr lang="fr-FR" sz="1050"/>
                <a:t>tisanat vs industrialisation</a:t>
              </a:r>
              <a:endParaRPr lang="fr-FR" sz="1050">
                <a:solidFill>
                  <a:schemeClr val="tx1"/>
                </a:solidFill>
              </a:endParaRPr>
            </a:p>
            <a:p>
              <a:pPr marL="171450" indent="-171450">
                <a:buFont typeface="Arial" panose="020B0604020202020204" pitchFamily="34" charset="0"/>
                <a:buChar char="•"/>
              </a:pPr>
              <a:r>
                <a:rPr lang="fr-FR" sz="1050"/>
                <a:t>Administratif vs à valeur ajoutée</a:t>
              </a:r>
              <a:endParaRPr lang="fr-FR" sz="1050">
                <a:solidFill>
                  <a:schemeClr val="tx1"/>
                </a:solidFill>
              </a:endParaRPr>
            </a:p>
            <a:p>
              <a:pPr marL="171450" indent="-171450">
                <a:buFont typeface="Arial" panose="020B0604020202020204" pitchFamily="34" charset="0"/>
                <a:buChar char="•"/>
              </a:pPr>
              <a:r>
                <a:rPr lang="fr-FR" sz="1050">
                  <a:solidFill>
                    <a:schemeClr val="tx1"/>
                  </a:solidFill>
                </a:rPr>
                <a:t>Ruptures de charge</a:t>
              </a:r>
            </a:p>
            <a:p>
              <a:pPr marL="171450" indent="-171450">
                <a:buFont typeface="Arial" panose="020B0604020202020204" pitchFamily="34" charset="0"/>
                <a:buChar char="•"/>
              </a:pPr>
              <a:r>
                <a:rPr lang="fr-FR" sz="1050"/>
                <a:t>Saisonnalité de l’activité</a:t>
              </a:r>
            </a:p>
            <a:p>
              <a:pPr marL="171450" indent="-171450">
                <a:buFont typeface="Arial" panose="020B0604020202020204" pitchFamily="34" charset="0"/>
                <a:buChar char="•"/>
              </a:pPr>
              <a:endParaRPr lang="fr-FR" sz="1050">
                <a:solidFill>
                  <a:schemeClr val="tx1"/>
                </a:solidFill>
              </a:endParaRPr>
            </a:p>
            <a:p>
              <a:pPr marL="171450" indent="-171450">
                <a:buFont typeface="Arial" panose="020B0604020202020204" pitchFamily="34" charset="0"/>
                <a:buChar char="•"/>
              </a:pPr>
              <a:r>
                <a:rPr lang="fr-FR" sz="1050">
                  <a:solidFill>
                    <a:schemeClr val="tx1"/>
                  </a:solidFill>
                </a:rPr>
                <a:t>Orientation « solution » (devoir de conseil, gré à gré, conseil si non couvert)</a:t>
              </a:r>
            </a:p>
            <a:p>
              <a:pPr marL="171450" indent="-171450">
                <a:buFont typeface="Arial" panose="020B0604020202020204" pitchFamily="34" charset="0"/>
                <a:buChar char="•"/>
              </a:pPr>
              <a:r>
                <a:rPr lang="fr-FR" sz="1050">
                  <a:solidFill>
                    <a:schemeClr val="tx1"/>
                  </a:solidFill>
                </a:rPr>
                <a:t>Partage des pratiques et expériences vs individus en silo </a:t>
              </a:r>
            </a:p>
            <a:p>
              <a:pPr marL="171450" indent="-171450">
                <a:buFont typeface="Arial" panose="020B0604020202020204" pitchFamily="34" charset="0"/>
                <a:buChar char="•"/>
              </a:pPr>
              <a:r>
                <a:rPr lang="fr-FR" sz="1050">
                  <a:solidFill>
                    <a:schemeClr val="tx1"/>
                  </a:solidFill>
                </a:rPr>
                <a:t>Contrôle</a:t>
              </a:r>
              <a:r>
                <a:rPr lang="fr-FR" sz="1050"/>
                <a:t>s a priori vs a posteriori</a:t>
              </a:r>
            </a:p>
            <a:p>
              <a:pPr marL="171450" indent="-171450">
                <a:buFont typeface="Arial" panose="020B0604020202020204" pitchFamily="34" charset="0"/>
                <a:buChar char="•"/>
              </a:pPr>
              <a:r>
                <a:rPr lang="fr-FR" sz="1050"/>
                <a:t>Structuration et qualité des données</a:t>
              </a:r>
            </a:p>
          </p:txBody>
        </p:sp>
        <p:sp>
          <p:nvSpPr>
            <p:cNvPr id="9" name="ZoneTexte 8">
              <a:extLst>
                <a:ext uri="{FF2B5EF4-FFF2-40B4-BE49-F238E27FC236}">
                  <a16:creationId xmlns:a16="http://schemas.microsoft.com/office/drawing/2014/main" id="{79A5CC45-074C-5E7A-4182-632F53CCF956}"/>
                </a:ext>
              </a:extLst>
            </p:cNvPr>
            <p:cNvSpPr txBox="1"/>
            <p:nvPr/>
          </p:nvSpPr>
          <p:spPr>
            <a:xfrm>
              <a:off x="3754020" y="924075"/>
              <a:ext cx="4006814" cy="430887"/>
            </a:xfrm>
            <a:prstGeom prst="rect">
              <a:avLst/>
            </a:prstGeom>
            <a:noFill/>
          </p:spPr>
          <p:txBody>
            <a:bodyPr wrap="square">
              <a:spAutoFit/>
            </a:bodyPr>
            <a:lstStyle/>
            <a:p>
              <a:r>
                <a:rPr lang="fr-FR" sz="1100" b="1">
                  <a:solidFill>
                    <a:srgbClr val="257A9D"/>
                  </a:solidFill>
                </a:rPr>
                <a:t>Enchaînement &amp; interdépendance des activités, charges associées, disponibilité des données</a:t>
              </a:r>
              <a:endParaRPr lang="fr-FR" sz="1100">
                <a:solidFill>
                  <a:srgbClr val="257A9D"/>
                </a:solidFill>
              </a:endParaRPr>
            </a:p>
          </p:txBody>
        </p:sp>
      </p:grpSp>
      <p:grpSp>
        <p:nvGrpSpPr>
          <p:cNvPr id="53" name="Groupe 52">
            <a:extLst>
              <a:ext uri="{FF2B5EF4-FFF2-40B4-BE49-F238E27FC236}">
                <a16:creationId xmlns:a16="http://schemas.microsoft.com/office/drawing/2014/main" id="{03CA3FCA-C08E-9536-CB75-4C9BA808E7FE}"/>
              </a:ext>
            </a:extLst>
          </p:cNvPr>
          <p:cNvGrpSpPr/>
          <p:nvPr/>
        </p:nvGrpSpPr>
        <p:grpSpPr>
          <a:xfrm>
            <a:off x="6228788" y="1168564"/>
            <a:ext cx="720791" cy="1469890"/>
            <a:chOff x="6095998" y="1059295"/>
            <a:chExt cx="720791" cy="1469890"/>
          </a:xfrm>
        </p:grpSpPr>
        <p:sp>
          <p:nvSpPr>
            <p:cNvPr id="32" name="Triangle isocèle 31">
              <a:extLst>
                <a:ext uri="{FF2B5EF4-FFF2-40B4-BE49-F238E27FC236}">
                  <a16:creationId xmlns:a16="http://schemas.microsoft.com/office/drawing/2014/main" id="{3194533E-CA6C-ED01-CBB5-321877744971}"/>
                </a:ext>
              </a:extLst>
            </p:cNvPr>
            <p:cNvSpPr/>
            <p:nvPr/>
          </p:nvSpPr>
          <p:spPr>
            <a:xfrm rot="5400000">
              <a:off x="5645162" y="1510131"/>
              <a:ext cx="1469890" cy="568218"/>
            </a:xfrm>
            <a:prstGeom prst="triangle">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Graphique 38" descr="Engrenages contour">
              <a:extLst>
                <a:ext uri="{FF2B5EF4-FFF2-40B4-BE49-F238E27FC236}">
                  <a16:creationId xmlns:a16="http://schemas.microsoft.com/office/drawing/2014/main" id="{59801AFE-6A21-0524-5757-046CAFD16D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44269" y="1621592"/>
              <a:ext cx="345296" cy="345296"/>
            </a:xfrm>
            <a:prstGeom prst="rect">
              <a:avLst/>
            </a:prstGeom>
          </p:spPr>
        </p:pic>
        <p:sp>
          <p:nvSpPr>
            <p:cNvPr id="46" name="Flèche : chevron 45">
              <a:extLst>
                <a:ext uri="{FF2B5EF4-FFF2-40B4-BE49-F238E27FC236}">
                  <a16:creationId xmlns:a16="http://schemas.microsoft.com/office/drawing/2014/main" id="{522B0527-8AD6-D326-22F9-54450CDFBE1E}"/>
                </a:ext>
              </a:extLst>
            </p:cNvPr>
            <p:cNvSpPr/>
            <p:nvPr/>
          </p:nvSpPr>
          <p:spPr>
            <a:xfrm>
              <a:off x="6248571" y="1070688"/>
              <a:ext cx="568218" cy="1448847"/>
            </a:xfrm>
            <a:prstGeom prst="chevron">
              <a:avLst>
                <a:gd name="adj" fmla="val 100000"/>
              </a:avLst>
            </a:prstGeom>
            <a:solidFill>
              <a:schemeClr val="accent2"/>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52" name="Groupe 51">
            <a:extLst>
              <a:ext uri="{FF2B5EF4-FFF2-40B4-BE49-F238E27FC236}">
                <a16:creationId xmlns:a16="http://schemas.microsoft.com/office/drawing/2014/main" id="{98FEE738-11FE-AB05-DCBE-01A538D33978}"/>
              </a:ext>
            </a:extLst>
          </p:cNvPr>
          <p:cNvGrpSpPr/>
          <p:nvPr/>
        </p:nvGrpSpPr>
        <p:grpSpPr>
          <a:xfrm>
            <a:off x="6228789" y="3065968"/>
            <a:ext cx="720791" cy="1782958"/>
            <a:chOff x="6095998" y="2956698"/>
            <a:chExt cx="720791" cy="1782958"/>
          </a:xfrm>
        </p:grpSpPr>
        <p:sp>
          <p:nvSpPr>
            <p:cNvPr id="34" name="Triangle isocèle 33">
              <a:extLst>
                <a:ext uri="{FF2B5EF4-FFF2-40B4-BE49-F238E27FC236}">
                  <a16:creationId xmlns:a16="http://schemas.microsoft.com/office/drawing/2014/main" id="{E32AE61A-9DE1-18B9-08E2-2267086213B8}"/>
                </a:ext>
              </a:extLst>
            </p:cNvPr>
            <p:cNvSpPr/>
            <p:nvPr/>
          </p:nvSpPr>
          <p:spPr>
            <a:xfrm rot="5400000">
              <a:off x="5488630" y="3564070"/>
              <a:ext cx="1782954" cy="568218"/>
            </a:xfrm>
            <a:prstGeom prst="triangle">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Graphique 37" descr="Gestion contour">
              <a:extLst>
                <a:ext uri="{FF2B5EF4-FFF2-40B4-BE49-F238E27FC236}">
                  <a16:creationId xmlns:a16="http://schemas.microsoft.com/office/drawing/2014/main" id="{BE0C8AF0-30B0-5B11-73D7-0E113CB417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7847" y="3685466"/>
              <a:ext cx="338142" cy="338142"/>
            </a:xfrm>
            <a:prstGeom prst="rect">
              <a:avLst/>
            </a:prstGeom>
          </p:spPr>
        </p:pic>
        <p:sp>
          <p:nvSpPr>
            <p:cNvPr id="47" name="Flèche : chevron 46">
              <a:extLst>
                <a:ext uri="{FF2B5EF4-FFF2-40B4-BE49-F238E27FC236}">
                  <a16:creationId xmlns:a16="http://schemas.microsoft.com/office/drawing/2014/main" id="{06BA5102-DB82-7638-D25E-47543474B8DF}"/>
                </a:ext>
              </a:extLst>
            </p:cNvPr>
            <p:cNvSpPr/>
            <p:nvPr/>
          </p:nvSpPr>
          <p:spPr>
            <a:xfrm>
              <a:off x="6248571" y="2956698"/>
              <a:ext cx="568218" cy="1782951"/>
            </a:xfrm>
            <a:prstGeom prst="chevron">
              <a:avLst>
                <a:gd name="adj" fmla="val 100000"/>
              </a:avLst>
            </a:prstGeom>
            <a:solidFill>
              <a:schemeClr val="accent2"/>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51" name="Groupe 50">
            <a:extLst>
              <a:ext uri="{FF2B5EF4-FFF2-40B4-BE49-F238E27FC236}">
                <a16:creationId xmlns:a16="http://schemas.microsoft.com/office/drawing/2014/main" id="{C486386C-B0A1-0645-E899-AA05D1D68B2D}"/>
              </a:ext>
            </a:extLst>
          </p:cNvPr>
          <p:cNvGrpSpPr/>
          <p:nvPr/>
        </p:nvGrpSpPr>
        <p:grpSpPr>
          <a:xfrm>
            <a:off x="6227839" y="5286089"/>
            <a:ext cx="721741" cy="1075446"/>
            <a:chOff x="6095048" y="5176819"/>
            <a:chExt cx="721741" cy="1075446"/>
          </a:xfrm>
        </p:grpSpPr>
        <p:sp>
          <p:nvSpPr>
            <p:cNvPr id="36" name="Triangle isocèle 35">
              <a:extLst>
                <a:ext uri="{FF2B5EF4-FFF2-40B4-BE49-F238E27FC236}">
                  <a16:creationId xmlns:a16="http://schemas.microsoft.com/office/drawing/2014/main" id="{46760AA6-3D65-20FB-F2B2-7EDCD79E2A16}"/>
                </a:ext>
              </a:extLst>
            </p:cNvPr>
            <p:cNvSpPr/>
            <p:nvPr/>
          </p:nvSpPr>
          <p:spPr>
            <a:xfrm rot="5400000">
              <a:off x="5846513" y="5425354"/>
              <a:ext cx="1065288" cy="568218"/>
            </a:xfrm>
            <a:prstGeom prst="triangl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7" name="Graphique 36" descr="Canif contour">
              <a:extLst>
                <a:ext uri="{FF2B5EF4-FFF2-40B4-BE49-F238E27FC236}">
                  <a16:creationId xmlns:a16="http://schemas.microsoft.com/office/drawing/2014/main" id="{2B02D803-9A8F-631C-1757-56B4CBFF864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47846" y="5530742"/>
              <a:ext cx="338142" cy="338142"/>
            </a:xfrm>
            <a:prstGeom prst="rect">
              <a:avLst/>
            </a:prstGeom>
          </p:spPr>
        </p:pic>
        <p:sp>
          <p:nvSpPr>
            <p:cNvPr id="48" name="Flèche : chevron 47">
              <a:extLst>
                <a:ext uri="{FF2B5EF4-FFF2-40B4-BE49-F238E27FC236}">
                  <a16:creationId xmlns:a16="http://schemas.microsoft.com/office/drawing/2014/main" id="{0CDC2A1E-B0ED-0AD6-25B3-B32C646D50E0}"/>
                </a:ext>
              </a:extLst>
            </p:cNvPr>
            <p:cNvSpPr/>
            <p:nvPr/>
          </p:nvSpPr>
          <p:spPr>
            <a:xfrm>
              <a:off x="6248571" y="5177323"/>
              <a:ext cx="568218" cy="1074942"/>
            </a:xfrm>
            <a:prstGeom prst="chevron">
              <a:avLst>
                <a:gd name="adj" fmla="val 100000"/>
              </a:avLst>
            </a:prstGeom>
            <a:solidFill>
              <a:schemeClr val="accent2"/>
            </a:solidFill>
            <a:ln>
              <a:solidFill>
                <a:schemeClr val="accent4">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49" name="Rectangle 48">
            <a:extLst>
              <a:ext uri="{FF2B5EF4-FFF2-40B4-BE49-F238E27FC236}">
                <a16:creationId xmlns:a16="http://schemas.microsoft.com/office/drawing/2014/main" id="{8C97D30A-09F4-3174-8519-4216346D4832}"/>
              </a:ext>
            </a:extLst>
          </p:cNvPr>
          <p:cNvSpPr/>
          <p:nvPr/>
        </p:nvSpPr>
        <p:spPr>
          <a:xfrm>
            <a:off x="9690446" y="3211184"/>
            <a:ext cx="2244565" cy="20468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a:solidFill>
                  <a:srgbClr val="000000"/>
                </a:solidFill>
                <a:latin typeface="Arial"/>
              </a:rPr>
              <a:t>L’atteinte des objectifs d’économies de coût est conditionnée par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rgbClr val="000000"/>
                </a:solidFill>
                <a:effectLst/>
                <a:uLnTx/>
                <a:uFillTx/>
                <a:latin typeface="Arial"/>
                <a:ea typeface="+mn-ea"/>
                <a:cs typeface="+mn-cs"/>
              </a:rPr>
              <a:t>Connaissance de la ventilation actuelle des coû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rgbClr val="000000"/>
                </a:solidFill>
                <a:effectLst/>
                <a:uLnTx/>
                <a:uFillTx/>
                <a:latin typeface="Arial"/>
                <a:ea typeface="+mn-ea"/>
                <a:cs typeface="+mn-cs"/>
              </a:rPr>
              <a:t>Ciblage des processus et tâches à fort impact économiq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rgbClr val="000000"/>
                </a:solidFill>
                <a:effectLst/>
                <a:uLnTx/>
                <a:uFillTx/>
                <a:latin typeface="Arial"/>
                <a:ea typeface="+mn-ea"/>
                <a:cs typeface="+mn-cs"/>
              </a:rPr>
              <a:t>Chiffrage des bénéfices envisagés et investissements à consent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50">
                <a:solidFill>
                  <a:srgbClr val="000000"/>
                </a:solidFill>
                <a:latin typeface="Arial"/>
              </a:rPr>
              <a:t>Validation du dimensionnement de la cible</a:t>
            </a:r>
            <a:endParaRPr kumimoji="0" lang="fr-FR" sz="1050" b="0" i="0" u="none" strike="noStrike" kern="1200" cap="none" spc="0" normalizeH="0" baseline="0" noProof="0">
              <a:ln>
                <a:noFill/>
              </a:ln>
              <a:solidFill>
                <a:srgbClr val="000000"/>
              </a:solidFill>
              <a:effectLst/>
              <a:uLnTx/>
              <a:uFillTx/>
              <a:latin typeface="Arial"/>
              <a:ea typeface="+mn-ea"/>
              <a:cs typeface="+mn-cs"/>
            </a:endParaRPr>
          </a:p>
        </p:txBody>
      </p:sp>
      <p:grpSp>
        <p:nvGrpSpPr>
          <p:cNvPr id="29" name="Groupe 28">
            <a:extLst>
              <a:ext uri="{FF2B5EF4-FFF2-40B4-BE49-F238E27FC236}">
                <a16:creationId xmlns:a16="http://schemas.microsoft.com/office/drawing/2014/main" id="{2998EFD1-6090-7211-9307-FD154C16E857}"/>
              </a:ext>
            </a:extLst>
          </p:cNvPr>
          <p:cNvGrpSpPr/>
          <p:nvPr/>
        </p:nvGrpSpPr>
        <p:grpSpPr>
          <a:xfrm>
            <a:off x="7523338" y="2812196"/>
            <a:ext cx="2059200" cy="2057302"/>
            <a:chOff x="8615680" y="3032623"/>
            <a:chExt cx="2059200" cy="2057302"/>
          </a:xfrm>
        </p:grpSpPr>
        <p:sp>
          <p:nvSpPr>
            <p:cNvPr id="43" name="Organigramme : Connecteur 42">
              <a:extLst>
                <a:ext uri="{FF2B5EF4-FFF2-40B4-BE49-F238E27FC236}">
                  <a16:creationId xmlns:a16="http://schemas.microsoft.com/office/drawing/2014/main" id="{5D8E9B7F-3FB8-A1C0-F232-41A990B1F4DD}"/>
                </a:ext>
              </a:extLst>
            </p:cNvPr>
            <p:cNvSpPr/>
            <p:nvPr/>
          </p:nvSpPr>
          <p:spPr>
            <a:xfrm rot="16200000" flipV="1">
              <a:off x="8616629" y="3031674"/>
              <a:ext cx="2057302" cy="2059200"/>
            </a:xfrm>
            <a:prstGeom prst="flowChartConnector">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a:r>
                <a:rPr lang="fr-FR" sz="1600" b="1">
                  <a:solidFill>
                    <a:schemeClr val="bg1"/>
                  </a:solidFill>
                </a:rPr>
                <a:t>Economie de coûts</a:t>
              </a:r>
            </a:p>
          </p:txBody>
        </p:sp>
        <p:pic>
          <p:nvPicPr>
            <p:cNvPr id="44" name="Graphique 43" descr="Pièces contour">
              <a:extLst>
                <a:ext uri="{FF2B5EF4-FFF2-40B4-BE49-F238E27FC236}">
                  <a16:creationId xmlns:a16="http://schemas.microsoft.com/office/drawing/2014/main" id="{47B17077-CCE8-B9CD-9676-72E6AE19E9A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75807" y="4374856"/>
              <a:ext cx="433669" cy="433669"/>
            </a:xfrm>
            <a:prstGeom prst="rect">
              <a:avLst/>
            </a:prstGeom>
          </p:spPr>
        </p:pic>
      </p:grpSp>
      <p:pic>
        <p:nvPicPr>
          <p:cNvPr id="45" name="Graphique 44" descr="Flèche : courbe légère avec un remplissage uni">
            <a:extLst>
              <a:ext uri="{FF2B5EF4-FFF2-40B4-BE49-F238E27FC236}">
                <a16:creationId xmlns:a16="http://schemas.microsoft.com/office/drawing/2014/main" id="{C2ECF008-A42E-6942-6FA3-E08C640DDC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8924350">
            <a:off x="7043369" y="5048573"/>
            <a:ext cx="914400" cy="914400"/>
          </a:xfrm>
          <a:prstGeom prst="rect">
            <a:avLst/>
          </a:prstGeom>
        </p:spPr>
      </p:pic>
      <p:pic>
        <p:nvPicPr>
          <p:cNvPr id="54" name="Graphique 53" descr="Flèche : courbe légère avec un remplissage uni">
            <a:extLst>
              <a:ext uri="{FF2B5EF4-FFF2-40B4-BE49-F238E27FC236}">
                <a16:creationId xmlns:a16="http://schemas.microsoft.com/office/drawing/2014/main" id="{706F8F07-6826-ACBF-0A37-032696517D2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675650" flipV="1">
            <a:off x="6994994" y="1698143"/>
            <a:ext cx="914400" cy="914400"/>
          </a:xfrm>
          <a:prstGeom prst="rect">
            <a:avLst/>
          </a:prstGeom>
        </p:spPr>
      </p:pic>
      <p:pic>
        <p:nvPicPr>
          <p:cNvPr id="56" name="Graphique 55" descr="Flèche : droite avec un remplissage uni">
            <a:extLst>
              <a:ext uri="{FF2B5EF4-FFF2-40B4-BE49-F238E27FC236}">
                <a16:creationId xmlns:a16="http://schemas.microsoft.com/office/drawing/2014/main" id="{DE52A0C7-FB32-670A-A0A8-5BBD545BFB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H="1">
            <a:off x="6970778" y="3773182"/>
            <a:ext cx="432015" cy="432015"/>
          </a:xfrm>
          <a:prstGeom prst="rect">
            <a:avLst/>
          </a:prstGeom>
        </p:spPr>
      </p:pic>
      <p:sp>
        <p:nvSpPr>
          <p:cNvPr id="57" name="Freeform 60">
            <a:extLst>
              <a:ext uri="{FF2B5EF4-FFF2-40B4-BE49-F238E27FC236}">
                <a16:creationId xmlns:a16="http://schemas.microsoft.com/office/drawing/2014/main" id="{470D92BE-557A-7126-0372-00A40945672D}"/>
              </a:ext>
            </a:extLst>
          </p:cNvPr>
          <p:cNvSpPr/>
          <p:nvPr/>
        </p:nvSpPr>
        <p:spPr bwMode="gray">
          <a:xfrm flipH="1">
            <a:off x="8956484" y="3051037"/>
            <a:ext cx="2810065"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19050" algn="ctr">
            <a:solidFill>
              <a:schemeClr val="accent5"/>
            </a:solidFill>
            <a:miter lim="800000"/>
            <a:headEnd/>
            <a:tailEnd/>
          </a:ln>
        </p:spPr>
        <p:txBody>
          <a:bodyPr rtlCol="0" anchor="ctr"/>
          <a:lstStyle/>
          <a:p>
            <a:pPr algn="ctr"/>
            <a:endParaRPr lang="en-US">
              <a:solidFill>
                <a:schemeClr val="accent6"/>
              </a:solidFill>
            </a:endParaRPr>
          </a:p>
        </p:txBody>
      </p:sp>
      <p:pic>
        <p:nvPicPr>
          <p:cNvPr id="60" name="Graphique 59" descr="Mégaphone1 contour">
            <a:extLst>
              <a:ext uri="{FF2B5EF4-FFF2-40B4-BE49-F238E27FC236}">
                <a16:creationId xmlns:a16="http://schemas.microsoft.com/office/drawing/2014/main" id="{BC3F4007-C2DB-43E9-76FC-8574D9C690A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381357" y="3189727"/>
            <a:ext cx="400205" cy="400205"/>
          </a:xfrm>
          <a:prstGeom prst="rect">
            <a:avLst/>
          </a:prstGeom>
        </p:spPr>
      </p:pic>
      <p:sp>
        <p:nvSpPr>
          <p:cNvPr id="4" name="ZoneTexte 3">
            <a:extLst>
              <a:ext uri="{FF2B5EF4-FFF2-40B4-BE49-F238E27FC236}">
                <a16:creationId xmlns:a16="http://schemas.microsoft.com/office/drawing/2014/main" id="{7EDDEA04-5CD8-8D87-6495-BC228AF1283F}"/>
              </a:ext>
            </a:extLst>
          </p:cNvPr>
          <p:cNvSpPr txBox="1"/>
          <p:nvPr/>
        </p:nvSpPr>
        <p:spPr>
          <a:xfrm>
            <a:off x="731380" y="5018539"/>
            <a:ext cx="1162418" cy="257369"/>
          </a:xfrm>
          <a:prstGeom prst="rect">
            <a:avLst/>
          </a:prstGeom>
          <a:noFill/>
        </p:spPr>
        <p:txBody>
          <a:bodyPr wrap="square" lIns="0" tIns="36000" rIns="0" bIns="36000" rtlCol="0">
            <a:spAutoFit/>
          </a:bodyPr>
          <a:lstStyle/>
          <a:p>
            <a:pPr marL="92075"/>
            <a:r>
              <a:rPr lang="fr-FR" sz="1200">
                <a:solidFill>
                  <a:schemeClr val="accent4"/>
                </a:solidFill>
                <a:latin typeface="Arial Black" panose="020B0A04020102020204" pitchFamily="34" charset="0"/>
              </a:rPr>
              <a:t>OUTILS</a:t>
            </a:r>
            <a:endParaRPr lang="fr-FR" sz="1200" i="1">
              <a:solidFill>
                <a:schemeClr val="accent4"/>
              </a:solidFill>
              <a:latin typeface="Arial Black" panose="020B0A04020102020204" pitchFamily="34" charset="0"/>
            </a:endParaRPr>
          </a:p>
        </p:txBody>
      </p:sp>
      <p:sp>
        <p:nvSpPr>
          <p:cNvPr id="5" name="ZoneTexte 4">
            <a:extLst>
              <a:ext uri="{FF2B5EF4-FFF2-40B4-BE49-F238E27FC236}">
                <a16:creationId xmlns:a16="http://schemas.microsoft.com/office/drawing/2014/main" id="{786CA1F9-BB66-2D62-7C36-B74EF7AEA655}"/>
              </a:ext>
            </a:extLst>
          </p:cNvPr>
          <p:cNvSpPr txBox="1"/>
          <p:nvPr/>
        </p:nvSpPr>
        <p:spPr>
          <a:xfrm>
            <a:off x="731379" y="2770743"/>
            <a:ext cx="3093045" cy="257369"/>
          </a:xfrm>
          <a:prstGeom prst="rect">
            <a:avLst/>
          </a:prstGeom>
          <a:noFill/>
        </p:spPr>
        <p:txBody>
          <a:bodyPr wrap="square" lIns="0" tIns="36000" rIns="0" bIns="36000" rtlCol="0">
            <a:spAutoFit/>
          </a:bodyPr>
          <a:lstStyle/>
          <a:p>
            <a:pPr marL="92075"/>
            <a:r>
              <a:rPr lang="fr-FR" sz="1200">
                <a:solidFill>
                  <a:schemeClr val="bg2"/>
                </a:solidFill>
                <a:latin typeface="Arial Black" panose="020B0A04020102020204" pitchFamily="34" charset="0"/>
              </a:rPr>
              <a:t>ORGANISATION ET COMPÉTENCES</a:t>
            </a:r>
          </a:p>
        </p:txBody>
      </p:sp>
      <p:sp>
        <p:nvSpPr>
          <p:cNvPr id="6" name="ZoneTexte 5">
            <a:extLst>
              <a:ext uri="{FF2B5EF4-FFF2-40B4-BE49-F238E27FC236}">
                <a16:creationId xmlns:a16="http://schemas.microsoft.com/office/drawing/2014/main" id="{9802467F-4D6B-05B0-9A67-720D5975C8D0}"/>
              </a:ext>
            </a:extLst>
          </p:cNvPr>
          <p:cNvSpPr txBox="1"/>
          <p:nvPr/>
        </p:nvSpPr>
        <p:spPr>
          <a:xfrm>
            <a:off x="731380" y="881655"/>
            <a:ext cx="1352971" cy="257369"/>
          </a:xfrm>
          <a:prstGeom prst="rect">
            <a:avLst/>
          </a:prstGeom>
          <a:noFill/>
        </p:spPr>
        <p:txBody>
          <a:bodyPr wrap="square" lIns="0" tIns="36000" rIns="0" bIns="36000" rtlCol="0">
            <a:spAutoFit/>
          </a:bodyPr>
          <a:lstStyle/>
          <a:p>
            <a:pPr marL="92075"/>
            <a:r>
              <a:rPr lang="fr-FR" sz="1200">
                <a:solidFill>
                  <a:schemeClr val="accent1"/>
                </a:solidFill>
                <a:latin typeface="Arial Black" panose="020B0A04020102020204" pitchFamily="34" charset="0"/>
              </a:rPr>
              <a:t>PROCESSUS</a:t>
            </a:r>
          </a:p>
        </p:txBody>
      </p:sp>
    </p:spTree>
    <p:extLst>
      <p:ext uri="{BB962C8B-B14F-4D97-AF65-F5344CB8AC3E}">
        <p14:creationId xmlns:p14="http://schemas.microsoft.com/office/powerpoint/2010/main" val="646768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F010E3A-9898-4967-8E0E-189A53740B55}"/>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130FE673-0678-95B6-C3B9-B1E6E8BF77E1}"/>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49AD9D9-8EB9-40C8-817E-797AEF95B20C}"/>
              </a:ext>
            </a:extLst>
          </p:cNvPr>
          <p:cNvGraphicFramePr/>
          <p:nvPr>
            <p:extLst>
              <p:ext uri="{D42A27DB-BD31-4B8C-83A1-F6EECF244321}">
                <p14:modId xmlns:p14="http://schemas.microsoft.com/office/powerpoint/2010/main" val="365670757"/>
              </p:ext>
            </p:extLst>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0">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a:solidFill>
                            <a:schemeClr val="tx2"/>
                          </a:solidFill>
                          <a:latin typeface="+mj-lt"/>
                          <a:cs typeface="Calibri" panose="020F0502020204030204" pitchFamily="34" charset="0"/>
                          <a:sym typeface="Montserrat"/>
                        </a:rPr>
                        <a:t>Synthèse de notre proposition</a:t>
                      </a:r>
                      <a:endParaRPr lang="fr-FR" sz="1900" b="0">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0"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0"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402162129"/>
                  </a:ext>
                </a:extLst>
              </a:tr>
              <a:tr h="535332">
                <a:tc>
                  <a:txBody>
                    <a:bodyPr/>
                    <a:lstStyle/>
                    <a:p>
                      <a:pPr algn="ctr"/>
                      <a:r>
                        <a:rPr lang="fr-FR" sz="1600" b="0">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1"/>
                  </a:ext>
                </a:extLst>
              </a:tr>
              <a:tr h="484169">
                <a:tc>
                  <a:txBody>
                    <a:bodyPr/>
                    <a:lstStyle/>
                    <a:p>
                      <a:pPr algn="ctr"/>
                      <a:r>
                        <a:rPr lang="fr-FR" sz="1600" b="1">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1">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extLst>
                  <a:ext uri="{0D108BD9-81ED-4DB2-BD59-A6C34878D82A}">
                    <a16:rowId xmlns:a16="http://schemas.microsoft.com/office/drawing/2014/main" val="10002"/>
                  </a:ext>
                </a:extLst>
              </a:tr>
              <a:tr h="484169">
                <a:tc>
                  <a:txBody>
                    <a:bodyPr/>
                    <a:lstStyle/>
                    <a:p>
                      <a:pPr algn="ctr"/>
                      <a:r>
                        <a:rPr lang="fr-FR" sz="1600">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683504451"/>
                  </a:ext>
                </a:extLst>
              </a:tr>
              <a:tr h="484169">
                <a:tc>
                  <a:txBody>
                    <a:bodyPr/>
                    <a:lstStyle/>
                    <a:p>
                      <a:pPr algn="ctr"/>
                      <a:r>
                        <a:rPr lang="fr-FR" sz="1600">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472287062"/>
                  </a:ext>
                </a:extLst>
              </a:tr>
              <a:tr h="484169">
                <a:tc>
                  <a:txBody>
                    <a:bodyPr/>
                    <a:lstStyle/>
                    <a:p>
                      <a:pPr algn="ctr"/>
                      <a:r>
                        <a:rPr lang="fr-FR" sz="1600">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3801467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 coins arrondis 96">
            <a:extLst>
              <a:ext uri="{FF2B5EF4-FFF2-40B4-BE49-F238E27FC236}">
                <a16:creationId xmlns:a16="http://schemas.microsoft.com/office/drawing/2014/main" id="{16817D63-2FD5-1C60-C2BE-428CB3E44517}"/>
              </a:ext>
            </a:extLst>
          </p:cNvPr>
          <p:cNvSpPr/>
          <p:nvPr/>
        </p:nvSpPr>
        <p:spPr>
          <a:xfrm>
            <a:off x="10203295" y="3752005"/>
            <a:ext cx="1843200" cy="2765073"/>
          </a:xfrm>
          <a:prstGeom prst="roundRect">
            <a:avLst>
              <a:gd name="adj" fmla="val 8928"/>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fr-FR" sz="1000" b="1">
                <a:solidFill>
                  <a:schemeClr val="tx1"/>
                </a:solidFill>
              </a:rPr>
              <a:t>Légende</a:t>
            </a:r>
          </a:p>
          <a:p>
            <a:endParaRPr lang="fr-FR" sz="1000" b="1">
              <a:solidFill>
                <a:schemeClr val="tx1"/>
              </a:solidFill>
            </a:endParaRPr>
          </a:p>
          <a:p>
            <a:pPr marL="177800">
              <a:spcBef>
                <a:spcPts val="600"/>
              </a:spcBef>
            </a:pPr>
            <a:r>
              <a:rPr lang="fr-FR" sz="1000">
                <a:solidFill>
                  <a:schemeClr val="tx1"/>
                </a:solidFill>
              </a:rPr>
              <a:t>En chambre (Talan Consulting &amp; équipe projet)</a:t>
            </a:r>
          </a:p>
          <a:p>
            <a:pPr marL="177800">
              <a:spcBef>
                <a:spcPts val="600"/>
              </a:spcBef>
            </a:pPr>
            <a:r>
              <a:rPr lang="fr-FR" sz="1000">
                <a:solidFill>
                  <a:schemeClr val="tx1"/>
                </a:solidFill>
              </a:rPr>
              <a:t>Tous les acteurs du processus</a:t>
            </a:r>
          </a:p>
          <a:p>
            <a:pPr marL="177800">
              <a:spcBef>
                <a:spcPts val="600"/>
              </a:spcBef>
            </a:pPr>
            <a:r>
              <a:rPr lang="fr-FR" sz="1000">
                <a:solidFill>
                  <a:schemeClr val="tx1"/>
                </a:solidFill>
              </a:rPr>
              <a:t>---------------------</a:t>
            </a:r>
          </a:p>
          <a:p>
            <a:pPr marL="177800">
              <a:spcBef>
                <a:spcPts val="600"/>
              </a:spcBef>
            </a:pPr>
            <a:r>
              <a:rPr lang="fr-FR" sz="1000">
                <a:solidFill>
                  <a:schemeClr val="tx1"/>
                </a:solidFill>
              </a:rPr>
              <a:t>1 journée</a:t>
            </a:r>
          </a:p>
          <a:p>
            <a:pPr marL="177800">
              <a:spcBef>
                <a:spcPts val="600"/>
              </a:spcBef>
            </a:pPr>
            <a:r>
              <a:rPr lang="fr-FR" sz="1000">
                <a:solidFill>
                  <a:schemeClr val="tx1"/>
                </a:solidFill>
              </a:rPr>
              <a:t>½ journée</a:t>
            </a:r>
          </a:p>
          <a:p>
            <a:pPr marL="177800">
              <a:spcBef>
                <a:spcPts val="600"/>
              </a:spcBef>
            </a:pPr>
            <a:r>
              <a:rPr lang="fr-FR" sz="1000">
                <a:solidFill>
                  <a:schemeClr val="tx1"/>
                </a:solidFill>
              </a:rPr>
              <a:t>---------------------</a:t>
            </a:r>
          </a:p>
          <a:p>
            <a:pPr marL="177800">
              <a:spcBef>
                <a:spcPts val="600"/>
              </a:spcBef>
            </a:pPr>
            <a:r>
              <a:rPr lang="fr-FR" sz="1000">
                <a:solidFill>
                  <a:schemeClr val="tx1"/>
                </a:solidFill>
              </a:rPr>
              <a:t>Pour chaque processus</a:t>
            </a:r>
          </a:p>
          <a:p>
            <a:pPr marL="177800">
              <a:spcBef>
                <a:spcPts val="600"/>
              </a:spcBef>
            </a:pPr>
            <a:r>
              <a:rPr lang="fr-FR" sz="1000">
                <a:solidFill>
                  <a:schemeClr val="tx1"/>
                </a:solidFill>
              </a:rPr>
              <a:t>Transverse</a:t>
            </a:r>
          </a:p>
        </p:txBody>
      </p:sp>
      <p:sp>
        <p:nvSpPr>
          <p:cNvPr id="2" name="Titre 1">
            <a:extLst>
              <a:ext uri="{FF2B5EF4-FFF2-40B4-BE49-F238E27FC236}">
                <a16:creationId xmlns:a16="http://schemas.microsoft.com/office/drawing/2014/main" id="{3B68E42E-736E-7A1E-FBC6-2932F0A30E44}"/>
              </a:ext>
            </a:extLst>
          </p:cNvPr>
          <p:cNvSpPr>
            <a:spLocks noGrp="1"/>
          </p:cNvSpPr>
          <p:nvPr>
            <p:ph type="title"/>
          </p:nvPr>
        </p:nvSpPr>
        <p:spPr>
          <a:xfrm>
            <a:off x="396031" y="90107"/>
            <a:ext cx="10294349" cy="407795"/>
          </a:xfrm>
          <a:solidFill>
            <a:schemeClr val="bg1"/>
          </a:solidFill>
        </p:spPr>
        <p:txBody>
          <a:bodyPr/>
          <a:lstStyle/>
          <a:p>
            <a:r>
              <a:rPr kumimoji="0" lang="fr-FR" sz="1600" b="1" i="0" u="none" strike="noStrike" kern="0" cap="none" spc="0" normalizeH="0" baseline="0" noProof="0">
                <a:ln>
                  <a:noFill/>
                </a:ln>
                <a:solidFill>
                  <a:srgbClr val="44398A"/>
                </a:solidFill>
                <a:effectLst/>
                <a:uLnTx/>
                <a:uFillTx/>
                <a:latin typeface="Arial Black" panose="020B0A04020102020204" pitchFamily="34" charset="0"/>
                <a:cs typeface="Calibri" panose="020F0502020204030204" pitchFamily="34" charset="0"/>
                <a:sym typeface="Montserrat"/>
              </a:rPr>
              <a:t>3 ATELIERS POUR CHAQUE MACRO-PROCESSUS, SUIVIS D’UNE ÉTAPE DE CHIFFRAGE / PRIORISATION TRANSVERSE</a:t>
            </a:r>
            <a:endParaRPr lang="fr-FR"/>
          </a:p>
        </p:txBody>
      </p:sp>
      <p:sp>
        <p:nvSpPr>
          <p:cNvPr id="7" name="Flèche : pentagone 6">
            <a:extLst>
              <a:ext uri="{FF2B5EF4-FFF2-40B4-BE49-F238E27FC236}">
                <a16:creationId xmlns:a16="http://schemas.microsoft.com/office/drawing/2014/main" id="{D39E3C7C-036D-41E9-9B0B-F89FD133BE07}"/>
              </a:ext>
            </a:extLst>
          </p:cNvPr>
          <p:cNvSpPr/>
          <p:nvPr/>
        </p:nvSpPr>
        <p:spPr>
          <a:xfrm rot="5400000">
            <a:off x="-531710" y="2225463"/>
            <a:ext cx="3002508" cy="1147026"/>
          </a:xfrm>
          <a:prstGeom prst="homePlate">
            <a:avLst>
              <a:gd name="adj" fmla="val 19921"/>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1200" b="1">
                <a:solidFill>
                  <a:schemeClr val="bg2"/>
                </a:solidFill>
              </a:rPr>
              <a:t>Approche DMAIC</a:t>
            </a:r>
          </a:p>
        </p:txBody>
      </p:sp>
      <p:sp>
        <p:nvSpPr>
          <p:cNvPr id="8" name="Flèche : chevron 7">
            <a:extLst>
              <a:ext uri="{FF2B5EF4-FFF2-40B4-BE49-F238E27FC236}">
                <a16:creationId xmlns:a16="http://schemas.microsoft.com/office/drawing/2014/main" id="{7C19A3EB-FB8A-E434-208C-0E1E994092C1}"/>
              </a:ext>
            </a:extLst>
          </p:cNvPr>
          <p:cNvSpPr/>
          <p:nvPr/>
        </p:nvSpPr>
        <p:spPr>
          <a:xfrm rot="5400000">
            <a:off x="566555" y="4057123"/>
            <a:ext cx="810163" cy="1147026"/>
          </a:xfrm>
          <a:prstGeom prst="chevron">
            <a:avLst>
              <a:gd name="adj" fmla="val 28501"/>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1200" b="1">
                <a:solidFill>
                  <a:schemeClr val="bg2"/>
                </a:solidFill>
              </a:rPr>
              <a:t>Phases de la mission</a:t>
            </a:r>
          </a:p>
        </p:txBody>
      </p:sp>
      <p:grpSp>
        <p:nvGrpSpPr>
          <p:cNvPr id="55" name="Groupe 54">
            <a:extLst>
              <a:ext uri="{FF2B5EF4-FFF2-40B4-BE49-F238E27FC236}">
                <a16:creationId xmlns:a16="http://schemas.microsoft.com/office/drawing/2014/main" id="{B2F66C61-4360-BA22-CD88-F0352352071E}"/>
              </a:ext>
            </a:extLst>
          </p:cNvPr>
          <p:cNvGrpSpPr/>
          <p:nvPr/>
        </p:nvGrpSpPr>
        <p:grpSpPr>
          <a:xfrm>
            <a:off x="1720393" y="1269170"/>
            <a:ext cx="1843956" cy="301766"/>
            <a:chOff x="1722486" y="1023359"/>
            <a:chExt cx="1843956" cy="301766"/>
          </a:xfrm>
        </p:grpSpPr>
        <p:sp>
          <p:nvSpPr>
            <p:cNvPr id="10" name="Google Shape;421;p37">
              <a:extLst>
                <a:ext uri="{FF2B5EF4-FFF2-40B4-BE49-F238E27FC236}">
                  <a16:creationId xmlns:a16="http://schemas.microsoft.com/office/drawing/2014/main" id="{9DFB28B0-3CC5-D6C4-25E0-D4CCFEB38222}"/>
                </a:ext>
              </a:extLst>
            </p:cNvPr>
            <p:cNvSpPr/>
            <p:nvPr/>
          </p:nvSpPr>
          <p:spPr>
            <a:xfrm>
              <a:off x="1722486" y="1023359"/>
              <a:ext cx="1843956" cy="301766"/>
            </a:xfrm>
            <a:prstGeom prst="roundRect">
              <a:avLst>
                <a:gd name="adj" fmla="val 50000"/>
              </a:avLst>
            </a:prstGeom>
            <a:solidFill>
              <a:srgbClr val="006EB7"/>
            </a:solidFill>
            <a:ln>
              <a:noFill/>
            </a:ln>
          </p:spPr>
          <p:txBody>
            <a:bodyPr spcFirstLastPara="1" wrap="square" lIns="91425" tIns="91425" rIns="91425" bIns="91425" anchor="ctr" anchorCtr="0">
              <a:noAutofit/>
            </a:bodyPr>
            <a:lstStyle/>
            <a:p>
              <a:r>
                <a:rPr lang="fr-FR" sz="1200" b="1" err="1">
                  <a:solidFill>
                    <a:schemeClr val="lt1"/>
                  </a:solidFill>
                  <a:latin typeface="+mj-lt"/>
                  <a:ea typeface="Fira Sans Extra Condensed"/>
                  <a:cs typeface="Fira Sans Extra Condensed"/>
                  <a:sym typeface="Fira Sans Extra Condensed"/>
                </a:rPr>
                <a:t>Define</a:t>
              </a:r>
              <a:r>
                <a:rPr lang="fr-FR" sz="1200" b="1">
                  <a:solidFill>
                    <a:schemeClr val="lt1"/>
                  </a:solidFill>
                  <a:latin typeface="+mj-lt"/>
                  <a:ea typeface="Fira Sans Extra Condensed"/>
                  <a:cs typeface="Fira Sans Extra Condensed"/>
                  <a:sym typeface="Fira Sans Extra Condensed"/>
                </a:rPr>
                <a:t>/Définir</a:t>
              </a:r>
            </a:p>
          </p:txBody>
        </p:sp>
        <p:grpSp>
          <p:nvGrpSpPr>
            <p:cNvPr id="11" name="Google Shape;426;p37">
              <a:extLst>
                <a:ext uri="{FF2B5EF4-FFF2-40B4-BE49-F238E27FC236}">
                  <a16:creationId xmlns:a16="http://schemas.microsoft.com/office/drawing/2014/main" id="{068D7451-F782-0CBD-1682-13D56648F8A4}"/>
                </a:ext>
              </a:extLst>
            </p:cNvPr>
            <p:cNvGrpSpPr>
              <a:grpSpLocks noChangeAspect="1"/>
            </p:cNvGrpSpPr>
            <p:nvPr/>
          </p:nvGrpSpPr>
          <p:grpSpPr>
            <a:xfrm>
              <a:off x="3163555" y="1077290"/>
              <a:ext cx="196641" cy="196200"/>
              <a:chOff x="5049725" y="1435050"/>
              <a:chExt cx="486550" cy="481850"/>
            </a:xfrm>
            <a:solidFill>
              <a:schemeClr val="bg1"/>
            </a:solidFill>
          </p:grpSpPr>
          <p:sp>
            <p:nvSpPr>
              <p:cNvPr id="12" name="Google Shape;427;p37">
                <a:extLst>
                  <a:ext uri="{FF2B5EF4-FFF2-40B4-BE49-F238E27FC236}">
                    <a16:creationId xmlns:a16="http://schemas.microsoft.com/office/drawing/2014/main" id="{D9E2DE16-8B4B-DB77-0CFC-FE3977C2DD02}"/>
                  </a:ext>
                </a:extLst>
              </p:cNvPr>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3" name="Google Shape;428;p37">
                <a:extLst>
                  <a:ext uri="{FF2B5EF4-FFF2-40B4-BE49-F238E27FC236}">
                    <a16:creationId xmlns:a16="http://schemas.microsoft.com/office/drawing/2014/main" id="{C2914CB3-2DBC-F354-81FF-1F0F7AA53186}"/>
                  </a:ext>
                </a:extLst>
              </p:cNvPr>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4" name="Google Shape;429;p37">
                <a:extLst>
                  <a:ext uri="{FF2B5EF4-FFF2-40B4-BE49-F238E27FC236}">
                    <a16:creationId xmlns:a16="http://schemas.microsoft.com/office/drawing/2014/main" id="{190C9FC7-2A2C-4C75-D8B9-2446F9CF0A55}"/>
                  </a:ext>
                </a:extLst>
              </p:cNvPr>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430;p37">
                <a:extLst>
                  <a:ext uri="{FF2B5EF4-FFF2-40B4-BE49-F238E27FC236}">
                    <a16:creationId xmlns:a16="http://schemas.microsoft.com/office/drawing/2014/main" id="{78E6CB55-5E1D-9E6A-818E-BEAB387C7D79}"/>
                  </a:ext>
                </a:extLst>
              </p:cNvPr>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grpSp>
        <p:nvGrpSpPr>
          <p:cNvPr id="54" name="Groupe 53">
            <a:extLst>
              <a:ext uri="{FF2B5EF4-FFF2-40B4-BE49-F238E27FC236}">
                <a16:creationId xmlns:a16="http://schemas.microsoft.com/office/drawing/2014/main" id="{F64DB572-24DE-B008-D333-1D8B72A86851}"/>
              </a:ext>
            </a:extLst>
          </p:cNvPr>
          <p:cNvGrpSpPr/>
          <p:nvPr/>
        </p:nvGrpSpPr>
        <p:grpSpPr>
          <a:xfrm>
            <a:off x="3862395" y="1269170"/>
            <a:ext cx="1843956" cy="301766"/>
            <a:chOff x="3864488" y="1023359"/>
            <a:chExt cx="1843956" cy="301766"/>
          </a:xfrm>
        </p:grpSpPr>
        <p:sp>
          <p:nvSpPr>
            <p:cNvPr id="17" name="Google Shape;449;p37">
              <a:extLst>
                <a:ext uri="{FF2B5EF4-FFF2-40B4-BE49-F238E27FC236}">
                  <a16:creationId xmlns:a16="http://schemas.microsoft.com/office/drawing/2014/main" id="{E21D0531-348B-B44B-52A4-BB0A9DC2EF36}"/>
                </a:ext>
              </a:extLst>
            </p:cNvPr>
            <p:cNvSpPr/>
            <p:nvPr/>
          </p:nvSpPr>
          <p:spPr>
            <a:xfrm>
              <a:off x="3864488" y="1023359"/>
              <a:ext cx="1843956" cy="301766"/>
            </a:xfrm>
            <a:prstGeom prst="roundRect">
              <a:avLst>
                <a:gd name="adj" fmla="val 50000"/>
              </a:avLst>
            </a:prstGeom>
            <a:solidFill>
              <a:srgbClr val="006EB7"/>
            </a:solidFill>
            <a:ln>
              <a:noFill/>
            </a:ln>
          </p:spPr>
          <p:txBody>
            <a:bodyPr spcFirstLastPara="1" wrap="square" lIns="91425" tIns="91425" rIns="91425" bIns="91425" anchor="ctr" anchorCtr="0">
              <a:noAutofit/>
            </a:bodyPr>
            <a:lstStyle/>
            <a:p>
              <a:r>
                <a:rPr lang="fr-FR" sz="1200" b="1" err="1">
                  <a:solidFill>
                    <a:schemeClr val="lt1"/>
                  </a:solidFill>
                  <a:latin typeface="+mj-lt"/>
                  <a:ea typeface="Fira Sans Extra Condensed"/>
                  <a:cs typeface="Fira Sans Extra Condensed"/>
                  <a:sym typeface="Fira Sans Extra Condensed"/>
                </a:rPr>
                <a:t>Measure</a:t>
              </a:r>
              <a:r>
                <a:rPr lang="fr-FR" sz="1200" b="1">
                  <a:solidFill>
                    <a:schemeClr val="lt1"/>
                  </a:solidFill>
                  <a:latin typeface="+mj-lt"/>
                  <a:ea typeface="Fira Sans Extra Condensed"/>
                  <a:cs typeface="Fira Sans Extra Condensed"/>
                  <a:sym typeface="Fira Sans Extra Condensed"/>
                </a:rPr>
                <a:t>/Mesurer</a:t>
              </a:r>
            </a:p>
          </p:txBody>
        </p:sp>
        <p:sp>
          <p:nvSpPr>
            <p:cNvPr id="18" name="Google Shape;431;p37">
              <a:extLst>
                <a:ext uri="{FF2B5EF4-FFF2-40B4-BE49-F238E27FC236}">
                  <a16:creationId xmlns:a16="http://schemas.microsoft.com/office/drawing/2014/main" id="{60D7B37A-E2C1-5065-054B-9686428E5097}"/>
                </a:ext>
              </a:extLst>
            </p:cNvPr>
            <p:cNvSpPr>
              <a:spLocks noChangeAspect="1"/>
            </p:cNvSpPr>
            <p:nvPr/>
          </p:nvSpPr>
          <p:spPr>
            <a:xfrm rot="2700000">
              <a:off x="5455539" y="1075914"/>
              <a:ext cx="59852" cy="204468"/>
            </a:xfrm>
            <a:custGeom>
              <a:avLst/>
              <a:gdLst/>
              <a:ahLst/>
              <a:cxnLst/>
              <a:rect l="l" t="t" r="r" b="b"/>
              <a:pathLst>
                <a:path w="3497" h="12036" extrusionOk="0">
                  <a:moveTo>
                    <a:pt x="347" y="1"/>
                  </a:moveTo>
                  <a:cubicBezTo>
                    <a:pt x="158" y="1"/>
                    <a:pt x="0" y="158"/>
                    <a:pt x="0" y="347"/>
                  </a:cubicBezTo>
                  <a:lnTo>
                    <a:pt x="0" y="1418"/>
                  </a:lnTo>
                  <a:lnTo>
                    <a:pt x="1764" y="1418"/>
                  </a:lnTo>
                  <a:cubicBezTo>
                    <a:pt x="1953" y="1418"/>
                    <a:pt x="2111" y="1576"/>
                    <a:pt x="2111" y="1765"/>
                  </a:cubicBezTo>
                  <a:cubicBezTo>
                    <a:pt x="2111" y="1954"/>
                    <a:pt x="1953" y="2112"/>
                    <a:pt x="1764" y="2112"/>
                  </a:cubicBezTo>
                  <a:lnTo>
                    <a:pt x="0" y="2112"/>
                  </a:lnTo>
                  <a:lnTo>
                    <a:pt x="0" y="2836"/>
                  </a:lnTo>
                  <a:lnTo>
                    <a:pt x="1071" y="2836"/>
                  </a:lnTo>
                  <a:cubicBezTo>
                    <a:pt x="1260" y="2836"/>
                    <a:pt x="1418" y="2994"/>
                    <a:pt x="1418" y="3183"/>
                  </a:cubicBezTo>
                  <a:cubicBezTo>
                    <a:pt x="1418" y="3372"/>
                    <a:pt x="1260" y="3529"/>
                    <a:pt x="1071" y="3529"/>
                  </a:cubicBezTo>
                  <a:lnTo>
                    <a:pt x="0" y="3529"/>
                  </a:lnTo>
                  <a:lnTo>
                    <a:pt x="0" y="4254"/>
                  </a:lnTo>
                  <a:lnTo>
                    <a:pt x="1764" y="4254"/>
                  </a:lnTo>
                  <a:cubicBezTo>
                    <a:pt x="1953" y="4254"/>
                    <a:pt x="2111" y="4411"/>
                    <a:pt x="2111" y="4600"/>
                  </a:cubicBezTo>
                  <a:cubicBezTo>
                    <a:pt x="2111" y="4789"/>
                    <a:pt x="1953" y="4947"/>
                    <a:pt x="1764" y="4947"/>
                  </a:cubicBezTo>
                  <a:lnTo>
                    <a:pt x="0" y="4947"/>
                  </a:lnTo>
                  <a:lnTo>
                    <a:pt x="0" y="5672"/>
                  </a:lnTo>
                  <a:lnTo>
                    <a:pt x="1071" y="5672"/>
                  </a:lnTo>
                  <a:cubicBezTo>
                    <a:pt x="1260" y="5672"/>
                    <a:pt x="1418" y="5829"/>
                    <a:pt x="1418" y="6018"/>
                  </a:cubicBezTo>
                  <a:cubicBezTo>
                    <a:pt x="1418" y="6207"/>
                    <a:pt x="1260" y="6365"/>
                    <a:pt x="1071" y="6365"/>
                  </a:cubicBezTo>
                  <a:lnTo>
                    <a:pt x="0" y="6365"/>
                  </a:lnTo>
                  <a:lnTo>
                    <a:pt x="0" y="7089"/>
                  </a:lnTo>
                  <a:lnTo>
                    <a:pt x="1764" y="7089"/>
                  </a:lnTo>
                  <a:cubicBezTo>
                    <a:pt x="1953" y="7089"/>
                    <a:pt x="2111" y="7247"/>
                    <a:pt x="2111" y="7436"/>
                  </a:cubicBezTo>
                  <a:cubicBezTo>
                    <a:pt x="2111" y="7625"/>
                    <a:pt x="1953" y="7782"/>
                    <a:pt x="1764" y="7782"/>
                  </a:cubicBezTo>
                  <a:lnTo>
                    <a:pt x="0" y="7782"/>
                  </a:lnTo>
                  <a:lnTo>
                    <a:pt x="0" y="8507"/>
                  </a:lnTo>
                  <a:lnTo>
                    <a:pt x="1071" y="8507"/>
                  </a:lnTo>
                  <a:cubicBezTo>
                    <a:pt x="1260" y="8507"/>
                    <a:pt x="1418" y="8665"/>
                    <a:pt x="1418" y="8854"/>
                  </a:cubicBezTo>
                  <a:cubicBezTo>
                    <a:pt x="1418" y="9043"/>
                    <a:pt x="1260" y="9200"/>
                    <a:pt x="1071" y="9200"/>
                  </a:cubicBezTo>
                  <a:lnTo>
                    <a:pt x="0" y="9200"/>
                  </a:lnTo>
                  <a:lnTo>
                    <a:pt x="0" y="9925"/>
                  </a:lnTo>
                  <a:lnTo>
                    <a:pt x="1764" y="9925"/>
                  </a:lnTo>
                  <a:cubicBezTo>
                    <a:pt x="1953" y="9925"/>
                    <a:pt x="2111" y="10082"/>
                    <a:pt x="2111" y="10271"/>
                  </a:cubicBezTo>
                  <a:cubicBezTo>
                    <a:pt x="2111" y="10460"/>
                    <a:pt x="1953" y="10618"/>
                    <a:pt x="1764" y="10618"/>
                  </a:cubicBezTo>
                  <a:lnTo>
                    <a:pt x="0" y="10618"/>
                  </a:lnTo>
                  <a:lnTo>
                    <a:pt x="0" y="11689"/>
                  </a:lnTo>
                  <a:cubicBezTo>
                    <a:pt x="0" y="11878"/>
                    <a:pt x="158" y="12036"/>
                    <a:pt x="347" y="12036"/>
                  </a:cubicBezTo>
                  <a:lnTo>
                    <a:pt x="3151" y="12036"/>
                  </a:lnTo>
                  <a:cubicBezTo>
                    <a:pt x="3340" y="12036"/>
                    <a:pt x="3497" y="11878"/>
                    <a:pt x="3497" y="11689"/>
                  </a:cubicBezTo>
                  <a:lnTo>
                    <a:pt x="3497" y="379"/>
                  </a:lnTo>
                  <a:cubicBezTo>
                    <a:pt x="3497" y="158"/>
                    <a:pt x="3340" y="1"/>
                    <a:pt x="3151"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 name="Groupe 156">
            <a:extLst>
              <a:ext uri="{FF2B5EF4-FFF2-40B4-BE49-F238E27FC236}">
                <a16:creationId xmlns:a16="http://schemas.microsoft.com/office/drawing/2014/main" id="{4FEE12E7-B373-B557-9E81-EAA9EEB9614C}"/>
              </a:ext>
            </a:extLst>
          </p:cNvPr>
          <p:cNvGrpSpPr/>
          <p:nvPr/>
        </p:nvGrpSpPr>
        <p:grpSpPr>
          <a:xfrm>
            <a:off x="8119384" y="1269170"/>
            <a:ext cx="1843956" cy="301766"/>
            <a:chOff x="8236977" y="1023359"/>
            <a:chExt cx="1843956" cy="301766"/>
          </a:xfrm>
        </p:grpSpPr>
        <p:sp>
          <p:nvSpPr>
            <p:cNvPr id="25" name="Google Shape;457;p37">
              <a:extLst>
                <a:ext uri="{FF2B5EF4-FFF2-40B4-BE49-F238E27FC236}">
                  <a16:creationId xmlns:a16="http://schemas.microsoft.com/office/drawing/2014/main" id="{77957A4E-EC9D-65F8-F4E8-4FB0A831E163}"/>
                </a:ext>
              </a:extLst>
            </p:cNvPr>
            <p:cNvSpPr/>
            <p:nvPr/>
          </p:nvSpPr>
          <p:spPr>
            <a:xfrm>
              <a:off x="8236977" y="1023359"/>
              <a:ext cx="1843956" cy="301766"/>
            </a:xfrm>
            <a:prstGeom prst="roundRect">
              <a:avLst>
                <a:gd name="adj" fmla="val 50000"/>
              </a:avLst>
            </a:prstGeom>
            <a:solidFill>
              <a:schemeClr val="accent4">
                <a:lumMod val="75000"/>
              </a:schemeClr>
            </a:solidFill>
            <a:ln>
              <a:noFill/>
            </a:ln>
          </p:spPr>
          <p:txBody>
            <a:bodyPr spcFirstLastPara="1" wrap="square" lIns="91425" tIns="91425" rIns="91425" bIns="91425" anchor="ctr" anchorCtr="0">
              <a:noAutofit/>
            </a:bodyPr>
            <a:lstStyle/>
            <a:p>
              <a:r>
                <a:rPr lang="fr-FR" sz="1200" b="1">
                  <a:solidFill>
                    <a:schemeClr val="lt1"/>
                  </a:solidFill>
                  <a:latin typeface="+mj-lt"/>
                  <a:ea typeface="Fira Sans Extra Condensed"/>
                  <a:cs typeface="Fira Sans Extra Condensed"/>
                  <a:sym typeface="Fira Sans Extra Condensed"/>
                </a:rPr>
                <a:t> </a:t>
              </a:r>
              <a:r>
                <a:rPr lang="fr-FR" sz="1200" b="1" err="1">
                  <a:solidFill>
                    <a:schemeClr val="lt1"/>
                  </a:solidFill>
                  <a:latin typeface="+mj-lt"/>
                  <a:ea typeface="Fira Sans Extra Condensed"/>
                  <a:cs typeface="Fira Sans Extra Condensed"/>
                  <a:sym typeface="Fira Sans Extra Condensed"/>
                </a:rPr>
                <a:t>Improve</a:t>
              </a:r>
              <a:endParaRPr lang="fr-FR" sz="1200" b="1">
                <a:solidFill>
                  <a:schemeClr val="lt1"/>
                </a:solidFill>
                <a:latin typeface="+mj-lt"/>
                <a:ea typeface="Fira Sans Extra Condensed"/>
                <a:cs typeface="Fira Sans Extra Condensed"/>
                <a:sym typeface="Fira Sans Extra Condensed"/>
              </a:endParaRPr>
            </a:p>
          </p:txBody>
        </p:sp>
        <p:grpSp>
          <p:nvGrpSpPr>
            <p:cNvPr id="26" name="Google Shape;435;p37">
              <a:extLst>
                <a:ext uri="{FF2B5EF4-FFF2-40B4-BE49-F238E27FC236}">
                  <a16:creationId xmlns:a16="http://schemas.microsoft.com/office/drawing/2014/main" id="{27DE2AE8-220F-BB17-3D86-0ACFAEBA0B26}"/>
                </a:ext>
              </a:extLst>
            </p:cNvPr>
            <p:cNvGrpSpPr>
              <a:grpSpLocks noChangeAspect="1"/>
            </p:cNvGrpSpPr>
            <p:nvPr/>
          </p:nvGrpSpPr>
          <p:grpSpPr>
            <a:xfrm>
              <a:off x="9712842" y="1077752"/>
              <a:ext cx="181248" cy="195651"/>
              <a:chOff x="3357325" y="2093500"/>
              <a:chExt cx="311525" cy="322825"/>
            </a:xfrm>
            <a:solidFill>
              <a:schemeClr val="bg1"/>
            </a:solidFill>
          </p:grpSpPr>
          <p:sp>
            <p:nvSpPr>
              <p:cNvPr id="27" name="Google Shape;436;p37">
                <a:extLst>
                  <a:ext uri="{FF2B5EF4-FFF2-40B4-BE49-F238E27FC236}">
                    <a16:creationId xmlns:a16="http://schemas.microsoft.com/office/drawing/2014/main" id="{8BC00808-10C1-F8A8-4014-D112D5558344}"/>
                  </a:ext>
                </a:extLst>
              </p:cNvPr>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8" name="Google Shape;437;p37">
                <a:extLst>
                  <a:ext uri="{FF2B5EF4-FFF2-40B4-BE49-F238E27FC236}">
                    <a16:creationId xmlns:a16="http://schemas.microsoft.com/office/drawing/2014/main" id="{DD2F1B7E-BA39-B270-B0C8-417365B53B8A}"/>
                  </a:ext>
                </a:extLst>
              </p:cNvPr>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9" name="Google Shape;438;p37">
                <a:extLst>
                  <a:ext uri="{FF2B5EF4-FFF2-40B4-BE49-F238E27FC236}">
                    <a16:creationId xmlns:a16="http://schemas.microsoft.com/office/drawing/2014/main" id="{F27DAF12-BF2A-4378-27B6-44AA07020126}"/>
                  </a:ext>
                </a:extLst>
              </p:cNvPr>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grpSp>
        <p:nvGrpSpPr>
          <p:cNvPr id="53" name="Groupe 52">
            <a:extLst>
              <a:ext uri="{FF2B5EF4-FFF2-40B4-BE49-F238E27FC236}">
                <a16:creationId xmlns:a16="http://schemas.microsoft.com/office/drawing/2014/main" id="{23B866E3-117D-9E02-14BD-2B8ACDDCF896}"/>
              </a:ext>
            </a:extLst>
          </p:cNvPr>
          <p:cNvGrpSpPr/>
          <p:nvPr/>
        </p:nvGrpSpPr>
        <p:grpSpPr>
          <a:xfrm>
            <a:off x="5987843" y="1269170"/>
            <a:ext cx="1843956" cy="301766"/>
            <a:chOff x="5989936" y="1023359"/>
            <a:chExt cx="1843956" cy="301766"/>
          </a:xfrm>
        </p:grpSpPr>
        <p:sp>
          <p:nvSpPr>
            <p:cNvPr id="20" name="Google Shape;453;p37">
              <a:extLst>
                <a:ext uri="{FF2B5EF4-FFF2-40B4-BE49-F238E27FC236}">
                  <a16:creationId xmlns:a16="http://schemas.microsoft.com/office/drawing/2014/main" id="{9CDFF9A3-5DB2-E57C-C788-928C71D11BBD}"/>
                </a:ext>
              </a:extLst>
            </p:cNvPr>
            <p:cNvSpPr/>
            <p:nvPr/>
          </p:nvSpPr>
          <p:spPr>
            <a:xfrm>
              <a:off x="5989936" y="1023359"/>
              <a:ext cx="1843956" cy="301766"/>
            </a:xfrm>
            <a:prstGeom prst="roundRect">
              <a:avLst>
                <a:gd name="adj" fmla="val 50000"/>
              </a:avLst>
            </a:prstGeom>
            <a:solidFill>
              <a:srgbClr val="006EB7"/>
            </a:solidFill>
            <a:ln>
              <a:noFill/>
            </a:ln>
          </p:spPr>
          <p:txBody>
            <a:bodyPr spcFirstLastPara="1" wrap="square" lIns="91425" tIns="91425" rIns="91425" bIns="91425" anchor="ctr" anchorCtr="0">
              <a:noAutofit/>
            </a:bodyPr>
            <a:lstStyle/>
            <a:p>
              <a:r>
                <a:rPr lang="fr-FR" sz="1200" b="1" err="1">
                  <a:solidFill>
                    <a:schemeClr val="lt1"/>
                  </a:solidFill>
                  <a:latin typeface="+mj-lt"/>
                  <a:ea typeface="Fira Sans Extra Condensed"/>
                  <a:cs typeface="Fira Sans Extra Condensed"/>
                  <a:sym typeface="Fira Sans Extra Condensed"/>
                </a:rPr>
                <a:t>Analyze</a:t>
              </a:r>
              <a:r>
                <a:rPr lang="fr-FR" sz="1200" b="1">
                  <a:solidFill>
                    <a:schemeClr val="lt1"/>
                  </a:solidFill>
                  <a:latin typeface="+mj-lt"/>
                  <a:ea typeface="Fira Sans Extra Condensed"/>
                  <a:cs typeface="Fira Sans Extra Condensed"/>
                  <a:sym typeface="Fira Sans Extra Condensed"/>
                </a:rPr>
                <a:t>/Analyser</a:t>
              </a:r>
            </a:p>
          </p:txBody>
        </p:sp>
        <p:grpSp>
          <p:nvGrpSpPr>
            <p:cNvPr id="21" name="Google Shape;432;p37">
              <a:extLst>
                <a:ext uri="{FF2B5EF4-FFF2-40B4-BE49-F238E27FC236}">
                  <a16:creationId xmlns:a16="http://schemas.microsoft.com/office/drawing/2014/main" id="{893460F1-D960-D984-468A-397D18AC44DB}"/>
                </a:ext>
              </a:extLst>
            </p:cNvPr>
            <p:cNvGrpSpPr>
              <a:grpSpLocks noChangeAspect="1"/>
            </p:cNvGrpSpPr>
            <p:nvPr/>
          </p:nvGrpSpPr>
          <p:grpSpPr>
            <a:xfrm>
              <a:off x="7564095" y="1077296"/>
              <a:ext cx="203642" cy="196200"/>
              <a:chOff x="5045500" y="842250"/>
              <a:chExt cx="503875" cy="481850"/>
            </a:xfrm>
            <a:solidFill>
              <a:schemeClr val="bg1"/>
            </a:solidFill>
          </p:grpSpPr>
          <p:sp>
            <p:nvSpPr>
              <p:cNvPr id="22" name="Google Shape;433;p37">
                <a:extLst>
                  <a:ext uri="{FF2B5EF4-FFF2-40B4-BE49-F238E27FC236}">
                    <a16:creationId xmlns:a16="http://schemas.microsoft.com/office/drawing/2014/main" id="{DB47CC2B-2A25-B365-4FA3-B42D674527AB}"/>
                  </a:ext>
                </a:extLst>
              </p:cNvPr>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3" name="Google Shape;434;p37">
                <a:extLst>
                  <a:ext uri="{FF2B5EF4-FFF2-40B4-BE49-F238E27FC236}">
                    <a16:creationId xmlns:a16="http://schemas.microsoft.com/office/drawing/2014/main" id="{D64DEE3A-C0C3-1319-55EF-79F2D50F95B1}"/>
                  </a:ext>
                </a:extLst>
              </p:cNvPr>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grpSp>
        <p:nvGrpSpPr>
          <p:cNvPr id="52" name="Groupe 51">
            <a:extLst>
              <a:ext uri="{FF2B5EF4-FFF2-40B4-BE49-F238E27FC236}">
                <a16:creationId xmlns:a16="http://schemas.microsoft.com/office/drawing/2014/main" id="{DE6BC5BB-77F3-40C8-CEE1-597DA3D5366E}"/>
              </a:ext>
            </a:extLst>
          </p:cNvPr>
          <p:cNvGrpSpPr/>
          <p:nvPr/>
        </p:nvGrpSpPr>
        <p:grpSpPr>
          <a:xfrm>
            <a:off x="8119384" y="1269170"/>
            <a:ext cx="1843956" cy="301766"/>
            <a:chOff x="8121477" y="1023359"/>
            <a:chExt cx="1843956" cy="301766"/>
          </a:xfrm>
        </p:grpSpPr>
        <p:sp>
          <p:nvSpPr>
            <p:cNvPr id="16" name="Google Shape;457;p37">
              <a:extLst>
                <a:ext uri="{FF2B5EF4-FFF2-40B4-BE49-F238E27FC236}">
                  <a16:creationId xmlns:a16="http://schemas.microsoft.com/office/drawing/2014/main" id="{77957A4E-EC9D-65F8-F4E8-4FB0A831E163}"/>
                </a:ext>
              </a:extLst>
            </p:cNvPr>
            <p:cNvSpPr/>
            <p:nvPr/>
          </p:nvSpPr>
          <p:spPr>
            <a:xfrm>
              <a:off x="8121477" y="1023359"/>
              <a:ext cx="1843956" cy="301766"/>
            </a:xfrm>
            <a:prstGeom prst="roundRect">
              <a:avLst>
                <a:gd name="adj" fmla="val 50000"/>
              </a:avLst>
            </a:prstGeom>
            <a:solidFill>
              <a:schemeClr val="accent4">
                <a:lumMod val="75000"/>
              </a:schemeClr>
            </a:solidFill>
            <a:ln>
              <a:noFill/>
            </a:ln>
          </p:spPr>
          <p:txBody>
            <a:bodyPr spcFirstLastPara="1" wrap="square" lIns="91425" tIns="91425" rIns="91425" bIns="91425" anchor="ctr" anchorCtr="0">
              <a:noAutofit/>
            </a:bodyPr>
            <a:lstStyle/>
            <a:p>
              <a:r>
                <a:rPr lang="fr-FR" sz="1200" b="1">
                  <a:solidFill>
                    <a:schemeClr val="lt1"/>
                  </a:solidFill>
                  <a:latin typeface="+mj-lt"/>
                  <a:ea typeface="Fira Sans Extra Condensed"/>
                  <a:cs typeface="Fira Sans Extra Condensed"/>
                  <a:sym typeface="Fira Sans Extra Condensed"/>
                </a:rPr>
                <a:t> </a:t>
              </a:r>
              <a:r>
                <a:rPr lang="fr-FR" sz="1200" b="1" err="1">
                  <a:solidFill>
                    <a:schemeClr val="lt1"/>
                  </a:solidFill>
                  <a:latin typeface="+mj-lt"/>
                  <a:ea typeface="Fira Sans Extra Condensed"/>
                  <a:cs typeface="Fira Sans Extra Condensed"/>
                  <a:sym typeface="Fira Sans Extra Condensed"/>
                </a:rPr>
                <a:t>Improve</a:t>
              </a:r>
              <a:r>
                <a:rPr lang="fr-FR" sz="1200" b="1">
                  <a:solidFill>
                    <a:schemeClr val="lt1"/>
                  </a:solidFill>
                  <a:latin typeface="+mj-lt"/>
                  <a:ea typeface="Fira Sans Extra Condensed"/>
                  <a:cs typeface="Fira Sans Extra Condensed"/>
                  <a:sym typeface="Fira Sans Extra Condensed"/>
                </a:rPr>
                <a:t>/Améliorer</a:t>
              </a:r>
            </a:p>
          </p:txBody>
        </p:sp>
        <p:grpSp>
          <p:nvGrpSpPr>
            <p:cNvPr id="24" name="Google Shape;435;p37">
              <a:extLst>
                <a:ext uri="{FF2B5EF4-FFF2-40B4-BE49-F238E27FC236}">
                  <a16:creationId xmlns:a16="http://schemas.microsoft.com/office/drawing/2014/main" id="{27DE2AE8-220F-BB17-3D86-0ACFAEBA0B26}"/>
                </a:ext>
              </a:extLst>
            </p:cNvPr>
            <p:cNvGrpSpPr>
              <a:grpSpLocks noChangeAspect="1"/>
            </p:cNvGrpSpPr>
            <p:nvPr/>
          </p:nvGrpSpPr>
          <p:grpSpPr>
            <a:xfrm>
              <a:off x="9690472" y="1077752"/>
              <a:ext cx="181248" cy="195651"/>
              <a:chOff x="3357325" y="2093500"/>
              <a:chExt cx="311525" cy="322825"/>
            </a:xfrm>
            <a:solidFill>
              <a:schemeClr val="bg1"/>
            </a:solidFill>
          </p:grpSpPr>
          <p:sp>
            <p:nvSpPr>
              <p:cNvPr id="50" name="Google Shape;436;p37">
                <a:extLst>
                  <a:ext uri="{FF2B5EF4-FFF2-40B4-BE49-F238E27FC236}">
                    <a16:creationId xmlns:a16="http://schemas.microsoft.com/office/drawing/2014/main" id="{8BC00808-10C1-F8A8-4014-D112D5558344}"/>
                  </a:ext>
                </a:extLst>
              </p:cNvPr>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 name="Google Shape;437;p37">
                <a:extLst>
                  <a:ext uri="{FF2B5EF4-FFF2-40B4-BE49-F238E27FC236}">
                    <a16:creationId xmlns:a16="http://schemas.microsoft.com/office/drawing/2014/main" id="{DD2F1B7E-BA39-B270-B0C8-417365B53B8A}"/>
                  </a:ext>
                </a:extLst>
              </p:cNvPr>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 name="Google Shape;438;p37">
                <a:extLst>
                  <a:ext uri="{FF2B5EF4-FFF2-40B4-BE49-F238E27FC236}">
                    <a16:creationId xmlns:a16="http://schemas.microsoft.com/office/drawing/2014/main" id="{F27DAF12-BF2A-4378-27B6-44AA07020126}"/>
                  </a:ext>
                </a:extLst>
              </p:cNvPr>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sp>
        <p:nvSpPr>
          <p:cNvPr id="34" name="Rectangle 33">
            <a:extLst>
              <a:ext uri="{FF2B5EF4-FFF2-40B4-BE49-F238E27FC236}">
                <a16:creationId xmlns:a16="http://schemas.microsoft.com/office/drawing/2014/main" id="{809AC073-4534-E8C4-359B-5A8D3F7962DB}"/>
              </a:ext>
            </a:extLst>
          </p:cNvPr>
          <p:cNvSpPr/>
          <p:nvPr/>
        </p:nvSpPr>
        <p:spPr>
          <a:xfrm>
            <a:off x="8152767" y="3774197"/>
            <a:ext cx="1777191" cy="602329"/>
          </a:xfrm>
          <a:prstGeom prst="rect">
            <a:avLst/>
          </a:prstGeom>
          <a:solidFill>
            <a:srgbClr val="DAF6F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accent4">
                    <a:lumMod val="75000"/>
                  </a:schemeClr>
                </a:solidFill>
              </a:rPr>
              <a:t>Etablir la </a:t>
            </a:r>
            <a:r>
              <a:rPr lang="fr-FR" sz="1000" b="1">
                <a:solidFill>
                  <a:schemeClr val="accent4">
                    <a:lumMod val="75000"/>
                  </a:schemeClr>
                </a:solidFill>
              </a:rPr>
              <a:t>feuille de route</a:t>
            </a:r>
          </a:p>
        </p:txBody>
      </p:sp>
      <p:pic>
        <p:nvPicPr>
          <p:cNvPr id="35" name="Graphique 34" descr="Flèche vers la droite avec un remplissage uni">
            <a:extLst>
              <a:ext uri="{FF2B5EF4-FFF2-40B4-BE49-F238E27FC236}">
                <a16:creationId xmlns:a16="http://schemas.microsoft.com/office/drawing/2014/main" id="{631646A3-A603-9616-FAF3-9B9C7D1B87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8924480" y="3618135"/>
            <a:ext cx="162632" cy="187703"/>
          </a:xfrm>
          <a:prstGeom prst="rect">
            <a:avLst/>
          </a:prstGeom>
        </p:spPr>
      </p:pic>
      <p:sp>
        <p:nvSpPr>
          <p:cNvPr id="36" name="Rectangle 35">
            <a:extLst>
              <a:ext uri="{FF2B5EF4-FFF2-40B4-BE49-F238E27FC236}">
                <a16:creationId xmlns:a16="http://schemas.microsoft.com/office/drawing/2014/main" id="{DD3CE0EB-4326-C51E-2B37-5536700EC24D}"/>
              </a:ext>
            </a:extLst>
          </p:cNvPr>
          <p:cNvSpPr/>
          <p:nvPr/>
        </p:nvSpPr>
        <p:spPr>
          <a:xfrm>
            <a:off x="8152767" y="2938545"/>
            <a:ext cx="1777191" cy="725491"/>
          </a:xfrm>
          <a:prstGeom prst="rect">
            <a:avLst/>
          </a:prstGeom>
          <a:solidFill>
            <a:srgbClr val="DAF6F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a:solidFill>
                  <a:schemeClr val="accent4">
                    <a:lumMod val="75000"/>
                  </a:schemeClr>
                </a:solidFill>
              </a:rPr>
              <a:t>Prioriser </a:t>
            </a:r>
            <a:r>
              <a:rPr lang="fr-FR" sz="1000">
                <a:solidFill>
                  <a:schemeClr val="accent4">
                    <a:lumMod val="75000"/>
                  </a:schemeClr>
                </a:solidFill>
              </a:rPr>
              <a:t>les solutions en fonction de leur </a:t>
            </a:r>
            <a:r>
              <a:rPr lang="fr-FR" sz="1000" b="1">
                <a:solidFill>
                  <a:schemeClr val="accent4">
                    <a:lumMod val="75000"/>
                  </a:schemeClr>
                </a:solidFill>
              </a:rPr>
              <a:t>bénéfice </a:t>
            </a:r>
            <a:r>
              <a:rPr lang="fr-FR" sz="1000">
                <a:solidFill>
                  <a:schemeClr val="accent4">
                    <a:lumMod val="75000"/>
                  </a:schemeClr>
                </a:solidFill>
              </a:rPr>
              <a:t>vs. </a:t>
            </a:r>
            <a:r>
              <a:rPr lang="fr-FR" sz="1000" b="1">
                <a:solidFill>
                  <a:schemeClr val="accent4">
                    <a:lumMod val="75000"/>
                  </a:schemeClr>
                </a:solidFill>
              </a:rPr>
              <a:t>coût </a:t>
            </a:r>
            <a:r>
              <a:rPr lang="fr-FR" sz="1000">
                <a:solidFill>
                  <a:schemeClr val="accent4">
                    <a:lumMod val="75000"/>
                  </a:schemeClr>
                </a:solidFill>
              </a:rPr>
              <a:t>de mise en œuvre et </a:t>
            </a:r>
            <a:r>
              <a:rPr lang="fr-FR" sz="1000" b="1">
                <a:solidFill>
                  <a:schemeClr val="accent4">
                    <a:lumMod val="75000"/>
                  </a:schemeClr>
                </a:solidFill>
              </a:rPr>
              <a:t>effort</a:t>
            </a:r>
          </a:p>
        </p:txBody>
      </p:sp>
      <p:pic>
        <p:nvPicPr>
          <p:cNvPr id="37" name="Graphique 36" descr="Flèche vers la droite avec un remplissage uni">
            <a:extLst>
              <a:ext uri="{FF2B5EF4-FFF2-40B4-BE49-F238E27FC236}">
                <a16:creationId xmlns:a16="http://schemas.microsoft.com/office/drawing/2014/main" id="{8FAD8B4C-030F-F6CD-6E7B-43D211E3BFC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400000">
            <a:off x="8919261" y="2783827"/>
            <a:ext cx="173073" cy="187703"/>
          </a:xfrm>
          <a:prstGeom prst="rect">
            <a:avLst/>
          </a:prstGeom>
        </p:spPr>
      </p:pic>
      <p:sp>
        <p:nvSpPr>
          <p:cNvPr id="38" name="Rectangle 37">
            <a:extLst>
              <a:ext uri="{FF2B5EF4-FFF2-40B4-BE49-F238E27FC236}">
                <a16:creationId xmlns:a16="http://schemas.microsoft.com/office/drawing/2014/main" id="{EFDC0631-94A8-13B0-F79E-B68238108860}"/>
              </a:ext>
            </a:extLst>
          </p:cNvPr>
          <p:cNvSpPr/>
          <p:nvPr/>
        </p:nvSpPr>
        <p:spPr>
          <a:xfrm>
            <a:off x="6026616" y="3771225"/>
            <a:ext cx="1777191" cy="602329"/>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a:solidFill>
                  <a:srgbClr val="006EB7"/>
                </a:solidFill>
              </a:rPr>
              <a:t>Prioriser</a:t>
            </a:r>
            <a:r>
              <a:rPr lang="fr-FR" sz="1000">
                <a:solidFill>
                  <a:srgbClr val="006EB7"/>
                </a:solidFill>
              </a:rPr>
              <a:t> les causes racines à éliminer</a:t>
            </a:r>
          </a:p>
        </p:txBody>
      </p:sp>
      <p:pic>
        <p:nvPicPr>
          <p:cNvPr id="39" name="Graphique 38" descr="Flèche vers la droite avec un remplissage uni">
            <a:extLst>
              <a:ext uri="{FF2B5EF4-FFF2-40B4-BE49-F238E27FC236}">
                <a16:creationId xmlns:a16="http://schemas.microsoft.com/office/drawing/2014/main" id="{DB615E3C-5BE9-7205-A9D0-C24D590306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a:off x="6833895" y="3605435"/>
            <a:ext cx="162632" cy="187703"/>
          </a:xfrm>
          <a:prstGeom prst="rect">
            <a:avLst/>
          </a:prstGeom>
        </p:spPr>
      </p:pic>
      <p:sp>
        <p:nvSpPr>
          <p:cNvPr id="40" name="Rectangle 39">
            <a:extLst>
              <a:ext uri="{FF2B5EF4-FFF2-40B4-BE49-F238E27FC236}">
                <a16:creationId xmlns:a16="http://schemas.microsoft.com/office/drawing/2014/main" id="{4CB9F329-7F57-CE25-0D7C-0F6F4B6820A0}"/>
              </a:ext>
            </a:extLst>
          </p:cNvPr>
          <p:cNvSpPr/>
          <p:nvPr/>
        </p:nvSpPr>
        <p:spPr>
          <a:xfrm>
            <a:off x="1727591" y="2953498"/>
            <a:ext cx="1777191" cy="725491"/>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Valider le périmètre des processus à traiter et l’effort</a:t>
            </a:r>
          </a:p>
        </p:txBody>
      </p:sp>
      <p:sp>
        <p:nvSpPr>
          <p:cNvPr id="41" name="Rectangle 40">
            <a:extLst>
              <a:ext uri="{FF2B5EF4-FFF2-40B4-BE49-F238E27FC236}">
                <a16:creationId xmlns:a16="http://schemas.microsoft.com/office/drawing/2014/main" id="{1A19A625-D4D6-E388-08EE-3C3EEA3CFDEC}"/>
              </a:ext>
            </a:extLst>
          </p:cNvPr>
          <p:cNvSpPr/>
          <p:nvPr/>
        </p:nvSpPr>
        <p:spPr>
          <a:xfrm>
            <a:off x="3859605" y="2953498"/>
            <a:ext cx="1777191" cy="725491"/>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a:solidFill>
                  <a:srgbClr val="006EB7"/>
                </a:solidFill>
              </a:rPr>
              <a:t>Modéliser</a:t>
            </a:r>
            <a:r>
              <a:rPr lang="fr-FR" sz="1000">
                <a:solidFill>
                  <a:srgbClr val="006EB7"/>
                </a:solidFill>
              </a:rPr>
              <a:t> les processus et identifier les </a:t>
            </a:r>
            <a:r>
              <a:rPr lang="fr-FR" sz="1000" b="1">
                <a:solidFill>
                  <a:srgbClr val="006EB7"/>
                </a:solidFill>
              </a:rPr>
              <a:t>dysfonctionnements </a:t>
            </a:r>
            <a:r>
              <a:rPr lang="fr-FR" sz="1000">
                <a:solidFill>
                  <a:srgbClr val="006EB7"/>
                </a:solidFill>
              </a:rPr>
              <a:t>et</a:t>
            </a:r>
            <a:r>
              <a:rPr lang="fr-FR" sz="1000" b="1">
                <a:solidFill>
                  <a:srgbClr val="006EB7"/>
                </a:solidFill>
              </a:rPr>
              <a:t> axes d’amélioration</a:t>
            </a:r>
          </a:p>
        </p:txBody>
      </p:sp>
      <p:sp>
        <p:nvSpPr>
          <p:cNvPr id="42" name="Rectangle 41">
            <a:extLst>
              <a:ext uri="{FF2B5EF4-FFF2-40B4-BE49-F238E27FC236}">
                <a16:creationId xmlns:a16="http://schemas.microsoft.com/office/drawing/2014/main" id="{F87B811E-8B1E-9B29-55A7-FCE2A7610A54}"/>
              </a:ext>
            </a:extLst>
          </p:cNvPr>
          <p:cNvSpPr/>
          <p:nvPr/>
        </p:nvSpPr>
        <p:spPr>
          <a:xfrm>
            <a:off x="8152767" y="2102893"/>
            <a:ext cx="1777191" cy="725491"/>
          </a:xfrm>
          <a:prstGeom prst="rect">
            <a:avLst/>
          </a:prstGeom>
          <a:solidFill>
            <a:srgbClr val="DAF6F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accent4">
                    <a:lumMod val="75000"/>
                  </a:schemeClr>
                </a:solidFill>
              </a:rPr>
              <a:t>Identifier les </a:t>
            </a:r>
            <a:r>
              <a:rPr lang="fr-FR" sz="1000" b="1">
                <a:solidFill>
                  <a:schemeClr val="accent4">
                    <a:lumMod val="75000"/>
                  </a:schemeClr>
                </a:solidFill>
              </a:rPr>
              <a:t>solutions</a:t>
            </a:r>
            <a:r>
              <a:rPr lang="fr-FR" sz="1000">
                <a:solidFill>
                  <a:schemeClr val="accent4">
                    <a:lumMod val="75000"/>
                  </a:schemeClr>
                </a:solidFill>
              </a:rPr>
              <a:t> pour éliminer les causes racines ou mettre en œuvre des améliorations</a:t>
            </a:r>
          </a:p>
        </p:txBody>
      </p:sp>
      <p:pic>
        <p:nvPicPr>
          <p:cNvPr id="43" name="Graphique 42" descr="Flèche vers la droite avec un remplissage uni">
            <a:extLst>
              <a:ext uri="{FF2B5EF4-FFF2-40B4-BE49-F238E27FC236}">
                <a16:creationId xmlns:a16="http://schemas.microsoft.com/office/drawing/2014/main" id="{D59127CE-C7B4-BA2C-4767-DF2A3B8BD2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2529650" y="2789068"/>
            <a:ext cx="173073" cy="187703"/>
          </a:xfrm>
          <a:prstGeom prst="rect">
            <a:avLst/>
          </a:prstGeom>
        </p:spPr>
      </p:pic>
      <p:sp>
        <p:nvSpPr>
          <p:cNvPr id="44" name="Rectangle 43">
            <a:extLst>
              <a:ext uri="{FF2B5EF4-FFF2-40B4-BE49-F238E27FC236}">
                <a16:creationId xmlns:a16="http://schemas.microsoft.com/office/drawing/2014/main" id="{086EC9FA-CD82-C349-9867-C2CFBA9CDAC1}"/>
              </a:ext>
            </a:extLst>
          </p:cNvPr>
          <p:cNvSpPr/>
          <p:nvPr/>
        </p:nvSpPr>
        <p:spPr>
          <a:xfrm>
            <a:off x="6026616" y="2935295"/>
            <a:ext cx="1777191" cy="725491"/>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a:solidFill>
                  <a:srgbClr val="006EB7"/>
                </a:solidFill>
              </a:rPr>
              <a:t>Catégoriser</a:t>
            </a:r>
            <a:r>
              <a:rPr lang="fr-FR" sz="1000">
                <a:solidFill>
                  <a:srgbClr val="006EB7"/>
                </a:solidFill>
              </a:rPr>
              <a:t> ces causes racines autour de 5 axes </a:t>
            </a:r>
            <a:r>
              <a:rPr lang="fr-FR" sz="800">
                <a:solidFill>
                  <a:srgbClr val="006EB7"/>
                </a:solidFill>
              </a:rPr>
              <a:t>(contexte, méthode, objet du processus, savoir-faire, gouvernance)</a:t>
            </a:r>
          </a:p>
        </p:txBody>
      </p:sp>
      <p:sp>
        <p:nvSpPr>
          <p:cNvPr id="45" name="Rectangle 44">
            <a:extLst>
              <a:ext uri="{FF2B5EF4-FFF2-40B4-BE49-F238E27FC236}">
                <a16:creationId xmlns:a16="http://schemas.microsoft.com/office/drawing/2014/main" id="{E392A34E-1220-79C0-979B-B06F080A8FD5}"/>
              </a:ext>
            </a:extLst>
          </p:cNvPr>
          <p:cNvSpPr/>
          <p:nvPr/>
        </p:nvSpPr>
        <p:spPr>
          <a:xfrm>
            <a:off x="1727591" y="2099367"/>
            <a:ext cx="1777191" cy="725491"/>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Analyser les </a:t>
            </a:r>
            <a:r>
              <a:rPr lang="fr-FR" sz="1000" b="1">
                <a:solidFill>
                  <a:srgbClr val="006EB7"/>
                </a:solidFill>
              </a:rPr>
              <a:t>volumétries</a:t>
            </a:r>
            <a:r>
              <a:rPr lang="fr-FR" sz="1000">
                <a:solidFill>
                  <a:srgbClr val="006EB7"/>
                </a:solidFill>
              </a:rPr>
              <a:t> (actes, coûts...) pour </a:t>
            </a:r>
            <a:r>
              <a:rPr lang="fr-FR" sz="1000" b="1">
                <a:solidFill>
                  <a:srgbClr val="006EB7"/>
                </a:solidFill>
              </a:rPr>
              <a:t>prioriser</a:t>
            </a:r>
            <a:r>
              <a:rPr lang="fr-FR" sz="1000">
                <a:solidFill>
                  <a:srgbClr val="006EB7"/>
                </a:solidFill>
              </a:rPr>
              <a:t> les processus à traiter</a:t>
            </a:r>
          </a:p>
        </p:txBody>
      </p:sp>
      <p:pic>
        <p:nvPicPr>
          <p:cNvPr id="46" name="Graphique 45" descr="Flèche vers la droite avec un remplissage uni">
            <a:extLst>
              <a:ext uri="{FF2B5EF4-FFF2-40B4-BE49-F238E27FC236}">
                <a16:creationId xmlns:a16="http://schemas.microsoft.com/office/drawing/2014/main" id="{6EBD83C9-F1E1-1097-793A-7AEEBABFF20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5400000">
            <a:off x="4661663" y="2783827"/>
            <a:ext cx="173073" cy="187703"/>
          </a:xfrm>
          <a:prstGeom prst="rect">
            <a:avLst/>
          </a:prstGeom>
        </p:spPr>
      </p:pic>
      <p:sp>
        <p:nvSpPr>
          <p:cNvPr id="47" name="Rectangle 46">
            <a:extLst>
              <a:ext uri="{FF2B5EF4-FFF2-40B4-BE49-F238E27FC236}">
                <a16:creationId xmlns:a16="http://schemas.microsoft.com/office/drawing/2014/main" id="{7C2C944A-ACD3-2C3F-D050-B49F98F81DC8}"/>
              </a:ext>
            </a:extLst>
          </p:cNvPr>
          <p:cNvSpPr/>
          <p:nvPr/>
        </p:nvSpPr>
        <p:spPr>
          <a:xfrm>
            <a:off x="3859605" y="2099367"/>
            <a:ext cx="1777191" cy="725491"/>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Réunir l’</a:t>
            </a:r>
            <a:r>
              <a:rPr lang="fr-FR" sz="1000" b="1">
                <a:solidFill>
                  <a:srgbClr val="006EB7"/>
                </a:solidFill>
              </a:rPr>
              <a:t>ensemble des acteurs d’un processus </a:t>
            </a:r>
            <a:r>
              <a:rPr lang="fr-FR" sz="1000">
                <a:solidFill>
                  <a:srgbClr val="006EB7"/>
                </a:solidFill>
              </a:rPr>
              <a:t>pour le comprendre</a:t>
            </a:r>
          </a:p>
        </p:txBody>
      </p:sp>
      <p:pic>
        <p:nvPicPr>
          <p:cNvPr id="48" name="Graphique 47" descr="Flèche vers la droite avec un remplissage uni">
            <a:extLst>
              <a:ext uri="{FF2B5EF4-FFF2-40B4-BE49-F238E27FC236}">
                <a16:creationId xmlns:a16="http://schemas.microsoft.com/office/drawing/2014/main" id="{D87BB791-4817-FB5B-2613-2434C3DDF4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5400000">
            <a:off x="6828675" y="2783827"/>
            <a:ext cx="173073" cy="187703"/>
          </a:xfrm>
          <a:prstGeom prst="rect">
            <a:avLst/>
          </a:prstGeom>
        </p:spPr>
      </p:pic>
      <p:sp>
        <p:nvSpPr>
          <p:cNvPr id="49" name="Rectangle 48">
            <a:extLst>
              <a:ext uri="{FF2B5EF4-FFF2-40B4-BE49-F238E27FC236}">
                <a16:creationId xmlns:a16="http://schemas.microsoft.com/office/drawing/2014/main" id="{B80487FF-BAA5-3979-B3C8-7438995399D7}"/>
              </a:ext>
            </a:extLst>
          </p:cNvPr>
          <p:cNvSpPr/>
          <p:nvPr/>
        </p:nvSpPr>
        <p:spPr>
          <a:xfrm>
            <a:off x="6026616" y="2099367"/>
            <a:ext cx="1777191" cy="725491"/>
          </a:xfrm>
          <a:prstGeom prst="rect">
            <a:avLst/>
          </a:prstGeom>
          <a:solidFill>
            <a:srgbClr val="D9F0F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Déterminer les </a:t>
            </a:r>
            <a:r>
              <a:rPr lang="fr-FR" sz="1000" b="1">
                <a:solidFill>
                  <a:srgbClr val="006EB7"/>
                </a:solidFill>
              </a:rPr>
              <a:t>causes racines</a:t>
            </a:r>
            <a:r>
              <a:rPr lang="fr-FR" sz="1000">
                <a:solidFill>
                  <a:srgbClr val="006EB7"/>
                </a:solidFill>
              </a:rPr>
              <a:t> des dysfonctionnements</a:t>
            </a:r>
          </a:p>
        </p:txBody>
      </p:sp>
      <p:sp>
        <p:nvSpPr>
          <p:cNvPr id="51" name="Google Shape;457;p37">
            <a:extLst>
              <a:ext uri="{FF2B5EF4-FFF2-40B4-BE49-F238E27FC236}">
                <a16:creationId xmlns:a16="http://schemas.microsoft.com/office/drawing/2014/main" id="{A7E03E88-E3F3-616B-BFC0-C5E82F19EFE8}"/>
              </a:ext>
            </a:extLst>
          </p:cNvPr>
          <p:cNvSpPr/>
          <p:nvPr/>
        </p:nvSpPr>
        <p:spPr>
          <a:xfrm>
            <a:off x="10201202" y="1269170"/>
            <a:ext cx="1843200" cy="301766"/>
          </a:xfrm>
          <a:prstGeom prst="roundRect">
            <a:avLst>
              <a:gd name="adj" fmla="val 50000"/>
            </a:avLst>
          </a:prstGeom>
          <a:solidFill>
            <a:schemeClr val="bg1">
              <a:lumMod val="75000"/>
            </a:schemeClr>
          </a:solidFill>
          <a:ln>
            <a:noFill/>
          </a:ln>
        </p:spPr>
        <p:txBody>
          <a:bodyPr spcFirstLastPara="1" wrap="square" lIns="91425" tIns="91425" rIns="91425" bIns="91425" anchor="ctr" anchorCtr="0">
            <a:noAutofit/>
          </a:bodyPr>
          <a:lstStyle/>
          <a:p>
            <a:r>
              <a:rPr lang="fr-FR" sz="1200" b="1">
                <a:solidFill>
                  <a:schemeClr val="lt1"/>
                </a:solidFill>
                <a:latin typeface="+mj-lt"/>
                <a:ea typeface="Fira Sans Extra Condensed"/>
                <a:cs typeface="Fira Sans Extra Condensed"/>
                <a:sym typeface="Fira Sans Extra Condensed"/>
              </a:rPr>
              <a:t>Control/Contrôler</a:t>
            </a:r>
          </a:p>
        </p:txBody>
      </p:sp>
      <p:sp>
        <p:nvSpPr>
          <p:cNvPr id="30" name="Rectangle 29">
            <a:extLst>
              <a:ext uri="{FF2B5EF4-FFF2-40B4-BE49-F238E27FC236}">
                <a16:creationId xmlns:a16="http://schemas.microsoft.com/office/drawing/2014/main" id="{0962B402-C341-6FAE-CCAB-68B00BAB4363}"/>
              </a:ext>
            </a:extLst>
          </p:cNvPr>
          <p:cNvSpPr/>
          <p:nvPr/>
        </p:nvSpPr>
        <p:spPr>
          <a:xfrm>
            <a:off x="3860851" y="1638391"/>
            <a:ext cx="1777191" cy="3970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Décrire les processus et identifier leurs dysfonctionnements</a:t>
            </a:r>
            <a:endParaRPr lang="fr-FR" sz="1000" strike="sngStrike">
              <a:solidFill>
                <a:srgbClr val="006EB7"/>
              </a:solidFill>
            </a:endParaRPr>
          </a:p>
        </p:txBody>
      </p:sp>
      <p:sp>
        <p:nvSpPr>
          <p:cNvPr id="31" name="Rectangle 30">
            <a:extLst>
              <a:ext uri="{FF2B5EF4-FFF2-40B4-BE49-F238E27FC236}">
                <a16:creationId xmlns:a16="http://schemas.microsoft.com/office/drawing/2014/main" id="{907877DA-B8AC-6315-0CFB-B379DEBF2EDF}"/>
              </a:ext>
            </a:extLst>
          </p:cNvPr>
          <p:cNvSpPr/>
          <p:nvPr/>
        </p:nvSpPr>
        <p:spPr>
          <a:xfrm>
            <a:off x="1753777" y="1638391"/>
            <a:ext cx="1777191" cy="3970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Définir l’objectif prioritaire</a:t>
            </a:r>
          </a:p>
        </p:txBody>
      </p:sp>
      <p:sp>
        <p:nvSpPr>
          <p:cNvPr id="32" name="Rectangle 31">
            <a:extLst>
              <a:ext uri="{FF2B5EF4-FFF2-40B4-BE49-F238E27FC236}">
                <a16:creationId xmlns:a16="http://schemas.microsoft.com/office/drawing/2014/main" id="{2A0ECAAA-D70E-775F-B242-2912A3BCFBC1}"/>
              </a:ext>
            </a:extLst>
          </p:cNvPr>
          <p:cNvSpPr/>
          <p:nvPr/>
        </p:nvSpPr>
        <p:spPr>
          <a:xfrm>
            <a:off x="6024150" y="1638391"/>
            <a:ext cx="1777191" cy="3970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rgbClr val="006EB7"/>
                </a:solidFill>
              </a:rPr>
              <a:t>Identifier les causes des dysfonctionnements</a:t>
            </a:r>
          </a:p>
        </p:txBody>
      </p:sp>
      <p:sp>
        <p:nvSpPr>
          <p:cNvPr id="33" name="Rectangle 32">
            <a:extLst>
              <a:ext uri="{FF2B5EF4-FFF2-40B4-BE49-F238E27FC236}">
                <a16:creationId xmlns:a16="http://schemas.microsoft.com/office/drawing/2014/main" id="{0739FABB-25BF-B66E-45D2-BC26FDD7028F}"/>
              </a:ext>
            </a:extLst>
          </p:cNvPr>
          <p:cNvSpPr/>
          <p:nvPr/>
        </p:nvSpPr>
        <p:spPr>
          <a:xfrm>
            <a:off x="8152767" y="1638391"/>
            <a:ext cx="1777191" cy="3970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accent4">
                    <a:lumMod val="75000"/>
                  </a:schemeClr>
                </a:solidFill>
              </a:rPr>
              <a:t>Définir la feuille de route d’amélioration</a:t>
            </a:r>
          </a:p>
        </p:txBody>
      </p:sp>
      <p:sp>
        <p:nvSpPr>
          <p:cNvPr id="56" name="Rectangle 55">
            <a:extLst>
              <a:ext uri="{FF2B5EF4-FFF2-40B4-BE49-F238E27FC236}">
                <a16:creationId xmlns:a16="http://schemas.microsoft.com/office/drawing/2014/main" id="{6244A080-F6C0-D5A7-FF59-398E5E9AE31D}"/>
              </a:ext>
            </a:extLst>
          </p:cNvPr>
          <p:cNvSpPr/>
          <p:nvPr/>
        </p:nvSpPr>
        <p:spPr>
          <a:xfrm>
            <a:off x="10234585" y="1638391"/>
            <a:ext cx="1740633" cy="3970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tx1">
                    <a:lumMod val="50000"/>
                    <a:lumOff val="50000"/>
                  </a:schemeClr>
                </a:solidFill>
              </a:rPr>
              <a:t>Déployer la roadmap</a:t>
            </a:r>
          </a:p>
        </p:txBody>
      </p:sp>
      <p:grpSp>
        <p:nvGrpSpPr>
          <p:cNvPr id="92" name="Groupe 91">
            <a:extLst>
              <a:ext uri="{FF2B5EF4-FFF2-40B4-BE49-F238E27FC236}">
                <a16:creationId xmlns:a16="http://schemas.microsoft.com/office/drawing/2014/main" id="{6E800482-1185-B823-1BD1-41191DB2D5F9}"/>
              </a:ext>
            </a:extLst>
          </p:cNvPr>
          <p:cNvGrpSpPr/>
          <p:nvPr/>
        </p:nvGrpSpPr>
        <p:grpSpPr>
          <a:xfrm>
            <a:off x="396031" y="4995335"/>
            <a:ext cx="1151212" cy="1528187"/>
            <a:chOff x="394032" y="5115187"/>
            <a:chExt cx="1439395" cy="1114961"/>
          </a:xfrm>
        </p:grpSpPr>
        <p:grpSp>
          <p:nvGrpSpPr>
            <p:cNvPr id="91" name="Groupe 90">
              <a:extLst>
                <a:ext uri="{FF2B5EF4-FFF2-40B4-BE49-F238E27FC236}">
                  <a16:creationId xmlns:a16="http://schemas.microsoft.com/office/drawing/2014/main" id="{3B08F949-1418-42BB-D5F2-C8B2E71DAC8D}"/>
                </a:ext>
              </a:extLst>
            </p:cNvPr>
            <p:cNvGrpSpPr/>
            <p:nvPr/>
          </p:nvGrpSpPr>
          <p:grpSpPr>
            <a:xfrm>
              <a:off x="396650" y="5115187"/>
              <a:ext cx="1434159" cy="1114961"/>
              <a:chOff x="394033" y="5115187"/>
              <a:chExt cx="1434159" cy="1114961"/>
            </a:xfrm>
          </p:grpSpPr>
          <p:sp>
            <p:nvSpPr>
              <p:cNvPr id="88" name="Rectangle 87">
                <a:extLst>
                  <a:ext uri="{FF2B5EF4-FFF2-40B4-BE49-F238E27FC236}">
                    <a16:creationId xmlns:a16="http://schemas.microsoft.com/office/drawing/2014/main" id="{69A05DA4-3FED-9468-820A-756E2F420840}"/>
                  </a:ext>
                </a:extLst>
              </p:cNvPr>
              <p:cNvSpPr/>
              <p:nvPr/>
            </p:nvSpPr>
            <p:spPr>
              <a:xfrm>
                <a:off x="394714" y="5467148"/>
                <a:ext cx="1432800" cy="760397"/>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Flèche : chevron 5">
                <a:extLst>
                  <a:ext uri="{FF2B5EF4-FFF2-40B4-BE49-F238E27FC236}">
                    <a16:creationId xmlns:a16="http://schemas.microsoft.com/office/drawing/2014/main" id="{D7DCCC00-8445-82A3-3BDA-78A7A5C0905C}"/>
                  </a:ext>
                </a:extLst>
              </p:cNvPr>
              <p:cNvSpPr/>
              <p:nvPr/>
            </p:nvSpPr>
            <p:spPr>
              <a:xfrm rot="5400000">
                <a:off x="553632" y="4955588"/>
                <a:ext cx="1114961" cy="1434159"/>
              </a:xfrm>
              <a:prstGeom prst="chevron">
                <a:avLst>
                  <a:gd name="adj" fmla="val 21360"/>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fr-FR" sz="1200" b="1">
                  <a:solidFill>
                    <a:schemeClr val="bg2"/>
                  </a:solidFill>
                </a:endParaRPr>
              </a:p>
            </p:txBody>
          </p:sp>
        </p:grpSp>
        <p:sp>
          <p:nvSpPr>
            <p:cNvPr id="90" name="ZoneTexte 89">
              <a:extLst>
                <a:ext uri="{FF2B5EF4-FFF2-40B4-BE49-F238E27FC236}">
                  <a16:creationId xmlns:a16="http://schemas.microsoft.com/office/drawing/2014/main" id="{5088D74A-31DB-7850-551C-85E62264BBC3}"/>
                </a:ext>
              </a:extLst>
            </p:cNvPr>
            <p:cNvSpPr txBox="1"/>
            <p:nvPr/>
          </p:nvSpPr>
          <p:spPr>
            <a:xfrm>
              <a:off x="394032" y="5558190"/>
              <a:ext cx="1439395" cy="436885"/>
            </a:xfrm>
            <a:prstGeom prst="rect">
              <a:avLst/>
            </a:prstGeom>
            <a:noFill/>
          </p:spPr>
          <p:txBody>
            <a:bodyPr wrap="square">
              <a:spAutoFit/>
            </a:bodyPr>
            <a:lstStyle/>
            <a:p>
              <a:pPr algn="ctr"/>
              <a:r>
                <a:rPr lang="fr-FR" sz="1200" b="1">
                  <a:solidFill>
                    <a:schemeClr val="bg2"/>
                  </a:solidFill>
                </a:rPr>
                <a:t>Modalités</a:t>
              </a:r>
            </a:p>
          </p:txBody>
        </p:sp>
      </p:grpSp>
      <p:sp>
        <p:nvSpPr>
          <p:cNvPr id="93" name="Rectangle 92">
            <a:extLst>
              <a:ext uri="{FF2B5EF4-FFF2-40B4-BE49-F238E27FC236}">
                <a16:creationId xmlns:a16="http://schemas.microsoft.com/office/drawing/2014/main" id="{E68B604F-328C-D3E1-7AF3-AB31AE1ABB16}"/>
              </a:ext>
            </a:extLst>
          </p:cNvPr>
          <p:cNvSpPr/>
          <p:nvPr/>
        </p:nvSpPr>
        <p:spPr>
          <a:xfrm>
            <a:off x="10229222" y="2099367"/>
            <a:ext cx="1777191" cy="1561419"/>
          </a:xfrm>
          <a:prstGeom prst="rect">
            <a:avLst/>
          </a:prstGeom>
          <a:pattFill prst="wdUp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b="1">
                <a:solidFill>
                  <a:schemeClr val="bg1">
                    <a:lumMod val="50000"/>
                  </a:schemeClr>
                </a:solidFill>
              </a:rPr>
              <a:t>Hors périmètre mission</a:t>
            </a:r>
          </a:p>
        </p:txBody>
      </p:sp>
      <p:pic>
        <p:nvPicPr>
          <p:cNvPr id="87" name="Graphique 86" descr="Chronomètre 75% avec un remplissage uni">
            <a:extLst>
              <a:ext uri="{FF2B5EF4-FFF2-40B4-BE49-F238E27FC236}">
                <a16:creationId xmlns:a16="http://schemas.microsoft.com/office/drawing/2014/main" id="{F0D9A70F-80B4-B4D3-B940-1CD674B5A39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32517" y="5300811"/>
            <a:ext cx="250830" cy="250830"/>
          </a:xfrm>
          <a:prstGeom prst="rect">
            <a:avLst/>
          </a:prstGeom>
        </p:spPr>
      </p:pic>
      <p:pic>
        <p:nvPicPr>
          <p:cNvPr id="86" name="Graphique 85" descr="Chronomètre 50% avec un remplissage uni">
            <a:extLst>
              <a:ext uri="{FF2B5EF4-FFF2-40B4-BE49-F238E27FC236}">
                <a16:creationId xmlns:a16="http://schemas.microsoft.com/office/drawing/2014/main" id="{3583B20B-E534-8599-8010-6CCC5320E9C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32517" y="5548037"/>
            <a:ext cx="250830" cy="250830"/>
          </a:xfrm>
          <a:prstGeom prst="rect">
            <a:avLst/>
          </a:prstGeom>
        </p:spPr>
      </p:pic>
      <p:pic>
        <p:nvPicPr>
          <p:cNvPr id="83" name="Graphique 82" descr="Aléatoire avec un remplissage uni">
            <a:extLst>
              <a:ext uri="{FF2B5EF4-FFF2-40B4-BE49-F238E27FC236}">
                <a16:creationId xmlns:a16="http://schemas.microsoft.com/office/drawing/2014/main" id="{BAAE3A21-7983-7474-245B-761576455D1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55341" y="6272167"/>
            <a:ext cx="205183" cy="205183"/>
          </a:xfrm>
          <a:prstGeom prst="rect">
            <a:avLst/>
          </a:prstGeom>
        </p:spPr>
      </p:pic>
      <p:grpSp>
        <p:nvGrpSpPr>
          <p:cNvPr id="94" name="Groupe 93">
            <a:extLst>
              <a:ext uri="{FF2B5EF4-FFF2-40B4-BE49-F238E27FC236}">
                <a16:creationId xmlns:a16="http://schemas.microsoft.com/office/drawing/2014/main" id="{726B8469-C806-08B1-5AC0-FD61C7E4A89C}"/>
              </a:ext>
            </a:extLst>
          </p:cNvPr>
          <p:cNvGrpSpPr/>
          <p:nvPr/>
        </p:nvGrpSpPr>
        <p:grpSpPr>
          <a:xfrm>
            <a:off x="10255340" y="6032926"/>
            <a:ext cx="205184" cy="225491"/>
            <a:chOff x="4336460" y="5941706"/>
            <a:chExt cx="395935" cy="252005"/>
          </a:xfrm>
          <a:solidFill>
            <a:schemeClr val="tx1"/>
          </a:solidFill>
        </p:grpSpPr>
        <p:pic>
          <p:nvPicPr>
            <p:cNvPr id="95" name="Graphique 94" descr="Ligne fléchée : demi-tour vertical avec un remplissage uni">
              <a:extLst>
                <a:ext uri="{FF2B5EF4-FFF2-40B4-BE49-F238E27FC236}">
                  <a16:creationId xmlns:a16="http://schemas.microsoft.com/office/drawing/2014/main" id="{6B305342-243F-6A5F-B204-9BA0F355846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4480395" y="5941706"/>
              <a:ext cx="252000" cy="252000"/>
            </a:xfrm>
            <a:prstGeom prst="rect">
              <a:avLst/>
            </a:prstGeom>
          </p:spPr>
        </p:pic>
        <p:pic>
          <p:nvPicPr>
            <p:cNvPr id="96" name="Graphique 95" descr="Ligne fléchée : demi-tour vertical avec un remplissage uni">
              <a:extLst>
                <a:ext uri="{FF2B5EF4-FFF2-40B4-BE49-F238E27FC236}">
                  <a16:creationId xmlns:a16="http://schemas.microsoft.com/office/drawing/2014/main" id="{51D3B0BF-BB99-AA05-0E36-61E67DBE5EF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6200000">
              <a:off x="4336460" y="5941711"/>
              <a:ext cx="252000" cy="252000"/>
            </a:xfrm>
            <a:prstGeom prst="rect">
              <a:avLst/>
            </a:prstGeom>
          </p:spPr>
        </p:pic>
      </p:grpSp>
      <p:pic>
        <p:nvPicPr>
          <p:cNvPr id="109" name="Graphique 108" descr="Salle de conseil avec un remplissage uni">
            <a:extLst>
              <a:ext uri="{FF2B5EF4-FFF2-40B4-BE49-F238E27FC236}">
                <a16:creationId xmlns:a16="http://schemas.microsoft.com/office/drawing/2014/main" id="{DF3BA1CB-E075-B98E-2AB4-0D8CFB8ABDC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231932" y="4305735"/>
            <a:ext cx="252000" cy="252000"/>
          </a:xfrm>
          <a:prstGeom prst="rect">
            <a:avLst/>
          </a:prstGeom>
        </p:spPr>
      </p:pic>
      <p:pic>
        <p:nvPicPr>
          <p:cNvPr id="111" name="Graphique 110" descr="Groupe avec un remplissage uni">
            <a:extLst>
              <a:ext uri="{FF2B5EF4-FFF2-40B4-BE49-F238E27FC236}">
                <a16:creationId xmlns:a16="http://schemas.microsoft.com/office/drawing/2014/main" id="{6392CF50-F8E5-0995-F7A8-9D964399DB1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231932" y="4769806"/>
            <a:ext cx="252000" cy="252000"/>
          </a:xfrm>
          <a:prstGeom prst="rect">
            <a:avLst/>
          </a:prstGeom>
        </p:spPr>
      </p:pic>
      <p:grpSp>
        <p:nvGrpSpPr>
          <p:cNvPr id="3" name="Groupe 2">
            <a:extLst>
              <a:ext uri="{FF2B5EF4-FFF2-40B4-BE49-F238E27FC236}">
                <a16:creationId xmlns:a16="http://schemas.microsoft.com/office/drawing/2014/main" id="{CF60A4D1-E146-1E41-60DA-314CAA44CB3B}"/>
              </a:ext>
            </a:extLst>
          </p:cNvPr>
          <p:cNvGrpSpPr/>
          <p:nvPr/>
        </p:nvGrpSpPr>
        <p:grpSpPr>
          <a:xfrm>
            <a:off x="1722486" y="5068976"/>
            <a:ext cx="8209565" cy="1632672"/>
            <a:chOff x="1722486" y="4404838"/>
            <a:chExt cx="8209565" cy="1632672"/>
          </a:xfrm>
        </p:grpSpPr>
        <p:pic>
          <p:nvPicPr>
            <p:cNvPr id="63" name="Image 5">
              <a:extLst>
                <a:ext uri="{FF2B5EF4-FFF2-40B4-BE49-F238E27FC236}">
                  <a16:creationId xmlns:a16="http://schemas.microsoft.com/office/drawing/2014/main" id="{9E37A9B8-A7FA-3472-B3FE-BE806A25996D}"/>
                </a:ext>
              </a:extLst>
            </p:cNvPr>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4164098" y="4970728"/>
              <a:ext cx="1081850" cy="290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Image 65">
              <a:extLst>
                <a:ext uri="{FF2B5EF4-FFF2-40B4-BE49-F238E27FC236}">
                  <a16:creationId xmlns:a16="http://schemas.microsoft.com/office/drawing/2014/main" id="{DF98F457-ECDF-B19F-E458-262BD2214EF0}"/>
                </a:ext>
              </a:extLst>
            </p:cNvPr>
            <p:cNvPicPr>
              <a:picLocks noChangeAspect="1"/>
            </p:cNvPicPr>
            <p:nvPr/>
          </p:nvPicPr>
          <p:blipFill>
            <a:blip r:embed="rId25"/>
            <a:stretch>
              <a:fillRect/>
            </a:stretch>
          </p:blipFill>
          <p:spPr>
            <a:xfrm>
              <a:off x="6166748" y="4903537"/>
              <a:ext cx="1166368" cy="355066"/>
            </a:xfrm>
            <a:prstGeom prst="rect">
              <a:avLst/>
            </a:prstGeom>
          </p:spPr>
        </p:pic>
        <p:pic>
          <p:nvPicPr>
            <p:cNvPr id="65" name="Image 2">
              <a:extLst>
                <a:ext uri="{FF2B5EF4-FFF2-40B4-BE49-F238E27FC236}">
                  <a16:creationId xmlns:a16="http://schemas.microsoft.com/office/drawing/2014/main" id="{B884B673-1785-D289-C42A-B541934C64EB}"/>
                </a:ext>
              </a:extLst>
            </p:cNvPr>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21477" y="4974168"/>
              <a:ext cx="1704125" cy="464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9" name="Groupe 138">
              <a:extLst>
                <a:ext uri="{FF2B5EF4-FFF2-40B4-BE49-F238E27FC236}">
                  <a16:creationId xmlns:a16="http://schemas.microsoft.com/office/drawing/2014/main" id="{9223C920-88FD-D0E3-3CCD-0BB04E4B8168}"/>
                </a:ext>
              </a:extLst>
            </p:cNvPr>
            <p:cNvGrpSpPr/>
            <p:nvPr/>
          </p:nvGrpSpPr>
          <p:grpSpPr>
            <a:xfrm>
              <a:off x="1722486" y="4404838"/>
              <a:ext cx="1843956" cy="553126"/>
              <a:chOff x="1932087" y="4273771"/>
              <a:chExt cx="1843956" cy="553126"/>
            </a:xfrm>
          </p:grpSpPr>
          <p:sp>
            <p:nvSpPr>
              <p:cNvPr id="131" name="Google Shape;421;p37">
                <a:extLst>
                  <a:ext uri="{FF2B5EF4-FFF2-40B4-BE49-F238E27FC236}">
                    <a16:creationId xmlns:a16="http://schemas.microsoft.com/office/drawing/2014/main" id="{E2E136C7-230B-4AFA-8D84-688FF44D1844}"/>
                  </a:ext>
                </a:extLst>
              </p:cNvPr>
              <p:cNvSpPr/>
              <p:nvPr/>
            </p:nvSpPr>
            <p:spPr>
              <a:xfrm>
                <a:off x="1932087" y="4273771"/>
                <a:ext cx="1843956" cy="301766"/>
              </a:xfrm>
              <a:prstGeom prst="roundRect">
                <a:avLst>
                  <a:gd name="adj" fmla="val 50000"/>
                </a:avLst>
              </a:prstGeom>
              <a:solidFill>
                <a:schemeClr val="bg1"/>
              </a:solidFill>
              <a:ln>
                <a:solidFill>
                  <a:srgbClr val="006EB7"/>
                </a:solidFill>
              </a:ln>
            </p:spPr>
            <p:txBody>
              <a:bodyPr spcFirstLastPara="1" wrap="square" lIns="91425" tIns="91425" rIns="91425" bIns="91425" anchor="ctr" anchorCtr="0">
                <a:noAutofit/>
              </a:bodyPr>
              <a:lstStyle/>
              <a:p>
                <a:r>
                  <a:rPr lang="fr-FR" sz="1000" b="1">
                    <a:solidFill>
                      <a:srgbClr val="006EB7"/>
                    </a:solidFill>
                    <a:latin typeface="+mj-lt"/>
                    <a:ea typeface="Fira Sans Extra Condensed"/>
                    <a:cs typeface="Fira Sans Extra Condensed"/>
                    <a:sym typeface="Fira Sans Extra Condensed"/>
                  </a:rPr>
                  <a:t>Découverte</a:t>
                </a:r>
              </a:p>
            </p:txBody>
          </p:sp>
          <p:pic>
            <p:nvPicPr>
              <p:cNvPr id="114" name="Graphique 113" descr="Salle de conseil avec un remplissage uni">
                <a:extLst>
                  <a:ext uri="{FF2B5EF4-FFF2-40B4-BE49-F238E27FC236}">
                    <a16:creationId xmlns:a16="http://schemas.microsoft.com/office/drawing/2014/main" id="{A99DDA29-7681-02BE-CDDC-0184B84DD0F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276892" y="4574897"/>
                <a:ext cx="252000" cy="252000"/>
              </a:xfrm>
              <a:prstGeom prst="rect">
                <a:avLst/>
              </a:prstGeom>
            </p:spPr>
          </p:pic>
          <p:grpSp>
            <p:nvGrpSpPr>
              <p:cNvPr id="128" name="Groupe 127">
                <a:extLst>
                  <a:ext uri="{FF2B5EF4-FFF2-40B4-BE49-F238E27FC236}">
                    <a16:creationId xmlns:a16="http://schemas.microsoft.com/office/drawing/2014/main" id="{11012E2E-816A-1F6E-807D-431B1E7E846C}"/>
                  </a:ext>
                </a:extLst>
              </p:cNvPr>
              <p:cNvGrpSpPr/>
              <p:nvPr/>
            </p:nvGrpSpPr>
            <p:grpSpPr>
              <a:xfrm>
                <a:off x="3542950" y="4580921"/>
                <a:ext cx="153901" cy="236451"/>
                <a:chOff x="4336461" y="5926895"/>
                <a:chExt cx="314962" cy="281632"/>
              </a:xfrm>
              <a:solidFill>
                <a:srgbClr val="006EB7"/>
              </a:solidFill>
            </p:grpSpPr>
            <p:pic>
              <p:nvPicPr>
                <p:cNvPr id="129" name="Graphique 128" descr="Ligne fléchée : demi-tour vertical avec un remplissage uni">
                  <a:extLst>
                    <a:ext uri="{FF2B5EF4-FFF2-40B4-BE49-F238E27FC236}">
                      <a16:creationId xmlns:a16="http://schemas.microsoft.com/office/drawing/2014/main" id="{E83C2067-4517-1F60-24A9-4060AB4B59F2}"/>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38520"/>
                <a:stretch/>
              </p:blipFill>
              <p:spPr>
                <a:xfrm rot="5400000">
                  <a:off x="4447958" y="5975430"/>
                  <a:ext cx="252000" cy="154930"/>
                </a:xfrm>
                <a:prstGeom prst="rect">
                  <a:avLst/>
                </a:prstGeom>
              </p:spPr>
            </p:pic>
            <p:pic>
              <p:nvPicPr>
                <p:cNvPr id="130" name="Graphique 129" descr="Ligne fléchée : demi-tour vertical avec un remplissage uni">
                  <a:extLst>
                    <a:ext uri="{FF2B5EF4-FFF2-40B4-BE49-F238E27FC236}">
                      <a16:creationId xmlns:a16="http://schemas.microsoft.com/office/drawing/2014/main" id="{7EFB7EDF-654D-640B-250E-3F787E2ECBBC}"/>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38519"/>
                <a:stretch/>
              </p:blipFill>
              <p:spPr>
                <a:xfrm rot="16200000">
                  <a:off x="4287927" y="6005061"/>
                  <a:ext cx="252000" cy="154931"/>
                </a:xfrm>
                <a:prstGeom prst="rect">
                  <a:avLst/>
                </a:prstGeom>
              </p:spPr>
            </p:pic>
          </p:grpSp>
        </p:grpSp>
        <p:grpSp>
          <p:nvGrpSpPr>
            <p:cNvPr id="141" name="Groupe 140">
              <a:extLst>
                <a:ext uri="{FF2B5EF4-FFF2-40B4-BE49-F238E27FC236}">
                  <a16:creationId xmlns:a16="http://schemas.microsoft.com/office/drawing/2014/main" id="{CFCDABBA-D73F-017E-913C-32E18D18EBC0}"/>
                </a:ext>
              </a:extLst>
            </p:cNvPr>
            <p:cNvGrpSpPr/>
            <p:nvPr/>
          </p:nvGrpSpPr>
          <p:grpSpPr>
            <a:xfrm>
              <a:off x="8088095" y="5484384"/>
              <a:ext cx="1843956" cy="553126"/>
              <a:chOff x="1932087" y="5125150"/>
              <a:chExt cx="1843956" cy="553126"/>
            </a:xfrm>
            <a:solidFill>
              <a:schemeClr val="accent4"/>
            </a:solidFill>
          </p:grpSpPr>
          <p:sp>
            <p:nvSpPr>
              <p:cNvPr id="137" name="Google Shape;421;p37">
                <a:extLst>
                  <a:ext uri="{FF2B5EF4-FFF2-40B4-BE49-F238E27FC236}">
                    <a16:creationId xmlns:a16="http://schemas.microsoft.com/office/drawing/2014/main" id="{87C5F78C-251D-7328-7D27-40DFBBC8689A}"/>
                  </a:ext>
                </a:extLst>
              </p:cNvPr>
              <p:cNvSpPr/>
              <p:nvPr/>
            </p:nvSpPr>
            <p:spPr>
              <a:xfrm>
                <a:off x="1932087" y="5125150"/>
                <a:ext cx="1843956" cy="301766"/>
              </a:xfrm>
              <a:prstGeom prst="roundRect">
                <a:avLst>
                  <a:gd name="adj" fmla="val 50000"/>
                </a:avLst>
              </a:prstGeom>
              <a:solidFill>
                <a:schemeClr val="bg1"/>
              </a:solidFill>
              <a:ln>
                <a:solidFill>
                  <a:schemeClr val="accent4">
                    <a:lumMod val="75000"/>
                  </a:schemeClr>
                </a:solidFill>
              </a:ln>
            </p:spPr>
            <p:txBody>
              <a:bodyPr spcFirstLastPara="1" wrap="square" lIns="91425" tIns="91425" rIns="91425" bIns="91425" anchor="ctr" anchorCtr="0">
                <a:noAutofit/>
              </a:bodyPr>
              <a:lstStyle/>
              <a:p>
                <a:r>
                  <a:rPr lang="fr-FR" sz="1000" b="1">
                    <a:solidFill>
                      <a:schemeClr val="accent4">
                        <a:lumMod val="75000"/>
                      </a:schemeClr>
                    </a:solidFill>
                    <a:latin typeface="+mj-lt"/>
                    <a:ea typeface="Fira Sans Extra Condensed"/>
                    <a:cs typeface="Fira Sans Extra Condensed"/>
                    <a:sym typeface="Fira Sans Extra Condensed"/>
                  </a:rPr>
                  <a:t>€ &amp; Priorisation</a:t>
                </a:r>
              </a:p>
            </p:txBody>
          </p:sp>
          <p:pic>
            <p:nvPicPr>
              <p:cNvPr id="89" name="Graphique 88" descr="Aléatoire avec un remplissage uni">
                <a:extLst>
                  <a:ext uri="{FF2B5EF4-FFF2-40B4-BE49-F238E27FC236}">
                    <a16:creationId xmlns:a16="http://schemas.microsoft.com/office/drawing/2014/main" id="{73B0248E-92F2-551E-92EE-59930ED62551}"/>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555819" y="5493706"/>
                <a:ext cx="128135" cy="128135"/>
              </a:xfrm>
              <a:prstGeom prst="rect">
                <a:avLst/>
              </a:prstGeom>
            </p:spPr>
          </p:pic>
          <p:pic>
            <p:nvPicPr>
              <p:cNvPr id="138" name="Graphique 137" descr="Salle de conseil avec un remplissage uni">
                <a:extLst>
                  <a:ext uri="{FF2B5EF4-FFF2-40B4-BE49-F238E27FC236}">
                    <a16:creationId xmlns:a16="http://schemas.microsoft.com/office/drawing/2014/main" id="{6D224963-46AB-31DD-3E0C-46D7B056318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276892" y="5426276"/>
                <a:ext cx="252000" cy="252000"/>
              </a:xfrm>
              <a:prstGeom prst="rect">
                <a:avLst/>
              </a:prstGeom>
            </p:spPr>
          </p:pic>
        </p:grpSp>
        <p:grpSp>
          <p:nvGrpSpPr>
            <p:cNvPr id="140" name="Groupe 139">
              <a:extLst>
                <a:ext uri="{FF2B5EF4-FFF2-40B4-BE49-F238E27FC236}">
                  <a16:creationId xmlns:a16="http://schemas.microsoft.com/office/drawing/2014/main" id="{B8E17D34-94E2-CB52-DD9E-AC9C58945A37}"/>
                </a:ext>
              </a:extLst>
            </p:cNvPr>
            <p:cNvGrpSpPr/>
            <p:nvPr/>
          </p:nvGrpSpPr>
          <p:grpSpPr>
            <a:xfrm>
              <a:off x="3864488" y="4404838"/>
              <a:ext cx="1843956" cy="553126"/>
              <a:chOff x="1932087" y="4696432"/>
              <a:chExt cx="1843956" cy="553126"/>
            </a:xfrm>
          </p:grpSpPr>
          <p:sp>
            <p:nvSpPr>
              <p:cNvPr id="132" name="Google Shape;421;p37">
                <a:extLst>
                  <a:ext uri="{FF2B5EF4-FFF2-40B4-BE49-F238E27FC236}">
                    <a16:creationId xmlns:a16="http://schemas.microsoft.com/office/drawing/2014/main" id="{78C9977A-4178-2D5A-852F-A517D8C0BAD5}"/>
                  </a:ext>
                </a:extLst>
              </p:cNvPr>
              <p:cNvSpPr/>
              <p:nvPr/>
            </p:nvSpPr>
            <p:spPr>
              <a:xfrm>
                <a:off x="1932087" y="4696432"/>
                <a:ext cx="1843956" cy="301766"/>
              </a:xfrm>
              <a:prstGeom prst="roundRect">
                <a:avLst>
                  <a:gd name="adj" fmla="val 50000"/>
                </a:avLst>
              </a:prstGeom>
              <a:solidFill>
                <a:schemeClr val="bg1"/>
              </a:solidFill>
              <a:ln>
                <a:solidFill>
                  <a:srgbClr val="006EB7"/>
                </a:solidFill>
              </a:ln>
            </p:spPr>
            <p:txBody>
              <a:bodyPr spcFirstLastPara="1" wrap="square" lIns="91425" tIns="91425" rIns="91425" bIns="91425" anchor="ctr" anchorCtr="0">
                <a:noAutofit/>
              </a:bodyPr>
              <a:lstStyle/>
              <a:p>
                <a:r>
                  <a:rPr lang="fr-FR" sz="1000" b="1">
                    <a:solidFill>
                      <a:srgbClr val="006EB7"/>
                    </a:solidFill>
                    <a:latin typeface="+mj-lt"/>
                    <a:ea typeface="Fira Sans Extra Condensed"/>
                    <a:cs typeface="Fira Sans Extra Condensed"/>
                    <a:sym typeface="Fira Sans Extra Condensed"/>
                  </a:rPr>
                  <a:t>Atelier #1</a:t>
                </a:r>
              </a:p>
            </p:txBody>
          </p:sp>
          <p:grpSp>
            <p:nvGrpSpPr>
              <p:cNvPr id="134" name="Groupe 133">
                <a:extLst>
                  <a:ext uri="{FF2B5EF4-FFF2-40B4-BE49-F238E27FC236}">
                    <a16:creationId xmlns:a16="http://schemas.microsoft.com/office/drawing/2014/main" id="{70132B8B-330C-C306-423C-61A9E66057B5}"/>
                  </a:ext>
                </a:extLst>
              </p:cNvPr>
              <p:cNvGrpSpPr/>
              <p:nvPr/>
            </p:nvGrpSpPr>
            <p:grpSpPr>
              <a:xfrm>
                <a:off x="3542950" y="5003582"/>
                <a:ext cx="153901" cy="236451"/>
                <a:chOff x="4336461" y="5926895"/>
                <a:chExt cx="314962" cy="281632"/>
              </a:xfrm>
              <a:solidFill>
                <a:srgbClr val="006EB7"/>
              </a:solidFill>
            </p:grpSpPr>
            <p:pic>
              <p:nvPicPr>
                <p:cNvPr id="135" name="Graphique 134" descr="Ligne fléchée : demi-tour vertical avec un remplissage uni">
                  <a:extLst>
                    <a:ext uri="{FF2B5EF4-FFF2-40B4-BE49-F238E27FC236}">
                      <a16:creationId xmlns:a16="http://schemas.microsoft.com/office/drawing/2014/main" id="{6DCABDDB-3E0A-B398-5901-460982EC6511}"/>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38520"/>
                <a:stretch/>
              </p:blipFill>
              <p:spPr>
                <a:xfrm rot="5400000">
                  <a:off x="4447958" y="5975430"/>
                  <a:ext cx="252000" cy="154930"/>
                </a:xfrm>
                <a:prstGeom prst="rect">
                  <a:avLst/>
                </a:prstGeom>
              </p:spPr>
            </p:pic>
            <p:pic>
              <p:nvPicPr>
                <p:cNvPr id="136" name="Graphique 135" descr="Ligne fléchée : demi-tour vertical avec un remplissage uni">
                  <a:extLst>
                    <a:ext uri="{FF2B5EF4-FFF2-40B4-BE49-F238E27FC236}">
                      <a16:creationId xmlns:a16="http://schemas.microsoft.com/office/drawing/2014/main" id="{60D39DF5-E1EF-B817-2482-13B846C280CC}"/>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38519"/>
                <a:stretch/>
              </p:blipFill>
              <p:spPr>
                <a:xfrm rot="16200000">
                  <a:off x="4287927" y="6005061"/>
                  <a:ext cx="252000" cy="154931"/>
                </a:xfrm>
                <a:prstGeom prst="rect">
                  <a:avLst/>
                </a:prstGeom>
              </p:spPr>
            </p:pic>
          </p:grpSp>
          <p:pic>
            <p:nvPicPr>
              <p:cNvPr id="118" name="Graphique 117" descr="Groupe avec un remplissage uni">
                <a:extLst>
                  <a:ext uri="{FF2B5EF4-FFF2-40B4-BE49-F238E27FC236}">
                    <a16:creationId xmlns:a16="http://schemas.microsoft.com/office/drawing/2014/main" id="{00A66F60-157B-516D-BCAA-0F8D36A9557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009679" y="4997558"/>
                <a:ext cx="252000" cy="252000"/>
              </a:xfrm>
              <a:prstGeom prst="rect">
                <a:avLst/>
              </a:prstGeom>
            </p:spPr>
          </p:pic>
          <p:pic>
            <p:nvPicPr>
              <p:cNvPr id="79" name="Graphique 78" descr="Chronomètre 75% avec un remplissage uni">
                <a:extLst>
                  <a:ext uri="{FF2B5EF4-FFF2-40B4-BE49-F238E27FC236}">
                    <a16:creationId xmlns:a16="http://schemas.microsoft.com/office/drawing/2014/main" id="{AAE7FB26-3082-F66B-CE56-4CE4866B1B1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276892" y="4998728"/>
                <a:ext cx="250830" cy="250830"/>
              </a:xfrm>
              <a:prstGeom prst="rect">
                <a:avLst/>
              </a:prstGeom>
            </p:spPr>
          </p:pic>
        </p:grpSp>
        <p:grpSp>
          <p:nvGrpSpPr>
            <p:cNvPr id="142" name="Groupe 141">
              <a:extLst>
                <a:ext uri="{FF2B5EF4-FFF2-40B4-BE49-F238E27FC236}">
                  <a16:creationId xmlns:a16="http://schemas.microsoft.com/office/drawing/2014/main" id="{179BC284-6F0C-6949-9C2E-D7ECB9EB482D}"/>
                </a:ext>
              </a:extLst>
            </p:cNvPr>
            <p:cNvGrpSpPr/>
            <p:nvPr/>
          </p:nvGrpSpPr>
          <p:grpSpPr>
            <a:xfrm>
              <a:off x="5989936" y="4404838"/>
              <a:ext cx="1843956" cy="553126"/>
              <a:chOff x="1932087" y="4696432"/>
              <a:chExt cx="1843956" cy="553126"/>
            </a:xfrm>
          </p:grpSpPr>
          <p:sp>
            <p:nvSpPr>
              <p:cNvPr id="143" name="Google Shape;421;p37">
                <a:extLst>
                  <a:ext uri="{FF2B5EF4-FFF2-40B4-BE49-F238E27FC236}">
                    <a16:creationId xmlns:a16="http://schemas.microsoft.com/office/drawing/2014/main" id="{05B50D40-636B-EE89-121B-C418E8089BAA}"/>
                  </a:ext>
                </a:extLst>
              </p:cNvPr>
              <p:cNvSpPr/>
              <p:nvPr/>
            </p:nvSpPr>
            <p:spPr>
              <a:xfrm>
                <a:off x="1932087" y="4696432"/>
                <a:ext cx="1843956" cy="301766"/>
              </a:xfrm>
              <a:prstGeom prst="roundRect">
                <a:avLst>
                  <a:gd name="adj" fmla="val 50000"/>
                </a:avLst>
              </a:prstGeom>
              <a:solidFill>
                <a:schemeClr val="bg1"/>
              </a:solidFill>
              <a:ln>
                <a:solidFill>
                  <a:srgbClr val="006EB7"/>
                </a:solidFill>
              </a:ln>
            </p:spPr>
            <p:txBody>
              <a:bodyPr spcFirstLastPara="1" wrap="square" lIns="91425" tIns="91425" rIns="91425" bIns="91425" anchor="ctr" anchorCtr="0">
                <a:noAutofit/>
              </a:bodyPr>
              <a:lstStyle/>
              <a:p>
                <a:r>
                  <a:rPr lang="fr-FR" sz="1000" b="1">
                    <a:solidFill>
                      <a:srgbClr val="006EB7"/>
                    </a:solidFill>
                    <a:latin typeface="+mj-lt"/>
                    <a:ea typeface="Fira Sans Extra Condensed"/>
                    <a:cs typeface="Fira Sans Extra Condensed"/>
                    <a:sym typeface="Fira Sans Extra Condensed"/>
                  </a:rPr>
                  <a:t>Atelier #2</a:t>
                </a:r>
              </a:p>
            </p:txBody>
          </p:sp>
          <p:grpSp>
            <p:nvGrpSpPr>
              <p:cNvPr id="144" name="Groupe 143">
                <a:extLst>
                  <a:ext uri="{FF2B5EF4-FFF2-40B4-BE49-F238E27FC236}">
                    <a16:creationId xmlns:a16="http://schemas.microsoft.com/office/drawing/2014/main" id="{FC82BDDE-84D2-DE55-825A-8DF1D2E12B65}"/>
                  </a:ext>
                </a:extLst>
              </p:cNvPr>
              <p:cNvGrpSpPr/>
              <p:nvPr/>
            </p:nvGrpSpPr>
            <p:grpSpPr>
              <a:xfrm>
                <a:off x="3542950" y="5003582"/>
                <a:ext cx="153901" cy="236451"/>
                <a:chOff x="4336461" y="5926895"/>
                <a:chExt cx="314962" cy="281632"/>
              </a:xfrm>
              <a:solidFill>
                <a:srgbClr val="006EB7"/>
              </a:solidFill>
            </p:grpSpPr>
            <p:pic>
              <p:nvPicPr>
                <p:cNvPr id="147" name="Graphique 146" descr="Ligne fléchée : demi-tour vertical avec un remplissage uni">
                  <a:extLst>
                    <a:ext uri="{FF2B5EF4-FFF2-40B4-BE49-F238E27FC236}">
                      <a16:creationId xmlns:a16="http://schemas.microsoft.com/office/drawing/2014/main" id="{5FEC095B-9C59-5781-24A8-32E46E7EB7C3}"/>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38520"/>
                <a:stretch/>
              </p:blipFill>
              <p:spPr>
                <a:xfrm rot="5400000">
                  <a:off x="4447958" y="5975430"/>
                  <a:ext cx="252000" cy="154930"/>
                </a:xfrm>
                <a:prstGeom prst="rect">
                  <a:avLst/>
                </a:prstGeom>
              </p:spPr>
            </p:pic>
            <p:pic>
              <p:nvPicPr>
                <p:cNvPr id="148" name="Graphique 147" descr="Ligne fléchée : demi-tour vertical avec un remplissage uni">
                  <a:extLst>
                    <a:ext uri="{FF2B5EF4-FFF2-40B4-BE49-F238E27FC236}">
                      <a16:creationId xmlns:a16="http://schemas.microsoft.com/office/drawing/2014/main" id="{B8934089-A5C0-872A-8C27-62FCD14150FE}"/>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38519"/>
                <a:stretch/>
              </p:blipFill>
              <p:spPr>
                <a:xfrm rot="16200000">
                  <a:off x="4287927" y="6005061"/>
                  <a:ext cx="252000" cy="154931"/>
                </a:xfrm>
                <a:prstGeom prst="rect">
                  <a:avLst/>
                </a:prstGeom>
              </p:spPr>
            </p:pic>
          </p:grpSp>
          <p:pic>
            <p:nvPicPr>
              <p:cNvPr id="145" name="Graphique 144" descr="Groupe avec un remplissage uni">
                <a:extLst>
                  <a:ext uri="{FF2B5EF4-FFF2-40B4-BE49-F238E27FC236}">
                    <a16:creationId xmlns:a16="http://schemas.microsoft.com/office/drawing/2014/main" id="{87ABAC98-57BB-E13E-BB2D-265350D7781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009679" y="4997558"/>
                <a:ext cx="252000" cy="252000"/>
              </a:xfrm>
              <a:prstGeom prst="rect">
                <a:avLst/>
              </a:prstGeom>
            </p:spPr>
          </p:pic>
          <p:pic>
            <p:nvPicPr>
              <p:cNvPr id="146" name="Graphique 145" descr="Chronomètre 75% avec un remplissage uni">
                <a:extLst>
                  <a:ext uri="{FF2B5EF4-FFF2-40B4-BE49-F238E27FC236}">
                    <a16:creationId xmlns:a16="http://schemas.microsoft.com/office/drawing/2014/main" id="{08079B37-7EB6-2B6B-ECFA-9A6FDA77C04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276892" y="4998728"/>
                <a:ext cx="250830" cy="250830"/>
              </a:xfrm>
              <a:prstGeom prst="rect">
                <a:avLst/>
              </a:prstGeom>
            </p:spPr>
          </p:pic>
        </p:grpSp>
        <p:grpSp>
          <p:nvGrpSpPr>
            <p:cNvPr id="149" name="Groupe 148">
              <a:extLst>
                <a:ext uri="{FF2B5EF4-FFF2-40B4-BE49-F238E27FC236}">
                  <a16:creationId xmlns:a16="http://schemas.microsoft.com/office/drawing/2014/main" id="{214344D7-6E92-FC00-3557-B8C10984AEEC}"/>
                </a:ext>
              </a:extLst>
            </p:cNvPr>
            <p:cNvGrpSpPr/>
            <p:nvPr/>
          </p:nvGrpSpPr>
          <p:grpSpPr>
            <a:xfrm>
              <a:off x="8088095" y="4404838"/>
              <a:ext cx="1843956" cy="553126"/>
              <a:chOff x="1932087" y="4696432"/>
              <a:chExt cx="1843956" cy="553126"/>
            </a:xfrm>
            <a:solidFill>
              <a:schemeClr val="accent4"/>
            </a:solidFill>
          </p:grpSpPr>
          <p:sp>
            <p:nvSpPr>
              <p:cNvPr id="150" name="Google Shape;421;p37">
                <a:extLst>
                  <a:ext uri="{FF2B5EF4-FFF2-40B4-BE49-F238E27FC236}">
                    <a16:creationId xmlns:a16="http://schemas.microsoft.com/office/drawing/2014/main" id="{87DBCA60-87AD-684B-7142-D70DE3490C07}"/>
                  </a:ext>
                </a:extLst>
              </p:cNvPr>
              <p:cNvSpPr/>
              <p:nvPr/>
            </p:nvSpPr>
            <p:spPr>
              <a:xfrm>
                <a:off x="1932087" y="4696432"/>
                <a:ext cx="1843956" cy="301766"/>
              </a:xfrm>
              <a:prstGeom prst="roundRect">
                <a:avLst>
                  <a:gd name="adj" fmla="val 50000"/>
                </a:avLst>
              </a:prstGeom>
              <a:solidFill>
                <a:schemeClr val="bg1"/>
              </a:solidFill>
              <a:ln>
                <a:solidFill>
                  <a:schemeClr val="accent4">
                    <a:lumMod val="75000"/>
                  </a:schemeClr>
                </a:solidFill>
              </a:ln>
            </p:spPr>
            <p:txBody>
              <a:bodyPr spcFirstLastPara="1" wrap="square" lIns="91425" tIns="91425" rIns="91425" bIns="91425" anchor="ctr" anchorCtr="0">
                <a:noAutofit/>
              </a:bodyPr>
              <a:lstStyle/>
              <a:p>
                <a:r>
                  <a:rPr lang="fr-FR" sz="1000" b="1">
                    <a:solidFill>
                      <a:schemeClr val="accent4">
                        <a:lumMod val="75000"/>
                      </a:schemeClr>
                    </a:solidFill>
                    <a:latin typeface="+mj-lt"/>
                    <a:ea typeface="Fira Sans Extra Condensed"/>
                    <a:cs typeface="Fira Sans Extra Condensed"/>
                    <a:sym typeface="Fira Sans Extra Condensed"/>
                  </a:rPr>
                  <a:t>Atelier #3</a:t>
                </a:r>
              </a:p>
            </p:txBody>
          </p:sp>
          <p:grpSp>
            <p:nvGrpSpPr>
              <p:cNvPr id="151" name="Groupe 150">
                <a:extLst>
                  <a:ext uri="{FF2B5EF4-FFF2-40B4-BE49-F238E27FC236}">
                    <a16:creationId xmlns:a16="http://schemas.microsoft.com/office/drawing/2014/main" id="{672D32D1-72FC-C071-4B53-29718610CFFB}"/>
                  </a:ext>
                </a:extLst>
              </p:cNvPr>
              <p:cNvGrpSpPr/>
              <p:nvPr/>
            </p:nvGrpSpPr>
            <p:grpSpPr>
              <a:xfrm>
                <a:off x="3542950" y="5003582"/>
                <a:ext cx="153901" cy="236451"/>
                <a:chOff x="4336461" y="5926895"/>
                <a:chExt cx="314962" cy="281632"/>
              </a:xfrm>
              <a:grpFill/>
            </p:grpSpPr>
            <p:pic>
              <p:nvPicPr>
                <p:cNvPr id="154" name="Graphique 153" descr="Ligne fléchée : demi-tour vertical avec un remplissage uni">
                  <a:extLst>
                    <a:ext uri="{FF2B5EF4-FFF2-40B4-BE49-F238E27FC236}">
                      <a16:creationId xmlns:a16="http://schemas.microsoft.com/office/drawing/2014/main" id="{E5340FEB-61C4-14EA-A19A-4C1795412A11}"/>
                    </a:ext>
                  </a:extLst>
                </p:cNvPr>
                <p:cNvPicPr>
                  <a:picLocks noChangeAspect="1"/>
                </p:cNvPicPr>
                <p:nvPr/>
              </p:nvPicPr>
              <p:blipFill rotWithShape="1">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rcRect b="38520"/>
                <a:stretch/>
              </p:blipFill>
              <p:spPr>
                <a:xfrm rot="5400000">
                  <a:off x="4447958" y="5975430"/>
                  <a:ext cx="252000" cy="154930"/>
                </a:xfrm>
                <a:prstGeom prst="rect">
                  <a:avLst/>
                </a:prstGeom>
              </p:spPr>
            </p:pic>
            <p:pic>
              <p:nvPicPr>
                <p:cNvPr id="155" name="Graphique 154" descr="Ligne fléchée : demi-tour vertical avec un remplissage uni">
                  <a:extLst>
                    <a:ext uri="{FF2B5EF4-FFF2-40B4-BE49-F238E27FC236}">
                      <a16:creationId xmlns:a16="http://schemas.microsoft.com/office/drawing/2014/main" id="{781E88EB-08A2-D15F-E112-5A2865AF3DE4}"/>
                    </a:ext>
                  </a:extLst>
                </p:cNvPr>
                <p:cNvPicPr>
                  <a:picLocks noChangeAspect="1"/>
                </p:cNvPicPr>
                <p:nvPr/>
              </p:nvPicPr>
              <p:blipFill rotWithShape="1">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rcRect b="38519"/>
                <a:stretch/>
              </p:blipFill>
              <p:spPr>
                <a:xfrm rot="16200000">
                  <a:off x="4287927" y="6005061"/>
                  <a:ext cx="252000" cy="154931"/>
                </a:xfrm>
                <a:prstGeom prst="rect">
                  <a:avLst/>
                </a:prstGeom>
              </p:spPr>
            </p:pic>
          </p:grpSp>
          <p:pic>
            <p:nvPicPr>
              <p:cNvPr id="152" name="Graphique 151" descr="Groupe avec un remplissage uni">
                <a:extLst>
                  <a:ext uri="{FF2B5EF4-FFF2-40B4-BE49-F238E27FC236}">
                    <a16:creationId xmlns:a16="http://schemas.microsoft.com/office/drawing/2014/main" id="{29E2EA40-ED37-29F9-644D-0D914DB71E5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009679" y="4997558"/>
                <a:ext cx="252000" cy="252000"/>
              </a:xfrm>
              <a:prstGeom prst="rect">
                <a:avLst/>
              </a:prstGeom>
            </p:spPr>
          </p:pic>
          <p:pic>
            <p:nvPicPr>
              <p:cNvPr id="153" name="Graphique 152" descr="Chronomètre 75% avec un remplissage uni">
                <a:extLst>
                  <a:ext uri="{FF2B5EF4-FFF2-40B4-BE49-F238E27FC236}">
                    <a16:creationId xmlns:a16="http://schemas.microsoft.com/office/drawing/2014/main" id="{B6206492-80B1-F144-3A13-75553185092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3276892" y="4998728"/>
                <a:ext cx="250830" cy="250830"/>
              </a:xfrm>
              <a:prstGeom prst="rect">
                <a:avLst/>
              </a:prstGeom>
            </p:spPr>
          </p:pic>
        </p:grpSp>
        <p:pic>
          <p:nvPicPr>
            <p:cNvPr id="158" name="Image 5">
              <a:extLst>
                <a:ext uri="{FF2B5EF4-FFF2-40B4-BE49-F238E27FC236}">
                  <a16:creationId xmlns:a16="http://schemas.microsoft.com/office/drawing/2014/main" id="{14B4E296-147A-B508-A0D1-41876A4E01FF}"/>
                </a:ext>
              </a:extLst>
            </p:cNvPr>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4365378" y="5326516"/>
              <a:ext cx="1232894" cy="331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1" name="AutoShape 31">
            <a:extLst>
              <a:ext uri="{FF2B5EF4-FFF2-40B4-BE49-F238E27FC236}">
                <a16:creationId xmlns:a16="http://schemas.microsoft.com/office/drawing/2014/main" id="{FA6F73E7-F83D-8CB4-7D4B-43DFA30C8B6F}"/>
              </a:ext>
            </a:extLst>
          </p:cNvPr>
          <p:cNvSpPr>
            <a:spLocks noChangeArrowheads="1"/>
          </p:cNvSpPr>
          <p:nvPr/>
        </p:nvSpPr>
        <p:spPr bwMode="auto">
          <a:xfrm>
            <a:off x="7987100" y="4438254"/>
            <a:ext cx="2099875" cy="407795"/>
          </a:xfrm>
          <a:prstGeom prst="chevron">
            <a:avLst>
              <a:gd name="adj" fmla="val 16317"/>
            </a:avLst>
          </a:prstGeom>
          <a:solidFill>
            <a:schemeClr val="accent4">
              <a:lumMod val="75000"/>
            </a:schemeClr>
          </a:solidFill>
          <a:ln w="9525" cap="flat" cmpd="sng" algn="ctr">
            <a:solidFill>
              <a:sysClr val="window" lastClr="FFFFFF"/>
            </a:solidFill>
            <a:prstDash val="solid"/>
            <a:headEnd/>
            <a:tailEnd type="none" w="sm" len="sm"/>
          </a:ln>
          <a:effectLst/>
        </p:spPr>
        <p:txBody>
          <a:bodyPr wrap="square" lIns="144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marR="0" lvl="0" indent="0" defTabSz="914377" rtl="0" eaLnBrk="1" fontAlgn="auto" latinLnBrk="0" hangingPunct="1">
              <a:lnSpc>
                <a:spcPct val="100000"/>
              </a:lnSpc>
              <a:spcBef>
                <a:spcPts val="369"/>
              </a:spcBef>
              <a:spcAft>
                <a:spcPts val="0"/>
              </a:spcAft>
              <a:buClrTx/>
              <a:buSzTx/>
              <a:buFont typeface="Arial"/>
              <a:buNone/>
              <a:tabLst/>
              <a:defRPr/>
            </a:pPr>
            <a:r>
              <a:rPr kumimoji="0" lang="fr-FR" sz="1200" b="1" i="0" u="none" strike="noStrike" kern="1200" cap="none" spc="0" normalizeH="0" baseline="0" noProof="0">
                <a:ln>
                  <a:noFill/>
                </a:ln>
                <a:solidFill>
                  <a:prstClr val="white"/>
                </a:solidFill>
                <a:effectLst/>
                <a:uLnTx/>
                <a:uFillTx/>
                <a:latin typeface="+mj-lt"/>
                <a:ea typeface="ＭＳ Ｐゴシック"/>
                <a:cs typeface="Calibri"/>
                <a:sym typeface="Wingdings" pitchFamily="2" charset="2"/>
              </a:rPr>
              <a:t>Définition de la cible et de la roadmap</a:t>
            </a:r>
            <a:endParaRPr kumimoji="0" lang="fr-FR" sz="120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Arial"/>
            </a:endParaRPr>
          </a:p>
        </p:txBody>
      </p:sp>
      <p:sp>
        <p:nvSpPr>
          <p:cNvPr id="162" name="Ellipse 161">
            <a:extLst>
              <a:ext uri="{FF2B5EF4-FFF2-40B4-BE49-F238E27FC236}">
                <a16:creationId xmlns:a16="http://schemas.microsoft.com/office/drawing/2014/main" id="{F4EDECF4-B60E-8D6B-279E-010D6314EB80}"/>
              </a:ext>
            </a:extLst>
          </p:cNvPr>
          <p:cNvSpPr>
            <a:spLocks/>
          </p:cNvSpPr>
          <p:nvPr/>
        </p:nvSpPr>
        <p:spPr>
          <a:xfrm>
            <a:off x="7833892" y="4313782"/>
            <a:ext cx="348998" cy="349200"/>
          </a:xfrm>
          <a:prstGeom prst="ellipse">
            <a:avLst/>
          </a:prstGeom>
          <a:solidFill>
            <a:schemeClr val="accent4">
              <a:lumMod val="75000"/>
            </a:schemeClr>
          </a:solidFill>
          <a:ln w="38100" cap="flat" cmpd="sng" algn="ctr">
            <a:solidFill>
              <a:sysClr val="window" lastClr="FFFFFF"/>
            </a:solidFill>
            <a:prstDash val="solid"/>
          </a:ln>
          <a:effectLst/>
        </p:spPr>
        <p:txBody>
          <a:bodyPr wrap="none"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3</a:t>
            </a:r>
          </a:p>
        </p:txBody>
      </p:sp>
      <p:sp>
        <p:nvSpPr>
          <p:cNvPr id="164" name="AutoShape 31">
            <a:extLst>
              <a:ext uri="{FF2B5EF4-FFF2-40B4-BE49-F238E27FC236}">
                <a16:creationId xmlns:a16="http://schemas.microsoft.com/office/drawing/2014/main" id="{9C55E818-16FD-DA9C-A5B6-DA254181215D}"/>
              </a:ext>
            </a:extLst>
          </p:cNvPr>
          <p:cNvSpPr>
            <a:spLocks noChangeArrowheads="1"/>
          </p:cNvSpPr>
          <p:nvPr/>
        </p:nvSpPr>
        <p:spPr bwMode="auto">
          <a:xfrm>
            <a:off x="1729685" y="4438254"/>
            <a:ext cx="6101572" cy="407795"/>
          </a:xfrm>
          <a:prstGeom prst="chevron">
            <a:avLst>
              <a:gd name="adj" fmla="val 16317"/>
            </a:avLst>
          </a:prstGeom>
          <a:solidFill>
            <a:srgbClr val="006EB7"/>
          </a:solidFill>
          <a:ln w="9525" cap="flat" cmpd="sng" algn="ctr">
            <a:solidFill>
              <a:sysClr val="window" lastClr="FFFFFF"/>
            </a:solidFill>
            <a:prstDash val="solid"/>
            <a:headEnd/>
            <a:tailEnd type="none" w="sm" len="sm"/>
          </a:ln>
          <a:effectLst/>
        </p:spPr>
        <p:txBody>
          <a:bodyPr wrap="square" lIns="144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marR="0" lvl="0" indent="0" defTabSz="914377" rtl="0" eaLnBrk="1" fontAlgn="auto" latinLnBrk="0" hangingPunct="1">
              <a:lnSpc>
                <a:spcPct val="100000"/>
              </a:lnSpc>
              <a:spcBef>
                <a:spcPts val="369"/>
              </a:spcBef>
              <a:spcAft>
                <a:spcPts val="0"/>
              </a:spcAft>
              <a:buClrTx/>
              <a:buSzTx/>
              <a:buFont typeface="Arial"/>
              <a:buNone/>
              <a:tabLst/>
              <a:defRPr/>
            </a:pPr>
            <a:r>
              <a:rPr kumimoji="0" lang="fr-FR" sz="1200" b="1" i="0" u="none" strike="noStrike" kern="1200" cap="none" spc="0" normalizeH="0" baseline="0" noProof="0">
                <a:ln>
                  <a:noFill/>
                </a:ln>
                <a:solidFill>
                  <a:prstClr val="white"/>
                </a:solidFill>
                <a:effectLst/>
                <a:uLnTx/>
                <a:uFillTx/>
                <a:latin typeface="+mj-lt"/>
                <a:ea typeface="ＭＳ Ｐゴシック"/>
                <a:cs typeface="Calibri"/>
                <a:sym typeface="Wingdings" pitchFamily="2" charset="2"/>
              </a:rPr>
              <a:t>Diagnostic de l’existant</a:t>
            </a:r>
            <a:endParaRPr kumimoji="0" lang="fr-FR" sz="120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Arial"/>
            </a:endParaRPr>
          </a:p>
        </p:txBody>
      </p:sp>
      <p:sp>
        <p:nvSpPr>
          <p:cNvPr id="163" name="Ellipse 162">
            <a:extLst>
              <a:ext uri="{FF2B5EF4-FFF2-40B4-BE49-F238E27FC236}">
                <a16:creationId xmlns:a16="http://schemas.microsoft.com/office/drawing/2014/main" id="{0B588E8D-BEA9-FBA2-F88A-A890BAD9C557}"/>
              </a:ext>
            </a:extLst>
          </p:cNvPr>
          <p:cNvSpPr>
            <a:spLocks noChangeAspect="1"/>
          </p:cNvSpPr>
          <p:nvPr/>
        </p:nvSpPr>
        <p:spPr>
          <a:xfrm>
            <a:off x="1591247" y="4312239"/>
            <a:ext cx="350743" cy="350743"/>
          </a:xfrm>
          <a:prstGeom prst="ellipse">
            <a:avLst/>
          </a:prstGeom>
          <a:solidFill>
            <a:srgbClr val="006EB7"/>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12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2</a:t>
            </a:r>
          </a:p>
        </p:txBody>
      </p:sp>
    </p:spTree>
    <p:extLst>
      <p:ext uri="{BB962C8B-B14F-4D97-AF65-F5344CB8AC3E}">
        <p14:creationId xmlns:p14="http://schemas.microsoft.com/office/powerpoint/2010/main" val="33085410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D57B31-7B0D-92C3-B33F-D94DC4725E53}"/>
              </a:ext>
            </a:extLst>
          </p:cNvPr>
          <p:cNvSpPr>
            <a:spLocks noGrp="1"/>
          </p:cNvSpPr>
          <p:nvPr>
            <p:ph type="title"/>
          </p:nvPr>
        </p:nvSpPr>
        <p:spPr>
          <a:xfrm>
            <a:off x="384796" y="126940"/>
            <a:ext cx="10294705" cy="407795"/>
          </a:xfrm>
          <a:solidFill>
            <a:schemeClr val="bg1"/>
          </a:solidFill>
        </p:spPr>
        <p:txBody>
          <a:bodyPr/>
          <a:lstStyle/>
          <a:p>
            <a:r>
              <a:rPr lang="fr-FR" sz="1800"/>
              <a:t>8 SEMAINES POUR RÉALISER LE DIAGNOSTIC, DÉFINIR LA CIBLE ET LA TRAJECTOIRE ASSOCIÉE</a:t>
            </a:r>
          </a:p>
        </p:txBody>
      </p:sp>
      <p:sp>
        <p:nvSpPr>
          <p:cNvPr id="12" name="Textframe 2096406,5332">
            <a:extLst>
              <a:ext uri="{FF2B5EF4-FFF2-40B4-BE49-F238E27FC236}">
                <a16:creationId xmlns:a16="http://schemas.microsoft.com/office/drawing/2014/main" id="{FCFA250D-5B65-A1C5-69BD-58C9062DEDF6}"/>
              </a:ext>
            </a:extLst>
          </p:cNvPr>
          <p:cNvSpPr txBox="1"/>
          <p:nvPr/>
        </p:nvSpPr>
        <p:spPr>
          <a:xfrm flipH="1">
            <a:off x="319063" y="1454648"/>
            <a:ext cx="733891" cy="890160"/>
          </a:xfrm>
          <a:prstGeom prst="rect">
            <a:avLst/>
          </a:prstGeom>
          <a:solidFill>
            <a:srgbClr val="1D3D91">
              <a:lumMod val="20000"/>
              <a:lumOff val="80000"/>
            </a:srgbClr>
          </a:solidFill>
          <a:ln w="9525">
            <a:noFill/>
          </a:ln>
          <a:effectLst/>
        </p:spPr>
        <p:txBody>
          <a:bodyPr vert="horz" wrap="square" lIns="33231" tIns="33231" rIns="33231" bIns="33231"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0" fontAlgn="base" latinLnBrk="0" hangingPunct="0">
              <a:lnSpc>
                <a:spcPct val="90000"/>
              </a:lnSpc>
              <a:spcBef>
                <a:spcPts val="369"/>
              </a:spcBef>
              <a:spcAft>
                <a:spcPct val="0"/>
              </a:spcAft>
              <a:buClrTx/>
              <a:buSzPct val="100000"/>
              <a:buFontTx/>
              <a:buNone/>
              <a:tabLst/>
              <a:defRPr/>
            </a:pPr>
            <a:r>
              <a:rPr kumimoji="0" lang="fr-FR" sz="900" b="1" i="0" u="none" strike="noStrike" kern="0" cap="none" spc="0" normalizeH="0" baseline="0" noProof="0">
                <a:ln>
                  <a:noFill/>
                </a:ln>
                <a:solidFill>
                  <a:prstClr val="black"/>
                </a:solidFill>
                <a:effectLst/>
                <a:uLnTx/>
                <a:uFillTx/>
                <a:latin typeface="+mj-lt"/>
                <a:ea typeface="+mn-ea"/>
                <a:cs typeface="Arial Narrow" pitchFamily="34" charset="0"/>
                <a:sym typeface="Arial"/>
              </a:rPr>
              <a:t>Diagnostic périmètre FRANCE</a:t>
            </a:r>
          </a:p>
        </p:txBody>
      </p:sp>
      <p:sp>
        <p:nvSpPr>
          <p:cNvPr id="14" name="Textframe 2096406,5332 - 2">
            <a:extLst>
              <a:ext uri="{FF2B5EF4-FFF2-40B4-BE49-F238E27FC236}">
                <a16:creationId xmlns:a16="http://schemas.microsoft.com/office/drawing/2014/main" id="{79DEBB1C-A2D5-25C2-B1FB-740A1A2E6F47}"/>
              </a:ext>
            </a:extLst>
          </p:cNvPr>
          <p:cNvSpPr txBox="1"/>
          <p:nvPr/>
        </p:nvSpPr>
        <p:spPr>
          <a:xfrm flipH="1">
            <a:off x="319048" y="3692649"/>
            <a:ext cx="727931" cy="2074892"/>
          </a:xfrm>
          <a:prstGeom prst="rect">
            <a:avLst/>
          </a:prstGeom>
          <a:solidFill>
            <a:srgbClr val="1D3D91">
              <a:lumMod val="20000"/>
              <a:lumOff val="80000"/>
            </a:srgbClr>
          </a:solidFill>
          <a:ln w="9525">
            <a:noFill/>
          </a:ln>
          <a:effectLst/>
        </p:spPr>
        <p:txBody>
          <a:bodyPr vert="horz" wrap="square" lIns="33231" tIns="33231" rIns="33231" bIns="33231"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0" fontAlgn="base" latinLnBrk="0" hangingPunct="0">
              <a:lnSpc>
                <a:spcPct val="90000"/>
              </a:lnSpc>
              <a:spcBef>
                <a:spcPts val="369"/>
              </a:spcBef>
              <a:spcAft>
                <a:spcPct val="0"/>
              </a:spcAft>
              <a:buClrTx/>
              <a:buSzPct val="100000"/>
              <a:buFontTx/>
              <a:buNone/>
              <a:tabLst/>
              <a:defRPr/>
            </a:pPr>
            <a:r>
              <a:rPr kumimoji="0" lang="fr-FR" sz="900" b="1" i="0" u="none" strike="noStrike" kern="0" cap="none" spc="0" normalizeH="0" baseline="0" noProof="0">
                <a:ln>
                  <a:noFill/>
                </a:ln>
                <a:solidFill>
                  <a:prstClr val="black"/>
                </a:solidFill>
                <a:effectLst/>
                <a:uLnTx/>
                <a:uFillTx/>
                <a:latin typeface="+mj-lt"/>
                <a:ea typeface="+mn-ea"/>
                <a:cs typeface="Arial Narrow" pitchFamily="34" charset="0"/>
                <a:sym typeface="Arial"/>
              </a:rPr>
              <a:t>Objectifs</a:t>
            </a:r>
          </a:p>
        </p:txBody>
      </p:sp>
      <p:sp>
        <p:nvSpPr>
          <p:cNvPr id="15" name="Rectangle 14">
            <a:extLst>
              <a:ext uri="{FF2B5EF4-FFF2-40B4-BE49-F238E27FC236}">
                <a16:creationId xmlns:a16="http://schemas.microsoft.com/office/drawing/2014/main" id="{5A1329A8-6F60-C9C3-5E39-A13D2EC76CE3}"/>
              </a:ext>
            </a:extLst>
          </p:cNvPr>
          <p:cNvSpPr/>
          <p:nvPr/>
        </p:nvSpPr>
        <p:spPr>
          <a:xfrm>
            <a:off x="1111239" y="1447257"/>
            <a:ext cx="10956566" cy="897551"/>
          </a:xfrm>
          <a:prstGeom prst="rect">
            <a:avLst/>
          </a:prstGeom>
          <a:noFill/>
          <a:ln w="3175" cap="flat" cmpd="sng" algn="ctr">
            <a:solidFill>
              <a:srgbClr val="5C48EC">
                <a:alpha val="84000"/>
              </a:srgbClr>
            </a:solidFill>
            <a:prstDash val="solid"/>
          </a:ln>
          <a:effectLst/>
        </p:spPr>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422031" rtl="0" eaLnBrk="0" fontAlgn="base" latinLnBrk="0" hangingPunct="0">
              <a:lnSpc>
                <a:spcPct val="100000"/>
              </a:lnSpc>
              <a:spcBef>
                <a:spcPct val="0"/>
              </a:spcBef>
              <a:spcAft>
                <a:spcPct val="0"/>
              </a:spcAft>
              <a:buClrTx/>
              <a:buSzTx/>
              <a:buFont typeface="Arial"/>
              <a:buNone/>
              <a:tabLst/>
              <a:defRPr/>
            </a:pPr>
            <a:endParaRPr kumimoji="0" lang="fr-FR" sz="1200" b="1" i="0" u="none" strike="noStrike" kern="0" cap="none" spc="0" normalizeH="0" baseline="0" noProof="0">
              <a:ln>
                <a:noFill/>
              </a:ln>
              <a:solidFill>
                <a:prstClr val="black">
                  <a:lumMod val="65000"/>
                  <a:lumOff val="35000"/>
                </a:prstClr>
              </a:solidFill>
              <a:effectLst/>
              <a:uLnTx/>
              <a:uFillTx/>
              <a:latin typeface="+mj-lt"/>
              <a:ea typeface="+mn-ea"/>
              <a:cs typeface="Arial"/>
              <a:sym typeface="Arial"/>
            </a:endParaRPr>
          </a:p>
        </p:txBody>
      </p:sp>
      <p:graphicFrame>
        <p:nvGraphicFramePr>
          <p:cNvPr id="25" name="Tableau 24">
            <a:extLst>
              <a:ext uri="{FF2B5EF4-FFF2-40B4-BE49-F238E27FC236}">
                <a16:creationId xmlns:a16="http://schemas.microsoft.com/office/drawing/2014/main" id="{002674AB-6B6B-02F7-5E25-0EB30DB53238}"/>
              </a:ext>
            </a:extLst>
          </p:cNvPr>
          <p:cNvGraphicFramePr>
            <a:graphicFrameLocks noGrp="1"/>
          </p:cNvGraphicFramePr>
          <p:nvPr>
            <p:extLst>
              <p:ext uri="{D42A27DB-BD31-4B8C-83A1-F6EECF244321}">
                <p14:modId xmlns:p14="http://schemas.microsoft.com/office/powerpoint/2010/main" val="3764598011"/>
              </p:ext>
            </p:extLst>
          </p:nvPr>
        </p:nvGraphicFramePr>
        <p:xfrm>
          <a:off x="1143989" y="910521"/>
          <a:ext cx="10914048" cy="533400"/>
        </p:xfrm>
        <a:graphic>
          <a:graphicData uri="http://schemas.openxmlformats.org/drawingml/2006/table">
            <a:tbl>
              <a:tblPr firstRow="1" bandRow="1"/>
              <a:tblGrid>
                <a:gridCol w="1212672">
                  <a:extLst>
                    <a:ext uri="{9D8B030D-6E8A-4147-A177-3AD203B41FA5}">
                      <a16:colId xmlns:a16="http://schemas.microsoft.com/office/drawing/2014/main" val="416830968"/>
                    </a:ext>
                  </a:extLst>
                </a:gridCol>
                <a:gridCol w="1212672">
                  <a:extLst>
                    <a:ext uri="{9D8B030D-6E8A-4147-A177-3AD203B41FA5}">
                      <a16:colId xmlns:a16="http://schemas.microsoft.com/office/drawing/2014/main" val="1174715574"/>
                    </a:ext>
                  </a:extLst>
                </a:gridCol>
                <a:gridCol w="1212672">
                  <a:extLst>
                    <a:ext uri="{9D8B030D-6E8A-4147-A177-3AD203B41FA5}">
                      <a16:colId xmlns:a16="http://schemas.microsoft.com/office/drawing/2014/main" val="1302867377"/>
                    </a:ext>
                  </a:extLst>
                </a:gridCol>
                <a:gridCol w="1212672">
                  <a:extLst>
                    <a:ext uri="{9D8B030D-6E8A-4147-A177-3AD203B41FA5}">
                      <a16:colId xmlns:a16="http://schemas.microsoft.com/office/drawing/2014/main" val="3349578771"/>
                    </a:ext>
                  </a:extLst>
                </a:gridCol>
                <a:gridCol w="1212672">
                  <a:extLst>
                    <a:ext uri="{9D8B030D-6E8A-4147-A177-3AD203B41FA5}">
                      <a16:colId xmlns:a16="http://schemas.microsoft.com/office/drawing/2014/main" val="1951632628"/>
                    </a:ext>
                  </a:extLst>
                </a:gridCol>
                <a:gridCol w="1212672">
                  <a:extLst>
                    <a:ext uri="{9D8B030D-6E8A-4147-A177-3AD203B41FA5}">
                      <a16:colId xmlns:a16="http://schemas.microsoft.com/office/drawing/2014/main" val="2942680380"/>
                    </a:ext>
                  </a:extLst>
                </a:gridCol>
                <a:gridCol w="1212672">
                  <a:extLst>
                    <a:ext uri="{9D8B030D-6E8A-4147-A177-3AD203B41FA5}">
                      <a16:colId xmlns:a16="http://schemas.microsoft.com/office/drawing/2014/main" val="1935420894"/>
                    </a:ext>
                  </a:extLst>
                </a:gridCol>
                <a:gridCol w="1212672">
                  <a:extLst>
                    <a:ext uri="{9D8B030D-6E8A-4147-A177-3AD203B41FA5}">
                      <a16:colId xmlns:a16="http://schemas.microsoft.com/office/drawing/2014/main" val="284695835"/>
                    </a:ext>
                  </a:extLst>
                </a:gridCol>
                <a:gridCol w="1212672">
                  <a:extLst>
                    <a:ext uri="{9D8B030D-6E8A-4147-A177-3AD203B41FA5}">
                      <a16:colId xmlns:a16="http://schemas.microsoft.com/office/drawing/2014/main" val="2477462899"/>
                    </a:ext>
                  </a:extLst>
                </a:gridCol>
              </a:tblGrid>
              <a:tr h="194349">
                <a:tc gridSpan="2">
                  <a:txBody>
                    <a:bodyPr/>
                    <a:lstStyle>
                      <a:lvl1pPr marL="0" algn="l" defTabSz="914333" rtl="0" eaLnBrk="1" latinLnBrk="0" hangingPunct="1">
                        <a:defRPr sz="1800" b="1" kern="1200">
                          <a:solidFill>
                            <a:schemeClr val="lt1"/>
                          </a:solidFill>
                          <a:latin typeface="Calibri" panose="020F0502020204030204"/>
                        </a:defRPr>
                      </a:lvl1pPr>
                      <a:lvl2pPr marL="457166" algn="l" defTabSz="914333" rtl="0" eaLnBrk="1" latinLnBrk="0" hangingPunct="1">
                        <a:defRPr sz="1800" b="1" kern="1200">
                          <a:solidFill>
                            <a:schemeClr val="lt1"/>
                          </a:solidFill>
                          <a:latin typeface="Calibri" panose="020F0502020204030204"/>
                        </a:defRPr>
                      </a:lvl2pPr>
                      <a:lvl3pPr marL="914333" algn="l" defTabSz="914333" rtl="0" eaLnBrk="1" latinLnBrk="0" hangingPunct="1">
                        <a:defRPr sz="1800" b="1" kern="1200">
                          <a:solidFill>
                            <a:schemeClr val="lt1"/>
                          </a:solidFill>
                          <a:latin typeface="Calibri" panose="020F0502020204030204"/>
                        </a:defRPr>
                      </a:lvl3pPr>
                      <a:lvl4pPr marL="1371498" algn="l" defTabSz="914333" rtl="0" eaLnBrk="1" latinLnBrk="0" hangingPunct="1">
                        <a:defRPr sz="1800" b="1" kern="1200">
                          <a:solidFill>
                            <a:schemeClr val="lt1"/>
                          </a:solidFill>
                          <a:latin typeface="Calibri" panose="020F0502020204030204"/>
                        </a:defRPr>
                      </a:lvl4pPr>
                      <a:lvl5pPr marL="1828664" algn="l" defTabSz="914333" rtl="0" eaLnBrk="1" latinLnBrk="0" hangingPunct="1">
                        <a:defRPr sz="1800" b="1" kern="1200">
                          <a:solidFill>
                            <a:schemeClr val="lt1"/>
                          </a:solidFill>
                          <a:latin typeface="Calibri" panose="020F0502020204030204"/>
                        </a:defRPr>
                      </a:lvl5pPr>
                      <a:lvl6pPr marL="2285829" algn="l" defTabSz="914333" rtl="0" eaLnBrk="1" latinLnBrk="0" hangingPunct="1">
                        <a:defRPr sz="1800" b="1" kern="1200">
                          <a:solidFill>
                            <a:schemeClr val="lt1"/>
                          </a:solidFill>
                          <a:latin typeface="Calibri" panose="020F0502020204030204"/>
                        </a:defRPr>
                      </a:lvl6pPr>
                      <a:lvl7pPr marL="2742995" algn="l" defTabSz="914333" rtl="0" eaLnBrk="1" latinLnBrk="0" hangingPunct="1">
                        <a:defRPr sz="1800" b="1" kern="1200">
                          <a:solidFill>
                            <a:schemeClr val="lt1"/>
                          </a:solidFill>
                          <a:latin typeface="Calibri" panose="020F0502020204030204"/>
                        </a:defRPr>
                      </a:lvl7pPr>
                      <a:lvl8pPr marL="3200160" algn="l" defTabSz="914333" rtl="0" eaLnBrk="1" latinLnBrk="0" hangingPunct="1">
                        <a:defRPr sz="1800" b="1" kern="1200">
                          <a:solidFill>
                            <a:schemeClr val="lt1"/>
                          </a:solidFill>
                          <a:latin typeface="Calibri" panose="020F0502020204030204"/>
                        </a:defRPr>
                      </a:lvl8pPr>
                      <a:lvl9pPr marL="3657326" algn="l" defTabSz="914333" rtl="0" eaLnBrk="1" latinLnBrk="0" hangingPunct="1">
                        <a:defRPr sz="1800" b="1" kern="1200">
                          <a:solidFill>
                            <a:schemeClr val="lt1"/>
                          </a:solidFill>
                          <a:latin typeface="Calibri" panose="020F0502020204030204"/>
                        </a:defRPr>
                      </a:lvl9pPr>
                    </a:lstStyle>
                    <a:p>
                      <a:pPr marL="0" marR="0" lvl="0" algn="ctr" defTabSz="914333" rtl="0" eaLnBrk="1" latinLnBrk="0" hangingPunct="1">
                        <a:lnSpc>
                          <a:spcPct val="100000"/>
                        </a:lnSpc>
                        <a:spcBef>
                          <a:spcPts val="0"/>
                        </a:spcBef>
                        <a:spcAft>
                          <a:spcPts val="0"/>
                        </a:spcAft>
                        <a:buClr>
                          <a:srgbClr val="000000"/>
                        </a:buClr>
                        <a:buFont typeface="Arial"/>
                        <a:buNone/>
                      </a:pPr>
                      <a:r>
                        <a:rPr lang="fr-FR" sz="1300" b="1" i="0" u="none" strike="noStrike" kern="1200" cap="none">
                          <a:solidFill>
                            <a:schemeClr val="bg2">
                              <a:lumMod val="10000"/>
                            </a:schemeClr>
                          </a:solidFill>
                          <a:latin typeface="Calibri" panose="020F0502020204030204"/>
                          <a:ea typeface="+mn-ea"/>
                          <a:cs typeface="+mn-cs"/>
                          <a:sym typeface="Arial"/>
                        </a:rPr>
                        <a:t>Février</a:t>
                      </a:r>
                    </a:p>
                  </a:txBody>
                  <a:tcPr marL="27270" marR="27270" marT="34290" marB="3429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r-FR" sz="800">
                        <a:solidFill>
                          <a:schemeClr val="bg2">
                            <a:lumMod val="10000"/>
                          </a:schemeClr>
                        </a:solidFill>
                      </a:endParaRPr>
                    </a:p>
                  </a:txBody>
                  <a:tcPr marL="27270" marR="27270" marT="34290" marB="3429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333" rtl="0" eaLnBrk="1" latinLnBrk="0" hangingPunct="1">
                        <a:defRPr sz="1800" b="1" kern="1200">
                          <a:solidFill>
                            <a:schemeClr val="lt1"/>
                          </a:solidFill>
                          <a:latin typeface="Calibri" panose="020F0502020204030204"/>
                        </a:defRPr>
                      </a:lvl1pPr>
                      <a:lvl2pPr marL="457166" algn="l" defTabSz="914333" rtl="0" eaLnBrk="1" latinLnBrk="0" hangingPunct="1">
                        <a:defRPr sz="1800" b="1" kern="1200">
                          <a:solidFill>
                            <a:schemeClr val="lt1"/>
                          </a:solidFill>
                          <a:latin typeface="Calibri" panose="020F0502020204030204"/>
                        </a:defRPr>
                      </a:lvl2pPr>
                      <a:lvl3pPr marL="914333" algn="l" defTabSz="914333" rtl="0" eaLnBrk="1" latinLnBrk="0" hangingPunct="1">
                        <a:defRPr sz="1800" b="1" kern="1200">
                          <a:solidFill>
                            <a:schemeClr val="lt1"/>
                          </a:solidFill>
                          <a:latin typeface="Calibri" panose="020F0502020204030204"/>
                        </a:defRPr>
                      </a:lvl3pPr>
                      <a:lvl4pPr marL="1371498" algn="l" defTabSz="914333" rtl="0" eaLnBrk="1" latinLnBrk="0" hangingPunct="1">
                        <a:defRPr sz="1800" b="1" kern="1200">
                          <a:solidFill>
                            <a:schemeClr val="lt1"/>
                          </a:solidFill>
                          <a:latin typeface="Calibri" panose="020F0502020204030204"/>
                        </a:defRPr>
                      </a:lvl4pPr>
                      <a:lvl5pPr marL="1828664" algn="l" defTabSz="914333" rtl="0" eaLnBrk="1" latinLnBrk="0" hangingPunct="1">
                        <a:defRPr sz="1800" b="1" kern="1200">
                          <a:solidFill>
                            <a:schemeClr val="lt1"/>
                          </a:solidFill>
                          <a:latin typeface="Calibri" panose="020F0502020204030204"/>
                        </a:defRPr>
                      </a:lvl5pPr>
                      <a:lvl6pPr marL="2285829" algn="l" defTabSz="914333" rtl="0" eaLnBrk="1" latinLnBrk="0" hangingPunct="1">
                        <a:defRPr sz="1800" b="1" kern="1200">
                          <a:solidFill>
                            <a:schemeClr val="lt1"/>
                          </a:solidFill>
                          <a:latin typeface="Calibri" panose="020F0502020204030204"/>
                        </a:defRPr>
                      </a:lvl6pPr>
                      <a:lvl7pPr marL="2742995" algn="l" defTabSz="914333" rtl="0" eaLnBrk="1" latinLnBrk="0" hangingPunct="1">
                        <a:defRPr sz="1800" b="1" kern="1200">
                          <a:solidFill>
                            <a:schemeClr val="lt1"/>
                          </a:solidFill>
                          <a:latin typeface="Calibri" panose="020F0502020204030204"/>
                        </a:defRPr>
                      </a:lvl7pPr>
                      <a:lvl8pPr marL="3200160" algn="l" defTabSz="914333" rtl="0" eaLnBrk="1" latinLnBrk="0" hangingPunct="1">
                        <a:defRPr sz="1800" b="1" kern="1200">
                          <a:solidFill>
                            <a:schemeClr val="lt1"/>
                          </a:solidFill>
                          <a:latin typeface="Calibri" panose="020F0502020204030204"/>
                        </a:defRPr>
                      </a:lvl8pPr>
                      <a:lvl9pPr marL="3657326" algn="l" defTabSz="914333" rtl="0" eaLnBrk="1" latinLnBrk="0" hangingPunct="1">
                        <a:defRPr sz="1800" b="1" kern="1200">
                          <a:solidFill>
                            <a:schemeClr val="lt1"/>
                          </a:solidFill>
                          <a:latin typeface="Calibri" panose="020F0502020204030204"/>
                        </a:defRPr>
                      </a:lvl9pPr>
                    </a:lstStyle>
                    <a:p>
                      <a:pPr marL="0" marR="0" lvl="0" algn="ctr" defTabSz="914333" rtl="0" eaLnBrk="1" latinLnBrk="0" hangingPunct="1">
                        <a:lnSpc>
                          <a:spcPct val="100000"/>
                        </a:lnSpc>
                        <a:spcBef>
                          <a:spcPts val="0"/>
                        </a:spcBef>
                        <a:spcAft>
                          <a:spcPts val="0"/>
                        </a:spcAft>
                        <a:buClr>
                          <a:srgbClr val="000000"/>
                        </a:buClr>
                        <a:buFont typeface="Arial"/>
                        <a:buNone/>
                      </a:pPr>
                      <a:r>
                        <a:rPr lang="fr-FR" sz="1300" b="1" i="0" u="none" strike="noStrike" kern="1200" cap="none">
                          <a:solidFill>
                            <a:schemeClr val="bg2">
                              <a:lumMod val="10000"/>
                            </a:schemeClr>
                          </a:solidFill>
                          <a:latin typeface="Calibri" panose="020F0502020204030204"/>
                          <a:ea typeface="+mn-ea"/>
                          <a:cs typeface="+mn-cs"/>
                          <a:sym typeface="Arial"/>
                        </a:rPr>
                        <a:t>Mars </a:t>
                      </a:r>
                    </a:p>
                  </a:txBody>
                  <a:tcPr marL="36360" marR="363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lvl1pPr marL="0" algn="l" defTabSz="914333" rtl="0" eaLnBrk="1" latinLnBrk="0" hangingPunct="1">
                        <a:defRPr sz="1800" b="1" kern="1200">
                          <a:solidFill>
                            <a:schemeClr val="lt1"/>
                          </a:solidFill>
                          <a:latin typeface="Calibri" panose="020F0502020204030204"/>
                        </a:defRPr>
                      </a:lvl1pPr>
                      <a:lvl2pPr marL="457166" algn="l" defTabSz="914333" rtl="0" eaLnBrk="1" latinLnBrk="0" hangingPunct="1">
                        <a:defRPr sz="1800" b="1" kern="1200">
                          <a:solidFill>
                            <a:schemeClr val="lt1"/>
                          </a:solidFill>
                          <a:latin typeface="Calibri" panose="020F0502020204030204"/>
                        </a:defRPr>
                      </a:lvl2pPr>
                      <a:lvl3pPr marL="914333" algn="l" defTabSz="914333" rtl="0" eaLnBrk="1" latinLnBrk="0" hangingPunct="1">
                        <a:defRPr sz="1800" b="1" kern="1200">
                          <a:solidFill>
                            <a:schemeClr val="lt1"/>
                          </a:solidFill>
                          <a:latin typeface="Calibri" panose="020F0502020204030204"/>
                        </a:defRPr>
                      </a:lvl3pPr>
                      <a:lvl4pPr marL="1371498" algn="l" defTabSz="914333" rtl="0" eaLnBrk="1" latinLnBrk="0" hangingPunct="1">
                        <a:defRPr sz="1800" b="1" kern="1200">
                          <a:solidFill>
                            <a:schemeClr val="lt1"/>
                          </a:solidFill>
                          <a:latin typeface="Calibri" panose="020F0502020204030204"/>
                        </a:defRPr>
                      </a:lvl4pPr>
                      <a:lvl5pPr marL="1828664" algn="l" defTabSz="914333" rtl="0" eaLnBrk="1" latinLnBrk="0" hangingPunct="1">
                        <a:defRPr sz="1800" b="1" kern="1200">
                          <a:solidFill>
                            <a:schemeClr val="lt1"/>
                          </a:solidFill>
                          <a:latin typeface="Calibri" panose="020F0502020204030204"/>
                        </a:defRPr>
                      </a:lvl5pPr>
                      <a:lvl6pPr marL="2285829" algn="l" defTabSz="914333" rtl="0" eaLnBrk="1" latinLnBrk="0" hangingPunct="1">
                        <a:defRPr sz="1800" b="1" kern="1200">
                          <a:solidFill>
                            <a:schemeClr val="lt1"/>
                          </a:solidFill>
                          <a:latin typeface="Calibri" panose="020F0502020204030204"/>
                        </a:defRPr>
                      </a:lvl6pPr>
                      <a:lvl7pPr marL="2742995" algn="l" defTabSz="914333" rtl="0" eaLnBrk="1" latinLnBrk="0" hangingPunct="1">
                        <a:defRPr sz="1800" b="1" kern="1200">
                          <a:solidFill>
                            <a:schemeClr val="lt1"/>
                          </a:solidFill>
                          <a:latin typeface="Calibri" panose="020F0502020204030204"/>
                        </a:defRPr>
                      </a:lvl7pPr>
                      <a:lvl8pPr marL="3200160" algn="l" defTabSz="914333" rtl="0" eaLnBrk="1" latinLnBrk="0" hangingPunct="1">
                        <a:defRPr sz="1800" b="1" kern="1200">
                          <a:solidFill>
                            <a:schemeClr val="lt1"/>
                          </a:solidFill>
                          <a:latin typeface="Calibri" panose="020F0502020204030204"/>
                        </a:defRPr>
                      </a:lvl8pPr>
                      <a:lvl9pPr marL="3657326" algn="l" defTabSz="914333" rtl="0" eaLnBrk="1" latinLnBrk="0" hangingPunct="1">
                        <a:defRPr sz="1800" b="1" kern="1200">
                          <a:solidFill>
                            <a:schemeClr val="lt1"/>
                          </a:solidFill>
                          <a:latin typeface="Calibri" panose="020F0502020204030204"/>
                        </a:defRPr>
                      </a:lvl9pPr>
                    </a:lstStyle>
                    <a:p>
                      <a:pPr algn="ctr"/>
                      <a:endParaRPr lang="fr-FR" sz="800">
                        <a:solidFill>
                          <a:schemeClr val="bg2">
                            <a:lumMod val="10000"/>
                          </a:schemeClr>
                        </a:solidFill>
                      </a:endParaRPr>
                    </a:p>
                  </a:txBody>
                  <a:tcPr marL="27270" marR="27270" marT="34290" marB="3429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marL="36359" marR="36359">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hMerge="1">
                  <a:txBody>
                    <a:bodyPr/>
                    <a:lstStyle/>
                    <a:p>
                      <a:endParaRPr lang="fr-FR"/>
                    </a:p>
                  </a:txBody>
                  <a:tcPr marL="36358" marR="36358">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gridSpan="3">
                  <a:txBody>
                    <a:bodyPr/>
                    <a:lstStyle/>
                    <a:p>
                      <a:pPr lvl="0" algn="ctr">
                        <a:buNone/>
                      </a:pPr>
                      <a:r>
                        <a:rPr lang="fr-FR" sz="1300" b="1">
                          <a:solidFill>
                            <a:schemeClr val="bg2">
                              <a:lumMod val="10000"/>
                            </a:schemeClr>
                          </a:solidFill>
                        </a:rPr>
                        <a:t>Avril</a:t>
                      </a:r>
                    </a:p>
                  </a:txBody>
                  <a:tcPr marL="36358" marR="36358">
                    <a:lnL w="12700">
                      <a:solidFill>
                        <a:sysClr val="window" lastClr="FFFFFF">
                          <a:lumMod val="75000"/>
                        </a:sysClr>
                      </a:solidFill>
                    </a:lnL>
                    <a:lnR w="12700">
                      <a:solidFill>
                        <a:sysClr val="window" lastClr="FFFFFF">
                          <a:lumMod val="75000"/>
                        </a:sysClr>
                      </a:solidFill>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hMerge="1">
                  <a:txBody>
                    <a:bodyPr/>
                    <a:lstStyle/>
                    <a:p>
                      <a:endParaRPr lang="fr-FR"/>
                    </a:p>
                  </a:txBody>
                  <a:tcPr marL="36358" marR="36358">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hMerge="1">
                  <a:txBody>
                    <a:bodyPr/>
                    <a:lstStyle/>
                    <a:p>
                      <a:endParaRPr lang="fr-FR"/>
                    </a:p>
                  </a:txBody>
                  <a:tcPr/>
                </a:tc>
                <a:extLst>
                  <a:ext uri="{0D108BD9-81ED-4DB2-BD59-A6C34878D82A}">
                    <a16:rowId xmlns:a16="http://schemas.microsoft.com/office/drawing/2014/main" val="4199388542"/>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0" i="0" u="none" strike="noStrike" kern="0" cap="none" spc="0" normalizeH="0" baseline="0" noProof="0">
                          <a:ln>
                            <a:noFill/>
                          </a:ln>
                          <a:solidFill>
                            <a:srgbClr val="44398A">
                              <a:lumMod val="10000"/>
                            </a:srgbClr>
                          </a:solidFill>
                          <a:effectLst/>
                          <a:uLnTx/>
                          <a:uFillTx/>
                          <a:latin typeface="Calibri"/>
                          <a:ea typeface="+mn-ea"/>
                          <a:cs typeface="Calibri"/>
                          <a:sym typeface="Arial"/>
                        </a:rPr>
                        <a:t>19/02</a:t>
                      </a:r>
                    </a:p>
                  </a:txBody>
                  <a:tcPr marL="36360" marR="363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0" i="0" u="none" strike="noStrike" kern="0" cap="none" spc="0" normalizeH="0" baseline="0" noProof="0">
                          <a:ln>
                            <a:noFill/>
                          </a:ln>
                          <a:solidFill>
                            <a:srgbClr val="44398A">
                              <a:lumMod val="10000"/>
                            </a:srgbClr>
                          </a:solidFill>
                          <a:effectLst/>
                          <a:uLnTx/>
                          <a:uFillTx/>
                          <a:latin typeface="Calibri"/>
                          <a:ea typeface="+mn-ea"/>
                          <a:cs typeface="Calibri"/>
                          <a:sym typeface="Arial"/>
                        </a:rPr>
                        <a:t>26/02</a:t>
                      </a:r>
                    </a:p>
                  </a:txBody>
                  <a:tcPr marL="36360" marR="363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fr-FR" sz="1000" b="0">
                          <a:solidFill>
                            <a:schemeClr val="bg2">
                              <a:lumMod val="10000"/>
                            </a:schemeClr>
                          </a:solidFill>
                          <a:latin typeface="Calibri"/>
                          <a:cs typeface="Calibri"/>
                        </a:rPr>
                        <a:t>4/3</a:t>
                      </a:r>
                    </a:p>
                  </a:txBody>
                  <a:tcPr marL="36360" marR="363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fr-FR" sz="1000" b="0">
                          <a:solidFill>
                            <a:schemeClr val="bg2">
                              <a:lumMod val="10000"/>
                            </a:schemeClr>
                          </a:solidFill>
                          <a:latin typeface="Calibri"/>
                          <a:cs typeface="Calibri"/>
                        </a:rPr>
                        <a:t>11/3</a:t>
                      </a:r>
                    </a:p>
                  </a:txBody>
                  <a:tcPr marL="36360" marR="363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fr-FR" sz="1000" b="0">
                          <a:solidFill>
                            <a:schemeClr val="bg2">
                              <a:lumMod val="10000"/>
                            </a:schemeClr>
                          </a:solidFill>
                          <a:latin typeface="Calibri"/>
                          <a:cs typeface="Calibri"/>
                        </a:rPr>
                        <a:t>18/3</a:t>
                      </a:r>
                    </a:p>
                  </a:txBody>
                  <a:tcPr marL="36359" marR="36359">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a:txBody>
                    <a:bodyPr/>
                    <a:lstStyle/>
                    <a:p>
                      <a:pPr lvl="0" algn="l">
                        <a:buNone/>
                      </a:pPr>
                      <a:r>
                        <a:rPr lang="fr-FR" sz="1000" b="0">
                          <a:solidFill>
                            <a:schemeClr val="bg2">
                              <a:lumMod val="10000"/>
                            </a:schemeClr>
                          </a:solidFill>
                          <a:latin typeface="Calibri"/>
                          <a:cs typeface="Calibri"/>
                        </a:rPr>
                        <a:t>25/3</a:t>
                      </a:r>
                    </a:p>
                  </a:txBody>
                  <a:tcPr marL="36358" marR="36358">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a:txBody>
                    <a:bodyPr/>
                    <a:lstStyle/>
                    <a:p>
                      <a:pPr lvl="0" algn="l">
                        <a:buNone/>
                      </a:pPr>
                      <a:r>
                        <a:rPr lang="fr-FR" sz="1000" b="0">
                          <a:solidFill>
                            <a:schemeClr val="bg2">
                              <a:lumMod val="10000"/>
                            </a:schemeClr>
                          </a:solidFill>
                          <a:latin typeface="Calibri"/>
                          <a:cs typeface="Calibri"/>
                        </a:rPr>
                        <a:t>1/4</a:t>
                      </a:r>
                    </a:p>
                  </a:txBody>
                  <a:tcPr marL="36358" marR="36358">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a:txBody>
                    <a:bodyPr/>
                    <a:lstStyle/>
                    <a:p>
                      <a:pPr lvl="0" algn="l">
                        <a:buNone/>
                      </a:pPr>
                      <a:r>
                        <a:rPr lang="fr-FR" sz="1000" b="0">
                          <a:solidFill>
                            <a:schemeClr val="bg2">
                              <a:lumMod val="10000"/>
                            </a:schemeClr>
                          </a:solidFill>
                          <a:latin typeface="Calibri"/>
                          <a:cs typeface="Calibri"/>
                        </a:rPr>
                        <a:t>8/4</a:t>
                      </a:r>
                    </a:p>
                  </a:txBody>
                  <a:tcPr marL="36358" marR="36358">
                    <a:lnL w="12700">
                      <a:solidFill>
                        <a:sysClr val="window" lastClr="FFFFFF">
                          <a:lumMod val="75000"/>
                        </a:sysClr>
                      </a:solidFill>
                    </a:lnL>
                    <a:lnR w="12700" cap="flat" cmpd="sng" algn="ctr">
                      <a:solidFill>
                        <a:sysClr val="window" lastClr="FFFFFF">
                          <a:lumMod val="75000"/>
                        </a:sysClr>
                      </a:solidFill>
                      <a:prstDash val="solid"/>
                      <a:round/>
                      <a:headEnd type="none" w="med" len="med"/>
                      <a:tailEnd type="none" w="med" len="med"/>
                    </a:lnR>
                    <a:lnT w="12700">
                      <a:solidFill>
                        <a:sysClr val="window" lastClr="FFFFFF">
                          <a:lumMod val="75000"/>
                        </a:sysClr>
                      </a:solidFill>
                    </a:lnT>
                    <a:lnB w="12700">
                      <a:solidFill>
                        <a:sysClr val="window" lastClr="FFFFFF">
                          <a:lumMod val="75000"/>
                        </a:sysClr>
                      </a:solidFill>
                    </a:lnB>
                    <a:lnTlToBr w="0">
                      <a:noFill/>
                    </a:lnTlToBr>
                    <a:lnBlToTr w="0">
                      <a:noFill/>
                    </a:lnBlToTr>
                    <a:solidFill>
                      <a:schemeClr val="bg1">
                        <a:lumMod val="95000"/>
                      </a:schemeClr>
                    </a:solidFill>
                  </a:tcPr>
                </a:tc>
                <a:tc>
                  <a:txBody>
                    <a:bodyPr/>
                    <a:lstStyle/>
                    <a:p>
                      <a:pPr lvl="0" algn="l">
                        <a:buNone/>
                      </a:pPr>
                      <a:r>
                        <a:rPr lang="fr-FR" sz="1000" b="0">
                          <a:solidFill>
                            <a:schemeClr val="bg2">
                              <a:lumMod val="10000"/>
                            </a:schemeClr>
                          </a:solidFill>
                          <a:latin typeface="Calibri"/>
                          <a:cs typeface="Calibri"/>
                        </a:rPr>
                        <a:t>15/4</a:t>
                      </a:r>
                    </a:p>
                  </a:txBody>
                  <a:tcPr marL="36358" marR="36358">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1259326326"/>
                  </a:ext>
                </a:extLst>
              </a:tr>
            </a:tbl>
          </a:graphicData>
        </a:graphic>
      </p:graphicFrame>
      <p:sp>
        <p:nvSpPr>
          <p:cNvPr id="16" name="Pentagon 15">
            <a:extLst>
              <a:ext uri="{FF2B5EF4-FFF2-40B4-BE49-F238E27FC236}">
                <a16:creationId xmlns:a16="http://schemas.microsoft.com/office/drawing/2014/main" id="{C4637428-3174-4A3E-7BD6-E1E52594472E}"/>
              </a:ext>
            </a:extLst>
          </p:cNvPr>
          <p:cNvSpPr>
            <a:spLocks/>
          </p:cNvSpPr>
          <p:nvPr>
            <p:custDataLst>
              <p:tags r:id="rId1"/>
            </p:custDataLst>
          </p:nvPr>
        </p:nvSpPr>
        <p:spPr>
          <a:xfrm>
            <a:off x="1169309" y="1483935"/>
            <a:ext cx="1195783" cy="252000"/>
          </a:xfrm>
          <a:prstGeom prst="homePlate">
            <a:avLst>
              <a:gd name="adj" fmla="val 14438"/>
            </a:avLst>
          </a:prstGeom>
          <a:solidFill>
            <a:srgbClr val="002060"/>
          </a:solidFill>
          <a:ln w="9525">
            <a:solidFill>
              <a:sysClr val="window" lastClr="FFFFFF"/>
            </a:solidFill>
          </a:ln>
          <a:effectLst/>
        </p:spPr>
        <p:txBody>
          <a:bodyPr vert="horz" wrap="square" lIns="144000" tIns="0" rIns="0" bIns="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defTabSz="914377">
              <a:spcBef>
                <a:spcPts val="369"/>
              </a:spcBef>
              <a:buClrTx/>
              <a:defRPr/>
            </a:pPr>
            <a:r>
              <a:rPr lang="fr-FR" sz="1050" b="1">
                <a:solidFill>
                  <a:prstClr val="white"/>
                </a:solidFill>
                <a:latin typeface="+mj-lt"/>
                <a:ea typeface="ＭＳ Ｐゴシック"/>
                <a:cs typeface="Calibri"/>
              </a:rPr>
              <a:t>Cadrage</a:t>
            </a:r>
          </a:p>
        </p:txBody>
      </p:sp>
      <p:sp>
        <p:nvSpPr>
          <p:cNvPr id="17" name="Espace réservé du contenu 3">
            <a:extLst>
              <a:ext uri="{FF2B5EF4-FFF2-40B4-BE49-F238E27FC236}">
                <a16:creationId xmlns:a16="http://schemas.microsoft.com/office/drawing/2014/main" id="{C78804CD-DE30-6511-DE0B-23188EA98E12}"/>
              </a:ext>
            </a:extLst>
          </p:cNvPr>
          <p:cNvSpPr txBox="1">
            <a:spLocks/>
          </p:cNvSpPr>
          <p:nvPr/>
        </p:nvSpPr>
        <p:spPr>
          <a:xfrm>
            <a:off x="4299608" y="5816996"/>
            <a:ext cx="3769429" cy="1056000"/>
          </a:xfrm>
          <a:prstGeom prst="rect">
            <a:avLst/>
          </a:prstGeom>
        </p:spPr>
        <p:txBody>
          <a:bodyPr vert="horz" lIns="36000" tIns="36000" rIns="36000" bIns="3600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Description des processus étudier et analyse qualitative et quantitative</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Liste des difficultés / manques identifiés et de leurs causes racines</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kumimoji="0" lang="fr-FR" sz="800" b="0" i="0" u="none" strike="noStrike" kern="1200" cap="none" spc="0" normalizeH="0" baseline="0" noProof="0">
                <a:ln>
                  <a:noFill/>
                </a:ln>
                <a:solidFill>
                  <a:prstClr val="black">
                    <a:lumMod val="75000"/>
                    <a:lumOff val="25000"/>
                  </a:prstClr>
                </a:solidFill>
                <a:effectLst/>
                <a:uLnTx/>
                <a:uFillTx/>
                <a:latin typeface="+mj-lt"/>
                <a:cs typeface="Calibri"/>
                <a:sym typeface="Arial"/>
              </a:rPr>
              <a:t>Synthèse de l’existant mettant en relief les points positifs et les principaux axes d’optimisation sur </a:t>
            </a:r>
            <a:r>
              <a:rPr lang="fr-FR" sz="800">
                <a:solidFill>
                  <a:prstClr val="black">
                    <a:lumMod val="75000"/>
                    <a:lumOff val="25000"/>
                  </a:prstClr>
                </a:solidFill>
                <a:latin typeface="+mj-lt"/>
                <a:cs typeface="Calibri"/>
              </a:rPr>
              <a:t>chaque volet : organisation &amp; compétences / process / outil</a:t>
            </a:r>
            <a:endParaRPr kumimoji="0" lang="fr-FR" sz="800" b="0" i="0" u="none" strike="noStrike" kern="1200" cap="none" spc="0" normalizeH="0" baseline="0" noProof="0">
              <a:ln>
                <a:noFill/>
              </a:ln>
              <a:solidFill>
                <a:prstClr val="black">
                  <a:lumMod val="75000"/>
                  <a:lumOff val="25000"/>
                </a:prstClr>
              </a:solidFill>
              <a:effectLst/>
              <a:uLnTx/>
              <a:uFillTx/>
              <a:latin typeface="+mj-lt"/>
              <a:ea typeface="+mn-ea"/>
              <a:cs typeface="Calibri"/>
              <a:sym typeface="Arial"/>
            </a:endParaRPr>
          </a:p>
        </p:txBody>
      </p:sp>
      <p:sp>
        <p:nvSpPr>
          <p:cNvPr id="18" name="Espace réservé du contenu 3 - 3">
            <a:extLst>
              <a:ext uri="{FF2B5EF4-FFF2-40B4-BE49-F238E27FC236}">
                <a16:creationId xmlns:a16="http://schemas.microsoft.com/office/drawing/2014/main" id="{FA6A2FC4-2315-7E54-5747-154BECA55AAF}"/>
              </a:ext>
            </a:extLst>
          </p:cNvPr>
          <p:cNvSpPr txBox="1">
            <a:spLocks/>
          </p:cNvSpPr>
          <p:nvPr/>
        </p:nvSpPr>
        <p:spPr>
          <a:xfrm>
            <a:off x="8350268" y="5790600"/>
            <a:ext cx="3162807" cy="1056000"/>
          </a:xfrm>
          <a:prstGeom prst="rect">
            <a:avLst/>
          </a:prstGeom>
        </p:spPr>
        <p:txBody>
          <a:bodyPr vert="horz" lIns="36000" tIns="36000" rIns="36000" bIns="3600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Macro chiffrage des solutions et des gains estimés</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Liste priorisée des actions à mettre en œuvre</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Projets à lancer en priorité</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Feuille de route (macro-planning)</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Stratégie de mise en œuvre</a:t>
            </a:r>
          </a:p>
          <a:p>
            <a:pPr marL="171446" lvl="1" indent="-171446" defTabSz="514308">
              <a:spcAft>
                <a:spcPts val="151"/>
              </a:spcAft>
              <a:buClr>
                <a:srgbClr val="0091FF">
                  <a:lumMod val="75000"/>
                </a:srgbClr>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Liste des points à approfondir</a:t>
            </a:r>
          </a:p>
          <a:p>
            <a:pPr marL="0" lvl="1" defTabSz="514308">
              <a:spcAft>
                <a:spcPts val="151"/>
              </a:spcAft>
              <a:buClr>
                <a:srgbClr val="0091FF">
                  <a:lumMod val="75000"/>
                </a:srgbClr>
              </a:buClr>
              <a:buSzPct val="100000"/>
              <a:defRPr/>
            </a:pPr>
            <a:r>
              <a:rPr lang="fr-FR" sz="800">
                <a:solidFill>
                  <a:prstClr val="black">
                    <a:lumMod val="75000"/>
                    <a:lumOff val="25000"/>
                  </a:prstClr>
                </a:solidFill>
                <a:latin typeface="+mj-lt"/>
                <a:cs typeface="Calibri"/>
              </a:rPr>
              <a:t> </a:t>
            </a:r>
          </a:p>
        </p:txBody>
      </p:sp>
      <p:sp>
        <p:nvSpPr>
          <p:cNvPr id="20" name="Freeform 156">
            <a:extLst>
              <a:ext uri="{FF2B5EF4-FFF2-40B4-BE49-F238E27FC236}">
                <a16:creationId xmlns:a16="http://schemas.microsoft.com/office/drawing/2014/main" id="{A7144061-CC12-81C0-FA8B-9FA94C621A06}"/>
              </a:ext>
            </a:extLst>
          </p:cNvPr>
          <p:cNvSpPr>
            <a:spLocks/>
          </p:cNvSpPr>
          <p:nvPr/>
        </p:nvSpPr>
        <p:spPr>
          <a:xfrm>
            <a:off x="1107281" y="3692829"/>
            <a:ext cx="3038125" cy="2074892"/>
          </a:xfrm>
          <a:prstGeom prst="rect">
            <a:avLst/>
          </a:prstGeom>
          <a:solidFill>
            <a:srgbClr val="002060"/>
          </a:solidFill>
          <a:ln w="6350" cap="flat" cmpd="sng" algn="ctr">
            <a:noFill/>
            <a:prstDash val="solid"/>
            <a:tailEnd type="triangle" w="lg" len="lg"/>
          </a:ln>
          <a:effectLst/>
        </p:spPr>
        <p:txBody>
          <a:bodyPr lIns="108000" tIns="36000" rIns="3600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2" marR="0" lvl="0" indent="-171442" algn="l" defTabSz="844042"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0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Valider avec le sponsor le périmètre (processus à étudier), les objectifs et les critères de succès de la mission</a:t>
            </a:r>
          </a:p>
          <a:p>
            <a:pPr marL="171442" marR="0" lvl="0" indent="-171442" algn="l" defTabSz="844042"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0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Structurer les outils de travail (questionnaires, grilles d’analyse, de maturité) </a:t>
            </a:r>
          </a:p>
          <a:p>
            <a:pPr marL="171442" marR="0" lvl="0" indent="-171442" algn="l" defTabSz="844042" rtl="0" eaLnBrk="1" fontAlgn="base" latinLnBrk="0" hangingPunct="1">
              <a:lnSpc>
                <a:spcPct val="100000"/>
              </a:lnSpc>
              <a:spcBef>
                <a:spcPct val="0"/>
              </a:spcBef>
              <a:spcAft>
                <a:spcPct val="0"/>
              </a:spcAft>
              <a:buClrTx/>
              <a:buSzTx/>
              <a:buFont typeface="Wingdings" panose="05000000000000000000" pitchFamily="2" charset="2"/>
              <a:buChar char="§"/>
              <a:tabLst/>
              <a:defRPr/>
            </a:pPr>
            <a:r>
              <a:rPr lang="fr-FR" sz="1000">
                <a:solidFill>
                  <a:prstClr val="white"/>
                </a:solidFill>
                <a:latin typeface="+mj-lt"/>
                <a:ea typeface="+mn-ea"/>
                <a:cs typeface="Arial" panose="020B0604020202020204" pitchFamily="34" charset="0"/>
              </a:rPr>
              <a:t>Planifier</a:t>
            </a:r>
            <a:r>
              <a:rPr kumimoji="0" lang="fr-FR" sz="10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 les entretiens, ateliers, immersions</a:t>
            </a:r>
          </a:p>
          <a:p>
            <a:pPr marL="171442" indent="-171442" defTabSz="844042" fontAlgn="base">
              <a:spcBef>
                <a:spcPct val="0"/>
              </a:spcBef>
              <a:spcAft>
                <a:spcPct val="0"/>
              </a:spcAft>
              <a:buClrTx/>
              <a:buFont typeface="Wingdings" panose="05000000000000000000" pitchFamily="2" charset="2"/>
              <a:buChar char="§"/>
              <a:defRPr/>
            </a:pPr>
            <a:r>
              <a:rPr lang="fr-FR" sz="1000">
                <a:solidFill>
                  <a:prstClr val="white"/>
                </a:solidFill>
                <a:latin typeface="+mj-lt"/>
                <a:ea typeface="+mn-ea"/>
                <a:cs typeface="Arial" panose="020B0604020202020204" pitchFamily="34" charset="0"/>
              </a:rPr>
              <a:t>Recueillir la documentation utile au diagnostic</a:t>
            </a:r>
          </a:p>
          <a:p>
            <a:pPr marL="171442" marR="0" lvl="0" indent="-171442" algn="l" defTabSz="844042"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0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Installer le dispositif de pilotage et les instances</a:t>
            </a:r>
          </a:p>
          <a:p>
            <a:pPr marL="171442" marR="0" lvl="0" indent="-171442" algn="l" defTabSz="844042"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0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Définir précisément les livrables</a:t>
            </a:r>
          </a:p>
          <a:p>
            <a:pPr marL="171442" marR="0" lvl="0" indent="-171442" algn="l" defTabSz="844042"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0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Mobiliser les acteurs de l’étude</a:t>
            </a:r>
          </a:p>
          <a:p>
            <a:pPr marR="0" lvl="0" algn="l" defTabSz="844042" rtl="0" eaLnBrk="1" fontAlgn="base" latinLnBrk="0" hangingPunct="1">
              <a:lnSpc>
                <a:spcPct val="100000"/>
              </a:lnSpc>
              <a:spcBef>
                <a:spcPct val="0"/>
              </a:spcBef>
              <a:spcAft>
                <a:spcPct val="0"/>
              </a:spcAft>
              <a:buClrTx/>
              <a:buSzTx/>
              <a:tabLst/>
              <a:defRPr/>
            </a:pPr>
            <a:endParaRPr kumimoji="0" lang="fr-FR" sz="105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endParaRPr>
          </a:p>
        </p:txBody>
      </p:sp>
      <p:sp>
        <p:nvSpPr>
          <p:cNvPr id="21" name="Freeform 156">
            <a:extLst>
              <a:ext uri="{FF2B5EF4-FFF2-40B4-BE49-F238E27FC236}">
                <a16:creationId xmlns:a16="http://schemas.microsoft.com/office/drawing/2014/main" id="{7A36680B-6E77-1CAE-95FC-45CF4F49C36E}"/>
              </a:ext>
            </a:extLst>
          </p:cNvPr>
          <p:cNvSpPr>
            <a:spLocks/>
          </p:cNvSpPr>
          <p:nvPr/>
        </p:nvSpPr>
        <p:spPr>
          <a:xfrm>
            <a:off x="8288693" y="3701092"/>
            <a:ext cx="3798556" cy="2065437"/>
          </a:xfrm>
          <a:prstGeom prst="rect">
            <a:avLst/>
          </a:prstGeom>
          <a:solidFill>
            <a:srgbClr val="26AAAF"/>
          </a:solidFill>
          <a:ln w="6350" cap="flat" cmpd="sng" algn="ctr">
            <a:noFill/>
            <a:prstDash val="solid"/>
            <a:tailEnd type="triangle" w="lg" len="lg"/>
          </a:ln>
          <a:effectLst/>
        </p:spPr>
        <p:txBody>
          <a:bodyPr lIns="108000" tIns="36000" rIns="3600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844042" fontAlgn="base">
              <a:spcBef>
                <a:spcPct val="0"/>
              </a:spcBef>
              <a:spcAft>
                <a:spcPct val="0"/>
              </a:spcAft>
              <a:buClrTx/>
              <a:defRPr/>
            </a:pPr>
            <a:r>
              <a:rPr kumimoji="0" lang="fr-FR" sz="1050" b="1" i="0" u="sng"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AMÉLIORER</a:t>
            </a:r>
          </a:p>
          <a:p>
            <a:pPr marL="171442" indent="-171442" defTabSz="844042" fontAlgn="base">
              <a:spcBef>
                <a:spcPct val="0"/>
              </a:spcBef>
              <a:spcAft>
                <a:spcPct val="0"/>
              </a:spcAft>
              <a:buClrTx/>
              <a:buFont typeface="Wingdings" panose="05000000000000000000" pitchFamily="2" charset="2"/>
              <a:buChar char="§"/>
              <a:defRPr/>
            </a:pPr>
            <a:r>
              <a:rPr kumimoji="0" lang="fr-FR" sz="9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Réaliser 1</a:t>
            </a:r>
            <a:r>
              <a:rPr lang="fr-FR" sz="900">
                <a:solidFill>
                  <a:prstClr val="white"/>
                </a:solidFill>
                <a:latin typeface="+mj-lt"/>
                <a:ea typeface="+mn-ea"/>
                <a:cs typeface="Arial" panose="020B0604020202020204" pitchFamily="34" charset="0"/>
              </a:rPr>
              <a:t> atelier (#3) par processus afin de définir les solutions aux dysfonctionnements / manques observés sur chaque axe </a:t>
            </a:r>
            <a:r>
              <a:rPr kumimoji="0" lang="fr-FR" sz="9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organisation &amp; compétences / process / outil</a:t>
            </a:r>
            <a:endParaRPr lang="fr-FR" sz="900">
              <a:solidFill>
                <a:prstClr val="white"/>
              </a:solidFill>
              <a:latin typeface="+mj-lt"/>
              <a:ea typeface="+mn-ea"/>
              <a:cs typeface="Arial" panose="020B0604020202020204" pitchFamily="34" charset="0"/>
            </a:endParaRP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Effectuer un macro chiffrage des solutions d’amélioration proposées (gains / coûts)</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Prioriser les solutions à mettre en œuvre </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Décliner les solutions en chantiers et les cadencer dans une roadmap (macro planning) sur les 24 prochains mois</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Lister les prochaines étapes</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Lister les points restant à approfondir</a:t>
            </a:r>
          </a:p>
          <a:p>
            <a:pPr marL="171442" indent="-171442" defTabSz="844042" fontAlgn="base">
              <a:spcBef>
                <a:spcPct val="0"/>
              </a:spcBef>
              <a:spcAft>
                <a:spcPct val="0"/>
              </a:spcAft>
              <a:buClrTx/>
              <a:buFont typeface="Wingdings" panose="05000000000000000000" pitchFamily="2" charset="2"/>
              <a:buChar char="§"/>
              <a:defRPr/>
            </a:pPr>
            <a:endParaRPr lang="fr-FR" sz="1050">
              <a:solidFill>
                <a:prstClr val="white"/>
              </a:solidFill>
              <a:latin typeface="+mj-lt"/>
              <a:ea typeface="+mn-ea"/>
              <a:cs typeface="Arial" panose="020B0604020202020204" pitchFamily="34" charset="0"/>
            </a:endParaRPr>
          </a:p>
        </p:txBody>
      </p:sp>
      <p:sp>
        <p:nvSpPr>
          <p:cNvPr id="22" name="Freeform 156">
            <a:extLst>
              <a:ext uri="{FF2B5EF4-FFF2-40B4-BE49-F238E27FC236}">
                <a16:creationId xmlns:a16="http://schemas.microsoft.com/office/drawing/2014/main" id="{DC347001-A07D-4C36-36D4-4F7C774F54EA}"/>
              </a:ext>
            </a:extLst>
          </p:cNvPr>
          <p:cNvSpPr>
            <a:spLocks/>
          </p:cNvSpPr>
          <p:nvPr/>
        </p:nvSpPr>
        <p:spPr>
          <a:xfrm>
            <a:off x="4198902" y="3692830"/>
            <a:ext cx="4030031" cy="2074893"/>
          </a:xfrm>
          <a:prstGeom prst="rect">
            <a:avLst/>
          </a:prstGeom>
          <a:solidFill>
            <a:srgbClr val="006EB7"/>
          </a:solidFill>
          <a:ln w="6350" cap="flat" cmpd="sng" algn="ctr">
            <a:noFill/>
            <a:prstDash val="solid"/>
            <a:tailEnd type="triangle" w="lg" len="lg"/>
          </a:ln>
          <a:effectLst/>
        </p:spPr>
        <p:txBody>
          <a:bodyPr lIns="108000" tIns="36000" rIns="3600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844042" fontAlgn="base">
              <a:spcBef>
                <a:spcPct val="0"/>
              </a:spcBef>
              <a:spcAft>
                <a:spcPct val="0"/>
              </a:spcAft>
              <a:buClrTx/>
              <a:defRPr/>
            </a:pPr>
            <a:r>
              <a:rPr lang="fr-FR" sz="1050" b="1" u="sng">
                <a:solidFill>
                  <a:prstClr val="white"/>
                </a:solidFill>
                <a:latin typeface="+mj-lt"/>
                <a:ea typeface="+mn-ea"/>
                <a:cs typeface="Arial" panose="020B0604020202020204" pitchFamily="34" charset="0"/>
              </a:rPr>
              <a:t>DÉFINIR</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Analyser la documentation recueillie</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Etudier les volumétries d’actes, les délais</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Prioriser les process à diagnostiquer sur la base d’une macro-ventilation des coûts</a:t>
            </a:r>
          </a:p>
          <a:p>
            <a:pPr defTabSz="844042" fontAlgn="base">
              <a:spcBef>
                <a:spcPct val="0"/>
              </a:spcBef>
              <a:spcAft>
                <a:spcPct val="0"/>
              </a:spcAft>
              <a:buClrTx/>
              <a:defRPr/>
            </a:pPr>
            <a:endParaRPr lang="fr-FR" sz="500" b="1">
              <a:solidFill>
                <a:prstClr val="white"/>
              </a:solidFill>
              <a:latin typeface="+mj-lt"/>
              <a:ea typeface="+mn-ea"/>
              <a:cs typeface="Arial" panose="020B0604020202020204" pitchFamily="34" charset="0"/>
            </a:endParaRPr>
          </a:p>
          <a:p>
            <a:pPr defTabSz="844042" fontAlgn="base">
              <a:spcBef>
                <a:spcPct val="0"/>
              </a:spcBef>
              <a:spcAft>
                <a:spcPct val="0"/>
              </a:spcAft>
              <a:buClrTx/>
              <a:defRPr/>
            </a:pPr>
            <a:endParaRPr lang="fr-FR" sz="500" b="1">
              <a:solidFill>
                <a:prstClr val="white"/>
              </a:solidFill>
              <a:latin typeface="+mj-lt"/>
              <a:ea typeface="+mn-ea"/>
              <a:cs typeface="Arial" panose="020B0604020202020204" pitchFamily="34" charset="0"/>
            </a:endParaRPr>
          </a:p>
          <a:p>
            <a:pPr defTabSz="844042" fontAlgn="base">
              <a:spcBef>
                <a:spcPct val="0"/>
              </a:spcBef>
              <a:spcAft>
                <a:spcPct val="0"/>
              </a:spcAft>
              <a:buClrTx/>
              <a:defRPr/>
            </a:pPr>
            <a:r>
              <a:rPr lang="fr-FR" sz="1050" b="1" u="sng">
                <a:solidFill>
                  <a:prstClr val="white"/>
                </a:solidFill>
                <a:latin typeface="+mj-lt"/>
                <a:ea typeface="+mn-ea"/>
                <a:cs typeface="Arial" panose="020B0604020202020204" pitchFamily="34" charset="0"/>
              </a:rPr>
              <a:t>MESURER ET ANALYSER</a:t>
            </a:r>
          </a:p>
          <a:p>
            <a:pPr marL="171442" indent="-171442" defTabSz="844042" fontAlgn="base">
              <a:spcBef>
                <a:spcPct val="0"/>
              </a:spcBef>
              <a:spcAft>
                <a:spcPct val="0"/>
              </a:spcAft>
              <a:buClrTx/>
              <a:buFont typeface="Wingdings" panose="05000000000000000000" pitchFamily="2" charset="2"/>
              <a:buChar char="§"/>
              <a:defRPr/>
            </a:pPr>
            <a:r>
              <a:rPr kumimoji="0" lang="fr-FR" sz="9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Réaliser les entretiens avec les managers identifiés</a:t>
            </a:r>
            <a:endParaRPr lang="fr-FR" sz="900">
              <a:solidFill>
                <a:prstClr val="white"/>
              </a:solidFill>
              <a:latin typeface="+mj-lt"/>
              <a:ea typeface="+mn-ea"/>
              <a:cs typeface="Arial" panose="020B0604020202020204" pitchFamily="34" charset="0"/>
            </a:endParaRPr>
          </a:p>
          <a:p>
            <a:pPr marL="171442" indent="-171442" defTabSz="844042" fontAlgn="base">
              <a:spcBef>
                <a:spcPct val="0"/>
              </a:spcBef>
              <a:spcAft>
                <a:spcPct val="0"/>
              </a:spcAft>
              <a:buClrTx/>
              <a:buFont typeface="Wingdings" panose="05000000000000000000" pitchFamily="2" charset="2"/>
              <a:buChar char="§"/>
              <a:defRPr/>
            </a:pPr>
            <a:r>
              <a:rPr kumimoji="0" lang="fr-FR" sz="9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Réaliser </a:t>
            </a:r>
            <a:r>
              <a:rPr lang="fr-FR" sz="900">
                <a:solidFill>
                  <a:prstClr val="white"/>
                </a:solidFill>
                <a:latin typeface="+mj-lt"/>
                <a:ea typeface="+mn-ea"/>
                <a:cs typeface="Arial" panose="020B0604020202020204" pitchFamily="34" charset="0"/>
              </a:rPr>
              <a:t>2 ateliers par processus (#1 sur la description du process + identification des difficultés/manques et #2 sur leurs causes racines)</a:t>
            </a:r>
          </a:p>
          <a:p>
            <a:pPr marL="171442" indent="-171442" defTabSz="844042" fontAlgn="base">
              <a:spcBef>
                <a:spcPct val="0"/>
              </a:spcBef>
              <a:spcAft>
                <a:spcPct val="0"/>
              </a:spcAft>
              <a:buClrTx/>
              <a:buFont typeface="Wingdings" panose="05000000000000000000" pitchFamily="2" charset="2"/>
              <a:buChar char="§"/>
              <a:defRPr/>
            </a:pPr>
            <a:r>
              <a:rPr lang="fr-FR" sz="900">
                <a:solidFill>
                  <a:prstClr val="white"/>
                </a:solidFill>
                <a:latin typeface="+mj-lt"/>
                <a:ea typeface="+mn-ea"/>
                <a:cs typeface="Arial" panose="020B0604020202020204" pitchFamily="34" charset="0"/>
              </a:rPr>
              <a:t>Identifier les points forts, les causes des difficultés et les principales pistes d’optimisation</a:t>
            </a:r>
            <a:r>
              <a:rPr kumimoji="0" lang="fr-FR" sz="9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 en axant les analyses sur les volets organisation &amp; compétences / processus / outil</a:t>
            </a:r>
            <a:endParaRPr lang="fr-FR" sz="900">
              <a:solidFill>
                <a:prstClr val="white"/>
              </a:solidFill>
              <a:latin typeface="+mj-lt"/>
              <a:ea typeface="+mn-ea"/>
              <a:cs typeface="Arial" panose="020B0604020202020204" pitchFamily="34" charset="0"/>
            </a:endParaRPr>
          </a:p>
          <a:p>
            <a:pPr marL="171442" indent="-171442" defTabSz="844042" fontAlgn="base">
              <a:spcBef>
                <a:spcPct val="0"/>
              </a:spcBef>
              <a:spcAft>
                <a:spcPct val="0"/>
              </a:spcAft>
              <a:buClrTx/>
              <a:buFont typeface="Wingdings" panose="05000000000000000000" pitchFamily="2" charset="2"/>
              <a:buChar char="§"/>
              <a:defRPr/>
            </a:pPr>
            <a:r>
              <a:rPr kumimoji="0" lang="fr-FR" sz="900"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Rédiger une synthèse de l’existant et des axes d’optimisation</a:t>
            </a:r>
            <a:endParaRPr kumimoji="0" lang="fr-FR" sz="1000" b="1"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endParaRPr>
          </a:p>
        </p:txBody>
      </p:sp>
      <p:sp>
        <p:nvSpPr>
          <p:cNvPr id="23" name="AutoShape 31">
            <a:extLst>
              <a:ext uri="{FF2B5EF4-FFF2-40B4-BE49-F238E27FC236}">
                <a16:creationId xmlns:a16="http://schemas.microsoft.com/office/drawing/2014/main" id="{EF204365-F7CA-EB1D-00FA-C023A74FE9EA}"/>
              </a:ext>
            </a:extLst>
          </p:cNvPr>
          <p:cNvSpPr>
            <a:spLocks noChangeArrowheads="1"/>
          </p:cNvSpPr>
          <p:nvPr/>
        </p:nvSpPr>
        <p:spPr bwMode="auto">
          <a:xfrm>
            <a:off x="1793797" y="1751983"/>
            <a:ext cx="5436000" cy="252000"/>
          </a:xfrm>
          <a:prstGeom prst="chevron">
            <a:avLst>
              <a:gd name="adj" fmla="val 16317"/>
            </a:avLst>
          </a:prstGeom>
          <a:solidFill>
            <a:srgbClr val="006EB7"/>
          </a:solidFill>
          <a:ln w="9525" cap="flat" cmpd="sng" algn="ctr">
            <a:solidFill>
              <a:sysClr val="window" lastClr="FFFFFF"/>
            </a:solidFill>
            <a:prstDash val="solid"/>
            <a:headEnd/>
            <a:tailEnd type="none" w="sm" len="sm"/>
          </a:ln>
          <a:effectLst/>
        </p:spPr>
        <p:txBody>
          <a:bodyPr wrap="square" lIns="144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defTabSz="914377">
              <a:spcBef>
                <a:spcPts val="369"/>
              </a:spcBef>
              <a:buClrTx/>
              <a:defRPr/>
            </a:pPr>
            <a:r>
              <a:rPr lang="fr-FR" sz="1050" b="1">
                <a:solidFill>
                  <a:prstClr val="white"/>
                </a:solidFill>
                <a:latin typeface="+mj-lt"/>
                <a:ea typeface="ＭＳ Ｐゴシック"/>
                <a:cs typeface="Calibri"/>
                <a:sym typeface="Wingdings" pitchFamily="2" charset="2"/>
              </a:rPr>
              <a:t>Diagnostic de l’existant</a:t>
            </a:r>
            <a:endParaRPr lang="fr-FR" sz="1050" b="1">
              <a:solidFill>
                <a:prstClr val="white"/>
              </a:solidFill>
              <a:latin typeface="+mj-lt"/>
              <a:ea typeface="ＭＳ Ｐゴシック"/>
              <a:cs typeface="Calibri"/>
            </a:endParaRPr>
          </a:p>
        </p:txBody>
      </p:sp>
      <p:sp>
        <p:nvSpPr>
          <p:cNvPr id="53" name="Espace réservé du contenu 3 - 1">
            <a:extLst>
              <a:ext uri="{FF2B5EF4-FFF2-40B4-BE49-F238E27FC236}">
                <a16:creationId xmlns:a16="http://schemas.microsoft.com/office/drawing/2014/main" id="{1E5161C6-FD31-AE6B-4777-1B88B54BDB15}"/>
              </a:ext>
            </a:extLst>
          </p:cNvPr>
          <p:cNvSpPr txBox="1">
            <a:spLocks/>
          </p:cNvSpPr>
          <p:nvPr/>
        </p:nvSpPr>
        <p:spPr>
          <a:xfrm>
            <a:off x="1169310" y="5816996"/>
            <a:ext cx="3038125" cy="1056000"/>
          </a:xfrm>
          <a:prstGeom prst="rect">
            <a:avLst/>
          </a:prstGeom>
          <a:solidFill>
            <a:schemeClr val="bg1"/>
          </a:solidFill>
        </p:spPr>
        <p:txBody>
          <a:bodyPr vert="horz" lIns="36000" tIns="36000" rIns="36000" bIns="3600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171446" marR="0" lvl="1" indent="-171446" algn="l" defTabSz="514308" rtl="0" eaLnBrk="1" fontAlgn="auto" latinLnBrk="0" hangingPunct="1">
              <a:lnSpc>
                <a:spcPct val="100000"/>
              </a:lnSpc>
              <a:spcBef>
                <a:spcPts val="0"/>
              </a:spcBef>
              <a:spcAft>
                <a:spcPts val="151"/>
              </a:spcAft>
              <a:buClr>
                <a:srgbClr val="002060"/>
              </a:buClr>
              <a:buSzPct val="100000"/>
              <a:buFont typeface="Wingdings" panose="05000000000000000000" pitchFamily="2" charset="2"/>
              <a:buChar char="ü"/>
              <a:tabLst/>
              <a:defRPr/>
            </a:pPr>
            <a:r>
              <a:rPr kumimoji="0" lang="fr-FR" sz="800" b="0" i="0" u="none" strike="noStrike" kern="1200" cap="none" spc="0" normalizeH="0" baseline="0" noProof="0">
                <a:ln>
                  <a:noFill/>
                </a:ln>
                <a:solidFill>
                  <a:prstClr val="black">
                    <a:lumMod val="75000"/>
                    <a:lumOff val="25000"/>
                  </a:prstClr>
                </a:solidFill>
                <a:effectLst/>
                <a:uLnTx/>
                <a:uFillTx/>
                <a:latin typeface="+mj-lt"/>
                <a:cs typeface="Calibri"/>
                <a:sym typeface="Arial"/>
              </a:rPr>
              <a:t>Périmètre, objectif, critères de succès</a:t>
            </a:r>
          </a:p>
          <a:p>
            <a:pPr marL="171446" lvl="1" indent="-171446" defTabSz="514308">
              <a:spcAft>
                <a:spcPts val="151"/>
              </a:spcAft>
              <a:buClr>
                <a:srgbClr val="002060"/>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Liste des processus à traiter </a:t>
            </a:r>
          </a:p>
          <a:p>
            <a:pPr marL="171446" lvl="1" indent="-171446" defTabSz="514308">
              <a:spcAft>
                <a:spcPts val="151"/>
              </a:spcAft>
              <a:buClr>
                <a:srgbClr val="002060"/>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Liste des interlocuteurs clés à rencontrer et planning des entretiens, ateliers, immersions</a:t>
            </a:r>
          </a:p>
          <a:p>
            <a:pPr marL="171446" lvl="1" indent="-171446" defTabSz="514308">
              <a:spcAft>
                <a:spcPts val="151"/>
              </a:spcAft>
              <a:buClr>
                <a:srgbClr val="002060"/>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Planning des instances</a:t>
            </a:r>
          </a:p>
          <a:p>
            <a:pPr marL="171446" lvl="1" indent="-171446" defTabSz="514308">
              <a:spcAft>
                <a:spcPts val="151"/>
              </a:spcAft>
              <a:buClr>
                <a:srgbClr val="002060"/>
              </a:buClr>
              <a:buSzPct val="100000"/>
              <a:buFont typeface="Wingdings" panose="05000000000000000000" pitchFamily="2" charset="2"/>
              <a:buChar char="ü"/>
              <a:defRPr/>
            </a:pPr>
            <a:r>
              <a:rPr lang="fr-FR" sz="800">
                <a:solidFill>
                  <a:prstClr val="black">
                    <a:lumMod val="75000"/>
                    <a:lumOff val="25000"/>
                  </a:prstClr>
                </a:solidFill>
                <a:latin typeface="+mj-lt"/>
                <a:cs typeface="Calibri"/>
              </a:rPr>
              <a:t>Outils de travail (Guides d’entretiens, grilles d’analyses…)</a:t>
            </a:r>
          </a:p>
        </p:txBody>
      </p:sp>
      <p:sp>
        <p:nvSpPr>
          <p:cNvPr id="24" name="AutoShape 31">
            <a:extLst>
              <a:ext uri="{FF2B5EF4-FFF2-40B4-BE49-F238E27FC236}">
                <a16:creationId xmlns:a16="http://schemas.microsoft.com/office/drawing/2014/main" id="{BCF6E7EC-0B87-5F17-9B44-F3FB68CF4070}"/>
              </a:ext>
            </a:extLst>
          </p:cNvPr>
          <p:cNvSpPr>
            <a:spLocks noChangeArrowheads="1"/>
          </p:cNvSpPr>
          <p:nvPr/>
        </p:nvSpPr>
        <p:spPr bwMode="auto">
          <a:xfrm>
            <a:off x="3520141" y="2023790"/>
            <a:ext cx="7092000" cy="267564"/>
          </a:xfrm>
          <a:prstGeom prst="chevron">
            <a:avLst>
              <a:gd name="adj" fmla="val 16317"/>
            </a:avLst>
          </a:prstGeom>
          <a:solidFill>
            <a:schemeClr val="accent4">
              <a:lumMod val="75000"/>
            </a:schemeClr>
          </a:solidFill>
          <a:ln w="9525" cap="flat" cmpd="sng" algn="ctr">
            <a:solidFill>
              <a:sysClr val="window" lastClr="FFFFFF"/>
            </a:solidFill>
            <a:prstDash val="solid"/>
            <a:headEnd/>
            <a:tailEnd type="none" w="sm" len="sm"/>
          </a:ln>
          <a:effectLst/>
        </p:spPr>
        <p:txBody>
          <a:bodyPr wrap="square" lIns="144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marR="0" lvl="0" indent="0" defTabSz="914377" rtl="0" eaLnBrk="1" fontAlgn="auto" latinLnBrk="0" hangingPunct="1">
              <a:lnSpc>
                <a:spcPct val="100000"/>
              </a:lnSpc>
              <a:spcBef>
                <a:spcPts val="369"/>
              </a:spcBef>
              <a:spcAft>
                <a:spcPts val="0"/>
              </a:spcAft>
              <a:buClrTx/>
              <a:buSzTx/>
              <a:buFont typeface="Arial"/>
              <a:buNone/>
              <a:tabLst/>
              <a:defRPr/>
            </a:pPr>
            <a:r>
              <a:rPr kumimoji="0" lang="fr-FR" sz="1050" b="1" i="0" u="none" strike="noStrike" kern="1200" cap="none" spc="0" normalizeH="0" baseline="0" noProof="0">
                <a:ln>
                  <a:noFill/>
                </a:ln>
                <a:solidFill>
                  <a:prstClr val="white"/>
                </a:solidFill>
                <a:effectLst/>
                <a:uLnTx/>
                <a:uFillTx/>
                <a:latin typeface="+mj-lt"/>
                <a:ea typeface="ＭＳ Ｐゴシック"/>
                <a:cs typeface="Calibri"/>
                <a:sym typeface="Wingdings" pitchFamily="2" charset="2"/>
              </a:rPr>
              <a:t>Définition de la cible et de la roadmap</a:t>
            </a:r>
            <a:endParaRPr kumimoji="0" lang="fr-FR" sz="105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Arial"/>
            </a:endParaRPr>
          </a:p>
        </p:txBody>
      </p:sp>
      <p:sp>
        <p:nvSpPr>
          <p:cNvPr id="67" name="ZoneTexte 66">
            <a:extLst>
              <a:ext uri="{FF2B5EF4-FFF2-40B4-BE49-F238E27FC236}">
                <a16:creationId xmlns:a16="http://schemas.microsoft.com/office/drawing/2014/main" id="{87A386C9-AF95-4268-5660-C0FB8B61BFF0}"/>
              </a:ext>
            </a:extLst>
          </p:cNvPr>
          <p:cNvSpPr txBox="1"/>
          <p:nvPr/>
        </p:nvSpPr>
        <p:spPr>
          <a:xfrm>
            <a:off x="7170810" y="1757133"/>
            <a:ext cx="1452341" cy="29751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Point Codir</a:t>
            </a:r>
          </a:p>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V0 synthèse de l’existant</a:t>
            </a:r>
          </a:p>
        </p:txBody>
      </p:sp>
      <p:sp>
        <p:nvSpPr>
          <p:cNvPr id="29" name="Ellipse 28">
            <a:extLst>
              <a:ext uri="{FF2B5EF4-FFF2-40B4-BE49-F238E27FC236}">
                <a16:creationId xmlns:a16="http://schemas.microsoft.com/office/drawing/2014/main" id="{FB7B6FF7-552D-A240-BE68-FC4B8D230960}"/>
              </a:ext>
            </a:extLst>
          </p:cNvPr>
          <p:cNvSpPr>
            <a:spLocks/>
          </p:cNvSpPr>
          <p:nvPr/>
        </p:nvSpPr>
        <p:spPr>
          <a:xfrm>
            <a:off x="3394496" y="2010063"/>
            <a:ext cx="240000" cy="241200"/>
          </a:xfrm>
          <a:prstGeom prst="ellipse">
            <a:avLst/>
          </a:prstGeom>
          <a:solidFill>
            <a:schemeClr val="accent4">
              <a:lumMod val="75000"/>
            </a:schemeClr>
          </a:solidFill>
          <a:ln w="38100" cap="flat" cmpd="sng" algn="ctr">
            <a:solidFill>
              <a:sysClr val="window" lastClr="FFFFFF"/>
            </a:solidFill>
            <a:prstDash val="solid"/>
          </a:ln>
          <a:effectLst/>
        </p:spPr>
        <p:txBody>
          <a:bodyPr wrap="none"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3</a:t>
            </a:r>
          </a:p>
        </p:txBody>
      </p:sp>
      <p:sp>
        <p:nvSpPr>
          <p:cNvPr id="69" name="ZoneTexte 68">
            <a:extLst>
              <a:ext uri="{FF2B5EF4-FFF2-40B4-BE49-F238E27FC236}">
                <a16:creationId xmlns:a16="http://schemas.microsoft.com/office/drawing/2014/main" id="{8E1D112B-6D92-7827-FEB7-50258B673604}"/>
              </a:ext>
            </a:extLst>
          </p:cNvPr>
          <p:cNvSpPr txBox="1"/>
          <p:nvPr/>
        </p:nvSpPr>
        <p:spPr>
          <a:xfrm>
            <a:off x="10540117" y="2032517"/>
            <a:ext cx="1042283" cy="297517"/>
          </a:xfrm>
          <a:prstGeom prst="rect">
            <a:avLst/>
          </a:prstGeom>
          <a:noFill/>
        </p:spPr>
        <p:txBody>
          <a:bodyPr wrap="square" lIns="72000" tIns="45720" rIns="3600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Point Codir VF Diagnostic et reco.</a:t>
            </a:r>
          </a:p>
        </p:txBody>
      </p:sp>
      <p:pic>
        <p:nvPicPr>
          <p:cNvPr id="70" name="Graphique 69" descr="Réunion avec un remplissage uni">
            <a:extLst>
              <a:ext uri="{FF2B5EF4-FFF2-40B4-BE49-F238E27FC236}">
                <a16:creationId xmlns:a16="http://schemas.microsoft.com/office/drawing/2014/main" id="{0A25433D-5B3A-F90C-E2AF-4BB6A7ECDC2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12656" y="1817029"/>
            <a:ext cx="289903" cy="289903"/>
          </a:xfrm>
          <a:prstGeom prst="rect">
            <a:avLst/>
          </a:prstGeom>
        </p:spPr>
      </p:pic>
      <p:sp>
        <p:nvSpPr>
          <p:cNvPr id="28" name="Ellipse 27">
            <a:extLst>
              <a:ext uri="{FF2B5EF4-FFF2-40B4-BE49-F238E27FC236}">
                <a16:creationId xmlns:a16="http://schemas.microsoft.com/office/drawing/2014/main" id="{A08E85E2-8DBD-C721-05DF-34C27C536CCE}"/>
              </a:ext>
            </a:extLst>
          </p:cNvPr>
          <p:cNvSpPr>
            <a:spLocks noChangeAspect="1"/>
          </p:cNvSpPr>
          <p:nvPr/>
        </p:nvSpPr>
        <p:spPr>
          <a:xfrm>
            <a:off x="1099948" y="1438292"/>
            <a:ext cx="241200" cy="241200"/>
          </a:xfrm>
          <a:prstGeom prst="ellipse">
            <a:avLst/>
          </a:prstGeom>
          <a:solidFill>
            <a:srgbClr val="002060"/>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900" b="1"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1</a:t>
            </a:r>
            <a:endPar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endParaRPr>
          </a:p>
        </p:txBody>
      </p:sp>
      <p:sp>
        <p:nvSpPr>
          <p:cNvPr id="30" name="Ellipse 29">
            <a:extLst>
              <a:ext uri="{FF2B5EF4-FFF2-40B4-BE49-F238E27FC236}">
                <a16:creationId xmlns:a16="http://schemas.microsoft.com/office/drawing/2014/main" id="{3CBD92E3-F7A5-8073-FADC-5C10785237B7}"/>
              </a:ext>
            </a:extLst>
          </p:cNvPr>
          <p:cNvSpPr>
            <a:spLocks noChangeAspect="1"/>
          </p:cNvSpPr>
          <p:nvPr/>
        </p:nvSpPr>
        <p:spPr>
          <a:xfrm>
            <a:off x="1741741" y="1737306"/>
            <a:ext cx="241200" cy="241200"/>
          </a:xfrm>
          <a:prstGeom prst="ellipse">
            <a:avLst/>
          </a:prstGeom>
          <a:solidFill>
            <a:srgbClr val="006EB7"/>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2</a:t>
            </a:r>
          </a:p>
        </p:txBody>
      </p:sp>
      <p:pic>
        <p:nvPicPr>
          <p:cNvPr id="31" name="Graphique 30" descr="Réunion avec un remplissage uni">
            <a:extLst>
              <a:ext uri="{FF2B5EF4-FFF2-40B4-BE49-F238E27FC236}">
                <a16:creationId xmlns:a16="http://schemas.microsoft.com/office/drawing/2014/main" id="{E8AB060A-D555-1355-39A5-B0881CB8A04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76185" y="1549901"/>
            <a:ext cx="289903" cy="289903"/>
          </a:xfrm>
          <a:prstGeom prst="rect">
            <a:avLst/>
          </a:prstGeom>
        </p:spPr>
      </p:pic>
      <p:sp>
        <p:nvSpPr>
          <p:cNvPr id="32" name="Textframe 2096406,5332">
            <a:extLst>
              <a:ext uri="{FF2B5EF4-FFF2-40B4-BE49-F238E27FC236}">
                <a16:creationId xmlns:a16="http://schemas.microsoft.com/office/drawing/2014/main" id="{5E212476-D8E2-E191-A43D-5536980C27BA}"/>
              </a:ext>
            </a:extLst>
          </p:cNvPr>
          <p:cNvSpPr txBox="1"/>
          <p:nvPr/>
        </p:nvSpPr>
        <p:spPr>
          <a:xfrm flipH="1">
            <a:off x="319048" y="2368309"/>
            <a:ext cx="733891" cy="1275093"/>
          </a:xfrm>
          <a:prstGeom prst="rect">
            <a:avLst/>
          </a:prstGeom>
          <a:solidFill>
            <a:srgbClr val="1D3D91">
              <a:lumMod val="20000"/>
              <a:lumOff val="80000"/>
            </a:srgbClr>
          </a:solidFill>
          <a:ln w="9525">
            <a:noFill/>
          </a:ln>
          <a:effectLst/>
        </p:spPr>
        <p:txBody>
          <a:bodyPr vert="horz" wrap="square" lIns="33231" tIns="33231" rIns="33231" bIns="33231"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0" fontAlgn="base" latinLnBrk="0" hangingPunct="0">
              <a:lnSpc>
                <a:spcPct val="90000"/>
              </a:lnSpc>
              <a:spcBef>
                <a:spcPts val="369"/>
              </a:spcBef>
              <a:spcAft>
                <a:spcPct val="0"/>
              </a:spcAft>
              <a:buClrTx/>
              <a:buSzPct val="100000"/>
              <a:buFontTx/>
              <a:buNone/>
              <a:tabLst/>
              <a:defRPr/>
            </a:pPr>
            <a:r>
              <a:rPr kumimoji="0" lang="fr-FR" sz="900" b="1" i="0" u="none" strike="noStrike" kern="0" cap="none" spc="0" normalizeH="0" baseline="0" noProof="0">
                <a:ln>
                  <a:noFill/>
                </a:ln>
                <a:solidFill>
                  <a:prstClr val="black"/>
                </a:solidFill>
                <a:effectLst/>
                <a:uLnTx/>
                <a:uFillTx/>
                <a:latin typeface="+mj-lt"/>
                <a:ea typeface="+mn-ea"/>
                <a:cs typeface="Arial Narrow" pitchFamily="34" charset="0"/>
                <a:sym typeface="Arial"/>
              </a:rPr>
              <a:t>Diagnostic périmètre ESPAGNE &amp; ITALIE</a:t>
            </a:r>
          </a:p>
        </p:txBody>
      </p:sp>
      <p:pic>
        <p:nvPicPr>
          <p:cNvPr id="40" name="Graphique 39" descr="Réunion avec un remplissage uni">
            <a:extLst>
              <a:ext uri="{FF2B5EF4-FFF2-40B4-BE49-F238E27FC236}">
                <a16:creationId xmlns:a16="http://schemas.microsoft.com/office/drawing/2014/main" id="{66AADC91-F75C-8794-F565-06F654A51FC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39784" y="2309904"/>
            <a:ext cx="289903" cy="289903"/>
          </a:xfrm>
          <a:prstGeom prst="rect">
            <a:avLst/>
          </a:prstGeom>
        </p:spPr>
      </p:pic>
      <p:grpSp>
        <p:nvGrpSpPr>
          <p:cNvPr id="43" name="Groupe 42">
            <a:extLst>
              <a:ext uri="{FF2B5EF4-FFF2-40B4-BE49-F238E27FC236}">
                <a16:creationId xmlns:a16="http://schemas.microsoft.com/office/drawing/2014/main" id="{BF7289A8-6EC8-6C49-70CA-477DA6E3B93F}"/>
              </a:ext>
            </a:extLst>
          </p:cNvPr>
          <p:cNvGrpSpPr/>
          <p:nvPr/>
        </p:nvGrpSpPr>
        <p:grpSpPr>
          <a:xfrm>
            <a:off x="1666953" y="2611411"/>
            <a:ext cx="3903722" cy="250838"/>
            <a:chOff x="1666953" y="2659220"/>
            <a:chExt cx="3903722" cy="250838"/>
          </a:xfrm>
        </p:grpSpPr>
        <p:sp>
          <p:nvSpPr>
            <p:cNvPr id="34" name="AutoShape 31">
              <a:extLst>
                <a:ext uri="{FF2B5EF4-FFF2-40B4-BE49-F238E27FC236}">
                  <a16:creationId xmlns:a16="http://schemas.microsoft.com/office/drawing/2014/main" id="{5CBCF09F-38E5-08B7-AF21-8CD9E01F957D}"/>
                </a:ext>
              </a:extLst>
            </p:cNvPr>
            <p:cNvSpPr>
              <a:spLocks noChangeArrowheads="1"/>
            </p:cNvSpPr>
            <p:nvPr/>
          </p:nvSpPr>
          <p:spPr bwMode="auto">
            <a:xfrm>
              <a:off x="1790675" y="2676853"/>
              <a:ext cx="3780000" cy="216000"/>
            </a:xfrm>
            <a:prstGeom prst="chevron">
              <a:avLst>
                <a:gd name="adj" fmla="val 16317"/>
              </a:avLst>
            </a:prstGeom>
            <a:solidFill>
              <a:srgbClr val="006EB7"/>
            </a:solidFill>
            <a:ln w="9525" cap="flat" cmpd="sng" algn="ctr">
              <a:solidFill>
                <a:sysClr val="window" lastClr="FFFFFF"/>
              </a:solidFill>
              <a:prstDash val="solid"/>
              <a:headEnd/>
              <a:tailEnd type="none" w="sm" len="sm"/>
            </a:ln>
            <a:effectLst/>
          </p:spPr>
          <p:txBody>
            <a:bodyPr wrap="square" lIns="216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422031" rtl="0" eaLnBrk="0" fontAlgn="base" latinLnBrk="0" hangingPunct="0">
                <a:lnSpc>
                  <a:spcPct val="100000"/>
                </a:lnSpc>
                <a:spcBef>
                  <a:spcPts val="369"/>
                </a:spcBef>
                <a:spcAft>
                  <a:spcPct val="0"/>
                </a:spcAft>
                <a:buClrTx/>
                <a:buSzTx/>
                <a:buFontTx/>
                <a:buNone/>
                <a:tabLst/>
                <a:defRPr/>
              </a:pPr>
              <a:endParaRPr kumimoji="0" lang="fr-FR" sz="700" b="0" i="1" u="none" strike="noStrike" kern="0" cap="none" spc="0" normalizeH="0" baseline="0" noProof="0">
                <a:ln>
                  <a:noFill/>
                </a:ln>
                <a:solidFill>
                  <a:prstClr val="white"/>
                </a:solidFill>
                <a:effectLst/>
                <a:uLnTx/>
                <a:uFillTx/>
                <a:latin typeface="+mj-lt"/>
                <a:ea typeface="MS PGothic" pitchFamily="34" charset="-128"/>
                <a:cs typeface="Arial"/>
                <a:sym typeface="Arial"/>
              </a:endParaRPr>
            </a:p>
          </p:txBody>
        </p:sp>
        <p:sp>
          <p:nvSpPr>
            <p:cNvPr id="36" name="ZoneTexte 35">
              <a:extLst>
                <a:ext uri="{FF2B5EF4-FFF2-40B4-BE49-F238E27FC236}">
                  <a16:creationId xmlns:a16="http://schemas.microsoft.com/office/drawing/2014/main" id="{0BF855AC-212E-39C9-E480-D8EC69A466D8}"/>
                </a:ext>
              </a:extLst>
            </p:cNvPr>
            <p:cNvSpPr txBox="1"/>
            <p:nvPr/>
          </p:nvSpPr>
          <p:spPr>
            <a:xfrm>
              <a:off x="1959366" y="2659220"/>
              <a:ext cx="3103171" cy="250838"/>
            </a:xfrm>
            <a:prstGeom prst="rect">
              <a:avLst/>
            </a:prstGeom>
            <a:noFill/>
          </p:spPr>
          <p:txBody>
            <a:bodyPr wrap="square" lIns="0" r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422031" rtl="0" eaLnBrk="0" fontAlgn="base" latinLnBrk="0" hangingPunct="0">
                <a:lnSpc>
                  <a:spcPct val="100000"/>
                </a:lnSpc>
                <a:spcBef>
                  <a:spcPts val="369"/>
                </a:spcBef>
                <a:spcAft>
                  <a:spcPct val="0"/>
                </a:spcAft>
                <a:buClrTx/>
                <a:buSzTx/>
                <a:buFont typeface="Arial"/>
                <a:buNone/>
                <a:tabLst/>
                <a:defRPr/>
              </a:pPr>
              <a:r>
                <a:rPr kumimoji="0" lang="fr-FR" sz="103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Wingdings" pitchFamily="2" charset="2"/>
                </a:rPr>
                <a:t>Réalisation du diagnostic de l’existant Espagne</a:t>
              </a:r>
              <a:endParaRPr kumimoji="0" lang="fr-FR" sz="1030" b="0" i="0" u="none" strike="noStrike" kern="1200" cap="none" spc="0" normalizeH="0" baseline="0" noProof="0">
                <a:ln>
                  <a:noFill/>
                </a:ln>
                <a:solidFill>
                  <a:prstClr val="black"/>
                </a:solidFill>
                <a:effectLst/>
                <a:uLnTx/>
                <a:uFillTx/>
                <a:latin typeface="+mj-lt"/>
                <a:ea typeface="+mn-ea"/>
                <a:cs typeface="Calibri" panose="020F0502020204030204" pitchFamily="34" charset="0"/>
                <a:sym typeface="Arial"/>
              </a:endParaRPr>
            </a:p>
          </p:txBody>
        </p:sp>
        <p:sp>
          <p:nvSpPr>
            <p:cNvPr id="42" name="Ellipse 41">
              <a:extLst>
                <a:ext uri="{FF2B5EF4-FFF2-40B4-BE49-F238E27FC236}">
                  <a16:creationId xmlns:a16="http://schemas.microsoft.com/office/drawing/2014/main" id="{1F83EA59-2C1A-1BCE-75F2-AA35F5AEC879}"/>
                </a:ext>
              </a:extLst>
            </p:cNvPr>
            <p:cNvSpPr>
              <a:spLocks noChangeAspect="1"/>
            </p:cNvSpPr>
            <p:nvPr/>
          </p:nvSpPr>
          <p:spPr>
            <a:xfrm>
              <a:off x="1666953" y="2667358"/>
              <a:ext cx="241200" cy="241200"/>
            </a:xfrm>
            <a:prstGeom prst="ellipse">
              <a:avLst/>
            </a:prstGeom>
            <a:solidFill>
              <a:srgbClr val="006EB7"/>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2</a:t>
              </a:r>
            </a:p>
          </p:txBody>
        </p:sp>
      </p:grpSp>
      <p:sp>
        <p:nvSpPr>
          <p:cNvPr id="44" name="Rectangle 43">
            <a:extLst>
              <a:ext uri="{FF2B5EF4-FFF2-40B4-BE49-F238E27FC236}">
                <a16:creationId xmlns:a16="http://schemas.microsoft.com/office/drawing/2014/main" id="{0DA24D1E-FAC7-DE03-1B4E-D4B48772BD69}"/>
              </a:ext>
            </a:extLst>
          </p:cNvPr>
          <p:cNvSpPr/>
          <p:nvPr/>
        </p:nvSpPr>
        <p:spPr>
          <a:xfrm>
            <a:off x="1111239" y="2346621"/>
            <a:ext cx="10956566" cy="1296782"/>
          </a:xfrm>
          <a:prstGeom prst="rect">
            <a:avLst/>
          </a:prstGeom>
          <a:noFill/>
          <a:ln w="3175" cap="flat" cmpd="sng" algn="ctr">
            <a:solidFill>
              <a:srgbClr val="5C48EC">
                <a:alpha val="84000"/>
              </a:srgbClr>
            </a:solidFill>
            <a:prstDash val="solid"/>
          </a:ln>
          <a:effectLst/>
        </p:spPr>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422031" rtl="0" eaLnBrk="0" fontAlgn="base" latinLnBrk="0" hangingPunct="0">
              <a:lnSpc>
                <a:spcPct val="100000"/>
              </a:lnSpc>
              <a:spcBef>
                <a:spcPct val="0"/>
              </a:spcBef>
              <a:spcAft>
                <a:spcPct val="0"/>
              </a:spcAft>
              <a:buClrTx/>
              <a:buSzTx/>
              <a:buFont typeface="Arial"/>
              <a:buNone/>
              <a:tabLst/>
              <a:defRPr/>
            </a:pPr>
            <a:endParaRPr kumimoji="0" lang="fr-FR" sz="1200" b="1" i="0" u="none" strike="noStrike" kern="0" cap="none" spc="0" normalizeH="0" baseline="0" noProof="0">
              <a:ln>
                <a:noFill/>
              </a:ln>
              <a:solidFill>
                <a:prstClr val="black">
                  <a:lumMod val="65000"/>
                  <a:lumOff val="35000"/>
                </a:prstClr>
              </a:solidFill>
              <a:effectLst/>
              <a:uLnTx/>
              <a:uFillTx/>
              <a:latin typeface="+mj-lt"/>
              <a:ea typeface="+mn-ea"/>
              <a:cs typeface="Arial"/>
              <a:sym typeface="Arial"/>
            </a:endParaRPr>
          </a:p>
        </p:txBody>
      </p:sp>
      <p:grpSp>
        <p:nvGrpSpPr>
          <p:cNvPr id="45" name="Groupe 44">
            <a:extLst>
              <a:ext uri="{FF2B5EF4-FFF2-40B4-BE49-F238E27FC236}">
                <a16:creationId xmlns:a16="http://schemas.microsoft.com/office/drawing/2014/main" id="{E12BC2F9-5DD0-5EB9-6211-B3F7E2BC0D5E}"/>
              </a:ext>
            </a:extLst>
          </p:cNvPr>
          <p:cNvGrpSpPr/>
          <p:nvPr/>
        </p:nvGrpSpPr>
        <p:grpSpPr>
          <a:xfrm>
            <a:off x="4354692" y="3130125"/>
            <a:ext cx="3819202" cy="241200"/>
            <a:chOff x="3492056" y="3171832"/>
            <a:chExt cx="4923903" cy="241200"/>
          </a:xfrm>
        </p:grpSpPr>
        <p:sp>
          <p:nvSpPr>
            <p:cNvPr id="57" name="AutoShape 31">
              <a:extLst>
                <a:ext uri="{FF2B5EF4-FFF2-40B4-BE49-F238E27FC236}">
                  <a16:creationId xmlns:a16="http://schemas.microsoft.com/office/drawing/2014/main" id="{09644C5B-4AA9-9720-DA9D-3B4A7BB73172}"/>
                </a:ext>
              </a:extLst>
            </p:cNvPr>
            <p:cNvSpPr>
              <a:spLocks noChangeArrowheads="1"/>
            </p:cNvSpPr>
            <p:nvPr/>
          </p:nvSpPr>
          <p:spPr bwMode="auto">
            <a:xfrm>
              <a:off x="3663959" y="3190853"/>
              <a:ext cx="4752000" cy="216000"/>
            </a:xfrm>
            <a:prstGeom prst="chevron">
              <a:avLst>
                <a:gd name="adj" fmla="val 16317"/>
              </a:avLst>
            </a:prstGeom>
            <a:solidFill>
              <a:schemeClr val="accent4">
                <a:lumMod val="75000"/>
              </a:schemeClr>
            </a:solidFill>
            <a:ln w="9525" cap="flat" cmpd="sng" algn="ctr">
              <a:solidFill>
                <a:sysClr val="window" lastClr="FFFFFF"/>
              </a:solidFill>
              <a:prstDash val="solid"/>
              <a:headEnd/>
              <a:tailEnd type="none" w="sm" len="sm"/>
            </a:ln>
            <a:effectLst/>
          </p:spPr>
          <p:txBody>
            <a:bodyPr wrap="square" lIns="216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marR="0" lvl="0" indent="0" algn="l" defTabSz="914377" rtl="0" eaLnBrk="1" fontAlgn="auto" latinLnBrk="0" hangingPunct="1">
                <a:lnSpc>
                  <a:spcPts val="1100"/>
                </a:lnSpc>
                <a:spcBef>
                  <a:spcPts val="369"/>
                </a:spcBef>
                <a:spcAft>
                  <a:spcPts val="0"/>
                </a:spcAft>
                <a:buClrTx/>
                <a:buSzTx/>
                <a:buFont typeface="Arial"/>
                <a:buNone/>
                <a:tabLst/>
                <a:defRPr/>
              </a:pPr>
              <a:r>
                <a:rPr kumimoji="0" lang="fr-FR" sz="1050" b="1" i="0" u="none" strike="noStrike" kern="1200" cap="none" spc="0" normalizeH="0" baseline="0" noProof="0">
                  <a:ln>
                    <a:noFill/>
                  </a:ln>
                  <a:solidFill>
                    <a:prstClr val="white"/>
                  </a:solidFill>
                  <a:effectLst/>
                  <a:uLnTx/>
                  <a:uFillTx/>
                  <a:latin typeface="+mj-lt"/>
                  <a:ea typeface="ＭＳ Ｐゴシック"/>
                  <a:cs typeface="Calibri"/>
                  <a:sym typeface="Wingdings" pitchFamily="2" charset="2"/>
                </a:rPr>
                <a:t>Définition de la cible et de la roadmap Espagne</a:t>
              </a:r>
              <a:endParaRPr kumimoji="0" lang="fr-FR" sz="105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Arial"/>
              </a:endParaRPr>
            </a:p>
          </p:txBody>
        </p:sp>
        <p:sp>
          <p:nvSpPr>
            <p:cNvPr id="58" name="Ellipse 57">
              <a:extLst>
                <a:ext uri="{FF2B5EF4-FFF2-40B4-BE49-F238E27FC236}">
                  <a16:creationId xmlns:a16="http://schemas.microsoft.com/office/drawing/2014/main" id="{E3EBBDA7-C5AF-5C05-ABA7-F8FB0BEDB564}"/>
                </a:ext>
              </a:extLst>
            </p:cNvPr>
            <p:cNvSpPr>
              <a:spLocks/>
            </p:cNvSpPr>
            <p:nvPr/>
          </p:nvSpPr>
          <p:spPr>
            <a:xfrm>
              <a:off x="3492056" y="3171832"/>
              <a:ext cx="310967" cy="241200"/>
            </a:xfrm>
            <a:prstGeom prst="ellipse">
              <a:avLst/>
            </a:prstGeom>
            <a:solidFill>
              <a:schemeClr val="accent4">
                <a:lumMod val="75000"/>
              </a:schemeClr>
            </a:solidFill>
            <a:ln w="38100" cap="flat" cmpd="sng" algn="ctr">
              <a:solidFill>
                <a:sysClr val="window" lastClr="FFFFFF"/>
              </a:solidFill>
              <a:prstDash val="solid"/>
            </a:ln>
            <a:effectLst/>
          </p:spPr>
          <p:txBody>
            <a:bodyPr wrap="none"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3</a:t>
              </a:r>
            </a:p>
          </p:txBody>
        </p:sp>
      </p:grpSp>
      <p:sp>
        <p:nvSpPr>
          <p:cNvPr id="37" name="ZoneTexte 36">
            <a:extLst>
              <a:ext uri="{FF2B5EF4-FFF2-40B4-BE49-F238E27FC236}">
                <a16:creationId xmlns:a16="http://schemas.microsoft.com/office/drawing/2014/main" id="{E9472DAE-ED5E-3F82-09AD-4C2A68453682}"/>
              </a:ext>
            </a:extLst>
          </p:cNvPr>
          <p:cNvSpPr txBox="1"/>
          <p:nvPr/>
        </p:nvSpPr>
        <p:spPr>
          <a:xfrm>
            <a:off x="5533499" y="2505683"/>
            <a:ext cx="1253732" cy="400110"/>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Point Codir</a:t>
            </a:r>
          </a:p>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V0 synthèse de l’existant Espagne</a:t>
            </a:r>
          </a:p>
        </p:txBody>
      </p:sp>
      <p:sp>
        <p:nvSpPr>
          <p:cNvPr id="38" name="ZoneTexte 37">
            <a:extLst>
              <a:ext uri="{FF2B5EF4-FFF2-40B4-BE49-F238E27FC236}">
                <a16:creationId xmlns:a16="http://schemas.microsoft.com/office/drawing/2014/main" id="{7B2A25EF-2411-3311-4265-E85A1397784F}"/>
              </a:ext>
            </a:extLst>
          </p:cNvPr>
          <p:cNvSpPr txBox="1"/>
          <p:nvPr/>
        </p:nvSpPr>
        <p:spPr>
          <a:xfrm>
            <a:off x="10784427" y="3365146"/>
            <a:ext cx="1260291" cy="297517"/>
          </a:xfrm>
          <a:prstGeom prst="rect">
            <a:avLst/>
          </a:prstGeom>
          <a:noFill/>
        </p:spPr>
        <p:txBody>
          <a:bodyPr wrap="square" lIns="72000" tIns="45720" rIns="3600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Point Codir VF Diagnostic et reco.Italie</a:t>
            </a:r>
          </a:p>
        </p:txBody>
      </p:sp>
      <p:pic>
        <p:nvPicPr>
          <p:cNvPr id="39" name="Graphique 38" descr="Réunion avec un remplissage uni">
            <a:extLst>
              <a:ext uri="{FF2B5EF4-FFF2-40B4-BE49-F238E27FC236}">
                <a16:creationId xmlns:a16="http://schemas.microsoft.com/office/drawing/2014/main" id="{3A197D7C-1D21-7FCD-8D54-6E5C7440A26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544101" y="3316071"/>
            <a:ext cx="289903" cy="289903"/>
          </a:xfrm>
          <a:prstGeom prst="rect">
            <a:avLst/>
          </a:prstGeom>
        </p:spPr>
      </p:pic>
      <p:grpSp>
        <p:nvGrpSpPr>
          <p:cNvPr id="46" name="Groupe 45">
            <a:extLst>
              <a:ext uri="{FF2B5EF4-FFF2-40B4-BE49-F238E27FC236}">
                <a16:creationId xmlns:a16="http://schemas.microsoft.com/office/drawing/2014/main" id="{39B618AE-EC14-453B-B3F2-E45A14BDE461}"/>
              </a:ext>
            </a:extLst>
          </p:cNvPr>
          <p:cNvGrpSpPr/>
          <p:nvPr/>
        </p:nvGrpSpPr>
        <p:grpSpPr>
          <a:xfrm>
            <a:off x="3245833" y="2865152"/>
            <a:ext cx="3391713" cy="277502"/>
            <a:chOff x="3319078" y="3209256"/>
            <a:chExt cx="3391713" cy="277502"/>
          </a:xfrm>
        </p:grpSpPr>
        <p:sp>
          <p:nvSpPr>
            <p:cNvPr id="10" name="AutoShape 31">
              <a:extLst>
                <a:ext uri="{FF2B5EF4-FFF2-40B4-BE49-F238E27FC236}">
                  <a16:creationId xmlns:a16="http://schemas.microsoft.com/office/drawing/2014/main" id="{5B767A9A-BEAD-99D4-28BC-3B230B544CD6}"/>
                </a:ext>
              </a:extLst>
            </p:cNvPr>
            <p:cNvSpPr>
              <a:spLocks noChangeArrowheads="1"/>
            </p:cNvSpPr>
            <p:nvPr/>
          </p:nvSpPr>
          <p:spPr bwMode="auto">
            <a:xfrm>
              <a:off x="3489106" y="3245911"/>
              <a:ext cx="2952000" cy="216000"/>
            </a:xfrm>
            <a:prstGeom prst="chevron">
              <a:avLst>
                <a:gd name="adj" fmla="val 16317"/>
              </a:avLst>
            </a:prstGeom>
            <a:solidFill>
              <a:srgbClr val="006EB7"/>
            </a:solidFill>
            <a:ln w="9525" cap="flat" cmpd="sng" algn="ctr">
              <a:solidFill>
                <a:sysClr val="window" lastClr="FFFFFF"/>
              </a:solidFill>
              <a:prstDash val="solid"/>
              <a:headEnd/>
              <a:tailEnd type="none" w="sm" len="sm"/>
            </a:ln>
            <a:effectLst/>
          </p:spPr>
          <p:txBody>
            <a:bodyPr wrap="square" lIns="216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422031" rtl="0" eaLnBrk="0" fontAlgn="base" latinLnBrk="0" hangingPunct="0">
                <a:lnSpc>
                  <a:spcPct val="100000"/>
                </a:lnSpc>
                <a:spcBef>
                  <a:spcPts val="369"/>
                </a:spcBef>
                <a:spcAft>
                  <a:spcPct val="0"/>
                </a:spcAft>
                <a:buClrTx/>
                <a:buSzTx/>
                <a:buFontTx/>
                <a:buNone/>
                <a:tabLst/>
                <a:defRPr/>
              </a:pPr>
              <a:endParaRPr kumimoji="0" lang="fr-FR" sz="700" b="0" i="1" u="none" strike="noStrike" kern="0" cap="none" spc="0" normalizeH="0" baseline="0" noProof="0">
                <a:ln>
                  <a:noFill/>
                </a:ln>
                <a:solidFill>
                  <a:prstClr val="white"/>
                </a:solidFill>
                <a:effectLst/>
                <a:uLnTx/>
                <a:uFillTx/>
                <a:latin typeface="+mj-lt"/>
                <a:ea typeface="MS PGothic" pitchFamily="34" charset="-128"/>
                <a:cs typeface="Arial"/>
                <a:sym typeface="Arial"/>
              </a:endParaRPr>
            </a:p>
          </p:txBody>
        </p:sp>
        <p:sp>
          <p:nvSpPr>
            <p:cNvPr id="11" name="ZoneTexte 10">
              <a:extLst>
                <a:ext uri="{FF2B5EF4-FFF2-40B4-BE49-F238E27FC236}">
                  <a16:creationId xmlns:a16="http://schemas.microsoft.com/office/drawing/2014/main" id="{90F7C32B-FBE5-1286-85DF-0A409395BBDE}"/>
                </a:ext>
              </a:extLst>
            </p:cNvPr>
            <p:cNvSpPr txBox="1"/>
            <p:nvPr/>
          </p:nvSpPr>
          <p:spPr>
            <a:xfrm>
              <a:off x="3638791" y="3225148"/>
              <a:ext cx="3072000" cy="261610"/>
            </a:xfrm>
            <a:prstGeom prst="rect">
              <a:avLst/>
            </a:prstGeom>
            <a:noFill/>
          </p:spPr>
          <p:txBody>
            <a:bodyPr wrap="square" lIns="0" r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422031" rtl="0" eaLnBrk="0" fontAlgn="base" latinLnBrk="0" hangingPunct="0">
                <a:lnSpc>
                  <a:spcPct val="100000"/>
                </a:lnSpc>
                <a:spcBef>
                  <a:spcPts val="369"/>
                </a:spcBef>
                <a:spcAft>
                  <a:spcPct val="0"/>
                </a:spcAft>
                <a:buClrTx/>
                <a:buSzTx/>
                <a:buFont typeface="Arial"/>
                <a:buNone/>
                <a:tabLst/>
                <a:defRPr/>
              </a:pPr>
              <a:r>
                <a:rPr kumimoji="0" lang="fr-FR" sz="105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Wingdings" pitchFamily="2" charset="2"/>
                </a:rPr>
                <a:t>Réalisation du diagnostic de l’existant Italie</a:t>
              </a:r>
              <a:endParaRPr kumimoji="0" lang="fr-FR" sz="800" b="0" i="0" u="none" strike="noStrike" kern="1200" cap="none" spc="0" normalizeH="0" baseline="0" noProof="0">
                <a:ln>
                  <a:noFill/>
                </a:ln>
                <a:solidFill>
                  <a:prstClr val="black"/>
                </a:solidFill>
                <a:effectLst/>
                <a:uLnTx/>
                <a:uFillTx/>
                <a:latin typeface="+mj-lt"/>
                <a:ea typeface="+mn-ea"/>
                <a:cs typeface="Calibri" panose="020F0502020204030204" pitchFamily="34" charset="0"/>
                <a:sym typeface="Arial"/>
              </a:endParaRPr>
            </a:p>
          </p:txBody>
        </p:sp>
        <p:sp>
          <p:nvSpPr>
            <p:cNvPr id="19" name="Ellipse 18">
              <a:extLst>
                <a:ext uri="{FF2B5EF4-FFF2-40B4-BE49-F238E27FC236}">
                  <a16:creationId xmlns:a16="http://schemas.microsoft.com/office/drawing/2014/main" id="{F10FBF75-CD7F-3B1E-BCBF-69E2DFDEF136}"/>
                </a:ext>
              </a:extLst>
            </p:cNvPr>
            <p:cNvSpPr>
              <a:spLocks noChangeAspect="1"/>
            </p:cNvSpPr>
            <p:nvPr/>
          </p:nvSpPr>
          <p:spPr>
            <a:xfrm>
              <a:off x="3319078" y="3209256"/>
              <a:ext cx="241200" cy="241200"/>
            </a:xfrm>
            <a:prstGeom prst="ellipse">
              <a:avLst/>
            </a:prstGeom>
            <a:solidFill>
              <a:srgbClr val="006EB7"/>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2</a:t>
              </a:r>
            </a:p>
          </p:txBody>
        </p:sp>
      </p:grpSp>
      <p:pic>
        <p:nvPicPr>
          <p:cNvPr id="47" name="Graphique 46" descr="Réunion avec un remplissage uni">
            <a:extLst>
              <a:ext uri="{FF2B5EF4-FFF2-40B4-BE49-F238E27FC236}">
                <a16:creationId xmlns:a16="http://schemas.microsoft.com/office/drawing/2014/main" id="{76952FCD-6971-DDDA-8B3D-55AD92141D0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608821" y="2678565"/>
            <a:ext cx="289903" cy="289903"/>
          </a:xfrm>
          <a:prstGeom prst="rect">
            <a:avLst/>
          </a:prstGeom>
        </p:spPr>
      </p:pic>
      <p:sp>
        <p:nvSpPr>
          <p:cNvPr id="48" name="ZoneTexte 47">
            <a:extLst>
              <a:ext uri="{FF2B5EF4-FFF2-40B4-BE49-F238E27FC236}">
                <a16:creationId xmlns:a16="http://schemas.microsoft.com/office/drawing/2014/main" id="{FCAA275D-D07A-3A01-CDD3-2AC87AB916E5}"/>
              </a:ext>
            </a:extLst>
          </p:cNvPr>
          <p:cNvSpPr txBox="1"/>
          <p:nvPr/>
        </p:nvSpPr>
        <p:spPr>
          <a:xfrm>
            <a:off x="6363506" y="2881044"/>
            <a:ext cx="1960166" cy="302327"/>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Point Codir</a:t>
            </a:r>
          </a:p>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V0 synthèse de l’existant Italie</a:t>
            </a:r>
          </a:p>
        </p:txBody>
      </p:sp>
      <p:grpSp>
        <p:nvGrpSpPr>
          <p:cNvPr id="49" name="Groupe 48">
            <a:extLst>
              <a:ext uri="{FF2B5EF4-FFF2-40B4-BE49-F238E27FC236}">
                <a16:creationId xmlns:a16="http://schemas.microsoft.com/office/drawing/2014/main" id="{26A7418E-D07B-33AF-41B8-96A80EC64C68}"/>
              </a:ext>
            </a:extLst>
          </p:cNvPr>
          <p:cNvGrpSpPr/>
          <p:nvPr/>
        </p:nvGrpSpPr>
        <p:grpSpPr>
          <a:xfrm>
            <a:off x="6720915" y="3370842"/>
            <a:ext cx="3819202" cy="241200"/>
            <a:chOff x="3492056" y="3171832"/>
            <a:chExt cx="4923903" cy="241200"/>
          </a:xfrm>
        </p:grpSpPr>
        <p:sp>
          <p:nvSpPr>
            <p:cNvPr id="51" name="AutoShape 31">
              <a:extLst>
                <a:ext uri="{FF2B5EF4-FFF2-40B4-BE49-F238E27FC236}">
                  <a16:creationId xmlns:a16="http://schemas.microsoft.com/office/drawing/2014/main" id="{A692BA76-726A-428B-0119-AB4F1F19ECF4}"/>
                </a:ext>
              </a:extLst>
            </p:cNvPr>
            <p:cNvSpPr>
              <a:spLocks noChangeArrowheads="1"/>
            </p:cNvSpPr>
            <p:nvPr/>
          </p:nvSpPr>
          <p:spPr bwMode="auto">
            <a:xfrm>
              <a:off x="3663959" y="3190853"/>
              <a:ext cx="4752000" cy="216000"/>
            </a:xfrm>
            <a:prstGeom prst="chevron">
              <a:avLst>
                <a:gd name="adj" fmla="val 16317"/>
              </a:avLst>
            </a:prstGeom>
            <a:solidFill>
              <a:schemeClr val="accent4">
                <a:lumMod val="75000"/>
              </a:schemeClr>
            </a:solidFill>
            <a:ln w="9525" cap="flat" cmpd="sng" algn="ctr">
              <a:solidFill>
                <a:sysClr val="window" lastClr="FFFFFF"/>
              </a:solidFill>
              <a:prstDash val="solid"/>
              <a:headEnd/>
              <a:tailEnd type="none" w="sm" len="sm"/>
            </a:ln>
            <a:effectLst/>
          </p:spPr>
          <p:txBody>
            <a:bodyPr wrap="square" lIns="216000" tIns="0" rIns="0" bIns="0" anchor="ctr">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marR="0" lvl="0" indent="0" algn="l" defTabSz="914377" rtl="0" eaLnBrk="1" fontAlgn="auto" latinLnBrk="0" hangingPunct="1">
                <a:lnSpc>
                  <a:spcPts val="1100"/>
                </a:lnSpc>
                <a:spcBef>
                  <a:spcPts val="369"/>
                </a:spcBef>
                <a:spcAft>
                  <a:spcPts val="0"/>
                </a:spcAft>
                <a:buClrTx/>
                <a:buSzTx/>
                <a:buFont typeface="Arial"/>
                <a:buNone/>
                <a:tabLst/>
                <a:defRPr/>
              </a:pPr>
              <a:r>
                <a:rPr kumimoji="0" lang="fr-FR" sz="1050" b="1" i="0" u="none" strike="noStrike" kern="1200" cap="none" spc="0" normalizeH="0" baseline="0" noProof="0">
                  <a:ln>
                    <a:noFill/>
                  </a:ln>
                  <a:solidFill>
                    <a:prstClr val="white"/>
                  </a:solidFill>
                  <a:effectLst/>
                  <a:uLnTx/>
                  <a:uFillTx/>
                  <a:latin typeface="+mj-lt"/>
                  <a:ea typeface="ＭＳ Ｐゴシック"/>
                  <a:cs typeface="Calibri"/>
                  <a:sym typeface="Wingdings" pitchFamily="2" charset="2"/>
                </a:rPr>
                <a:t>Définition de la cible et de la roadmap Italie</a:t>
              </a:r>
              <a:endParaRPr kumimoji="0" lang="fr-FR" sz="1050" b="1" i="0" u="none" strike="noStrike" kern="1200" cap="none" spc="0" normalizeH="0" baseline="0" noProof="0">
                <a:ln>
                  <a:noFill/>
                </a:ln>
                <a:solidFill>
                  <a:prstClr val="white"/>
                </a:solidFill>
                <a:effectLst/>
                <a:uLnTx/>
                <a:uFillTx/>
                <a:latin typeface="+mj-lt"/>
                <a:ea typeface="ＭＳ Ｐゴシック" pitchFamily="88" charset="-128"/>
                <a:cs typeface="Calibri" panose="020F0502020204030204" pitchFamily="34" charset="0"/>
                <a:sym typeface="Arial"/>
              </a:endParaRPr>
            </a:p>
          </p:txBody>
        </p:sp>
        <p:sp>
          <p:nvSpPr>
            <p:cNvPr id="52" name="Ellipse 51">
              <a:extLst>
                <a:ext uri="{FF2B5EF4-FFF2-40B4-BE49-F238E27FC236}">
                  <a16:creationId xmlns:a16="http://schemas.microsoft.com/office/drawing/2014/main" id="{88996335-8D07-FFCA-587C-A3E5DD46D0BF}"/>
                </a:ext>
              </a:extLst>
            </p:cNvPr>
            <p:cNvSpPr>
              <a:spLocks/>
            </p:cNvSpPr>
            <p:nvPr/>
          </p:nvSpPr>
          <p:spPr>
            <a:xfrm>
              <a:off x="3492056" y="3171832"/>
              <a:ext cx="310967" cy="241200"/>
            </a:xfrm>
            <a:prstGeom prst="ellipse">
              <a:avLst/>
            </a:prstGeom>
            <a:solidFill>
              <a:schemeClr val="accent4">
                <a:lumMod val="75000"/>
              </a:schemeClr>
            </a:solidFill>
            <a:ln w="38100" cap="flat" cmpd="sng" algn="ctr">
              <a:solidFill>
                <a:sysClr val="window" lastClr="FFFFFF"/>
              </a:solidFill>
              <a:prstDash val="solid"/>
            </a:ln>
            <a:effectLst/>
          </p:spPr>
          <p:txBody>
            <a:bodyPr wrap="none"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rPr>
                <a:t>3</a:t>
              </a:r>
            </a:p>
          </p:txBody>
        </p:sp>
      </p:grpSp>
      <p:sp>
        <p:nvSpPr>
          <p:cNvPr id="54" name="ZoneTexte 53">
            <a:extLst>
              <a:ext uri="{FF2B5EF4-FFF2-40B4-BE49-F238E27FC236}">
                <a16:creationId xmlns:a16="http://schemas.microsoft.com/office/drawing/2014/main" id="{E32F397C-D771-EAE0-9563-AC19A2F61626}"/>
              </a:ext>
            </a:extLst>
          </p:cNvPr>
          <p:cNvSpPr txBox="1"/>
          <p:nvPr/>
        </p:nvSpPr>
        <p:spPr>
          <a:xfrm>
            <a:off x="8422678" y="3105982"/>
            <a:ext cx="1364032" cy="297517"/>
          </a:xfrm>
          <a:prstGeom prst="rect">
            <a:avLst/>
          </a:prstGeom>
          <a:noFill/>
        </p:spPr>
        <p:txBody>
          <a:bodyPr wrap="square" lIns="72000" tIns="45720" rIns="3600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377" rtl="0" eaLnBrk="1" fontAlgn="auto" latinLnBrk="0" hangingPunct="1">
              <a:lnSpc>
                <a:spcPts val="800"/>
              </a:lnSpc>
              <a:spcBef>
                <a:spcPts val="0"/>
              </a:spcBef>
              <a:spcAft>
                <a:spcPts val="0"/>
              </a:spcAft>
              <a:buClrTx/>
              <a:buSzTx/>
              <a:buFont typeface="Arial"/>
              <a:buNone/>
              <a:tabLst/>
              <a:defRPr/>
            </a:pPr>
            <a:r>
              <a:rPr kumimoji="0" lang="fr-FR" sz="800" b="1" i="1" u="none" strike="noStrike" kern="1200" cap="none" spc="0" normalizeH="0" baseline="0" noProof="0">
                <a:ln>
                  <a:noFill/>
                </a:ln>
                <a:solidFill>
                  <a:srgbClr val="7030A0"/>
                </a:solidFill>
                <a:effectLst/>
                <a:uLnTx/>
                <a:uFillTx/>
                <a:latin typeface="+mj-lt"/>
                <a:ea typeface="+mn-ea"/>
                <a:cs typeface="Arial"/>
                <a:sym typeface="Arial"/>
              </a:rPr>
              <a:t>Point Codir VF Diagnostic et reco.Espagne</a:t>
            </a:r>
          </a:p>
        </p:txBody>
      </p:sp>
      <p:pic>
        <p:nvPicPr>
          <p:cNvPr id="59" name="Graphique 58" descr="Réunion avec un remplissage uni">
            <a:extLst>
              <a:ext uri="{FF2B5EF4-FFF2-40B4-BE49-F238E27FC236}">
                <a16:creationId xmlns:a16="http://schemas.microsoft.com/office/drawing/2014/main" id="{133C8939-9EAD-38B1-C338-1B4A5934B0A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75529" y="3088247"/>
            <a:ext cx="289903" cy="289903"/>
          </a:xfrm>
          <a:prstGeom prst="rect">
            <a:avLst/>
          </a:prstGeom>
        </p:spPr>
      </p:pic>
      <p:sp>
        <p:nvSpPr>
          <p:cNvPr id="4" name="Pentagon 15">
            <a:extLst>
              <a:ext uri="{FF2B5EF4-FFF2-40B4-BE49-F238E27FC236}">
                <a16:creationId xmlns:a16="http://schemas.microsoft.com/office/drawing/2014/main" id="{BC1053BD-FF92-2E1D-E45C-B7225BB97CD3}"/>
              </a:ext>
            </a:extLst>
          </p:cNvPr>
          <p:cNvSpPr>
            <a:spLocks/>
          </p:cNvSpPr>
          <p:nvPr>
            <p:custDataLst>
              <p:tags r:id="rId2"/>
            </p:custDataLst>
          </p:nvPr>
        </p:nvSpPr>
        <p:spPr>
          <a:xfrm>
            <a:off x="1158663" y="2370166"/>
            <a:ext cx="1188000" cy="252000"/>
          </a:xfrm>
          <a:prstGeom prst="homePlate">
            <a:avLst>
              <a:gd name="adj" fmla="val 14438"/>
            </a:avLst>
          </a:prstGeom>
          <a:solidFill>
            <a:srgbClr val="002060"/>
          </a:solidFill>
          <a:ln w="9525">
            <a:solidFill>
              <a:sysClr val="window" lastClr="FFFFFF"/>
            </a:solidFill>
          </a:ln>
          <a:effectLst/>
        </p:spPr>
        <p:txBody>
          <a:bodyPr vert="horz" wrap="square" lIns="144000" tIns="0" rIns="0" bIns="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defTabSz="914377">
              <a:spcBef>
                <a:spcPts val="369"/>
              </a:spcBef>
              <a:buClrTx/>
              <a:defRPr/>
            </a:pPr>
            <a:r>
              <a:rPr lang="fr-FR" sz="1050" b="1">
                <a:solidFill>
                  <a:prstClr val="white"/>
                </a:solidFill>
                <a:latin typeface="+mj-lt"/>
                <a:ea typeface="ＭＳ Ｐゴシック"/>
                <a:cs typeface="Calibri"/>
              </a:rPr>
              <a:t>Cadrage Esp.</a:t>
            </a:r>
          </a:p>
        </p:txBody>
      </p:sp>
      <p:sp>
        <p:nvSpPr>
          <p:cNvPr id="5" name="Ellipse 4">
            <a:extLst>
              <a:ext uri="{FF2B5EF4-FFF2-40B4-BE49-F238E27FC236}">
                <a16:creationId xmlns:a16="http://schemas.microsoft.com/office/drawing/2014/main" id="{97DE0C8E-AE0E-A128-EC1D-8082404D8F1B}"/>
              </a:ext>
            </a:extLst>
          </p:cNvPr>
          <p:cNvSpPr>
            <a:spLocks noChangeAspect="1"/>
          </p:cNvSpPr>
          <p:nvPr/>
        </p:nvSpPr>
        <p:spPr>
          <a:xfrm>
            <a:off x="1089302" y="2342934"/>
            <a:ext cx="241200" cy="241200"/>
          </a:xfrm>
          <a:prstGeom prst="ellipse">
            <a:avLst/>
          </a:prstGeom>
          <a:solidFill>
            <a:srgbClr val="002060"/>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900" b="1"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1</a:t>
            </a:r>
            <a:endPar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endParaRPr>
          </a:p>
        </p:txBody>
      </p:sp>
      <p:sp>
        <p:nvSpPr>
          <p:cNvPr id="6" name="Pentagon 15">
            <a:extLst>
              <a:ext uri="{FF2B5EF4-FFF2-40B4-BE49-F238E27FC236}">
                <a16:creationId xmlns:a16="http://schemas.microsoft.com/office/drawing/2014/main" id="{5068C820-2692-F407-96DB-108CF72CBE3A}"/>
              </a:ext>
            </a:extLst>
          </p:cNvPr>
          <p:cNvSpPr>
            <a:spLocks/>
          </p:cNvSpPr>
          <p:nvPr>
            <p:custDataLst>
              <p:tags r:id="rId3"/>
            </p:custDataLst>
          </p:nvPr>
        </p:nvSpPr>
        <p:spPr>
          <a:xfrm>
            <a:off x="2449460" y="2363142"/>
            <a:ext cx="1195783" cy="252000"/>
          </a:xfrm>
          <a:prstGeom prst="homePlate">
            <a:avLst>
              <a:gd name="adj" fmla="val 14438"/>
            </a:avLst>
          </a:prstGeom>
          <a:solidFill>
            <a:srgbClr val="002060"/>
          </a:solidFill>
          <a:ln w="9525">
            <a:solidFill>
              <a:sysClr val="window" lastClr="FFFFFF"/>
            </a:solidFill>
          </a:ln>
          <a:effectLst/>
        </p:spPr>
        <p:txBody>
          <a:bodyPr vert="horz" wrap="square" lIns="144000" tIns="0" rIns="0" bIns="0"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91440" defTabSz="914377">
              <a:spcBef>
                <a:spcPts val="369"/>
              </a:spcBef>
              <a:buClrTx/>
              <a:defRPr/>
            </a:pPr>
            <a:r>
              <a:rPr lang="fr-FR" sz="1050" b="1">
                <a:solidFill>
                  <a:prstClr val="white"/>
                </a:solidFill>
                <a:latin typeface="+mj-lt"/>
                <a:ea typeface="ＭＳ Ｐゴシック"/>
                <a:cs typeface="Calibri"/>
              </a:rPr>
              <a:t>Cadrage Italie</a:t>
            </a:r>
          </a:p>
        </p:txBody>
      </p:sp>
      <p:sp>
        <p:nvSpPr>
          <p:cNvPr id="50" name="Ellipse 49">
            <a:extLst>
              <a:ext uri="{FF2B5EF4-FFF2-40B4-BE49-F238E27FC236}">
                <a16:creationId xmlns:a16="http://schemas.microsoft.com/office/drawing/2014/main" id="{90DC5CDD-2D3F-95E9-2D80-84250FE907D9}"/>
              </a:ext>
            </a:extLst>
          </p:cNvPr>
          <p:cNvSpPr>
            <a:spLocks noChangeAspect="1"/>
          </p:cNvSpPr>
          <p:nvPr/>
        </p:nvSpPr>
        <p:spPr>
          <a:xfrm>
            <a:off x="2361328" y="2374929"/>
            <a:ext cx="241200" cy="241200"/>
          </a:xfrm>
          <a:prstGeom prst="ellipse">
            <a:avLst/>
          </a:prstGeom>
          <a:solidFill>
            <a:srgbClr val="002060"/>
          </a:solidFill>
          <a:ln w="38100" cap="flat" cmpd="sng" algn="ctr">
            <a:solidFill>
              <a:sysClr val="window" lastClr="FFFFFF"/>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1" fontAlgn="auto" latinLnBrk="0" hangingPunct="1">
              <a:lnSpc>
                <a:spcPct val="100000"/>
              </a:lnSpc>
              <a:spcBef>
                <a:spcPts val="0"/>
              </a:spcBef>
              <a:spcAft>
                <a:spcPts val="0"/>
              </a:spcAft>
              <a:buClrTx/>
              <a:buSzTx/>
              <a:buFont typeface="Arial"/>
              <a:buNone/>
              <a:tabLst/>
              <a:defRPr/>
            </a:pPr>
            <a:r>
              <a:rPr kumimoji="0" lang="fr-FR" sz="900" b="1" i="0" u="none" strike="noStrike" kern="1200" cap="none" spc="0" normalizeH="0" baseline="0" noProof="0">
                <a:ln>
                  <a:noFill/>
                </a:ln>
                <a:solidFill>
                  <a:prstClr val="white"/>
                </a:solidFill>
                <a:effectLst/>
                <a:uLnTx/>
                <a:uFillTx/>
                <a:latin typeface="+mj-lt"/>
                <a:ea typeface="+mn-ea"/>
                <a:cs typeface="Arial" panose="020B0604020202020204" pitchFamily="34" charset="0"/>
                <a:sym typeface="Arial"/>
              </a:rPr>
              <a:t>1</a:t>
            </a:r>
            <a:endParaRPr kumimoji="0" lang="fr-FR" sz="900" b="1" i="0" u="none" strike="noStrike" kern="0" cap="none" spc="0" normalizeH="0" baseline="0" noProof="0">
              <a:ln>
                <a:noFill/>
              </a:ln>
              <a:solidFill>
                <a:prstClr val="white"/>
              </a:solidFill>
              <a:effectLst/>
              <a:uLnTx/>
              <a:uFillTx/>
              <a:latin typeface="+mj-lt"/>
              <a:ea typeface="+mn-ea"/>
              <a:cs typeface="Arial" panose="020B0604020202020204" pitchFamily="34" charset="0"/>
              <a:sym typeface="Arial"/>
            </a:endParaRPr>
          </a:p>
        </p:txBody>
      </p:sp>
      <p:sp>
        <p:nvSpPr>
          <p:cNvPr id="7" name="Rectangle 6">
            <a:extLst>
              <a:ext uri="{FF2B5EF4-FFF2-40B4-BE49-F238E27FC236}">
                <a16:creationId xmlns:a16="http://schemas.microsoft.com/office/drawing/2014/main" id="{8B57FB2B-AB80-2681-4A97-B725A5EC1401}"/>
              </a:ext>
            </a:extLst>
          </p:cNvPr>
          <p:cNvSpPr/>
          <p:nvPr/>
        </p:nvSpPr>
        <p:spPr>
          <a:xfrm>
            <a:off x="1059512" y="6583363"/>
            <a:ext cx="139051" cy="15716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Textframe 2096406,5332 - 1">
            <a:extLst>
              <a:ext uri="{FF2B5EF4-FFF2-40B4-BE49-F238E27FC236}">
                <a16:creationId xmlns:a16="http://schemas.microsoft.com/office/drawing/2014/main" id="{6414D3B7-D2DD-BDC7-A8B5-142AB4528379}"/>
              </a:ext>
            </a:extLst>
          </p:cNvPr>
          <p:cNvSpPr txBox="1"/>
          <p:nvPr/>
        </p:nvSpPr>
        <p:spPr>
          <a:xfrm flipH="1">
            <a:off x="319051" y="5815531"/>
            <a:ext cx="740461" cy="1028788"/>
          </a:xfrm>
          <a:prstGeom prst="rect">
            <a:avLst/>
          </a:prstGeom>
          <a:solidFill>
            <a:srgbClr val="1D3D91">
              <a:lumMod val="20000"/>
              <a:lumOff val="80000"/>
            </a:srgbClr>
          </a:solidFill>
          <a:ln w="9525">
            <a:noFill/>
          </a:ln>
          <a:effectLst/>
        </p:spPr>
        <p:txBody>
          <a:bodyPr vert="horz" wrap="square" lIns="33231" tIns="33231" rIns="33231" bIns="33231" rtl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ctr" defTabSz="844062" rtl="0" eaLnBrk="0" fontAlgn="base" latinLnBrk="0" hangingPunct="0">
              <a:lnSpc>
                <a:spcPct val="90000"/>
              </a:lnSpc>
              <a:spcBef>
                <a:spcPts val="369"/>
              </a:spcBef>
              <a:spcAft>
                <a:spcPct val="0"/>
              </a:spcAft>
              <a:buClrTx/>
              <a:buSzPct val="100000"/>
              <a:buFontTx/>
              <a:buNone/>
              <a:tabLst/>
              <a:defRPr/>
            </a:pPr>
            <a:r>
              <a:rPr kumimoji="0" lang="fr-FR" sz="900" b="1" i="0" u="none" strike="noStrike" kern="0" cap="none" spc="0" normalizeH="0" baseline="0" noProof="0">
                <a:ln>
                  <a:noFill/>
                </a:ln>
                <a:solidFill>
                  <a:prstClr val="black"/>
                </a:solidFill>
                <a:effectLst/>
                <a:uLnTx/>
                <a:uFillTx/>
                <a:latin typeface="+mj-lt"/>
                <a:ea typeface="+mn-ea"/>
                <a:cs typeface="Arial"/>
                <a:sym typeface="Arial"/>
              </a:rPr>
              <a:t>Livrables clés</a:t>
            </a:r>
            <a:endParaRPr kumimoji="0" lang="fr-FR" sz="1600" b="0" i="0" u="none" strike="noStrike" kern="1200" cap="none" spc="0" normalizeH="0" baseline="0" noProof="0">
              <a:ln>
                <a:noFill/>
              </a:ln>
              <a:solidFill>
                <a:prstClr val="black"/>
              </a:solidFill>
              <a:effectLst/>
              <a:uLnTx/>
              <a:uFillTx/>
              <a:latin typeface="+mj-lt"/>
              <a:ea typeface="+mn-ea"/>
              <a:cs typeface="Arial"/>
              <a:sym typeface="Arial"/>
            </a:endParaRPr>
          </a:p>
        </p:txBody>
      </p:sp>
    </p:spTree>
    <p:extLst>
      <p:ext uri="{BB962C8B-B14F-4D97-AF65-F5344CB8AC3E}">
        <p14:creationId xmlns:p14="http://schemas.microsoft.com/office/powerpoint/2010/main" val="1704792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pied de page 5">
            <a:extLst>
              <a:ext uri="{FF2B5EF4-FFF2-40B4-BE49-F238E27FC236}">
                <a16:creationId xmlns:a16="http://schemas.microsoft.com/office/drawing/2014/main" id="{3BE5E136-3C5F-4AAD-8C1F-9BA5223671DE}"/>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10" name="Rectangle 9">
            <a:extLst>
              <a:ext uri="{FF2B5EF4-FFF2-40B4-BE49-F238E27FC236}">
                <a16:creationId xmlns:a16="http://schemas.microsoft.com/office/drawing/2014/main" id="{314DE2EA-A579-49B8-A19A-21D280F735F1}"/>
              </a:ext>
            </a:extLst>
          </p:cNvPr>
          <p:cNvSpPr/>
          <p:nvPr/>
        </p:nvSpPr>
        <p:spPr>
          <a:xfrm>
            <a:off x="902473" y="776978"/>
            <a:ext cx="10102984" cy="4263109"/>
          </a:xfrm>
          <a:prstGeom prst="rect">
            <a:avLst/>
          </a:prstGeom>
          <a:solidFill>
            <a:srgbClr val="E7F0FA"/>
          </a:solidFill>
          <a:ln w="12700" cap="flat" cmpd="sng" algn="ctr">
            <a:noFill/>
            <a:prstDash val="solid"/>
            <a:miter lim="800000"/>
          </a:ln>
          <a:effectLst/>
        </p:spPr>
        <p:txBody>
          <a:bodyPr rtlCol="0" anchor="ctr"/>
          <a:lstStyle/>
          <a:p>
            <a:pPr algn="ctr" defTabSz="1219170">
              <a:defRPr/>
            </a:pPr>
            <a:endParaRPr lang="fr-FR" sz="1400" kern="0">
              <a:solidFill>
                <a:srgbClr val="FFFFFF"/>
              </a:solidFill>
              <a:latin typeface="+mj-lt"/>
              <a:cs typeface="Arial"/>
              <a:sym typeface="Arial"/>
            </a:endParaRPr>
          </a:p>
        </p:txBody>
      </p:sp>
      <p:sp>
        <p:nvSpPr>
          <p:cNvPr id="12" name="object 2">
            <a:extLst>
              <a:ext uri="{FF2B5EF4-FFF2-40B4-BE49-F238E27FC236}">
                <a16:creationId xmlns:a16="http://schemas.microsoft.com/office/drawing/2014/main" id="{6949D553-9B02-42D7-9487-5D76097EDB8C}"/>
              </a:ext>
            </a:extLst>
          </p:cNvPr>
          <p:cNvSpPr txBox="1"/>
          <p:nvPr/>
        </p:nvSpPr>
        <p:spPr>
          <a:xfrm>
            <a:off x="1317172" y="992488"/>
            <a:ext cx="9557656" cy="3946210"/>
          </a:xfrm>
          <a:prstGeom prst="rect">
            <a:avLst/>
          </a:prstGeom>
        </p:spPr>
        <p:txBody>
          <a:bodyPr vert="horz" wrap="square" lIns="0" tIns="13971" rIns="0" bIns="0" rtlCol="0">
            <a:spAutoFit/>
          </a:bodyPr>
          <a:lstStyle/>
          <a:p>
            <a:pPr marL="16933" defTabSz="1219170">
              <a:spcBef>
                <a:spcPts val="493"/>
              </a:spcBef>
              <a:defRPr/>
            </a:pPr>
            <a:r>
              <a:rPr lang="fr-FR" sz="1500" i="1">
                <a:solidFill>
                  <a:prstClr val="black"/>
                </a:solidFill>
                <a:latin typeface="+mj-lt"/>
                <a:cs typeface="Arial Narrow"/>
                <a:sym typeface="Arial"/>
              </a:rPr>
              <a:t>Nous </a:t>
            </a:r>
            <a:r>
              <a:rPr lang="fr-FR" sz="1500" i="1" spc="-7">
                <a:solidFill>
                  <a:prstClr val="black"/>
                </a:solidFill>
                <a:latin typeface="+mj-lt"/>
                <a:cs typeface="Arial Narrow"/>
                <a:sym typeface="Arial"/>
              </a:rPr>
              <a:t>avons </a:t>
            </a:r>
            <a:r>
              <a:rPr lang="fr-FR" sz="1500" i="1">
                <a:solidFill>
                  <a:prstClr val="black"/>
                </a:solidFill>
                <a:latin typeface="+mj-lt"/>
                <a:cs typeface="Arial Narrow"/>
                <a:sym typeface="Arial"/>
              </a:rPr>
              <a:t>le plaisir de vous </a:t>
            </a:r>
            <a:r>
              <a:rPr lang="fr-FR" sz="1500" i="1" spc="-7">
                <a:solidFill>
                  <a:prstClr val="black"/>
                </a:solidFill>
                <a:latin typeface="+mj-lt"/>
                <a:cs typeface="Arial Narrow"/>
                <a:sym typeface="Arial"/>
              </a:rPr>
              <a:t>adresser ci-après </a:t>
            </a:r>
            <a:r>
              <a:rPr lang="fr-FR" sz="1500" i="1">
                <a:solidFill>
                  <a:prstClr val="black"/>
                </a:solidFill>
                <a:latin typeface="+mj-lt"/>
                <a:cs typeface="Arial Narrow"/>
                <a:sym typeface="Arial"/>
              </a:rPr>
              <a:t>notre </a:t>
            </a:r>
            <a:r>
              <a:rPr lang="fr-FR" sz="1500" i="1" spc="-7">
                <a:solidFill>
                  <a:prstClr val="black"/>
                </a:solidFill>
                <a:latin typeface="+mj-lt"/>
                <a:cs typeface="Arial Narrow"/>
                <a:sym typeface="Arial"/>
              </a:rPr>
              <a:t>proposition d’accompagnement pour la réalisation d’une mission d’efficacité opérationnelle de vos back-offices. </a:t>
            </a:r>
          </a:p>
          <a:p>
            <a:pPr marL="16933" defTabSz="1219170">
              <a:spcBef>
                <a:spcPts val="493"/>
              </a:spcBef>
              <a:defRPr/>
            </a:pPr>
            <a:endParaRPr lang="fr-FR" sz="1500" i="1">
              <a:solidFill>
                <a:prstClr val="black"/>
              </a:solidFill>
              <a:latin typeface="+mj-lt"/>
              <a:cs typeface="Arial Narrow"/>
              <a:sym typeface="Arial"/>
            </a:endParaRPr>
          </a:p>
          <a:p>
            <a:pPr marL="16933" marR="431789" defTabSz="1219170">
              <a:lnSpc>
                <a:spcPct val="100699"/>
              </a:lnSpc>
              <a:spcBef>
                <a:spcPts val="493"/>
              </a:spcBef>
              <a:defRPr/>
            </a:pPr>
            <a:r>
              <a:rPr lang="fr-FR" sz="1500" i="1">
                <a:solidFill>
                  <a:prstClr val="black"/>
                </a:solidFill>
                <a:latin typeface="+mj-lt"/>
                <a:cs typeface="Arial"/>
                <a:sym typeface="Arial"/>
              </a:rPr>
              <a:t>Nous vous remercions de la confiance que vous avez bien voulu nous accorder en nous sollicitant </a:t>
            </a:r>
            <a:br>
              <a:rPr lang="fr-FR" sz="1500" i="1">
                <a:solidFill>
                  <a:prstClr val="black"/>
                </a:solidFill>
                <a:latin typeface="+mj-lt"/>
                <a:cs typeface="Arial"/>
                <a:sym typeface="Arial"/>
              </a:rPr>
            </a:br>
            <a:r>
              <a:rPr lang="fr-FR" sz="1500" i="1">
                <a:solidFill>
                  <a:prstClr val="black"/>
                </a:solidFill>
                <a:latin typeface="+mj-lt"/>
                <a:cs typeface="Arial"/>
                <a:sym typeface="Arial"/>
              </a:rPr>
              <a:t>et espérons que cette offre répondra à vos attentes.</a:t>
            </a:r>
          </a:p>
          <a:p>
            <a:pPr marL="16933" marR="431789" defTabSz="1219170">
              <a:lnSpc>
                <a:spcPct val="100699"/>
              </a:lnSpc>
              <a:spcBef>
                <a:spcPts val="493"/>
              </a:spcBef>
              <a:defRPr/>
            </a:pPr>
            <a:endParaRPr lang="fr-FR" sz="1500" i="1">
              <a:solidFill>
                <a:prstClr val="black"/>
              </a:solidFill>
              <a:latin typeface="+mj-lt"/>
              <a:cs typeface="Arial Narrow"/>
              <a:sym typeface="Arial"/>
            </a:endParaRPr>
          </a:p>
          <a:p>
            <a:pPr marL="16933" marR="431789" defTabSz="1219170">
              <a:lnSpc>
                <a:spcPct val="100699"/>
              </a:lnSpc>
              <a:spcBef>
                <a:spcPts val="493"/>
              </a:spcBef>
              <a:defRPr/>
            </a:pPr>
            <a:r>
              <a:rPr lang="fr-FR" sz="1500" i="1">
                <a:solidFill>
                  <a:prstClr val="black"/>
                </a:solidFill>
                <a:latin typeface="+mj-lt"/>
                <a:cs typeface="Arial Narrow"/>
                <a:sym typeface="Arial"/>
              </a:rPr>
              <a:t>Vous trouverez dans les pages qui suivent une synthèse de notre approche et de </a:t>
            </a:r>
            <a:r>
              <a:rPr lang="fr-FR" sz="1500" i="1" spc="-7">
                <a:solidFill>
                  <a:prstClr val="black"/>
                </a:solidFill>
                <a:latin typeface="+mj-lt"/>
                <a:cs typeface="Arial Narrow"/>
                <a:sym typeface="Arial"/>
              </a:rPr>
              <a:t>nos atouts pour répondre </a:t>
            </a:r>
            <a:r>
              <a:rPr lang="fr-FR" sz="1500" i="1">
                <a:solidFill>
                  <a:prstClr val="black"/>
                </a:solidFill>
                <a:latin typeface="+mj-lt"/>
                <a:cs typeface="Arial Narrow"/>
                <a:sym typeface="Arial"/>
              </a:rPr>
              <a:t>au mieux </a:t>
            </a:r>
            <a:r>
              <a:rPr lang="fr-FR" sz="1500" i="1" spc="7">
                <a:solidFill>
                  <a:prstClr val="black"/>
                </a:solidFill>
                <a:latin typeface="+mj-lt"/>
                <a:cs typeface="Arial Narrow"/>
                <a:sym typeface="Arial"/>
              </a:rPr>
              <a:t>à </a:t>
            </a:r>
            <a:r>
              <a:rPr lang="fr-FR" sz="1500" i="1">
                <a:solidFill>
                  <a:prstClr val="black"/>
                </a:solidFill>
                <a:latin typeface="+mj-lt"/>
                <a:cs typeface="Arial Narrow"/>
                <a:sym typeface="Arial"/>
              </a:rPr>
              <a:t>votre </a:t>
            </a:r>
            <a:r>
              <a:rPr lang="fr-FR" sz="1500" i="1" spc="-7">
                <a:solidFill>
                  <a:prstClr val="black"/>
                </a:solidFill>
                <a:latin typeface="+mj-lt"/>
                <a:cs typeface="Arial Narrow"/>
                <a:sym typeface="Arial"/>
              </a:rPr>
              <a:t>besoin, ainsi </a:t>
            </a:r>
            <a:r>
              <a:rPr lang="fr-FR" sz="1500" i="1" kern="0" spc="-7">
                <a:solidFill>
                  <a:prstClr val="black"/>
                </a:solidFill>
                <a:latin typeface="+mj-lt"/>
                <a:cs typeface="Arial Narrow"/>
                <a:sym typeface="Arial"/>
              </a:rPr>
              <a:t>que la </a:t>
            </a:r>
            <a:r>
              <a:rPr lang="fr-FR" sz="1500" i="1" spc="-7">
                <a:solidFill>
                  <a:prstClr val="black"/>
                </a:solidFill>
                <a:latin typeface="+mj-lt"/>
                <a:cs typeface="Arial Narrow"/>
                <a:sym typeface="Arial"/>
              </a:rPr>
              <a:t>présentation détaillée de la démarche que nous vous proposons.</a:t>
            </a:r>
            <a:endParaRPr lang="fr-FR" sz="1500" i="1" spc="7">
              <a:solidFill>
                <a:prstClr val="black"/>
              </a:solidFill>
              <a:latin typeface="+mj-lt"/>
              <a:cs typeface="Arial Narrow"/>
              <a:sym typeface="Arial"/>
            </a:endParaRPr>
          </a:p>
          <a:p>
            <a:pPr marL="16933" marR="431789" defTabSz="1219170">
              <a:lnSpc>
                <a:spcPct val="100699"/>
              </a:lnSpc>
              <a:spcBef>
                <a:spcPts val="493"/>
              </a:spcBef>
              <a:defRPr/>
            </a:pPr>
            <a:endParaRPr lang="fr-FR" sz="1500" i="1">
              <a:solidFill>
                <a:prstClr val="black"/>
              </a:solidFill>
              <a:latin typeface="+mj-lt"/>
              <a:cs typeface="Arial Narrow"/>
              <a:sym typeface="Arial"/>
            </a:endParaRPr>
          </a:p>
          <a:p>
            <a:pPr marL="16933" marR="431789" defTabSz="1219170">
              <a:lnSpc>
                <a:spcPct val="100699"/>
              </a:lnSpc>
              <a:spcBef>
                <a:spcPts val="493"/>
              </a:spcBef>
              <a:defRPr/>
            </a:pPr>
            <a:r>
              <a:rPr lang="fr-FR" sz="1500" i="1">
                <a:solidFill>
                  <a:prstClr val="black"/>
                </a:solidFill>
                <a:latin typeface="+mj-lt"/>
                <a:cs typeface="Arial Narrow"/>
                <a:sym typeface="Arial"/>
              </a:rPr>
              <a:t>Nous </a:t>
            </a:r>
            <a:r>
              <a:rPr lang="fr-FR" sz="1500" i="1" spc="-7">
                <a:solidFill>
                  <a:prstClr val="black"/>
                </a:solidFill>
                <a:latin typeface="+mj-lt"/>
                <a:cs typeface="Arial Narrow"/>
                <a:sym typeface="Arial"/>
              </a:rPr>
              <a:t>nous tenons bien sûr </a:t>
            </a:r>
            <a:r>
              <a:rPr lang="fr-FR" sz="1500" i="1" spc="7">
                <a:solidFill>
                  <a:prstClr val="black"/>
                </a:solidFill>
                <a:latin typeface="+mj-lt"/>
                <a:cs typeface="Arial Narrow"/>
                <a:sym typeface="Arial"/>
              </a:rPr>
              <a:t>à </a:t>
            </a:r>
            <a:r>
              <a:rPr lang="fr-FR" sz="1500" i="1">
                <a:solidFill>
                  <a:prstClr val="black"/>
                </a:solidFill>
                <a:latin typeface="+mj-lt"/>
                <a:cs typeface="Arial Narrow"/>
                <a:sym typeface="Arial"/>
              </a:rPr>
              <a:t>votre disposition </a:t>
            </a:r>
            <a:r>
              <a:rPr lang="fr-FR" sz="1500" i="1" spc="-7">
                <a:solidFill>
                  <a:prstClr val="black"/>
                </a:solidFill>
                <a:latin typeface="+mj-lt"/>
                <a:cs typeface="Arial Narrow"/>
                <a:sym typeface="Arial"/>
              </a:rPr>
              <a:t>pour </a:t>
            </a:r>
            <a:r>
              <a:rPr lang="fr-FR" sz="1500" i="1">
                <a:solidFill>
                  <a:prstClr val="black"/>
                </a:solidFill>
                <a:latin typeface="+mj-lt"/>
                <a:cs typeface="Arial Narrow"/>
                <a:sym typeface="Arial"/>
              </a:rPr>
              <a:t>vous </a:t>
            </a:r>
            <a:r>
              <a:rPr lang="fr-FR" sz="1500" i="1" spc="-7">
                <a:solidFill>
                  <a:prstClr val="black"/>
                </a:solidFill>
                <a:latin typeface="+mj-lt"/>
                <a:cs typeface="Arial Narrow"/>
                <a:sym typeface="Arial"/>
              </a:rPr>
              <a:t>apporter tout complément d’information que </a:t>
            </a:r>
            <a:r>
              <a:rPr lang="fr-FR" sz="1500" i="1">
                <a:solidFill>
                  <a:prstClr val="black"/>
                </a:solidFill>
                <a:latin typeface="+mj-lt"/>
                <a:cs typeface="Arial Narrow"/>
                <a:sym typeface="Arial"/>
              </a:rPr>
              <a:t>vous </a:t>
            </a:r>
            <a:r>
              <a:rPr lang="fr-FR" sz="1500" i="1" spc="-7">
                <a:solidFill>
                  <a:prstClr val="black"/>
                </a:solidFill>
                <a:latin typeface="+mj-lt"/>
                <a:cs typeface="Arial Narrow"/>
                <a:sym typeface="Arial"/>
              </a:rPr>
              <a:t>jugeriez </a:t>
            </a:r>
            <a:r>
              <a:rPr lang="fr-FR" sz="1500" i="1">
                <a:solidFill>
                  <a:prstClr val="black"/>
                </a:solidFill>
                <a:latin typeface="+mj-lt"/>
                <a:cs typeface="Arial Narrow"/>
                <a:sym typeface="Arial"/>
              </a:rPr>
              <a:t>nécessaire sur le </a:t>
            </a:r>
            <a:r>
              <a:rPr lang="fr-FR" sz="1500" i="1" spc="-7">
                <a:solidFill>
                  <a:prstClr val="black"/>
                </a:solidFill>
                <a:latin typeface="+mj-lt"/>
                <a:cs typeface="Arial Narrow"/>
                <a:sym typeface="Arial"/>
              </a:rPr>
              <a:t>contenu </a:t>
            </a:r>
            <a:r>
              <a:rPr lang="fr-FR" sz="1500" i="1">
                <a:solidFill>
                  <a:prstClr val="black"/>
                </a:solidFill>
                <a:latin typeface="+mj-lt"/>
                <a:cs typeface="Arial Narrow"/>
                <a:sym typeface="Arial"/>
              </a:rPr>
              <a:t>de cette</a:t>
            </a:r>
            <a:r>
              <a:rPr lang="fr-FR" sz="1500" i="1" spc="20">
                <a:solidFill>
                  <a:prstClr val="black"/>
                </a:solidFill>
                <a:latin typeface="+mj-lt"/>
                <a:cs typeface="Arial Narrow"/>
                <a:sym typeface="Arial"/>
              </a:rPr>
              <a:t> </a:t>
            </a:r>
            <a:r>
              <a:rPr lang="fr-FR" sz="1500" i="1" spc="-7">
                <a:solidFill>
                  <a:prstClr val="black"/>
                </a:solidFill>
                <a:latin typeface="+mj-lt"/>
                <a:cs typeface="Arial Narrow"/>
                <a:sym typeface="Arial"/>
              </a:rPr>
              <a:t>proposition.</a:t>
            </a:r>
          </a:p>
          <a:p>
            <a:pPr marL="16933" marR="431789" defTabSz="1219170">
              <a:lnSpc>
                <a:spcPct val="100699"/>
              </a:lnSpc>
              <a:spcBef>
                <a:spcPts val="493"/>
              </a:spcBef>
              <a:defRPr/>
            </a:pPr>
            <a:endParaRPr lang="fr-FR" sz="1500" i="1">
              <a:solidFill>
                <a:prstClr val="black"/>
              </a:solidFill>
              <a:latin typeface="+mj-lt"/>
              <a:cs typeface="Arial Narrow"/>
              <a:sym typeface="Arial"/>
            </a:endParaRPr>
          </a:p>
          <a:p>
            <a:pPr marL="16933" defTabSz="1219170">
              <a:spcBef>
                <a:spcPts val="13"/>
              </a:spcBef>
              <a:defRPr/>
            </a:pPr>
            <a:r>
              <a:rPr lang="fr-FR" sz="1500" i="1">
                <a:solidFill>
                  <a:prstClr val="black"/>
                </a:solidFill>
                <a:latin typeface="+mj-lt"/>
                <a:cs typeface="Arial Narrow"/>
                <a:sym typeface="Arial"/>
              </a:rPr>
              <a:t>Dans</a:t>
            </a:r>
            <a:r>
              <a:rPr lang="fr-FR" sz="1500" i="1" spc="13">
                <a:solidFill>
                  <a:prstClr val="black"/>
                </a:solidFill>
                <a:latin typeface="+mj-lt"/>
                <a:cs typeface="Arial Narrow"/>
                <a:sym typeface="Arial"/>
              </a:rPr>
              <a:t> </a:t>
            </a:r>
            <a:r>
              <a:rPr lang="fr-FR" sz="1500" i="1">
                <a:solidFill>
                  <a:prstClr val="black"/>
                </a:solidFill>
                <a:latin typeface="+mj-lt"/>
                <a:cs typeface="Arial Narrow"/>
                <a:sym typeface="Arial"/>
              </a:rPr>
              <a:t>l’attente</a:t>
            </a:r>
            <a:r>
              <a:rPr lang="fr-FR" sz="1500" i="1" spc="33">
                <a:solidFill>
                  <a:prstClr val="black"/>
                </a:solidFill>
                <a:latin typeface="+mj-lt"/>
                <a:cs typeface="Arial Narrow"/>
                <a:sym typeface="Arial"/>
              </a:rPr>
              <a:t> </a:t>
            </a:r>
            <a:r>
              <a:rPr lang="fr-FR" sz="1500" i="1">
                <a:solidFill>
                  <a:prstClr val="black"/>
                </a:solidFill>
                <a:latin typeface="+mj-lt"/>
                <a:cs typeface="Arial Narrow"/>
                <a:sym typeface="Arial"/>
              </a:rPr>
              <a:t>de</a:t>
            </a:r>
            <a:r>
              <a:rPr lang="fr-FR" sz="1500" i="1" spc="27">
                <a:solidFill>
                  <a:prstClr val="black"/>
                </a:solidFill>
                <a:latin typeface="+mj-lt"/>
                <a:cs typeface="Arial Narrow"/>
                <a:sym typeface="Arial"/>
              </a:rPr>
              <a:t> </a:t>
            </a:r>
            <a:r>
              <a:rPr lang="fr-FR" sz="1500" i="1" spc="-7">
                <a:solidFill>
                  <a:prstClr val="black"/>
                </a:solidFill>
                <a:latin typeface="+mj-lt"/>
                <a:cs typeface="Arial Narrow"/>
                <a:sym typeface="Arial"/>
              </a:rPr>
              <a:t>nous</a:t>
            </a:r>
            <a:r>
              <a:rPr lang="fr-FR" sz="1500" i="1" spc="33">
                <a:solidFill>
                  <a:prstClr val="black"/>
                </a:solidFill>
                <a:latin typeface="+mj-lt"/>
                <a:cs typeface="Arial Narrow"/>
                <a:sym typeface="Arial"/>
              </a:rPr>
              <a:t> </a:t>
            </a:r>
            <a:r>
              <a:rPr lang="fr-FR" sz="1500" i="1" spc="-7">
                <a:solidFill>
                  <a:prstClr val="black"/>
                </a:solidFill>
                <a:latin typeface="+mj-lt"/>
                <a:cs typeface="Arial Narrow"/>
                <a:sym typeface="Arial"/>
              </a:rPr>
              <a:t>engager</a:t>
            </a:r>
            <a:r>
              <a:rPr lang="fr-FR" sz="1500" i="1" spc="53">
                <a:solidFill>
                  <a:prstClr val="black"/>
                </a:solidFill>
                <a:latin typeface="+mj-lt"/>
                <a:cs typeface="Arial Narrow"/>
                <a:sym typeface="Arial"/>
              </a:rPr>
              <a:t> </a:t>
            </a:r>
            <a:r>
              <a:rPr lang="fr-FR" sz="1500" i="1" spc="7">
                <a:solidFill>
                  <a:prstClr val="black"/>
                </a:solidFill>
                <a:latin typeface="+mj-lt"/>
                <a:cs typeface="Arial Narrow"/>
                <a:sym typeface="Arial"/>
              </a:rPr>
              <a:t>à</a:t>
            </a:r>
            <a:r>
              <a:rPr lang="fr-FR" sz="1500" i="1" spc="27">
                <a:solidFill>
                  <a:prstClr val="black"/>
                </a:solidFill>
                <a:latin typeface="+mj-lt"/>
                <a:cs typeface="Arial Narrow"/>
                <a:sym typeface="Arial"/>
              </a:rPr>
              <a:t> </a:t>
            </a:r>
            <a:r>
              <a:rPr lang="fr-FR" sz="1500" i="1">
                <a:solidFill>
                  <a:prstClr val="black"/>
                </a:solidFill>
                <a:latin typeface="+mj-lt"/>
                <a:cs typeface="Arial Narrow"/>
                <a:sym typeface="Arial"/>
              </a:rPr>
              <a:t>vos</a:t>
            </a:r>
            <a:r>
              <a:rPr lang="fr-FR" sz="1500" i="1" spc="13">
                <a:solidFill>
                  <a:prstClr val="black"/>
                </a:solidFill>
                <a:latin typeface="+mj-lt"/>
                <a:cs typeface="Arial Narrow"/>
                <a:sym typeface="Arial"/>
              </a:rPr>
              <a:t> </a:t>
            </a:r>
            <a:r>
              <a:rPr lang="fr-FR" sz="1500" i="1">
                <a:solidFill>
                  <a:prstClr val="black"/>
                </a:solidFill>
                <a:latin typeface="+mj-lt"/>
                <a:cs typeface="Arial Narrow"/>
                <a:sym typeface="Arial"/>
              </a:rPr>
              <a:t>côtés,</a:t>
            </a:r>
            <a:r>
              <a:rPr lang="fr-FR" sz="1500" i="1" spc="33">
                <a:solidFill>
                  <a:prstClr val="black"/>
                </a:solidFill>
                <a:latin typeface="+mj-lt"/>
                <a:cs typeface="Arial Narrow"/>
                <a:sym typeface="Arial"/>
              </a:rPr>
              <a:t> </a:t>
            </a:r>
            <a:r>
              <a:rPr lang="fr-FR" sz="1500" i="1" spc="-7">
                <a:solidFill>
                  <a:prstClr val="black"/>
                </a:solidFill>
                <a:latin typeface="+mj-lt"/>
                <a:cs typeface="Arial Narrow"/>
                <a:sym typeface="Arial"/>
              </a:rPr>
              <a:t>nous</a:t>
            </a:r>
            <a:r>
              <a:rPr lang="fr-FR" sz="1500" i="1" spc="40">
                <a:solidFill>
                  <a:prstClr val="black"/>
                </a:solidFill>
                <a:latin typeface="+mj-lt"/>
                <a:cs typeface="Arial Narrow"/>
                <a:sym typeface="Arial"/>
              </a:rPr>
              <a:t> </a:t>
            </a:r>
            <a:r>
              <a:rPr lang="fr-FR" sz="1500" i="1">
                <a:solidFill>
                  <a:prstClr val="black"/>
                </a:solidFill>
                <a:latin typeface="+mj-lt"/>
                <a:cs typeface="Arial Narrow"/>
                <a:sym typeface="Arial"/>
              </a:rPr>
              <a:t>vous</a:t>
            </a:r>
            <a:r>
              <a:rPr lang="fr-FR" sz="1500" i="1" spc="13">
                <a:solidFill>
                  <a:prstClr val="black"/>
                </a:solidFill>
                <a:latin typeface="+mj-lt"/>
                <a:cs typeface="Arial Narrow"/>
                <a:sym typeface="Arial"/>
              </a:rPr>
              <a:t> </a:t>
            </a:r>
            <a:r>
              <a:rPr lang="fr-FR" sz="1500" i="1" spc="-7">
                <a:solidFill>
                  <a:prstClr val="black"/>
                </a:solidFill>
                <a:latin typeface="+mj-lt"/>
                <a:cs typeface="Arial Narrow"/>
                <a:sym typeface="Arial"/>
              </a:rPr>
              <a:t>prions</a:t>
            </a:r>
            <a:r>
              <a:rPr lang="fr-FR" sz="1500" i="1" spc="53">
                <a:solidFill>
                  <a:prstClr val="black"/>
                </a:solidFill>
                <a:latin typeface="+mj-lt"/>
                <a:cs typeface="Arial Narrow"/>
                <a:sym typeface="Arial"/>
              </a:rPr>
              <a:t> </a:t>
            </a:r>
            <a:r>
              <a:rPr lang="fr-FR" sz="1500" i="1">
                <a:solidFill>
                  <a:prstClr val="black"/>
                </a:solidFill>
                <a:latin typeface="+mj-lt"/>
                <a:cs typeface="Arial Narrow"/>
                <a:sym typeface="Arial"/>
              </a:rPr>
              <a:t>de</a:t>
            </a:r>
            <a:r>
              <a:rPr lang="fr-FR" sz="1500" i="1" spc="20">
                <a:solidFill>
                  <a:prstClr val="black"/>
                </a:solidFill>
                <a:latin typeface="+mj-lt"/>
                <a:cs typeface="Arial Narrow"/>
                <a:sym typeface="Arial"/>
              </a:rPr>
              <a:t> </a:t>
            </a:r>
            <a:r>
              <a:rPr lang="fr-FR" sz="1500" i="1" spc="-7">
                <a:solidFill>
                  <a:prstClr val="black"/>
                </a:solidFill>
                <a:latin typeface="+mj-lt"/>
                <a:cs typeface="Arial Narrow"/>
                <a:sym typeface="Arial"/>
              </a:rPr>
              <a:t>croire </a:t>
            </a:r>
            <a:r>
              <a:rPr lang="fr-FR" sz="1500" i="1">
                <a:solidFill>
                  <a:prstClr val="black"/>
                </a:solidFill>
                <a:latin typeface="+mj-lt"/>
                <a:cs typeface="Arial Narrow"/>
                <a:sym typeface="Arial"/>
              </a:rPr>
              <a:t>en</a:t>
            </a:r>
            <a:r>
              <a:rPr lang="fr-FR" sz="1500" i="1" spc="20">
                <a:solidFill>
                  <a:prstClr val="black"/>
                </a:solidFill>
                <a:latin typeface="+mj-lt"/>
                <a:cs typeface="Arial Narrow"/>
                <a:sym typeface="Arial"/>
              </a:rPr>
              <a:t> </a:t>
            </a:r>
            <a:r>
              <a:rPr lang="fr-FR" sz="1500" i="1">
                <a:solidFill>
                  <a:prstClr val="black"/>
                </a:solidFill>
                <a:latin typeface="+mj-lt"/>
                <a:cs typeface="Arial Narrow"/>
                <a:sym typeface="Arial"/>
              </a:rPr>
              <a:t>l'assurance</a:t>
            </a:r>
            <a:r>
              <a:rPr lang="fr-FR" sz="1500" i="1" spc="33">
                <a:solidFill>
                  <a:prstClr val="black"/>
                </a:solidFill>
                <a:latin typeface="+mj-lt"/>
                <a:cs typeface="Arial Narrow"/>
                <a:sym typeface="Arial"/>
              </a:rPr>
              <a:t> </a:t>
            </a:r>
            <a:r>
              <a:rPr lang="fr-FR" sz="1500" i="1">
                <a:solidFill>
                  <a:prstClr val="black"/>
                </a:solidFill>
                <a:latin typeface="+mj-lt"/>
                <a:cs typeface="Arial Narrow"/>
                <a:sym typeface="Arial"/>
              </a:rPr>
              <a:t>de</a:t>
            </a:r>
            <a:r>
              <a:rPr lang="fr-FR" sz="1500" i="1" spc="27">
                <a:solidFill>
                  <a:prstClr val="black"/>
                </a:solidFill>
                <a:latin typeface="+mj-lt"/>
                <a:cs typeface="Arial Narrow"/>
                <a:sym typeface="Arial"/>
              </a:rPr>
              <a:t> </a:t>
            </a:r>
            <a:r>
              <a:rPr lang="fr-FR" sz="1500" i="1">
                <a:solidFill>
                  <a:prstClr val="black"/>
                </a:solidFill>
                <a:latin typeface="+mj-lt"/>
                <a:cs typeface="Arial Narrow"/>
                <a:sym typeface="Arial"/>
              </a:rPr>
              <a:t>notre</a:t>
            </a:r>
            <a:r>
              <a:rPr lang="fr-FR" sz="1500" i="1" spc="53">
                <a:solidFill>
                  <a:prstClr val="black"/>
                </a:solidFill>
                <a:latin typeface="+mj-lt"/>
                <a:cs typeface="Arial Narrow"/>
                <a:sym typeface="Arial"/>
              </a:rPr>
              <a:t> entière </a:t>
            </a:r>
            <a:r>
              <a:rPr lang="fr-FR" sz="1500" i="1" spc="-7">
                <a:solidFill>
                  <a:prstClr val="black"/>
                </a:solidFill>
                <a:latin typeface="+mj-lt"/>
                <a:cs typeface="Arial Narrow"/>
                <a:sym typeface="Arial"/>
              </a:rPr>
              <a:t>considération.</a:t>
            </a:r>
            <a:endParaRPr lang="fr-FR" sz="1500" i="1">
              <a:solidFill>
                <a:prstClr val="black"/>
              </a:solidFill>
              <a:latin typeface="+mj-lt"/>
              <a:cs typeface="Arial Narrow"/>
              <a:sym typeface="Arial"/>
            </a:endParaRPr>
          </a:p>
          <a:p>
            <a:pPr marL="12700" defTabSz="1219170">
              <a:spcBef>
                <a:spcPts val="11"/>
              </a:spcBef>
              <a:buClr>
                <a:srgbClr val="000000"/>
              </a:buClr>
            </a:pPr>
            <a:endParaRPr lang="fr-FR" sz="1500" i="1" kern="0">
              <a:solidFill>
                <a:srgbClr val="000000"/>
              </a:solidFill>
              <a:latin typeface="+mj-lt"/>
              <a:cs typeface="Arial Narrow"/>
              <a:sym typeface="Arial"/>
            </a:endParaRPr>
          </a:p>
        </p:txBody>
      </p:sp>
      <p:grpSp>
        <p:nvGrpSpPr>
          <p:cNvPr id="2" name="Groupe 1">
            <a:extLst>
              <a:ext uri="{FF2B5EF4-FFF2-40B4-BE49-F238E27FC236}">
                <a16:creationId xmlns:a16="http://schemas.microsoft.com/office/drawing/2014/main" id="{43A5A404-EFB2-FAAE-DC87-AC57AC893EF8}"/>
              </a:ext>
            </a:extLst>
          </p:cNvPr>
          <p:cNvGrpSpPr/>
          <p:nvPr/>
        </p:nvGrpSpPr>
        <p:grpSpPr>
          <a:xfrm>
            <a:off x="6694513" y="5071182"/>
            <a:ext cx="5807023" cy="1768871"/>
            <a:chOff x="997271" y="5143488"/>
            <a:chExt cx="3960815" cy="1252534"/>
          </a:xfrm>
        </p:grpSpPr>
        <p:grpSp>
          <p:nvGrpSpPr>
            <p:cNvPr id="3" name="Group 4">
              <a:extLst>
                <a:ext uri="{FF2B5EF4-FFF2-40B4-BE49-F238E27FC236}">
                  <a16:creationId xmlns:a16="http://schemas.microsoft.com/office/drawing/2014/main" id="{E14B3064-A966-0C42-7947-2D1BC99B5CE0}"/>
                </a:ext>
              </a:extLst>
            </p:cNvPr>
            <p:cNvGrpSpPr>
              <a:grpSpLocks noChangeAspect="1"/>
            </p:cNvGrpSpPr>
            <p:nvPr/>
          </p:nvGrpSpPr>
          <p:grpSpPr bwMode="auto">
            <a:xfrm>
              <a:off x="997271" y="5143488"/>
              <a:ext cx="3960815" cy="1252534"/>
              <a:chOff x="4521" y="3240"/>
              <a:chExt cx="2495" cy="789"/>
            </a:xfrm>
          </p:grpSpPr>
          <p:sp>
            <p:nvSpPr>
              <p:cNvPr id="7" name="AutoShape 3">
                <a:extLst>
                  <a:ext uri="{FF2B5EF4-FFF2-40B4-BE49-F238E27FC236}">
                    <a16:creationId xmlns:a16="http://schemas.microsoft.com/office/drawing/2014/main" id="{EFEB2225-3880-B5D4-3551-C13D3FF1D83A}"/>
                  </a:ext>
                </a:extLst>
              </p:cNvPr>
              <p:cNvSpPr>
                <a:spLocks noChangeAspect="1" noTextEdit="1"/>
              </p:cNvSpPr>
              <p:nvPr/>
            </p:nvSpPr>
            <p:spPr bwMode="auto">
              <a:xfrm>
                <a:off x="4521" y="3311"/>
                <a:ext cx="1841" cy="447"/>
              </a:xfrm>
              <a:prstGeom prst="rect">
                <a:avLst/>
              </a:prstGeom>
              <a:noFill/>
              <a:ln w="9525" cap="flat" cmpd="sng" algn="ctr">
                <a:solidFill>
                  <a:srgbClr val="4A66A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162560" tIns="81280" rIns="162560" bIns="81280" numCol="1" anchor="t" anchorCtr="0" compatLnSpc="1">
                <a:prstTxWarp prst="textNoShape">
                  <a:avLst/>
                </a:prstTxWarp>
              </a:bodyPr>
              <a:lstStyle/>
              <a:p>
                <a:pPr defTabSz="1219170">
                  <a:buClr>
                    <a:srgbClr val="000000"/>
                  </a:buClr>
                </a:pPr>
                <a:endParaRPr lang="fr-FR" sz="3200" kern="0">
                  <a:solidFill>
                    <a:srgbClr val="000000"/>
                  </a:solidFill>
                  <a:latin typeface="Arial" panose="020B0604020202020204" pitchFamily="34" charset="0"/>
                  <a:cs typeface="Arial"/>
                  <a:sym typeface="Arial"/>
                </a:endParaRPr>
              </a:p>
            </p:txBody>
          </p:sp>
          <p:sp>
            <p:nvSpPr>
              <p:cNvPr id="8" name="Rectangle 5">
                <a:extLst>
                  <a:ext uri="{FF2B5EF4-FFF2-40B4-BE49-F238E27FC236}">
                    <a16:creationId xmlns:a16="http://schemas.microsoft.com/office/drawing/2014/main" id="{83FDB95B-EC99-5895-C32E-987C792C812A}"/>
                  </a:ext>
                </a:extLst>
              </p:cNvPr>
              <p:cNvSpPr>
                <a:spLocks noChangeArrowheads="1"/>
              </p:cNvSpPr>
              <p:nvPr/>
            </p:nvSpPr>
            <p:spPr bwMode="auto">
              <a:xfrm>
                <a:off x="5331" y="3835"/>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000000"/>
                    </a:solidFill>
                    <a:cs typeface="Arial"/>
                    <a:sym typeface="Arial"/>
                  </a:rPr>
                  <a:t> </a:t>
                </a:r>
                <a:endParaRPr lang="fr-FR" altLang="fr-FR" sz="1956" kern="0">
                  <a:solidFill>
                    <a:srgbClr val="FF9966"/>
                  </a:solidFill>
                  <a:cs typeface="Arial"/>
                  <a:sym typeface="Arial"/>
                </a:endParaRPr>
              </a:p>
            </p:txBody>
          </p:sp>
          <p:sp>
            <p:nvSpPr>
              <p:cNvPr id="9" name="Rectangle 6">
                <a:extLst>
                  <a:ext uri="{FF2B5EF4-FFF2-40B4-BE49-F238E27FC236}">
                    <a16:creationId xmlns:a16="http://schemas.microsoft.com/office/drawing/2014/main" id="{E49072AE-C14A-CF26-F002-E4BAFD1D6496}"/>
                  </a:ext>
                </a:extLst>
              </p:cNvPr>
              <p:cNvSpPr>
                <a:spLocks noChangeArrowheads="1"/>
              </p:cNvSpPr>
              <p:nvPr/>
            </p:nvSpPr>
            <p:spPr bwMode="auto">
              <a:xfrm>
                <a:off x="5359" y="3333"/>
                <a:ext cx="775"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333" b="1" kern="0">
                    <a:solidFill>
                      <a:srgbClr val="353535"/>
                    </a:solidFill>
                    <a:cs typeface="Arial"/>
                    <a:sym typeface="Arial"/>
                  </a:rPr>
                  <a:t>Laurence ANGILBERT</a:t>
                </a:r>
                <a:endParaRPr lang="fr-FR" altLang="fr-FR" sz="1400" kern="0">
                  <a:solidFill>
                    <a:srgbClr val="FF9966"/>
                  </a:solidFill>
                  <a:cs typeface="Arial"/>
                  <a:sym typeface="Arial"/>
                </a:endParaRPr>
              </a:p>
            </p:txBody>
          </p:sp>
          <p:sp>
            <p:nvSpPr>
              <p:cNvPr id="13" name="Rectangle 7">
                <a:extLst>
                  <a:ext uri="{FF2B5EF4-FFF2-40B4-BE49-F238E27FC236}">
                    <a16:creationId xmlns:a16="http://schemas.microsoft.com/office/drawing/2014/main" id="{5733A537-F013-B87D-6053-3313D1D37556}"/>
                  </a:ext>
                </a:extLst>
              </p:cNvPr>
              <p:cNvSpPr>
                <a:spLocks noChangeArrowheads="1"/>
              </p:cNvSpPr>
              <p:nvPr/>
            </p:nvSpPr>
            <p:spPr bwMode="auto">
              <a:xfrm>
                <a:off x="6313" y="3431"/>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b="1" kern="0">
                    <a:solidFill>
                      <a:srgbClr val="353535"/>
                    </a:solidFill>
                    <a:cs typeface="Arial"/>
                    <a:sym typeface="Arial"/>
                  </a:rPr>
                  <a:t> </a:t>
                </a:r>
                <a:endParaRPr lang="fr-FR" altLang="fr-FR" sz="1956" kern="0">
                  <a:solidFill>
                    <a:srgbClr val="FF9966"/>
                  </a:solidFill>
                  <a:cs typeface="Arial"/>
                  <a:sym typeface="Arial"/>
                </a:endParaRPr>
              </a:p>
            </p:txBody>
          </p:sp>
          <p:sp>
            <p:nvSpPr>
              <p:cNvPr id="14" name="Rectangle 8">
                <a:extLst>
                  <a:ext uri="{FF2B5EF4-FFF2-40B4-BE49-F238E27FC236}">
                    <a16:creationId xmlns:a16="http://schemas.microsoft.com/office/drawing/2014/main" id="{38DBFD3F-BCFB-F4A7-1F54-FB33DE2636CA}"/>
                  </a:ext>
                </a:extLst>
              </p:cNvPr>
              <p:cNvSpPr>
                <a:spLocks noChangeArrowheads="1"/>
              </p:cNvSpPr>
              <p:nvPr/>
            </p:nvSpPr>
            <p:spPr bwMode="auto">
              <a:xfrm>
                <a:off x="5362" y="3438"/>
                <a:ext cx="31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333" kern="0">
                    <a:solidFill>
                      <a:srgbClr val="1D4D91"/>
                    </a:solidFill>
                    <a:cs typeface="Arial"/>
                    <a:sym typeface="Arial"/>
                  </a:rPr>
                  <a:t>Directrice</a:t>
                </a:r>
                <a:endParaRPr lang="fr-FR" altLang="fr-FR" sz="1400" kern="0">
                  <a:solidFill>
                    <a:srgbClr val="FF9966"/>
                  </a:solidFill>
                  <a:cs typeface="Arial"/>
                  <a:sym typeface="Arial"/>
                </a:endParaRPr>
              </a:p>
            </p:txBody>
          </p:sp>
          <p:sp>
            <p:nvSpPr>
              <p:cNvPr id="15" name="Rectangle 9">
                <a:extLst>
                  <a:ext uri="{FF2B5EF4-FFF2-40B4-BE49-F238E27FC236}">
                    <a16:creationId xmlns:a16="http://schemas.microsoft.com/office/drawing/2014/main" id="{D1314565-3C24-429F-7810-B9FF79663A14}"/>
                  </a:ext>
                </a:extLst>
              </p:cNvPr>
              <p:cNvSpPr>
                <a:spLocks noChangeArrowheads="1"/>
              </p:cNvSpPr>
              <p:nvPr/>
            </p:nvSpPr>
            <p:spPr bwMode="auto">
              <a:xfrm>
                <a:off x="5848" y="3569"/>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16" name="Rectangle 10">
                <a:extLst>
                  <a:ext uri="{FF2B5EF4-FFF2-40B4-BE49-F238E27FC236}">
                    <a16:creationId xmlns:a16="http://schemas.microsoft.com/office/drawing/2014/main" id="{D1B8E783-948D-C4F1-F4F9-CDB6479141DB}"/>
                  </a:ext>
                </a:extLst>
              </p:cNvPr>
              <p:cNvSpPr>
                <a:spLocks noChangeArrowheads="1"/>
              </p:cNvSpPr>
              <p:nvPr/>
            </p:nvSpPr>
            <p:spPr bwMode="auto">
              <a:xfrm>
                <a:off x="5609" y="3738"/>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18" name="Rectangle 12">
                <a:extLst>
                  <a:ext uri="{FF2B5EF4-FFF2-40B4-BE49-F238E27FC236}">
                    <a16:creationId xmlns:a16="http://schemas.microsoft.com/office/drawing/2014/main" id="{A0809EC0-F1B8-DE7C-6BA7-B01EEDBCD78B}"/>
                  </a:ext>
                </a:extLst>
              </p:cNvPr>
              <p:cNvSpPr>
                <a:spLocks noChangeArrowheads="1"/>
              </p:cNvSpPr>
              <p:nvPr/>
            </p:nvSpPr>
            <p:spPr bwMode="auto">
              <a:xfrm>
                <a:off x="5475" y="3549"/>
                <a:ext cx="439"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200" kern="0">
                    <a:solidFill>
                      <a:srgbClr val="353535"/>
                    </a:solidFill>
                    <a:cs typeface="Arial"/>
                    <a:sym typeface="Arial"/>
                  </a:rPr>
                  <a:t>06 20 88 76 41</a:t>
                </a:r>
                <a:endParaRPr lang="fr-FR" altLang="fr-FR" sz="1333" kern="0">
                  <a:solidFill>
                    <a:srgbClr val="FF9966"/>
                  </a:solidFill>
                  <a:cs typeface="Arial"/>
                  <a:sym typeface="Arial"/>
                </a:endParaRPr>
              </a:p>
            </p:txBody>
          </p:sp>
          <p:sp>
            <p:nvSpPr>
              <p:cNvPr id="19" name="Rectangle 13">
                <a:extLst>
                  <a:ext uri="{FF2B5EF4-FFF2-40B4-BE49-F238E27FC236}">
                    <a16:creationId xmlns:a16="http://schemas.microsoft.com/office/drawing/2014/main" id="{38B6293F-15BE-C366-F9EA-85DC00EC022F}"/>
                  </a:ext>
                </a:extLst>
              </p:cNvPr>
              <p:cNvSpPr>
                <a:spLocks noChangeArrowheads="1"/>
              </p:cNvSpPr>
              <p:nvPr/>
            </p:nvSpPr>
            <p:spPr bwMode="auto">
              <a:xfrm>
                <a:off x="6357" y="3715"/>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20" name="Rectangle 14">
                <a:extLst>
                  <a:ext uri="{FF2B5EF4-FFF2-40B4-BE49-F238E27FC236}">
                    <a16:creationId xmlns:a16="http://schemas.microsoft.com/office/drawing/2014/main" id="{5D32BC93-C93F-A080-3EA6-C94867B3423B}"/>
                  </a:ext>
                </a:extLst>
              </p:cNvPr>
              <p:cNvSpPr>
                <a:spLocks noChangeArrowheads="1"/>
              </p:cNvSpPr>
              <p:nvPr/>
            </p:nvSpPr>
            <p:spPr bwMode="auto">
              <a:xfrm>
                <a:off x="5609" y="3875"/>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21" name="Rectangle 15">
                <a:extLst>
                  <a:ext uri="{FF2B5EF4-FFF2-40B4-BE49-F238E27FC236}">
                    <a16:creationId xmlns:a16="http://schemas.microsoft.com/office/drawing/2014/main" id="{1D4180AE-3E60-37A0-D115-80ADE2D62A21}"/>
                  </a:ext>
                </a:extLst>
              </p:cNvPr>
              <p:cNvSpPr>
                <a:spLocks noChangeArrowheads="1"/>
              </p:cNvSpPr>
              <p:nvPr/>
            </p:nvSpPr>
            <p:spPr bwMode="auto">
              <a:xfrm>
                <a:off x="5461" y="3643"/>
                <a:ext cx="897"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200" kern="0">
                    <a:solidFill>
                      <a:srgbClr val="353535"/>
                    </a:solidFill>
                    <a:cs typeface="Arial"/>
                    <a:sym typeface="Arial"/>
                  </a:rPr>
                  <a:t>Laurence.angilbert@talan.com</a:t>
                </a:r>
                <a:endParaRPr lang="fr-FR" altLang="fr-FR" sz="1333" kern="0">
                  <a:solidFill>
                    <a:srgbClr val="FF9966"/>
                  </a:solidFill>
                  <a:cs typeface="Arial"/>
                  <a:sym typeface="Arial"/>
                </a:endParaRPr>
              </a:p>
            </p:txBody>
          </p:sp>
          <p:sp>
            <p:nvSpPr>
              <p:cNvPr id="22" name="Rectangle 16">
                <a:extLst>
                  <a:ext uri="{FF2B5EF4-FFF2-40B4-BE49-F238E27FC236}">
                    <a16:creationId xmlns:a16="http://schemas.microsoft.com/office/drawing/2014/main" id="{C43F0B23-C0B4-BAD4-B278-F17863CB793B}"/>
                  </a:ext>
                </a:extLst>
              </p:cNvPr>
              <p:cNvSpPr>
                <a:spLocks noChangeArrowheads="1"/>
              </p:cNvSpPr>
              <p:nvPr/>
            </p:nvSpPr>
            <p:spPr bwMode="auto">
              <a:xfrm>
                <a:off x="6888" y="3853"/>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23" name="Rectangle 17">
                <a:extLst>
                  <a:ext uri="{FF2B5EF4-FFF2-40B4-BE49-F238E27FC236}">
                    <a16:creationId xmlns:a16="http://schemas.microsoft.com/office/drawing/2014/main" id="{8FCE651F-2672-45CD-800B-3CEB2F1ED296}"/>
                  </a:ext>
                </a:extLst>
              </p:cNvPr>
              <p:cNvSpPr>
                <a:spLocks noChangeArrowheads="1"/>
              </p:cNvSpPr>
              <p:nvPr/>
            </p:nvSpPr>
            <p:spPr bwMode="auto">
              <a:xfrm>
                <a:off x="5499" y="3888"/>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000000"/>
                    </a:solidFill>
                    <a:cs typeface="Arial"/>
                    <a:sym typeface="Arial"/>
                  </a:rPr>
                  <a:t> </a:t>
                </a:r>
                <a:endParaRPr lang="fr-FR" altLang="fr-FR" sz="1956" kern="0">
                  <a:solidFill>
                    <a:srgbClr val="FF9966"/>
                  </a:solidFill>
                  <a:cs typeface="Arial"/>
                  <a:sym typeface="Arial"/>
                </a:endParaRPr>
              </a:p>
            </p:txBody>
          </p:sp>
          <p:sp>
            <p:nvSpPr>
              <p:cNvPr id="24" name="Rectangle 18">
                <a:extLst>
                  <a:ext uri="{FF2B5EF4-FFF2-40B4-BE49-F238E27FC236}">
                    <a16:creationId xmlns:a16="http://schemas.microsoft.com/office/drawing/2014/main" id="{23335B36-72FE-7CFE-E9A2-71E84DF66523}"/>
                  </a:ext>
                </a:extLst>
              </p:cNvPr>
              <p:cNvSpPr>
                <a:spLocks noChangeArrowheads="1"/>
              </p:cNvSpPr>
              <p:nvPr/>
            </p:nvSpPr>
            <p:spPr bwMode="auto">
              <a:xfrm>
                <a:off x="5419" y="3902"/>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000000"/>
                    </a:solidFill>
                    <a:cs typeface="Arial"/>
                    <a:sym typeface="Arial"/>
                  </a:rPr>
                  <a:t> </a:t>
                </a:r>
                <a:endParaRPr lang="fr-FR" altLang="fr-FR" sz="1956" kern="0">
                  <a:solidFill>
                    <a:srgbClr val="FF9966"/>
                  </a:solidFill>
                  <a:cs typeface="Arial"/>
                  <a:sym typeface="Arial"/>
                </a:endParaRPr>
              </a:p>
            </p:txBody>
          </p:sp>
          <p:sp>
            <p:nvSpPr>
              <p:cNvPr id="25" name="Rectangle 19">
                <a:extLst>
                  <a:ext uri="{FF2B5EF4-FFF2-40B4-BE49-F238E27FC236}">
                    <a16:creationId xmlns:a16="http://schemas.microsoft.com/office/drawing/2014/main" id="{707F83F2-BEDE-65A8-7356-C357D28199FB}"/>
                  </a:ext>
                </a:extLst>
              </p:cNvPr>
              <p:cNvSpPr>
                <a:spLocks noChangeArrowheads="1"/>
              </p:cNvSpPr>
              <p:nvPr/>
            </p:nvSpPr>
            <p:spPr bwMode="auto">
              <a:xfrm>
                <a:off x="6994" y="3240"/>
                <a:ext cx="22"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423" kern="0">
                    <a:solidFill>
                      <a:srgbClr val="000000"/>
                    </a:solidFill>
                    <a:cs typeface="Arial"/>
                    <a:sym typeface="Arial"/>
                  </a:rPr>
                  <a:t> </a:t>
                </a:r>
                <a:endParaRPr lang="fr-FR" altLang="fr-FR" sz="1956" kern="0">
                  <a:solidFill>
                    <a:srgbClr val="FF9966"/>
                  </a:solidFill>
                  <a:cs typeface="Arial"/>
                  <a:sym typeface="Arial"/>
                </a:endParaRPr>
              </a:p>
            </p:txBody>
          </p:sp>
          <p:sp>
            <p:nvSpPr>
              <p:cNvPr id="27" name="Rectangle 21">
                <a:extLst>
                  <a:ext uri="{FF2B5EF4-FFF2-40B4-BE49-F238E27FC236}">
                    <a16:creationId xmlns:a16="http://schemas.microsoft.com/office/drawing/2014/main" id="{8EC917A1-2561-F7B9-F23E-33954AE90163}"/>
                  </a:ext>
                </a:extLst>
              </p:cNvPr>
              <p:cNvSpPr>
                <a:spLocks noChangeArrowheads="1"/>
              </p:cNvSpPr>
              <p:nvPr/>
            </p:nvSpPr>
            <p:spPr bwMode="auto">
              <a:xfrm>
                <a:off x="4521" y="3919"/>
                <a:ext cx="25"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600" kern="0">
                    <a:solidFill>
                      <a:srgbClr val="000000"/>
                    </a:solidFill>
                    <a:cs typeface="Arial"/>
                    <a:sym typeface="Arial"/>
                  </a:rPr>
                  <a:t> </a:t>
                </a:r>
                <a:endParaRPr lang="fr-FR" altLang="fr-FR" sz="1956" kern="0">
                  <a:solidFill>
                    <a:srgbClr val="FF9966"/>
                  </a:solidFill>
                  <a:cs typeface="Arial"/>
                  <a:sym typeface="Arial"/>
                </a:endParaRPr>
              </a:p>
            </p:txBody>
          </p:sp>
          <p:pic>
            <p:nvPicPr>
              <p:cNvPr id="28" name="Picture 22">
                <a:extLst>
                  <a:ext uri="{FF2B5EF4-FFF2-40B4-BE49-F238E27FC236}">
                    <a16:creationId xmlns:a16="http://schemas.microsoft.com/office/drawing/2014/main" id="{30BF5E73-5F60-2221-4FB4-4D1BFAF394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4" y="3391"/>
                <a:ext cx="797"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4">
                <a:extLst>
                  <a:ext uri="{FF2B5EF4-FFF2-40B4-BE49-F238E27FC236}">
                    <a16:creationId xmlns:a16="http://schemas.microsoft.com/office/drawing/2014/main" id="{CA6D1BC0-3A13-3F6A-5724-AFC4FA26CD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1" y="3554"/>
                <a:ext cx="72" cy="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5">
                <a:extLst>
                  <a:ext uri="{FF2B5EF4-FFF2-40B4-BE49-F238E27FC236}">
                    <a16:creationId xmlns:a16="http://schemas.microsoft.com/office/drawing/2014/main" id="{2EF61AFC-E1C7-8725-4FF3-D16F3A3B7E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7" y="3653"/>
                <a:ext cx="60"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 name="Image 4">
              <a:extLst>
                <a:ext uri="{FF2B5EF4-FFF2-40B4-BE49-F238E27FC236}">
                  <a16:creationId xmlns:a16="http://schemas.microsoft.com/office/drawing/2014/main" id="{AA880AB3-A3A0-B267-0446-DB0AE5EB3D02}"/>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80047" b="15139"/>
            <a:stretch/>
          </p:blipFill>
          <p:spPr>
            <a:xfrm>
              <a:off x="1090168" y="5267059"/>
              <a:ext cx="890073" cy="687913"/>
            </a:xfrm>
            <a:prstGeom prst="rect">
              <a:avLst/>
            </a:prstGeom>
            <a:ln>
              <a:noFill/>
            </a:ln>
          </p:spPr>
        </p:pic>
      </p:grpSp>
      <p:cxnSp>
        <p:nvCxnSpPr>
          <p:cNvPr id="32" name="Connecteur droit 31">
            <a:extLst>
              <a:ext uri="{FF2B5EF4-FFF2-40B4-BE49-F238E27FC236}">
                <a16:creationId xmlns:a16="http://schemas.microsoft.com/office/drawing/2014/main" id="{67072628-E2A8-1634-6B06-10B93B994402}"/>
              </a:ext>
            </a:extLst>
          </p:cNvPr>
          <p:cNvCxnSpPr/>
          <p:nvPr/>
        </p:nvCxnSpPr>
        <p:spPr>
          <a:xfrm>
            <a:off x="8444753" y="5228960"/>
            <a:ext cx="0" cy="1008000"/>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Groupe 3">
            <a:extLst>
              <a:ext uri="{FF2B5EF4-FFF2-40B4-BE49-F238E27FC236}">
                <a16:creationId xmlns:a16="http://schemas.microsoft.com/office/drawing/2014/main" id="{7F1C22F4-1433-13EE-8CB3-0FC3FD2416C5}"/>
              </a:ext>
            </a:extLst>
          </p:cNvPr>
          <p:cNvGrpSpPr/>
          <p:nvPr/>
        </p:nvGrpSpPr>
        <p:grpSpPr>
          <a:xfrm>
            <a:off x="902473" y="5071187"/>
            <a:ext cx="5807023" cy="1768872"/>
            <a:chOff x="997271" y="5143488"/>
            <a:chExt cx="3960815" cy="1252534"/>
          </a:xfrm>
        </p:grpSpPr>
        <p:grpSp>
          <p:nvGrpSpPr>
            <p:cNvPr id="17" name="Group 4">
              <a:extLst>
                <a:ext uri="{FF2B5EF4-FFF2-40B4-BE49-F238E27FC236}">
                  <a16:creationId xmlns:a16="http://schemas.microsoft.com/office/drawing/2014/main" id="{C7BDBEF9-2626-12CD-F4F2-D6782E304F1D}"/>
                </a:ext>
              </a:extLst>
            </p:cNvPr>
            <p:cNvGrpSpPr>
              <a:grpSpLocks noChangeAspect="1"/>
            </p:cNvGrpSpPr>
            <p:nvPr/>
          </p:nvGrpSpPr>
          <p:grpSpPr bwMode="auto">
            <a:xfrm>
              <a:off x="997271" y="5143488"/>
              <a:ext cx="3960815" cy="1252534"/>
              <a:chOff x="4521" y="3240"/>
              <a:chExt cx="2495" cy="789"/>
            </a:xfrm>
          </p:grpSpPr>
          <p:sp>
            <p:nvSpPr>
              <p:cNvPr id="31" name="AutoShape 3">
                <a:extLst>
                  <a:ext uri="{FF2B5EF4-FFF2-40B4-BE49-F238E27FC236}">
                    <a16:creationId xmlns:a16="http://schemas.microsoft.com/office/drawing/2014/main" id="{538BE52D-0BE8-F73A-A37E-AB46255B5070}"/>
                  </a:ext>
                </a:extLst>
              </p:cNvPr>
              <p:cNvSpPr>
                <a:spLocks noChangeAspect="1" noTextEdit="1"/>
              </p:cNvSpPr>
              <p:nvPr/>
            </p:nvSpPr>
            <p:spPr bwMode="auto">
              <a:xfrm>
                <a:off x="4521" y="3311"/>
                <a:ext cx="1841" cy="447"/>
              </a:xfrm>
              <a:prstGeom prst="rect">
                <a:avLst/>
              </a:prstGeom>
              <a:noFill/>
              <a:ln w="9525" cap="flat" cmpd="sng" algn="ctr">
                <a:solidFill>
                  <a:srgbClr val="4A66A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162560" tIns="81280" rIns="162560" bIns="81280" numCol="1" anchor="t" anchorCtr="0" compatLnSpc="1">
                <a:prstTxWarp prst="textNoShape">
                  <a:avLst/>
                </a:prstTxWarp>
              </a:bodyPr>
              <a:lstStyle/>
              <a:p>
                <a:pPr defTabSz="1219170">
                  <a:buClr>
                    <a:srgbClr val="000000"/>
                  </a:buClr>
                </a:pPr>
                <a:endParaRPr lang="fr-FR" sz="3200" kern="0">
                  <a:solidFill>
                    <a:srgbClr val="000000"/>
                  </a:solidFill>
                  <a:latin typeface="Arial" panose="020B0604020202020204" pitchFamily="34" charset="0"/>
                  <a:cs typeface="Arial"/>
                  <a:sym typeface="Arial"/>
                </a:endParaRPr>
              </a:p>
            </p:txBody>
          </p:sp>
          <p:sp>
            <p:nvSpPr>
              <p:cNvPr id="33" name="Rectangle 5">
                <a:extLst>
                  <a:ext uri="{FF2B5EF4-FFF2-40B4-BE49-F238E27FC236}">
                    <a16:creationId xmlns:a16="http://schemas.microsoft.com/office/drawing/2014/main" id="{2C61B437-FBB6-EFCB-EFF6-474A1AC842E6}"/>
                  </a:ext>
                </a:extLst>
              </p:cNvPr>
              <p:cNvSpPr>
                <a:spLocks noChangeArrowheads="1"/>
              </p:cNvSpPr>
              <p:nvPr/>
            </p:nvSpPr>
            <p:spPr bwMode="auto">
              <a:xfrm>
                <a:off x="5331" y="3835"/>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000000"/>
                    </a:solidFill>
                    <a:cs typeface="Arial"/>
                    <a:sym typeface="Arial"/>
                  </a:rPr>
                  <a:t> </a:t>
                </a:r>
                <a:endParaRPr lang="fr-FR" altLang="fr-FR" sz="1956" kern="0">
                  <a:solidFill>
                    <a:srgbClr val="FF9966"/>
                  </a:solidFill>
                  <a:cs typeface="Arial"/>
                  <a:sym typeface="Arial"/>
                </a:endParaRPr>
              </a:p>
            </p:txBody>
          </p:sp>
          <p:sp>
            <p:nvSpPr>
              <p:cNvPr id="34" name="Rectangle 6">
                <a:extLst>
                  <a:ext uri="{FF2B5EF4-FFF2-40B4-BE49-F238E27FC236}">
                    <a16:creationId xmlns:a16="http://schemas.microsoft.com/office/drawing/2014/main" id="{762B960A-462E-B28A-17D4-4A147ACA8682}"/>
                  </a:ext>
                </a:extLst>
              </p:cNvPr>
              <p:cNvSpPr>
                <a:spLocks noChangeArrowheads="1"/>
              </p:cNvSpPr>
              <p:nvPr/>
            </p:nvSpPr>
            <p:spPr bwMode="auto">
              <a:xfrm>
                <a:off x="5359" y="3333"/>
                <a:ext cx="56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333" b="1" kern="0">
                    <a:solidFill>
                      <a:srgbClr val="353535"/>
                    </a:solidFill>
                    <a:cs typeface="Arial"/>
                    <a:sym typeface="Arial"/>
                  </a:rPr>
                  <a:t>Vincent MESLIN</a:t>
                </a:r>
                <a:endParaRPr lang="fr-FR" altLang="fr-FR" sz="1400" kern="0">
                  <a:solidFill>
                    <a:srgbClr val="FF9966"/>
                  </a:solidFill>
                  <a:cs typeface="Arial"/>
                  <a:sym typeface="Arial"/>
                </a:endParaRPr>
              </a:p>
            </p:txBody>
          </p:sp>
          <p:sp>
            <p:nvSpPr>
              <p:cNvPr id="35" name="Rectangle 7">
                <a:extLst>
                  <a:ext uri="{FF2B5EF4-FFF2-40B4-BE49-F238E27FC236}">
                    <a16:creationId xmlns:a16="http://schemas.microsoft.com/office/drawing/2014/main" id="{87F8DC59-691A-72DD-BDD8-B33960C91B60}"/>
                  </a:ext>
                </a:extLst>
              </p:cNvPr>
              <p:cNvSpPr>
                <a:spLocks noChangeArrowheads="1"/>
              </p:cNvSpPr>
              <p:nvPr/>
            </p:nvSpPr>
            <p:spPr bwMode="auto">
              <a:xfrm>
                <a:off x="6313" y="3431"/>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b="1" kern="0">
                    <a:solidFill>
                      <a:srgbClr val="353535"/>
                    </a:solidFill>
                    <a:cs typeface="Arial"/>
                    <a:sym typeface="Arial"/>
                  </a:rPr>
                  <a:t> </a:t>
                </a:r>
                <a:endParaRPr lang="fr-FR" altLang="fr-FR" sz="1956" kern="0">
                  <a:solidFill>
                    <a:srgbClr val="FF9966"/>
                  </a:solidFill>
                  <a:cs typeface="Arial"/>
                  <a:sym typeface="Arial"/>
                </a:endParaRPr>
              </a:p>
            </p:txBody>
          </p:sp>
          <p:sp>
            <p:nvSpPr>
              <p:cNvPr id="36" name="Rectangle 8">
                <a:extLst>
                  <a:ext uri="{FF2B5EF4-FFF2-40B4-BE49-F238E27FC236}">
                    <a16:creationId xmlns:a16="http://schemas.microsoft.com/office/drawing/2014/main" id="{B7D5D5F4-06ED-A41D-F890-D032D8B9F035}"/>
                  </a:ext>
                </a:extLst>
              </p:cNvPr>
              <p:cNvSpPr>
                <a:spLocks noChangeArrowheads="1"/>
              </p:cNvSpPr>
              <p:nvPr/>
            </p:nvSpPr>
            <p:spPr bwMode="auto">
              <a:xfrm>
                <a:off x="5362" y="3438"/>
                <a:ext cx="24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333" kern="0">
                    <a:solidFill>
                      <a:srgbClr val="1D4D91"/>
                    </a:solidFill>
                    <a:cs typeface="Arial"/>
                    <a:sym typeface="Arial"/>
                  </a:rPr>
                  <a:t>Partner</a:t>
                </a:r>
                <a:endParaRPr lang="fr-FR" altLang="fr-FR" sz="1400" kern="0">
                  <a:solidFill>
                    <a:srgbClr val="FF9966"/>
                  </a:solidFill>
                  <a:cs typeface="Arial"/>
                  <a:sym typeface="Arial"/>
                </a:endParaRPr>
              </a:p>
            </p:txBody>
          </p:sp>
          <p:sp>
            <p:nvSpPr>
              <p:cNvPr id="37" name="Rectangle 9">
                <a:extLst>
                  <a:ext uri="{FF2B5EF4-FFF2-40B4-BE49-F238E27FC236}">
                    <a16:creationId xmlns:a16="http://schemas.microsoft.com/office/drawing/2014/main" id="{58CB211F-ADB4-6C67-F8A9-9326E83196A6}"/>
                  </a:ext>
                </a:extLst>
              </p:cNvPr>
              <p:cNvSpPr>
                <a:spLocks noChangeArrowheads="1"/>
              </p:cNvSpPr>
              <p:nvPr/>
            </p:nvSpPr>
            <p:spPr bwMode="auto">
              <a:xfrm>
                <a:off x="5848" y="3569"/>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38" name="Rectangle 10">
                <a:extLst>
                  <a:ext uri="{FF2B5EF4-FFF2-40B4-BE49-F238E27FC236}">
                    <a16:creationId xmlns:a16="http://schemas.microsoft.com/office/drawing/2014/main" id="{342A7708-5E17-7A2A-9C91-A5E838C502FD}"/>
                  </a:ext>
                </a:extLst>
              </p:cNvPr>
              <p:cNvSpPr>
                <a:spLocks noChangeArrowheads="1"/>
              </p:cNvSpPr>
              <p:nvPr/>
            </p:nvSpPr>
            <p:spPr bwMode="auto">
              <a:xfrm>
                <a:off x="5609" y="3738"/>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39" name="Rectangle 12">
                <a:extLst>
                  <a:ext uri="{FF2B5EF4-FFF2-40B4-BE49-F238E27FC236}">
                    <a16:creationId xmlns:a16="http://schemas.microsoft.com/office/drawing/2014/main" id="{9F03CBE6-69E0-BA4C-F8BC-1BB2D76DE0AA}"/>
                  </a:ext>
                </a:extLst>
              </p:cNvPr>
              <p:cNvSpPr>
                <a:spLocks noChangeArrowheads="1"/>
              </p:cNvSpPr>
              <p:nvPr/>
            </p:nvSpPr>
            <p:spPr bwMode="auto">
              <a:xfrm>
                <a:off x="5475" y="3549"/>
                <a:ext cx="439"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200" kern="0">
                    <a:solidFill>
                      <a:srgbClr val="353535"/>
                    </a:solidFill>
                    <a:cs typeface="Arial"/>
                    <a:sym typeface="Arial"/>
                  </a:rPr>
                  <a:t>06 74 97 86 47</a:t>
                </a:r>
                <a:endParaRPr lang="fr-FR" altLang="fr-FR" sz="1333" kern="0">
                  <a:solidFill>
                    <a:srgbClr val="FF9966"/>
                  </a:solidFill>
                  <a:cs typeface="Arial"/>
                  <a:sym typeface="Arial"/>
                </a:endParaRPr>
              </a:p>
            </p:txBody>
          </p:sp>
          <p:sp>
            <p:nvSpPr>
              <p:cNvPr id="40" name="Rectangle 13">
                <a:extLst>
                  <a:ext uri="{FF2B5EF4-FFF2-40B4-BE49-F238E27FC236}">
                    <a16:creationId xmlns:a16="http://schemas.microsoft.com/office/drawing/2014/main" id="{7420361A-F39E-AE08-C225-532FDD1F8D45}"/>
                  </a:ext>
                </a:extLst>
              </p:cNvPr>
              <p:cNvSpPr>
                <a:spLocks noChangeArrowheads="1"/>
              </p:cNvSpPr>
              <p:nvPr/>
            </p:nvSpPr>
            <p:spPr bwMode="auto">
              <a:xfrm>
                <a:off x="6357" y="3715"/>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41" name="Rectangle 14">
                <a:extLst>
                  <a:ext uri="{FF2B5EF4-FFF2-40B4-BE49-F238E27FC236}">
                    <a16:creationId xmlns:a16="http://schemas.microsoft.com/office/drawing/2014/main" id="{A46A24C4-C599-226F-B904-CE0A1399177A}"/>
                  </a:ext>
                </a:extLst>
              </p:cNvPr>
              <p:cNvSpPr>
                <a:spLocks noChangeArrowheads="1"/>
              </p:cNvSpPr>
              <p:nvPr/>
            </p:nvSpPr>
            <p:spPr bwMode="auto">
              <a:xfrm>
                <a:off x="5609" y="3875"/>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42" name="Rectangle 15">
                <a:extLst>
                  <a:ext uri="{FF2B5EF4-FFF2-40B4-BE49-F238E27FC236}">
                    <a16:creationId xmlns:a16="http://schemas.microsoft.com/office/drawing/2014/main" id="{4BA569B8-99F8-5F8C-48ED-74662D9B58FA}"/>
                  </a:ext>
                </a:extLst>
              </p:cNvPr>
              <p:cNvSpPr>
                <a:spLocks noChangeArrowheads="1"/>
              </p:cNvSpPr>
              <p:nvPr/>
            </p:nvSpPr>
            <p:spPr bwMode="auto">
              <a:xfrm>
                <a:off x="5461" y="3643"/>
                <a:ext cx="781"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200" kern="0">
                    <a:solidFill>
                      <a:srgbClr val="353535"/>
                    </a:solidFill>
                    <a:cs typeface="Arial"/>
                    <a:sym typeface="Arial"/>
                  </a:rPr>
                  <a:t>Vincent.Meslin@talan.com</a:t>
                </a:r>
                <a:endParaRPr lang="fr-FR" altLang="fr-FR" sz="1333" kern="0">
                  <a:solidFill>
                    <a:srgbClr val="FF9966"/>
                  </a:solidFill>
                  <a:cs typeface="Arial"/>
                  <a:sym typeface="Arial"/>
                </a:endParaRPr>
              </a:p>
            </p:txBody>
          </p:sp>
          <p:sp>
            <p:nvSpPr>
              <p:cNvPr id="43" name="Rectangle 16">
                <a:extLst>
                  <a:ext uri="{FF2B5EF4-FFF2-40B4-BE49-F238E27FC236}">
                    <a16:creationId xmlns:a16="http://schemas.microsoft.com/office/drawing/2014/main" id="{92A43BAC-10EC-208A-8AC7-7FC33A549387}"/>
                  </a:ext>
                </a:extLst>
              </p:cNvPr>
              <p:cNvSpPr>
                <a:spLocks noChangeArrowheads="1"/>
              </p:cNvSpPr>
              <p:nvPr/>
            </p:nvSpPr>
            <p:spPr bwMode="auto">
              <a:xfrm>
                <a:off x="6888" y="3853"/>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353535"/>
                    </a:solidFill>
                    <a:cs typeface="Arial"/>
                    <a:sym typeface="Arial"/>
                  </a:rPr>
                  <a:t> </a:t>
                </a:r>
                <a:endParaRPr lang="fr-FR" altLang="fr-FR" sz="1956" kern="0">
                  <a:solidFill>
                    <a:srgbClr val="FF9966"/>
                  </a:solidFill>
                  <a:cs typeface="Arial"/>
                  <a:sym typeface="Arial"/>
                </a:endParaRPr>
              </a:p>
            </p:txBody>
          </p:sp>
          <p:sp>
            <p:nvSpPr>
              <p:cNvPr id="44" name="Rectangle 17">
                <a:extLst>
                  <a:ext uri="{FF2B5EF4-FFF2-40B4-BE49-F238E27FC236}">
                    <a16:creationId xmlns:a16="http://schemas.microsoft.com/office/drawing/2014/main" id="{77BC4168-BC06-6081-6C4D-1F78DF144CD2}"/>
                  </a:ext>
                </a:extLst>
              </p:cNvPr>
              <p:cNvSpPr>
                <a:spLocks noChangeArrowheads="1"/>
              </p:cNvSpPr>
              <p:nvPr/>
            </p:nvSpPr>
            <p:spPr bwMode="auto">
              <a:xfrm>
                <a:off x="5499" y="3888"/>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000000"/>
                    </a:solidFill>
                    <a:cs typeface="Arial"/>
                    <a:sym typeface="Arial"/>
                  </a:rPr>
                  <a:t> </a:t>
                </a:r>
                <a:endParaRPr lang="fr-FR" altLang="fr-FR" sz="1956" kern="0">
                  <a:solidFill>
                    <a:srgbClr val="FF9966"/>
                  </a:solidFill>
                  <a:cs typeface="Arial"/>
                  <a:sym typeface="Arial"/>
                </a:endParaRPr>
              </a:p>
            </p:txBody>
          </p:sp>
          <p:sp>
            <p:nvSpPr>
              <p:cNvPr id="45" name="Rectangle 18">
                <a:extLst>
                  <a:ext uri="{FF2B5EF4-FFF2-40B4-BE49-F238E27FC236}">
                    <a16:creationId xmlns:a16="http://schemas.microsoft.com/office/drawing/2014/main" id="{E03C97F8-5A35-9CCF-CE23-6384FD51F428}"/>
                  </a:ext>
                </a:extLst>
              </p:cNvPr>
              <p:cNvSpPr>
                <a:spLocks noChangeArrowheads="1"/>
              </p:cNvSpPr>
              <p:nvPr/>
            </p:nvSpPr>
            <p:spPr bwMode="auto">
              <a:xfrm>
                <a:off x="5419" y="3902"/>
                <a:ext cx="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77" kern="0">
                    <a:solidFill>
                      <a:srgbClr val="000000"/>
                    </a:solidFill>
                    <a:cs typeface="Arial"/>
                    <a:sym typeface="Arial"/>
                  </a:rPr>
                  <a:t> </a:t>
                </a:r>
                <a:endParaRPr lang="fr-FR" altLang="fr-FR" sz="1956" kern="0">
                  <a:solidFill>
                    <a:srgbClr val="FF9966"/>
                  </a:solidFill>
                  <a:cs typeface="Arial"/>
                  <a:sym typeface="Arial"/>
                </a:endParaRPr>
              </a:p>
            </p:txBody>
          </p:sp>
          <p:sp>
            <p:nvSpPr>
              <p:cNvPr id="46" name="Rectangle 19">
                <a:extLst>
                  <a:ext uri="{FF2B5EF4-FFF2-40B4-BE49-F238E27FC236}">
                    <a16:creationId xmlns:a16="http://schemas.microsoft.com/office/drawing/2014/main" id="{355DDD13-40D2-F7A0-8093-39A7FB36C504}"/>
                  </a:ext>
                </a:extLst>
              </p:cNvPr>
              <p:cNvSpPr>
                <a:spLocks noChangeArrowheads="1"/>
              </p:cNvSpPr>
              <p:nvPr/>
            </p:nvSpPr>
            <p:spPr bwMode="auto">
              <a:xfrm>
                <a:off x="6994" y="3240"/>
                <a:ext cx="22"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423" kern="0">
                    <a:solidFill>
                      <a:srgbClr val="000000"/>
                    </a:solidFill>
                    <a:cs typeface="Arial"/>
                    <a:sym typeface="Arial"/>
                  </a:rPr>
                  <a:t> </a:t>
                </a:r>
                <a:endParaRPr lang="fr-FR" altLang="fr-FR" sz="1956" kern="0">
                  <a:solidFill>
                    <a:srgbClr val="FF9966"/>
                  </a:solidFill>
                  <a:cs typeface="Arial"/>
                  <a:sym typeface="Arial"/>
                </a:endParaRPr>
              </a:p>
            </p:txBody>
          </p:sp>
          <p:sp>
            <p:nvSpPr>
              <p:cNvPr id="47" name="Rectangle 21">
                <a:extLst>
                  <a:ext uri="{FF2B5EF4-FFF2-40B4-BE49-F238E27FC236}">
                    <a16:creationId xmlns:a16="http://schemas.microsoft.com/office/drawing/2014/main" id="{CD06243F-EDB1-E903-4421-00D4A7B8673F}"/>
                  </a:ext>
                </a:extLst>
              </p:cNvPr>
              <p:cNvSpPr>
                <a:spLocks noChangeArrowheads="1"/>
              </p:cNvSpPr>
              <p:nvPr/>
            </p:nvSpPr>
            <p:spPr bwMode="auto">
              <a:xfrm>
                <a:off x="4521" y="3919"/>
                <a:ext cx="25"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625519">
                  <a:buClr>
                    <a:srgbClr val="000000"/>
                  </a:buClr>
                </a:pPr>
                <a:r>
                  <a:rPr lang="fr-FR" altLang="fr-FR" sz="1600" kern="0">
                    <a:solidFill>
                      <a:srgbClr val="000000"/>
                    </a:solidFill>
                    <a:cs typeface="Arial"/>
                    <a:sym typeface="Arial"/>
                  </a:rPr>
                  <a:t> </a:t>
                </a:r>
                <a:endParaRPr lang="fr-FR" altLang="fr-FR" sz="1956" kern="0">
                  <a:solidFill>
                    <a:srgbClr val="FF9966"/>
                  </a:solidFill>
                  <a:cs typeface="Arial"/>
                  <a:sym typeface="Arial"/>
                </a:endParaRPr>
              </a:p>
            </p:txBody>
          </p:sp>
          <p:pic>
            <p:nvPicPr>
              <p:cNvPr id="48" name="Picture 22">
                <a:extLst>
                  <a:ext uri="{FF2B5EF4-FFF2-40B4-BE49-F238E27FC236}">
                    <a16:creationId xmlns:a16="http://schemas.microsoft.com/office/drawing/2014/main" id="{C47209A8-BF6F-A50B-3A1D-B271186C0F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4" y="3391"/>
                <a:ext cx="797"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4">
                <a:extLst>
                  <a:ext uri="{FF2B5EF4-FFF2-40B4-BE49-F238E27FC236}">
                    <a16:creationId xmlns:a16="http://schemas.microsoft.com/office/drawing/2014/main" id="{B2FCC883-DE7B-7C65-FD55-95A9C02060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1" y="3554"/>
                <a:ext cx="72" cy="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5">
                <a:extLst>
                  <a:ext uri="{FF2B5EF4-FFF2-40B4-BE49-F238E27FC236}">
                    <a16:creationId xmlns:a16="http://schemas.microsoft.com/office/drawing/2014/main" id="{82F4BC33-C107-2746-CF19-8A9F2686EF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7" y="3653"/>
                <a:ext cx="60"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6" name="Image 25">
              <a:extLst>
                <a:ext uri="{FF2B5EF4-FFF2-40B4-BE49-F238E27FC236}">
                  <a16:creationId xmlns:a16="http://schemas.microsoft.com/office/drawing/2014/main" id="{87B6F9EE-8929-31F8-7736-551281122554}"/>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80047" b="15139"/>
            <a:stretch/>
          </p:blipFill>
          <p:spPr>
            <a:xfrm>
              <a:off x="1090168" y="5267059"/>
              <a:ext cx="890073" cy="687913"/>
            </a:xfrm>
            <a:prstGeom prst="rect">
              <a:avLst/>
            </a:prstGeom>
            <a:ln>
              <a:noFill/>
            </a:ln>
          </p:spPr>
        </p:pic>
      </p:grpSp>
      <p:cxnSp>
        <p:nvCxnSpPr>
          <p:cNvPr id="51" name="Connecteur droit 50">
            <a:extLst>
              <a:ext uri="{FF2B5EF4-FFF2-40B4-BE49-F238E27FC236}">
                <a16:creationId xmlns:a16="http://schemas.microsoft.com/office/drawing/2014/main" id="{93BE9555-D75C-FC73-5670-702CE8ECD8D4}"/>
              </a:ext>
            </a:extLst>
          </p:cNvPr>
          <p:cNvCxnSpPr/>
          <p:nvPr/>
        </p:nvCxnSpPr>
        <p:spPr>
          <a:xfrm>
            <a:off x="2652714" y="5228960"/>
            <a:ext cx="0" cy="1008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2488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34" name="ZoneTexte 33">
            <a:extLst>
              <a:ext uri="{FF2B5EF4-FFF2-40B4-BE49-F238E27FC236}">
                <a16:creationId xmlns:a16="http://schemas.microsoft.com/office/drawing/2014/main" id="{9650F1C7-7C98-3C61-8C3C-2BBA81E3429C}"/>
              </a:ext>
            </a:extLst>
          </p:cNvPr>
          <p:cNvSpPr txBox="1"/>
          <p:nvPr/>
        </p:nvSpPr>
        <p:spPr>
          <a:xfrm>
            <a:off x="9160399" y="4147874"/>
            <a:ext cx="2891381" cy="2247181"/>
          </a:xfrm>
          <a:prstGeom prst="rect">
            <a:avLst/>
          </a:prstGeom>
          <a:noFill/>
          <a:ln w="19050">
            <a:solidFill>
              <a:schemeClr val="bg2"/>
            </a:solidFill>
          </a:ln>
        </p:spPr>
        <p:txBody>
          <a:bodyPr wrap="square" lIns="91440" tIns="45720" rIns="91440" bIns="45720" anchor="t">
            <a:noAutofit/>
          </a:bodyPr>
          <a:lstStyle/>
          <a:p>
            <a:r>
              <a:rPr lang="fr-FR" sz="1200" b="1">
                <a:solidFill>
                  <a:srgbClr val="002060"/>
                </a:solidFill>
              </a:rPr>
              <a:t>Livrables</a:t>
            </a:r>
          </a:p>
          <a:p>
            <a:pPr>
              <a:buClr>
                <a:srgbClr val="44398A"/>
              </a:buClr>
            </a:pPr>
            <a:endParaRPr lang="fr-FR" sz="1200" b="1">
              <a:solidFill>
                <a:schemeClr val="bg2"/>
              </a:solidFill>
            </a:endParaRPr>
          </a:p>
          <a:p>
            <a:pPr marL="171446" lvl="1" indent="-171446" defTabSz="514308">
              <a:spcAft>
                <a:spcPts val="151"/>
              </a:spcAft>
              <a:buClr>
                <a:schemeClr val="tx1"/>
              </a:buClr>
              <a:buSzPct val="100000"/>
              <a:buFont typeface="Wingdings" panose="05000000000000000000" pitchFamily="2" charset="2"/>
              <a:buChar char="ü"/>
              <a:defRPr/>
            </a:pPr>
            <a:r>
              <a:rPr lang="fr-FR" sz="1000">
                <a:solidFill>
                  <a:prstClr val="black">
                    <a:lumMod val="75000"/>
                    <a:lumOff val="25000"/>
                  </a:prstClr>
                </a:solidFill>
                <a:latin typeface="+mj-lt"/>
                <a:cs typeface="Calibri"/>
              </a:rPr>
              <a:t>Périmètre, objectifs, critères de succès</a:t>
            </a:r>
          </a:p>
          <a:p>
            <a:pPr marL="171446" lvl="1" indent="-171446"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Liste des processus à traiter </a:t>
            </a:r>
          </a:p>
          <a:p>
            <a:pPr marL="171446" lvl="1" indent="-171446"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Liste des interlocuteurs clés à rencontrer</a:t>
            </a:r>
          </a:p>
          <a:p>
            <a:pPr marL="171446" lvl="1" indent="-171446"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Planning des entretiens, ateliers, immersions</a:t>
            </a:r>
          </a:p>
          <a:p>
            <a:pPr marL="171446" lvl="1" indent="-171446"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Planning des instances</a:t>
            </a:r>
          </a:p>
          <a:p>
            <a:pPr marL="171446" lvl="1" indent="-171446"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Outils de travail (Guides d’entretiens, grilles d’analyses…)</a:t>
            </a:r>
          </a:p>
          <a:p>
            <a:pPr marL="171446" lvl="1" indent="-171446" defTabSz="514308">
              <a:spcAft>
                <a:spcPts val="151"/>
              </a:spcAft>
              <a:buClr>
                <a:srgbClr val="002060"/>
              </a:buClr>
              <a:buSzPct val="100000"/>
              <a:buFont typeface="Wingdings" panose="05000000000000000000" pitchFamily="2" charset="2"/>
              <a:buChar char="ü"/>
              <a:defRPr/>
            </a:pPr>
            <a:endParaRPr lang="fr-FR" sz="1050">
              <a:solidFill>
                <a:prstClr val="black">
                  <a:lumMod val="75000"/>
                  <a:lumOff val="25000"/>
                </a:prstClr>
              </a:solidFill>
              <a:latin typeface="Calibri" panose="020F0502020204030204"/>
              <a:cs typeface="Calibri"/>
            </a:endParaRPr>
          </a:p>
          <a:p>
            <a:pPr marL="171450" indent="-171450">
              <a:buClr>
                <a:schemeClr val="bg2"/>
              </a:buClr>
              <a:buFont typeface="Wingdings" panose="05000000000000000000" pitchFamily="2" charset="2"/>
              <a:buChar char="ü"/>
            </a:pPr>
            <a:endParaRPr lang="fr-FR" sz="1050"/>
          </a:p>
          <a:p>
            <a:pPr marL="171450" indent="-171450">
              <a:buClr>
                <a:schemeClr val="bg2"/>
              </a:buClr>
              <a:buFont typeface="Wingdings" panose="05000000000000000000" pitchFamily="2" charset="2"/>
              <a:buChar char="ü"/>
            </a:pPr>
            <a:endParaRPr lang="fr-FR" sz="1050"/>
          </a:p>
        </p:txBody>
      </p:sp>
      <p:grpSp>
        <p:nvGrpSpPr>
          <p:cNvPr id="13" name="Groupe 12">
            <a:extLst>
              <a:ext uri="{FF2B5EF4-FFF2-40B4-BE49-F238E27FC236}">
                <a16:creationId xmlns:a16="http://schemas.microsoft.com/office/drawing/2014/main" id="{21F32860-3180-7683-85D2-6CADC0941E0A}"/>
              </a:ext>
            </a:extLst>
          </p:cNvPr>
          <p:cNvGrpSpPr/>
          <p:nvPr/>
        </p:nvGrpSpPr>
        <p:grpSpPr>
          <a:xfrm>
            <a:off x="385524" y="954269"/>
            <a:ext cx="2891381" cy="2169280"/>
            <a:chOff x="472150" y="1089023"/>
            <a:chExt cx="3960000" cy="2169280"/>
          </a:xfrm>
        </p:grpSpPr>
        <p:sp>
          <p:nvSpPr>
            <p:cNvPr id="32" name="Rectangle 31">
              <a:extLst>
                <a:ext uri="{FF2B5EF4-FFF2-40B4-BE49-F238E27FC236}">
                  <a16:creationId xmlns:a16="http://schemas.microsoft.com/office/drawing/2014/main" id="{B3495833-9CC2-ED21-6E68-56E657DD98F8}"/>
                </a:ext>
              </a:extLst>
            </p:cNvPr>
            <p:cNvSpPr/>
            <p:nvPr/>
          </p:nvSpPr>
          <p:spPr>
            <a:xfrm>
              <a:off x="472150" y="1512866"/>
              <a:ext cx="3960000" cy="1745437"/>
            </a:xfrm>
            <a:prstGeom prst="rect">
              <a:avLst/>
            </a:prstGeom>
            <a:solidFill>
              <a:srgbClr val="C9DB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5738" indent="-185738" algn="just">
                <a:buFont typeface="Arial" panose="020B0604020202020204" pitchFamily="34" charset="0"/>
                <a:buChar char="•"/>
              </a:pPr>
              <a:r>
                <a:rPr lang="fr-FR" sz="1050">
                  <a:solidFill>
                    <a:schemeClr val="tx1"/>
                  </a:solidFill>
                </a:rPr>
                <a:t>Définir le périmètre, les objectifs et les critères de succès de la mission</a:t>
              </a:r>
            </a:p>
            <a:p>
              <a:pPr marL="185738" indent="-185738" algn="just">
                <a:buFont typeface="Arial" panose="020B0604020202020204" pitchFamily="34" charset="0"/>
                <a:buChar char="•"/>
              </a:pPr>
              <a:r>
                <a:rPr lang="fr-FR" sz="1050">
                  <a:solidFill>
                    <a:schemeClr val="tx1"/>
                  </a:solidFill>
                </a:rPr>
                <a:t>Organiser le projet, les travaux et la gouvernance</a:t>
              </a:r>
            </a:p>
            <a:p>
              <a:pPr marL="185738" indent="-185738" algn="just">
                <a:buFont typeface="Arial" panose="020B0604020202020204" pitchFamily="34" charset="0"/>
                <a:buChar char="•"/>
              </a:pPr>
              <a:r>
                <a:rPr lang="fr-FR" sz="1050">
                  <a:solidFill>
                    <a:schemeClr val="tx1"/>
                  </a:solidFill>
                </a:rPr>
                <a:t>Planifier les entretiens, ateliers et immersions</a:t>
              </a:r>
            </a:p>
            <a:p>
              <a:pPr marL="185738" indent="-185738" algn="just">
                <a:buFont typeface="Arial" panose="020B0604020202020204" pitchFamily="34" charset="0"/>
                <a:buChar char="•"/>
              </a:pPr>
              <a:r>
                <a:rPr lang="fr-FR" sz="1050">
                  <a:solidFill>
                    <a:schemeClr val="tx1"/>
                  </a:solidFill>
                </a:rPr>
                <a:t>Mobiliser les différents contributeurs aux travaux</a:t>
              </a:r>
            </a:p>
            <a:p>
              <a:pPr marL="185738" indent="-185738" algn="just">
                <a:buFont typeface="Arial" panose="020B0604020202020204" pitchFamily="34" charset="0"/>
                <a:buChar char="•"/>
              </a:pPr>
              <a:r>
                <a:rPr lang="fr-FR" sz="1050">
                  <a:solidFill>
                    <a:schemeClr val="tx1"/>
                  </a:solidFill>
                </a:rPr>
                <a:t>Créer les conditions de réussite de la mission et la lancer</a:t>
              </a:r>
            </a:p>
          </p:txBody>
        </p:sp>
        <p:sp>
          <p:nvSpPr>
            <p:cNvPr id="5" name="Rectangle 4">
              <a:extLst>
                <a:ext uri="{FF2B5EF4-FFF2-40B4-BE49-F238E27FC236}">
                  <a16:creationId xmlns:a16="http://schemas.microsoft.com/office/drawing/2014/main" id="{544069F3-8220-51EE-508A-1C07112F822D}"/>
                </a:ext>
              </a:extLst>
            </p:cNvPr>
            <p:cNvSpPr/>
            <p:nvPr/>
          </p:nvSpPr>
          <p:spPr>
            <a:xfrm>
              <a:off x="472150" y="1089023"/>
              <a:ext cx="3960000" cy="432000"/>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Objectifs</a:t>
              </a:r>
            </a:p>
          </p:txBody>
        </p:sp>
      </p:grpSp>
      <p:pic>
        <p:nvPicPr>
          <p:cNvPr id="6" name="Graphique 5" descr="Cible avec un remplissage uni">
            <a:extLst>
              <a:ext uri="{FF2B5EF4-FFF2-40B4-BE49-F238E27FC236}">
                <a16:creationId xmlns:a16="http://schemas.microsoft.com/office/drawing/2014/main" id="{BA2E81AC-9F07-04EA-5F37-1F7FA2A01E6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1447" y="992803"/>
            <a:ext cx="354931" cy="354931"/>
          </a:xfrm>
          <a:prstGeom prst="rect">
            <a:avLst/>
          </a:prstGeom>
        </p:spPr>
      </p:pic>
      <p:grpSp>
        <p:nvGrpSpPr>
          <p:cNvPr id="15" name="Groupe 14">
            <a:extLst>
              <a:ext uri="{FF2B5EF4-FFF2-40B4-BE49-F238E27FC236}">
                <a16:creationId xmlns:a16="http://schemas.microsoft.com/office/drawing/2014/main" id="{BD17B117-05FB-2314-602F-ABA5B9766B19}"/>
              </a:ext>
            </a:extLst>
          </p:cNvPr>
          <p:cNvGrpSpPr/>
          <p:nvPr/>
        </p:nvGrpSpPr>
        <p:grpSpPr>
          <a:xfrm>
            <a:off x="3388042" y="954269"/>
            <a:ext cx="5666531" cy="6182626"/>
            <a:chOff x="3540034" y="1089023"/>
            <a:chExt cx="5666531" cy="6182626"/>
          </a:xfrm>
        </p:grpSpPr>
        <p:sp>
          <p:nvSpPr>
            <p:cNvPr id="7" name="Rectangle 6">
              <a:extLst>
                <a:ext uri="{FF2B5EF4-FFF2-40B4-BE49-F238E27FC236}">
                  <a16:creationId xmlns:a16="http://schemas.microsoft.com/office/drawing/2014/main" id="{8079125D-CFC6-49E2-531A-B3BCD8992476}"/>
                </a:ext>
              </a:extLst>
            </p:cNvPr>
            <p:cNvSpPr/>
            <p:nvPr/>
          </p:nvSpPr>
          <p:spPr>
            <a:xfrm>
              <a:off x="3540692" y="1089023"/>
              <a:ext cx="5665215" cy="432000"/>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Travaux à mener</a:t>
              </a:r>
            </a:p>
          </p:txBody>
        </p:sp>
        <p:pic>
          <p:nvPicPr>
            <p:cNvPr id="9" name="Graphique 8" descr="Loupe avec un remplissage uni">
              <a:extLst>
                <a:ext uri="{FF2B5EF4-FFF2-40B4-BE49-F238E27FC236}">
                  <a16:creationId xmlns:a16="http://schemas.microsoft.com/office/drawing/2014/main" id="{5904BD4C-6B18-D95B-413D-D7C652B5B9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flipV="1">
              <a:off x="3666627" y="1170146"/>
              <a:ext cx="269755" cy="269755"/>
            </a:xfrm>
            <a:prstGeom prst="rect">
              <a:avLst/>
            </a:prstGeom>
          </p:spPr>
        </p:pic>
        <p:sp>
          <p:nvSpPr>
            <p:cNvPr id="25" name="ZoneTexte 24">
              <a:extLst>
                <a:ext uri="{FF2B5EF4-FFF2-40B4-BE49-F238E27FC236}">
                  <a16:creationId xmlns:a16="http://schemas.microsoft.com/office/drawing/2014/main" id="{1515E993-6069-6C0D-1BB2-F62EC1A5417F}"/>
                </a:ext>
              </a:extLst>
            </p:cNvPr>
            <p:cNvSpPr txBox="1"/>
            <p:nvPr/>
          </p:nvSpPr>
          <p:spPr>
            <a:xfrm>
              <a:off x="3540034" y="1562394"/>
              <a:ext cx="5666531" cy="5709255"/>
            </a:xfrm>
            <a:prstGeom prst="rect">
              <a:avLst/>
            </a:prstGeom>
            <a:noFill/>
          </p:spPr>
          <p:txBody>
            <a:bodyPr wrap="square" lIns="91440" tIns="45720" rIns="91440" bIns="45720" anchor="t">
              <a:spAutoFit/>
            </a:bodyPr>
            <a:lstStyle/>
            <a:p>
              <a:pPr marL="228600" indent="-228600" defTabSz="844042" fontAlgn="base">
                <a:spcBef>
                  <a:spcPct val="0"/>
                </a:spcBef>
                <a:spcAft>
                  <a:spcPct val="0"/>
                </a:spcAft>
                <a:buClr>
                  <a:srgbClr val="002060"/>
                </a:buClr>
                <a:buFont typeface="+mj-lt"/>
                <a:buAutoNum type="arabicPeriod"/>
                <a:defRPr/>
              </a:pPr>
              <a:r>
                <a:rPr lang="fr-FR" sz="1050" b="1">
                  <a:solidFill>
                    <a:srgbClr val="002060"/>
                  </a:solidFill>
                  <a:latin typeface="+mj-lt"/>
                  <a:sym typeface="Arial"/>
                </a:rPr>
                <a:t>Valider avec le sponsor le périmètre (processus à étudier), les objectifs et les critères de succès de la mission</a:t>
              </a:r>
            </a:p>
            <a:p>
              <a:pPr marL="228600" indent="-228600" fontAlgn="ctr">
                <a:buClr>
                  <a:srgbClr val="002060"/>
                </a:buClr>
                <a:buFont typeface="+mj-lt"/>
                <a:buAutoNum type="arabicPeriod"/>
              </a:pPr>
              <a:endParaRPr lang="fr-FR" sz="1050" b="1">
                <a:solidFill>
                  <a:schemeClr val="bg2"/>
                </a:solidFill>
                <a:latin typeface="+mj-lt"/>
              </a:endParaRPr>
            </a:p>
            <a:p>
              <a:pPr marL="228600" indent="-228600" fontAlgn="ctr">
                <a:buClr>
                  <a:srgbClr val="002060"/>
                </a:buClr>
                <a:buFont typeface="+mj-lt"/>
                <a:buAutoNum type="arabicPeriod"/>
              </a:pPr>
              <a:r>
                <a:rPr lang="fr-FR" sz="1050" b="1">
                  <a:solidFill>
                    <a:srgbClr val="002060"/>
                  </a:solidFill>
                  <a:latin typeface="+mj-lt"/>
                </a:rPr>
                <a:t>Partager et valider la démarche d’accompagnement et les modalités d’intervention</a:t>
              </a:r>
            </a:p>
            <a:p>
              <a:pPr marL="228600" indent="-228600" fontAlgn="ctr">
                <a:buClr>
                  <a:srgbClr val="002060"/>
                </a:buClr>
                <a:buFont typeface="+mj-lt"/>
                <a:buAutoNum type="arabicPeriod"/>
              </a:pPr>
              <a:endParaRPr lang="fr-FR" sz="1050">
                <a:solidFill>
                  <a:srgbClr val="002060"/>
                </a:solidFill>
                <a:latin typeface="+mj-lt"/>
              </a:endParaRPr>
            </a:p>
            <a:p>
              <a:pPr marL="228600" indent="-228600" fontAlgn="ctr">
                <a:buClr>
                  <a:srgbClr val="002060"/>
                </a:buClr>
                <a:buFont typeface="+mj-lt"/>
                <a:buAutoNum type="arabicPeriod"/>
              </a:pPr>
              <a:r>
                <a:rPr lang="fr-FR" sz="1050" b="1">
                  <a:solidFill>
                    <a:srgbClr val="002060"/>
                  </a:solidFill>
                  <a:latin typeface="+mj-lt"/>
                </a:rPr>
                <a:t>Recueillir toute la documentation utile au diagnostic </a:t>
              </a:r>
            </a:p>
            <a:p>
              <a:pPr marL="685800" lvl="1" indent="-228600" fontAlgn="ctr">
                <a:buClr>
                  <a:schemeClr val="tx1"/>
                </a:buClr>
                <a:buFont typeface="Arial" panose="020B0604020202020204" pitchFamily="34" charset="0"/>
                <a:buChar char="•"/>
              </a:pPr>
              <a:r>
                <a:rPr lang="fr-FR" sz="900"/>
                <a:t>O</a:t>
              </a:r>
              <a:r>
                <a:rPr lang="fr-FR" sz="900" b="0"/>
                <a:t>rganisation des différents BO</a:t>
              </a:r>
              <a:r>
                <a:rPr lang="fr-FR" sz="900"/>
                <a:t>, organigrammes, nombre d’ETP, missions et périmètres d’intervention des équipes</a:t>
              </a:r>
              <a:endParaRPr lang="fr-FR" sz="900" b="0">
                <a:latin typeface="+mj-lt"/>
              </a:endParaRPr>
            </a:p>
            <a:p>
              <a:pPr marL="685800" lvl="1" indent="-228600" fontAlgn="ctr">
                <a:buClr>
                  <a:schemeClr val="tx1"/>
                </a:buClr>
                <a:buFont typeface="Arial" panose="020B0604020202020204" pitchFamily="34" charset="0"/>
                <a:buChar char="•"/>
              </a:pPr>
              <a:r>
                <a:rPr lang="fr-FR" sz="900">
                  <a:latin typeface="+mj-lt"/>
                </a:rPr>
                <a:t>Liste des processus métiers, processus formalisés</a:t>
              </a:r>
            </a:p>
            <a:p>
              <a:pPr marL="685800" lvl="1" indent="-228600" fontAlgn="ctr">
                <a:buClr>
                  <a:schemeClr val="tx1"/>
                </a:buClr>
                <a:buFont typeface="Arial" panose="020B0604020202020204" pitchFamily="34" charset="0"/>
                <a:buChar char="•"/>
              </a:pPr>
              <a:r>
                <a:rPr lang="fr-FR" sz="900">
                  <a:latin typeface="+mj-lt"/>
                </a:rPr>
                <a:t>Caractéristiques des processus actuels (guides opératoires, volume d’actes et typologie, délais de traitement, charge de travail, …), </a:t>
              </a:r>
            </a:p>
            <a:p>
              <a:pPr marL="685800" lvl="1" indent="-228600" fontAlgn="ctr">
                <a:buClr>
                  <a:schemeClr val="tx1"/>
                </a:buClr>
                <a:buFont typeface="Arial" panose="020B0604020202020204" pitchFamily="34" charset="0"/>
                <a:buChar char="•"/>
              </a:pPr>
              <a:r>
                <a:rPr lang="fr-FR" sz="900">
                  <a:latin typeface="+mj-lt"/>
                </a:rPr>
                <a:t>Coûts des différents processus (à défaut, masse salariale par équipe, coût des applications IT, des infrastructures, des locaux, …)</a:t>
              </a:r>
            </a:p>
            <a:p>
              <a:pPr marL="685800" lvl="1" indent="-228600" fontAlgn="ctr">
                <a:buClr>
                  <a:schemeClr val="tx1"/>
                </a:buClr>
                <a:buFont typeface="Arial" panose="020B0604020202020204" pitchFamily="34" charset="0"/>
                <a:buChar char="•"/>
              </a:pPr>
              <a:r>
                <a:rPr lang="fr-FR" sz="900">
                  <a:latin typeface="+mj-lt"/>
                </a:rPr>
                <a:t>Etudes préalables, travaux déjà réalisés</a:t>
              </a:r>
            </a:p>
            <a:p>
              <a:pPr marL="685800" lvl="1" indent="-228600" fontAlgn="ctr">
                <a:buClr>
                  <a:schemeClr val="tx1"/>
                </a:buClr>
                <a:buFont typeface="Arial" panose="020B0604020202020204" pitchFamily="34" charset="0"/>
                <a:buChar char="•"/>
              </a:pPr>
              <a:r>
                <a:rPr lang="fr-FR" sz="900">
                  <a:latin typeface="+mj-lt"/>
                </a:rPr>
                <a:t>Résultats d’enquêtes de satisfaction collaborateurs/clients/courtiers/organismes de crédit/porteurs de risque</a:t>
              </a:r>
            </a:p>
            <a:p>
              <a:pPr marL="685800" lvl="1" indent="-228600" fontAlgn="ctr">
                <a:buClr>
                  <a:schemeClr val="tx1"/>
                </a:buClr>
                <a:buFont typeface="Arial" panose="020B0604020202020204" pitchFamily="34" charset="0"/>
                <a:buChar char="•"/>
              </a:pPr>
              <a:r>
                <a:rPr lang="fr-FR" sz="900">
                  <a:latin typeface="+mj-lt"/>
                </a:rPr>
                <a:t>Eléments quantitatifs, éléments budgétaires, chiffres clés</a:t>
              </a:r>
            </a:p>
            <a:p>
              <a:pPr marL="685800" lvl="1" indent="-228600" fontAlgn="ctr">
                <a:buClr>
                  <a:schemeClr val="tx1"/>
                </a:buClr>
                <a:buFont typeface="Arial" panose="020B0604020202020204" pitchFamily="34" charset="0"/>
                <a:buChar char="•"/>
              </a:pPr>
              <a:r>
                <a:rPr lang="fr-FR" sz="900">
                  <a:latin typeface="+mj-lt"/>
                </a:rPr>
                <a:t>Documentation relative aux outils (SI et non SI) : cartographie fonctionnelle et applicative, </a:t>
              </a:r>
              <a:r>
                <a:rPr lang="fr-FR" sz="900" b="0"/>
                <a:t>tableaux de bord de pilotage…</a:t>
              </a:r>
              <a:endParaRPr lang="fr-FR" sz="900">
                <a:latin typeface="+mj-lt"/>
              </a:endParaRPr>
            </a:p>
            <a:p>
              <a:pPr marL="685800" lvl="1" indent="-228600" fontAlgn="ctr">
                <a:buClr>
                  <a:schemeClr val="tx1"/>
                </a:buClr>
                <a:buFont typeface="Arial" panose="020B0604020202020204" pitchFamily="34" charset="0"/>
                <a:buChar char="•"/>
              </a:pPr>
              <a:r>
                <a:rPr lang="fr-FR" sz="900"/>
                <a:t>RH : fiches de postes, m</a:t>
              </a:r>
              <a:r>
                <a:rPr lang="fr-FR" sz="900" b="0"/>
                <a:t>atrice de c</a:t>
              </a:r>
              <a:r>
                <a:rPr lang="fr-FR" sz="900" b="0">
                  <a:solidFill>
                    <a:schemeClr val="tx1"/>
                  </a:solidFill>
                </a:rPr>
                <a:t>ompétences, processus d’embarquement de nouveaux collaborateurs</a:t>
              </a:r>
              <a:endParaRPr lang="fr-FR" sz="900">
                <a:latin typeface="+mj-lt"/>
              </a:endParaRPr>
            </a:p>
            <a:p>
              <a:pPr marL="228600" indent="-228600" fontAlgn="ctr">
                <a:buClr>
                  <a:schemeClr val="bg2"/>
                </a:buClr>
                <a:buFont typeface="+mj-lt"/>
                <a:buAutoNum type="arabicPeriod"/>
              </a:pPr>
              <a:endParaRPr lang="fr-FR" sz="1050" b="1">
                <a:solidFill>
                  <a:schemeClr val="bg2"/>
                </a:solidFill>
                <a:latin typeface="+mj-lt"/>
              </a:endParaRPr>
            </a:p>
            <a:p>
              <a:pPr marL="228600" indent="-228600" fontAlgn="ctr">
                <a:buClr>
                  <a:srgbClr val="002060"/>
                </a:buClr>
                <a:buFont typeface="+mj-lt"/>
                <a:buAutoNum type="arabicPeriod"/>
              </a:pPr>
              <a:r>
                <a:rPr lang="fr-FR" sz="1050" b="1">
                  <a:solidFill>
                    <a:srgbClr val="002060"/>
                  </a:solidFill>
                  <a:latin typeface="+mj-lt"/>
                </a:rPr>
                <a:t>Structurer les questionnaires pour la réalisation des entretiens ainsi que les grilles d’analyse et de maturité</a:t>
              </a:r>
            </a:p>
            <a:p>
              <a:pPr marL="228600" indent="-228600" fontAlgn="ctr">
                <a:buClr>
                  <a:srgbClr val="002060"/>
                </a:buClr>
                <a:buFont typeface="+mj-lt"/>
                <a:buAutoNum type="arabicPeriod"/>
              </a:pPr>
              <a:endParaRPr lang="fr-FR" sz="1050">
                <a:latin typeface="+mj-lt"/>
              </a:endParaRPr>
            </a:p>
            <a:p>
              <a:pPr marL="228600" indent="-228600" fontAlgn="ctr">
                <a:buClr>
                  <a:srgbClr val="002060"/>
                </a:buClr>
                <a:buFont typeface="+mj-lt"/>
                <a:buAutoNum type="arabicPeriod"/>
              </a:pPr>
              <a:r>
                <a:rPr lang="fr-FR" sz="1050" b="1">
                  <a:solidFill>
                    <a:srgbClr val="002060"/>
                  </a:solidFill>
                  <a:latin typeface="+mj-lt"/>
                </a:rPr>
                <a:t>Valider la liste des processus à traiter, la granularité et les éventuelles exclusions</a:t>
              </a:r>
            </a:p>
            <a:p>
              <a:pPr marL="228600" indent="-228600" fontAlgn="ctr">
                <a:buClr>
                  <a:srgbClr val="002060"/>
                </a:buClr>
                <a:buFont typeface="+mj-lt"/>
                <a:buAutoNum type="arabicPeriod"/>
              </a:pPr>
              <a:endParaRPr lang="fr-FR" sz="1050">
                <a:solidFill>
                  <a:srgbClr val="002060"/>
                </a:solidFill>
                <a:latin typeface="+mj-lt"/>
              </a:endParaRPr>
            </a:p>
            <a:p>
              <a:pPr marL="228600" marR="0" lvl="0" indent="-228600" fontAlgn="ctr">
                <a:lnSpc>
                  <a:spcPct val="100000"/>
                </a:lnSpc>
                <a:spcBef>
                  <a:spcPct val="0"/>
                </a:spcBef>
                <a:spcAft>
                  <a:spcPct val="0"/>
                </a:spcAft>
                <a:buClr>
                  <a:srgbClr val="002060"/>
                </a:buClr>
                <a:buSzTx/>
                <a:buFont typeface="+mj-lt"/>
                <a:buAutoNum type="arabicPeriod"/>
                <a:tabLst/>
                <a:defRPr/>
              </a:pPr>
              <a:r>
                <a:rPr lang="fr-FR" sz="1050" b="1">
                  <a:solidFill>
                    <a:srgbClr val="002060"/>
                  </a:solidFill>
                  <a:latin typeface="+mj-lt"/>
                  <a:sym typeface="Arial"/>
                </a:rPr>
                <a:t>Installer le dispositif de pilotage de la mission et les instances</a:t>
              </a:r>
            </a:p>
            <a:p>
              <a:pPr marL="228600" indent="-228600" fontAlgn="ctr">
                <a:buClr>
                  <a:srgbClr val="002060"/>
                </a:buClr>
                <a:buFont typeface="+mj-lt"/>
                <a:buAutoNum type="arabicPeriod"/>
              </a:pPr>
              <a:endParaRPr lang="fr-FR" sz="1050">
                <a:solidFill>
                  <a:srgbClr val="002060"/>
                </a:solidFill>
                <a:latin typeface="+mj-lt"/>
              </a:endParaRPr>
            </a:p>
            <a:p>
              <a:pPr marL="228600" indent="-228600" fontAlgn="ctr">
                <a:buClr>
                  <a:srgbClr val="002060"/>
                </a:buClr>
                <a:buFont typeface="+mj-lt"/>
                <a:buAutoNum type="arabicPeriod"/>
              </a:pPr>
              <a:r>
                <a:rPr lang="fr-FR" sz="1050" b="1">
                  <a:solidFill>
                    <a:srgbClr val="002060"/>
                  </a:solidFill>
                  <a:latin typeface="+mj-lt"/>
                </a:rPr>
                <a:t>Identifier les participants à l’analyse et les mobiliser :</a:t>
              </a:r>
            </a:p>
            <a:p>
              <a:pPr marL="685800" lvl="1" indent="-228600" fontAlgn="ctr">
                <a:buClr>
                  <a:schemeClr val="tx1"/>
                </a:buClr>
                <a:buFont typeface="Arial" panose="020B0604020202020204" pitchFamily="34" charset="0"/>
                <a:buChar char="•"/>
              </a:pPr>
              <a:r>
                <a:rPr lang="fr-FR" sz="900">
                  <a:latin typeface="+mj-lt"/>
                </a:rPr>
                <a:t>Rôles, responsabilités et charge associée par participant</a:t>
              </a:r>
            </a:p>
            <a:p>
              <a:pPr lvl="1" fontAlgn="ctr">
                <a:buClr>
                  <a:schemeClr val="bg2"/>
                </a:buClr>
              </a:pPr>
              <a:endParaRPr lang="fr-FR" sz="1050">
                <a:latin typeface="+mj-lt"/>
              </a:endParaRPr>
            </a:p>
            <a:p>
              <a:pPr marL="228600" indent="-228600" fontAlgn="ctr">
                <a:buClr>
                  <a:srgbClr val="002060"/>
                </a:buClr>
                <a:buFont typeface="+mj-lt"/>
                <a:buAutoNum type="arabicPeriod"/>
              </a:pPr>
              <a:r>
                <a:rPr lang="fr-FR" sz="1050" b="1">
                  <a:solidFill>
                    <a:srgbClr val="002060"/>
                  </a:solidFill>
                  <a:latin typeface="+mj-lt"/>
                </a:rPr>
                <a:t>Planifier les entretiens, ateliers, immersions</a:t>
              </a:r>
            </a:p>
            <a:p>
              <a:pPr marL="228600" indent="-228600" fontAlgn="ctr">
                <a:buClr>
                  <a:srgbClr val="002060"/>
                </a:buClr>
                <a:buFont typeface="+mj-lt"/>
                <a:buAutoNum type="arabicPeriod"/>
              </a:pPr>
              <a:endParaRPr lang="fr-FR" sz="1050">
                <a:solidFill>
                  <a:srgbClr val="002060"/>
                </a:solidFill>
                <a:latin typeface="+mj-lt"/>
              </a:endParaRPr>
            </a:p>
            <a:p>
              <a:pPr marL="228600" indent="-228600" fontAlgn="ctr">
                <a:buClr>
                  <a:srgbClr val="002060"/>
                </a:buClr>
                <a:buFont typeface="+mj-lt"/>
                <a:buAutoNum type="arabicPeriod"/>
              </a:pPr>
              <a:r>
                <a:rPr lang="fr-FR" sz="1050" b="1">
                  <a:solidFill>
                    <a:srgbClr val="002060"/>
                  </a:solidFill>
                  <a:latin typeface="+mj-lt"/>
                </a:rPr>
                <a:t>Valider le cadrage : </a:t>
              </a:r>
              <a:r>
                <a:rPr lang="fr-FR" sz="1050">
                  <a:latin typeface="+mj-lt"/>
                </a:rPr>
                <a:t>périmètre de la mission, enjeux, livrables attendus, planning, modalités de suivi et de pilotage</a:t>
              </a:r>
            </a:p>
          </p:txBody>
        </p:sp>
      </p:grpSp>
      <p:grpSp>
        <p:nvGrpSpPr>
          <p:cNvPr id="17" name="Groupe 16">
            <a:extLst>
              <a:ext uri="{FF2B5EF4-FFF2-40B4-BE49-F238E27FC236}">
                <a16:creationId xmlns:a16="http://schemas.microsoft.com/office/drawing/2014/main" id="{3B02F0FC-5B2A-ED1C-4D81-23F7BD3EEA44}"/>
              </a:ext>
            </a:extLst>
          </p:cNvPr>
          <p:cNvGrpSpPr/>
          <p:nvPr/>
        </p:nvGrpSpPr>
        <p:grpSpPr>
          <a:xfrm>
            <a:off x="9165710" y="954269"/>
            <a:ext cx="2891381" cy="2985127"/>
            <a:chOff x="472150" y="2940748"/>
            <a:chExt cx="3960000" cy="2985127"/>
          </a:xfrm>
        </p:grpSpPr>
        <p:sp>
          <p:nvSpPr>
            <p:cNvPr id="18" name="Rectangle 17">
              <a:extLst>
                <a:ext uri="{FF2B5EF4-FFF2-40B4-BE49-F238E27FC236}">
                  <a16:creationId xmlns:a16="http://schemas.microsoft.com/office/drawing/2014/main" id="{C8231268-C2B2-BE48-01AF-35E343770CEF}"/>
                </a:ext>
              </a:extLst>
            </p:cNvPr>
            <p:cNvSpPr/>
            <p:nvPr/>
          </p:nvSpPr>
          <p:spPr>
            <a:xfrm>
              <a:off x="472150" y="3349150"/>
              <a:ext cx="3960000" cy="2576725"/>
            </a:xfrm>
            <a:prstGeom prst="rect">
              <a:avLst/>
            </a:prstGeom>
            <a:solidFill>
              <a:srgbClr val="C9DB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600"/>
                </a:spcAft>
                <a:buFont typeface="Arial" panose="020B0604020202020204" pitchFamily="34" charset="0"/>
                <a:buChar char="•"/>
              </a:pPr>
              <a:r>
                <a:rPr lang="fr-FR" sz="1050">
                  <a:solidFill>
                    <a:schemeClr val="tx1"/>
                  </a:solidFill>
                </a:rPr>
                <a:t>Réunions avec le sponsor et l’équipe projet</a:t>
              </a:r>
            </a:p>
            <a:p>
              <a:pPr marL="171450" indent="-171450">
                <a:spcAft>
                  <a:spcPts val="600"/>
                </a:spcAft>
                <a:buFont typeface="Arial" panose="020B0604020202020204" pitchFamily="34" charset="0"/>
                <a:buChar char="•"/>
              </a:pPr>
              <a:r>
                <a:rPr lang="fr-FR" sz="1050">
                  <a:solidFill>
                    <a:schemeClr val="tx1"/>
                  </a:solidFill>
                </a:rPr>
                <a:t>Prise de connaissance et analyse détaillée de la documentation existante</a:t>
              </a:r>
            </a:p>
            <a:p>
              <a:pPr marL="171450" indent="-171450">
                <a:spcAft>
                  <a:spcPts val="600"/>
                </a:spcAft>
                <a:buFont typeface="Arial" panose="020B0604020202020204" pitchFamily="34" charset="0"/>
                <a:buChar char="•"/>
              </a:pPr>
              <a:r>
                <a:rPr lang="fr-FR" sz="1050">
                  <a:solidFill>
                    <a:schemeClr val="tx1"/>
                  </a:solidFill>
                </a:rPr>
                <a:t>Préparation des guides d’entretien et des ateliers</a:t>
              </a:r>
            </a:p>
            <a:p>
              <a:pPr marL="171450" indent="-171450">
                <a:spcAft>
                  <a:spcPts val="600"/>
                </a:spcAft>
                <a:buFont typeface="Arial" panose="020B0604020202020204" pitchFamily="34" charset="0"/>
                <a:buChar char="•"/>
              </a:pPr>
              <a:r>
                <a:rPr lang="fr-FR" sz="1050">
                  <a:solidFill>
                    <a:schemeClr val="tx1"/>
                  </a:solidFill>
                </a:rPr>
                <a:t>Pour le diagnostic en France, la langue de travail et de restitution est le français. Pour le diagnostic en Espagne, la langue de travail et de restitution est l’anglais. Pour le diagnostic en Italie, la langue de travail est l’italien et la langue de restitution est l’anglais</a:t>
              </a:r>
            </a:p>
            <a:p>
              <a:pPr marL="171450" indent="-171450">
                <a:spcAft>
                  <a:spcPts val="600"/>
                </a:spcAft>
                <a:buFont typeface="Arial" panose="020B0604020202020204" pitchFamily="34" charset="0"/>
                <a:buChar char="•"/>
              </a:pPr>
              <a:r>
                <a:rPr lang="fr-FR" sz="1050">
                  <a:solidFill>
                    <a:schemeClr val="tx1"/>
                  </a:solidFill>
                </a:rPr>
                <a:t>Durée : 1 semaine </a:t>
              </a:r>
              <a:endParaRPr lang="fr-FR" sz="1000">
                <a:solidFill>
                  <a:schemeClr val="tx1"/>
                </a:solidFill>
              </a:endParaRPr>
            </a:p>
          </p:txBody>
        </p:sp>
        <p:sp>
          <p:nvSpPr>
            <p:cNvPr id="19" name="Rectangle 18">
              <a:extLst>
                <a:ext uri="{FF2B5EF4-FFF2-40B4-BE49-F238E27FC236}">
                  <a16:creationId xmlns:a16="http://schemas.microsoft.com/office/drawing/2014/main" id="{2919C7B7-E893-CF95-29BA-9D5F3B7828C1}"/>
                </a:ext>
              </a:extLst>
            </p:cNvPr>
            <p:cNvSpPr/>
            <p:nvPr/>
          </p:nvSpPr>
          <p:spPr>
            <a:xfrm>
              <a:off x="472150" y="2940748"/>
              <a:ext cx="3960000" cy="424593"/>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t>Modalités</a:t>
              </a:r>
              <a:endParaRPr lang="fr-FR" sz="1000"/>
            </a:p>
          </p:txBody>
        </p:sp>
      </p:grpSp>
      <p:pic>
        <p:nvPicPr>
          <p:cNvPr id="39" name="Graphique 38" descr="Engrenages avec un remplissage uni">
            <a:extLst>
              <a:ext uri="{FF2B5EF4-FFF2-40B4-BE49-F238E27FC236}">
                <a16:creationId xmlns:a16="http://schemas.microsoft.com/office/drawing/2014/main" id="{EDA1B137-74C6-F626-009B-D825BB4A19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30035" y="987703"/>
            <a:ext cx="360031" cy="360031"/>
          </a:xfrm>
          <a:prstGeom prst="rect">
            <a:avLst/>
          </a:prstGeom>
        </p:spPr>
      </p:pic>
      <p:grpSp>
        <p:nvGrpSpPr>
          <p:cNvPr id="12" name="Groupe 11">
            <a:extLst>
              <a:ext uri="{FF2B5EF4-FFF2-40B4-BE49-F238E27FC236}">
                <a16:creationId xmlns:a16="http://schemas.microsoft.com/office/drawing/2014/main" id="{06C65158-0C43-C5A8-1268-AC9F4F66CE23}"/>
              </a:ext>
            </a:extLst>
          </p:cNvPr>
          <p:cNvGrpSpPr/>
          <p:nvPr/>
        </p:nvGrpSpPr>
        <p:grpSpPr>
          <a:xfrm>
            <a:off x="385523" y="3277495"/>
            <a:ext cx="2891381" cy="1386690"/>
            <a:chOff x="472150" y="2940748"/>
            <a:chExt cx="3960000" cy="1386690"/>
          </a:xfrm>
        </p:grpSpPr>
        <p:sp>
          <p:nvSpPr>
            <p:cNvPr id="33" name="Rectangle 32">
              <a:extLst>
                <a:ext uri="{FF2B5EF4-FFF2-40B4-BE49-F238E27FC236}">
                  <a16:creationId xmlns:a16="http://schemas.microsoft.com/office/drawing/2014/main" id="{7A064286-2ACC-8408-C2B8-83BB75643094}"/>
                </a:ext>
              </a:extLst>
            </p:cNvPr>
            <p:cNvSpPr/>
            <p:nvPr/>
          </p:nvSpPr>
          <p:spPr>
            <a:xfrm>
              <a:off x="472150" y="3349151"/>
              <a:ext cx="3960000" cy="978287"/>
            </a:xfrm>
            <a:prstGeom prst="rect">
              <a:avLst/>
            </a:prstGeom>
            <a:solidFill>
              <a:srgbClr val="C9DB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600"/>
                </a:spcAft>
                <a:buFont typeface="Arial" panose="020B0604020202020204" pitchFamily="34" charset="0"/>
                <a:buChar char="•"/>
              </a:pPr>
              <a:r>
                <a:rPr lang="fr-FR" sz="1050">
                  <a:solidFill>
                    <a:schemeClr val="tx1"/>
                  </a:solidFill>
                </a:rPr>
                <a:t>Disponibilité de la Direction de projet</a:t>
              </a:r>
            </a:p>
            <a:p>
              <a:pPr marL="171450" indent="-171450">
                <a:spcAft>
                  <a:spcPts val="600"/>
                </a:spcAft>
                <a:buFont typeface="Arial" panose="020B0604020202020204" pitchFamily="34" charset="0"/>
                <a:buChar char="•"/>
              </a:pPr>
              <a:r>
                <a:rPr lang="fr-FR" sz="1050">
                  <a:solidFill>
                    <a:schemeClr val="tx1"/>
                  </a:solidFill>
                </a:rPr>
                <a:t>Mise à disposition des éléments pertinents pour le cadrage du projet</a:t>
              </a:r>
            </a:p>
          </p:txBody>
        </p:sp>
        <p:sp>
          <p:nvSpPr>
            <p:cNvPr id="38" name="Rectangle 37">
              <a:extLst>
                <a:ext uri="{FF2B5EF4-FFF2-40B4-BE49-F238E27FC236}">
                  <a16:creationId xmlns:a16="http://schemas.microsoft.com/office/drawing/2014/main" id="{B39395E4-28F0-BDD2-0069-AD0984A16A96}"/>
                </a:ext>
              </a:extLst>
            </p:cNvPr>
            <p:cNvSpPr/>
            <p:nvPr/>
          </p:nvSpPr>
          <p:spPr>
            <a:xfrm>
              <a:off x="472150" y="2940748"/>
              <a:ext cx="3960000" cy="424593"/>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Prérequis</a:t>
              </a:r>
              <a:endParaRPr lang="fr-FR" sz="900"/>
            </a:p>
          </p:txBody>
        </p:sp>
      </p:grpSp>
      <p:pic>
        <p:nvPicPr>
          <p:cNvPr id="26" name="Graphique 25" descr="Badge Tick1 avec un remplissage uni">
            <a:extLst>
              <a:ext uri="{FF2B5EF4-FFF2-40B4-BE49-F238E27FC236}">
                <a16:creationId xmlns:a16="http://schemas.microsoft.com/office/drawing/2014/main" id="{D5AD588F-5B77-D8D8-9D30-96C8BB2D17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1447" y="3312326"/>
            <a:ext cx="354931" cy="354931"/>
          </a:xfrm>
          <a:prstGeom prst="rect">
            <a:avLst/>
          </a:prstGeom>
        </p:spPr>
      </p:pic>
      <p:grpSp>
        <p:nvGrpSpPr>
          <p:cNvPr id="2" name="Groupe 1">
            <a:extLst>
              <a:ext uri="{FF2B5EF4-FFF2-40B4-BE49-F238E27FC236}">
                <a16:creationId xmlns:a16="http://schemas.microsoft.com/office/drawing/2014/main" id="{B7591FB7-9EB5-1898-48B3-1F2E4E077AD4}"/>
              </a:ext>
            </a:extLst>
          </p:cNvPr>
          <p:cNvGrpSpPr/>
          <p:nvPr/>
        </p:nvGrpSpPr>
        <p:grpSpPr>
          <a:xfrm>
            <a:off x="385524" y="4818131"/>
            <a:ext cx="2896692" cy="1609569"/>
            <a:chOff x="385524" y="4818131"/>
            <a:chExt cx="2896692" cy="1609569"/>
          </a:xfrm>
        </p:grpSpPr>
        <p:sp>
          <p:nvSpPr>
            <p:cNvPr id="3" name="Rectangle 2">
              <a:extLst>
                <a:ext uri="{FF2B5EF4-FFF2-40B4-BE49-F238E27FC236}">
                  <a16:creationId xmlns:a16="http://schemas.microsoft.com/office/drawing/2014/main" id="{667C8A85-8CD5-181E-1B44-9BED4BC58ECF}"/>
                </a:ext>
              </a:extLst>
            </p:cNvPr>
            <p:cNvSpPr/>
            <p:nvPr/>
          </p:nvSpPr>
          <p:spPr>
            <a:xfrm>
              <a:off x="390835" y="5203478"/>
              <a:ext cx="2891381" cy="1224222"/>
            </a:xfrm>
            <a:prstGeom prst="rect">
              <a:avLst/>
            </a:prstGeom>
            <a:solidFill>
              <a:srgbClr val="C9DB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600"/>
                </a:spcAft>
                <a:buFont typeface="Arial" panose="020B0604020202020204" pitchFamily="34" charset="0"/>
                <a:buChar char="•"/>
              </a:pPr>
              <a:r>
                <a:rPr lang="fr-FR" sz="1050">
                  <a:solidFill>
                    <a:schemeClr val="tx1"/>
                  </a:solidFill>
                </a:rPr>
                <a:t>Disponibilité du sponsor du projet</a:t>
              </a:r>
            </a:p>
            <a:p>
              <a:pPr marL="171450" indent="-171450">
                <a:spcAft>
                  <a:spcPts val="600"/>
                </a:spcAft>
                <a:buFont typeface="Arial" panose="020B0604020202020204" pitchFamily="34" charset="0"/>
                <a:buChar char="•"/>
              </a:pPr>
              <a:r>
                <a:rPr lang="fr-FR" sz="1050">
                  <a:solidFill>
                    <a:schemeClr val="tx1"/>
                  </a:solidFill>
                </a:rPr>
                <a:t>Mobilisation des participants pour organiser et respecter le planning</a:t>
              </a:r>
            </a:p>
            <a:p>
              <a:pPr marL="171450" indent="-171450">
                <a:spcAft>
                  <a:spcPts val="600"/>
                </a:spcAft>
                <a:buFont typeface="Arial" panose="020B0604020202020204" pitchFamily="34" charset="0"/>
                <a:buChar char="•"/>
              </a:pPr>
              <a:r>
                <a:rPr lang="fr-FR" sz="1050">
                  <a:solidFill>
                    <a:schemeClr val="tx1"/>
                  </a:solidFill>
                </a:rPr>
                <a:t>Existence de la documentation sur l’outil de gestion, le SI, l’organisation et les processus</a:t>
              </a:r>
            </a:p>
          </p:txBody>
        </p:sp>
        <p:sp>
          <p:nvSpPr>
            <p:cNvPr id="8" name="Rectangle 7">
              <a:extLst>
                <a:ext uri="{FF2B5EF4-FFF2-40B4-BE49-F238E27FC236}">
                  <a16:creationId xmlns:a16="http://schemas.microsoft.com/office/drawing/2014/main" id="{DE545888-F0D1-9B72-F95E-9BE644FB71DD}"/>
                </a:ext>
              </a:extLst>
            </p:cNvPr>
            <p:cNvSpPr/>
            <p:nvPr/>
          </p:nvSpPr>
          <p:spPr>
            <a:xfrm>
              <a:off x="385524" y="4818131"/>
              <a:ext cx="2891381" cy="424593"/>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Points clefs</a:t>
              </a:r>
              <a:endParaRPr lang="fr-FR" sz="900"/>
            </a:p>
          </p:txBody>
        </p:sp>
      </p:grpSp>
      <p:pic>
        <p:nvPicPr>
          <p:cNvPr id="29" name="Graphique 28" descr="Avertissement avec un remplissage uni">
            <a:extLst>
              <a:ext uri="{FF2B5EF4-FFF2-40B4-BE49-F238E27FC236}">
                <a16:creationId xmlns:a16="http://schemas.microsoft.com/office/drawing/2014/main" id="{A8095A6A-1248-5614-C52C-7A5FEF182EF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1448" y="4852962"/>
            <a:ext cx="354930" cy="354930"/>
          </a:xfrm>
          <a:prstGeom prst="rect">
            <a:avLst/>
          </a:prstGeom>
        </p:spPr>
      </p:pic>
      <p:pic>
        <p:nvPicPr>
          <p:cNvPr id="21" name="Picture 6" descr="United kingdom ">
            <a:extLst>
              <a:ext uri="{FF2B5EF4-FFF2-40B4-BE49-F238E27FC236}">
                <a16:creationId xmlns:a16="http://schemas.microsoft.com/office/drawing/2014/main" id="{44358618-B080-E9BE-567F-A0675837B80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3477" y="4147874"/>
            <a:ext cx="306000" cy="306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France ">
            <a:extLst>
              <a:ext uri="{FF2B5EF4-FFF2-40B4-BE49-F238E27FC236}">
                <a16:creationId xmlns:a16="http://schemas.microsoft.com/office/drawing/2014/main" id="{9DBC285E-32BA-C1BE-DD37-803C64AB840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191575" y="4147874"/>
            <a:ext cx="306000" cy="306000"/>
          </a:xfrm>
          <a:prstGeom prst="rect">
            <a:avLst/>
          </a:prstGeom>
          <a:noFill/>
          <a:extLst>
            <a:ext uri="{909E8E84-426E-40DD-AFC4-6F175D3DCCD1}">
              <a14:hiddenFill xmlns:a14="http://schemas.microsoft.com/office/drawing/2010/main">
                <a:solidFill>
                  <a:srgbClr val="FFFFFF"/>
                </a:solidFill>
              </a14:hiddenFill>
            </a:ext>
          </a:extLst>
        </p:spPr>
      </p:pic>
      <p:sp>
        <p:nvSpPr>
          <p:cNvPr id="49" name="Titre 29">
            <a:extLst>
              <a:ext uri="{FF2B5EF4-FFF2-40B4-BE49-F238E27FC236}">
                <a16:creationId xmlns:a16="http://schemas.microsoft.com/office/drawing/2014/main" id="{C478A384-D368-7A42-ADF4-429356523FC5}"/>
              </a:ext>
            </a:extLst>
          </p:cNvPr>
          <p:cNvSpPr>
            <a:spLocks noGrp="1"/>
          </p:cNvSpPr>
          <p:nvPr>
            <p:ph type="title"/>
          </p:nvPr>
        </p:nvSpPr>
        <p:spPr>
          <a:xfrm>
            <a:off x="396655" y="257647"/>
            <a:ext cx="9907072" cy="407795"/>
          </a:xfrm>
          <a:solidFill>
            <a:schemeClr val="bg1"/>
          </a:solidFill>
        </p:spPr>
        <p:txBody>
          <a:bodyPr/>
          <a:lstStyle/>
          <a:p>
            <a:r>
              <a:rPr lang="fr-FR" sz="1800">
                <a:latin typeface="Arial Black"/>
              </a:rPr>
              <a:t>1. CADRAGE</a:t>
            </a:r>
          </a:p>
        </p:txBody>
      </p:sp>
    </p:spTree>
    <p:extLst>
      <p:ext uri="{BB962C8B-B14F-4D97-AF65-F5344CB8AC3E}">
        <p14:creationId xmlns:p14="http://schemas.microsoft.com/office/powerpoint/2010/main" val="5494857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2" name="Rectangle 4">
            <a:extLst>
              <a:ext uri="{FF2B5EF4-FFF2-40B4-BE49-F238E27FC236}">
                <a16:creationId xmlns:a16="http://schemas.microsoft.com/office/drawing/2014/main" id="{9D2C2667-C273-4C08-8F92-6889403313BE}"/>
              </a:ext>
            </a:extLst>
          </p:cNvPr>
          <p:cNvSpPr>
            <a:spLocks noChangeArrowheads="1"/>
          </p:cNvSpPr>
          <p:nvPr/>
        </p:nvSpPr>
        <p:spPr bwMode="blackWhite">
          <a:xfrm>
            <a:off x="651906" y="913713"/>
            <a:ext cx="9738744" cy="215444"/>
          </a:xfrm>
          <a:prstGeom prst="rect">
            <a:avLst/>
          </a:prstGeom>
          <a:noFill/>
          <a:ln w="9525">
            <a:noFill/>
            <a:miter lim="800000"/>
            <a:headEnd/>
            <a:tailEnd/>
          </a:ln>
        </p:spPr>
        <p:txBody>
          <a:bodyPr wrap="square" lIns="3807" tIns="0" rIns="3807" bIns="0" anchor="b">
            <a:spAutoFit/>
          </a:bodyPr>
          <a:lstStyle/>
          <a:p>
            <a:pPr defTabSz="883035">
              <a:buSzPct val="120000"/>
              <a:defRPr/>
            </a:pPr>
            <a:r>
              <a:rPr lang="fr-FR" altLang="ko-KR" sz="1400" b="1">
                <a:solidFill>
                  <a:srgbClr val="002060"/>
                </a:solidFill>
                <a:latin typeface="+mj-lt"/>
                <a:ea typeface="맑은 고딕" panose="020B0503020000020004" pitchFamily="34" charset="-127"/>
                <a:cs typeface="Arial" panose="020B0604020202020204" pitchFamily="34" charset="0"/>
                <a:sym typeface="Arial"/>
              </a:rPr>
              <a:t>Illustrations</a:t>
            </a:r>
          </a:p>
        </p:txBody>
      </p:sp>
      <p:sp>
        <p:nvSpPr>
          <p:cNvPr id="22" name="ZoneTexte 21">
            <a:extLst>
              <a:ext uri="{FF2B5EF4-FFF2-40B4-BE49-F238E27FC236}">
                <a16:creationId xmlns:a16="http://schemas.microsoft.com/office/drawing/2014/main" id="{29EC2FAC-3F2F-4EA7-9E1E-1A3C1CC1E397}"/>
              </a:ext>
            </a:extLst>
          </p:cNvPr>
          <p:cNvSpPr txBox="1"/>
          <p:nvPr/>
        </p:nvSpPr>
        <p:spPr>
          <a:xfrm>
            <a:off x="5722993" y="1253552"/>
            <a:ext cx="1168910" cy="307777"/>
          </a:xfrm>
          <a:prstGeom prst="rect">
            <a:avLst/>
          </a:prstGeom>
          <a:noFill/>
        </p:spPr>
        <p:txBody>
          <a:bodyPr wrap="none" rtlCol="0">
            <a:spAutoFit/>
          </a:bodyPr>
          <a:lstStyle/>
          <a:p>
            <a:pPr defTabSz="914377">
              <a:defRPr/>
            </a:pPr>
            <a:r>
              <a:rPr lang="fr-FR" sz="1400" b="1" i="1">
                <a:solidFill>
                  <a:prstClr val="black"/>
                </a:solidFill>
                <a:latin typeface="Calibri" panose="020F0502020204030204"/>
                <a:cs typeface="Arial"/>
                <a:sym typeface="Arial"/>
              </a:rPr>
              <a:t>Point d’étape</a:t>
            </a:r>
          </a:p>
        </p:txBody>
      </p:sp>
      <p:sp>
        <p:nvSpPr>
          <p:cNvPr id="4" name="ZoneTexte 3">
            <a:extLst>
              <a:ext uri="{FF2B5EF4-FFF2-40B4-BE49-F238E27FC236}">
                <a16:creationId xmlns:a16="http://schemas.microsoft.com/office/drawing/2014/main" id="{491A6851-B35F-41FD-B7A2-C04047AFCA2C}"/>
              </a:ext>
            </a:extLst>
          </p:cNvPr>
          <p:cNvSpPr txBox="1"/>
          <p:nvPr/>
        </p:nvSpPr>
        <p:spPr>
          <a:xfrm>
            <a:off x="3785428" y="4035872"/>
            <a:ext cx="3041903" cy="523220"/>
          </a:xfrm>
          <a:prstGeom prst="rect">
            <a:avLst/>
          </a:prstGeom>
          <a:noFill/>
        </p:spPr>
        <p:txBody>
          <a:bodyPr wrap="square">
            <a:spAutoFit/>
          </a:bodyPr>
          <a:lstStyle/>
          <a:p>
            <a:pPr algn="ctr" defTabSz="914377">
              <a:defRPr/>
            </a:pPr>
            <a:r>
              <a:rPr lang="fr-FR" sz="1400" b="1" i="1">
                <a:solidFill>
                  <a:prstClr val="black"/>
                </a:solidFill>
                <a:latin typeface="Calibri" panose="020F0502020204030204"/>
                <a:cs typeface="Arial"/>
                <a:sym typeface="Arial"/>
              </a:rPr>
              <a:t>Guides d’entretiens techniques et fonctionnels</a:t>
            </a:r>
          </a:p>
        </p:txBody>
      </p:sp>
      <p:sp>
        <p:nvSpPr>
          <p:cNvPr id="10" name="ZoneTexte 9">
            <a:extLst>
              <a:ext uri="{FF2B5EF4-FFF2-40B4-BE49-F238E27FC236}">
                <a16:creationId xmlns:a16="http://schemas.microsoft.com/office/drawing/2014/main" id="{896A5EA6-8D19-4C02-AF36-50552C78CEDA}"/>
              </a:ext>
            </a:extLst>
          </p:cNvPr>
          <p:cNvSpPr txBox="1"/>
          <p:nvPr/>
        </p:nvSpPr>
        <p:spPr>
          <a:xfrm>
            <a:off x="675675" y="1253552"/>
            <a:ext cx="1560427" cy="307777"/>
          </a:xfrm>
          <a:prstGeom prst="rect">
            <a:avLst/>
          </a:prstGeom>
          <a:noFill/>
        </p:spPr>
        <p:txBody>
          <a:bodyPr wrap="none" rtlCol="0">
            <a:spAutoFit/>
          </a:bodyPr>
          <a:lstStyle/>
          <a:p>
            <a:pPr defTabSz="914377">
              <a:defRPr/>
            </a:pPr>
            <a:r>
              <a:rPr lang="fr-FR" sz="1400" b="1" i="1">
                <a:solidFill>
                  <a:prstClr val="black"/>
                </a:solidFill>
                <a:latin typeface="Calibri" panose="020F0502020204030204"/>
                <a:cs typeface="Arial"/>
                <a:sym typeface="Arial"/>
              </a:rPr>
              <a:t>Planning du projet</a:t>
            </a:r>
          </a:p>
        </p:txBody>
      </p:sp>
      <p:pic>
        <p:nvPicPr>
          <p:cNvPr id="11" name="Picture 2">
            <a:extLst>
              <a:ext uri="{FF2B5EF4-FFF2-40B4-BE49-F238E27FC236}">
                <a16:creationId xmlns:a16="http://schemas.microsoft.com/office/drawing/2014/main" id="{4FFD70F6-6BEE-2FC2-6567-52D378C1BEA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3650" y="1618247"/>
            <a:ext cx="3440832" cy="2114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a:extLst>
              <a:ext uri="{FF2B5EF4-FFF2-40B4-BE49-F238E27FC236}">
                <a16:creationId xmlns:a16="http://schemas.microsoft.com/office/drawing/2014/main" id="{9C171945-75C2-921F-857A-A136CB02EA6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3275" y="1665913"/>
            <a:ext cx="4009739" cy="2154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4">
            <a:extLst>
              <a:ext uri="{FF2B5EF4-FFF2-40B4-BE49-F238E27FC236}">
                <a16:creationId xmlns:a16="http://schemas.microsoft.com/office/drawing/2014/main" id="{49F0F508-4ABF-6FE6-6A27-3256D5041D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32026" y="4152648"/>
            <a:ext cx="1728192" cy="1815901"/>
          </a:xfrm>
          <a:prstGeom prst="rect">
            <a:avLst/>
          </a:prstGeom>
          <a:noFill/>
          <a:ln w="952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3" name="Picture 5">
            <a:extLst>
              <a:ext uri="{FF2B5EF4-FFF2-40B4-BE49-F238E27FC236}">
                <a16:creationId xmlns:a16="http://schemas.microsoft.com/office/drawing/2014/main" id="{1ADE99E7-1330-CC43-3055-0564137C15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38022" y="4855148"/>
            <a:ext cx="2930512" cy="1926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4" name="Group 16">
            <a:extLst>
              <a:ext uri="{FF2B5EF4-FFF2-40B4-BE49-F238E27FC236}">
                <a16:creationId xmlns:a16="http://schemas.microsoft.com/office/drawing/2014/main" id="{3673066D-51AF-C36E-4DDD-FF8DD9C67909}"/>
              </a:ext>
            </a:extLst>
          </p:cNvPr>
          <p:cNvGrpSpPr>
            <a:grpSpLocks/>
          </p:cNvGrpSpPr>
          <p:nvPr/>
        </p:nvGrpSpPr>
        <p:grpSpPr bwMode="auto">
          <a:xfrm>
            <a:off x="8667443" y="4136007"/>
            <a:ext cx="1633537" cy="2349495"/>
            <a:chOff x="4491" y="2525"/>
            <a:chExt cx="1029" cy="1521"/>
          </a:xfrm>
        </p:grpSpPr>
        <p:pic>
          <p:nvPicPr>
            <p:cNvPr id="28" name="Picture 14">
              <a:extLst>
                <a:ext uri="{FF2B5EF4-FFF2-40B4-BE49-F238E27FC236}">
                  <a16:creationId xmlns:a16="http://schemas.microsoft.com/office/drawing/2014/main" id="{34627426-B785-E0E0-C6A6-7C098B83E59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93" y="2546"/>
              <a:ext cx="1025" cy="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15">
              <a:extLst>
                <a:ext uri="{FF2B5EF4-FFF2-40B4-BE49-F238E27FC236}">
                  <a16:creationId xmlns:a16="http://schemas.microsoft.com/office/drawing/2014/main" id="{C5635492-5D53-9845-C7D5-FB5441941BBB}"/>
                </a:ext>
              </a:extLst>
            </p:cNvPr>
            <p:cNvSpPr>
              <a:spLocks noChangeArrowheads="1"/>
            </p:cNvSpPr>
            <p:nvPr/>
          </p:nvSpPr>
          <p:spPr bwMode="auto">
            <a:xfrm>
              <a:off x="4491" y="2525"/>
              <a:ext cx="1029" cy="1504"/>
            </a:xfrm>
            <a:prstGeom prst="rect">
              <a:avLst/>
            </a:prstGeom>
            <a:noFill/>
            <a:ln w="3">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57796">
                <a:defRPr/>
              </a:pPr>
              <a:endParaRPr lang="fr-FR" sz="1900">
                <a:solidFill>
                  <a:srgbClr val="7F7F7F"/>
                </a:solidFill>
                <a:latin typeface="Arial"/>
                <a:cs typeface="Arial"/>
                <a:sym typeface="Arial"/>
              </a:endParaRPr>
            </a:p>
          </p:txBody>
        </p:sp>
      </p:grpSp>
      <p:grpSp>
        <p:nvGrpSpPr>
          <p:cNvPr id="37" name="Group 19">
            <a:extLst>
              <a:ext uri="{FF2B5EF4-FFF2-40B4-BE49-F238E27FC236}">
                <a16:creationId xmlns:a16="http://schemas.microsoft.com/office/drawing/2014/main" id="{B7B39669-D8CF-BD73-EC9B-BE997EB26DF2}"/>
              </a:ext>
            </a:extLst>
          </p:cNvPr>
          <p:cNvGrpSpPr>
            <a:grpSpLocks/>
          </p:cNvGrpSpPr>
          <p:nvPr/>
        </p:nvGrpSpPr>
        <p:grpSpPr bwMode="auto">
          <a:xfrm>
            <a:off x="6973580" y="4097389"/>
            <a:ext cx="1654175" cy="2358763"/>
            <a:chOff x="3424" y="2500"/>
            <a:chExt cx="1042" cy="1527"/>
          </a:xfrm>
        </p:grpSpPr>
        <p:pic>
          <p:nvPicPr>
            <p:cNvPr id="40" name="Picture 17">
              <a:extLst>
                <a:ext uri="{FF2B5EF4-FFF2-40B4-BE49-F238E27FC236}">
                  <a16:creationId xmlns:a16="http://schemas.microsoft.com/office/drawing/2014/main" id="{109A9A58-FA07-1AF6-F4DB-AD19CA50046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48" y="2500"/>
              <a:ext cx="1018" cy="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18">
              <a:extLst>
                <a:ext uri="{FF2B5EF4-FFF2-40B4-BE49-F238E27FC236}">
                  <a16:creationId xmlns:a16="http://schemas.microsoft.com/office/drawing/2014/main" id="{0727A7C4-76BC-E587-6FD4-8BF3D0ABB5B4}"/>
                </a:ext>
              </a:extLst>
            </p:cNvPr>
            <p:cNvSpPr>
              <a:spLocks noChangeArrowheads="1"/>
            </p:cNvSpPr>
            <p:nvPr/>
          </p:nvSpPr>
          <p:spPr bwMode="auto">
            <a:xfrm>
              <a:off x="3424" y="2523"/>
              <a:ext cx="1022" cy="1504"/>
            </a:xfrm>
            <a:prstGeom prst="rect">
              <a:avLst/>
            </a:prstGeom>
            <a:noFill/>
            <a:ln w="3">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57796">
                <a:defRPr/>
              </a:pPr>
              <a:endParaRPr lang="fr-FR" sz="1900">
                <a:solidFill>
                  <a:srgbClr val="7F7F7F"/>
                </a:solidFill>
                <a:latin typeface="Arial"/>
                <a:cs typeface="Arial"/>
                <a:sym typeface="Arial"/>
              </a:endParaRPr>
            </a:p>
          </p:txBody>
        </p:sp>
      </p:grpSp>
      <p:sp>
        <p:nvSpPr>
          <p:cNvPr id="42" name="Rectangle 41">
            <a:extLst>
              <a:ext uri="{FF2B5EF4-FFF2-40B4-BE49-F238E27FC236}">
                <a16:creationId xmlns:a16="http://schemas.microsoft.com/office/drawing/2014/main" id="{91AEBB1E-A8B8-DC55-4A9D-F7797B0382B1}"/>
              </a:ext>
            </a:extLst>
          </p:cNvPr>
          <p:cNvSpPr/>
          <p:nvPr/>
        </p:nvSpPr>
        <p:spPr>
          <a:xfrm rot="19683136">
            <a:off x="5274549" y="5002147"/>
            <a:ext cx="2356671" cy="584775"/>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57796">
              <a:defRPr/>
            </a:pPr>
            <a:r>
              <a:rPr lang="fr-FR" sz="3200" b="1" spc="51">
                <a:ln w="11430"/>
                <a:gradFill>
                  <a:gsLst>
                    <a:gs pos="25000">
                      <a:srgbClr val="FF9900">
                        <a:satMod val="155000"/>
                      </a:srgbClr>
                    </a:gs>
                    <a:gs pos="100000">
                      <a:srgbClr val="FF9900">
                        <a:shade val="45000"/>
                        <a:satMod val="165000"/>
                      </a:srgbClr>
                    </a:gs>
                  </a:gsLst>
                  <a:lin ang="5400000"/>
                </a:gradFill>
                <a:effectLst>
                  <a:outerShdw blurRad="76200" dist="50800" dir="5400000" algn="tl" rotWithShape="0">
                    <a:srgbClr val="000000">
                      <a:alpha val="65000"/>
                    </a:srgbClr>
                  </a:outerShdw>
                </a:effectLst>
                <a:latin typeface="Arial"/>
                <a:cs typeface="Arial"/>
                <a:sym typeface="Arial"/>
              </a:rPr>
              <a:t>Illustration</a:t>
            </a:r>
          </a:p>
        </p:txBody>
      </p:sp>
      <p:sp>
        <p:nvSpPr>
          <p:cNvPr id="43" name="Line 5">
            <a:extLst>
              <a:ext uri="{FF2B5EF4-FFF2-40B4-BE49-F238E27FC236}">
                <a16:creationId xmlns:a16="http://schemas.microsoft.com/office/drawing/2014/main" id="{CE92218A-460D-A7DF-BAFF-6F33EDDEA9EA}"/>
              </a:ext>
            </a:extLst>
          </p:cNvPr>
          <p:cNvSpPr>
            <a:spLocks noChangeShapeType="1"/>
          </p:cNvSpPr>
          <p:nvPr/>
        </p:nvSpPr>
        <p:spPr bwMode="blackWhite">
          <a:xfrm>
            <a:off x="569185" y="1184800"/>
            <a:ext cx="10224000" cy="0"/>
          </a:xfrm>
          <a:prstGeom prst="line">
            <a:avLst/>
          </a:prstGeom>
          <a:noFill/>
          <a:ln w="12700">
            <a:solidFill>
              <a:srgbClr val="002060"/>
            </a:solidFill>
            <a:round/>
            <a:headEnd/>
            <a:tailEnd/>
          </a:ln>
        </p:spPr>
        <p:txBody>
          <a:bodyPr wrap="none" lIns="67677" tIns="33824" rIns="67677" bIns="33824" anchor="ctr"/>
          <a:lstStyle/>
          <a:p>
            <a:pPr marL="0" marR="0" lvl="0" indent="0" algn="l" defTabSz="652790" rtl="0" eaLnBrk="1" fontAlgn="auto" latinLnBrk="0" hangingPunct="1">
              <a:lnSpc>
                <a:spcPct val="100000"/>
              </a:lnSpc>
              <a:spcBef>
                <a:spcPts val="0"/>
              </a:spcBef>
              <a:spcAft>
                <a:spcPts val="0"/>
              </a:spcAft>
              <a:buClrTx/>
              <a:buSzTx/>
              <a:buFontTx/>
              <a:buNone/>
              <a:tabLst/>
              <a:defRPr/>
            </a:pPr>
            <a:endParaRPr kumimoji="0" lang="fr-FR" sz="2400" b="1" i="0" u="none" strike="noStrike" kern="0" cap="none" spc="0" normalizeH="0" baseline="0" noProof="0">
              <a:ln>
                <a:noFill/>
              </a:ln>
              <a:solidFill>
                <a:prstClr val="black"/>
              </a:solidFill>
              <a:effectLst/>
              <a:uLnTx/>
              <a:uFillTx/>
              <a:latin typeface="Calibri" panose="020F0502020204030204"/>
              <a:ea typeface="+mn-ea"/>
              <a:cs typeface="Arial" charset="0"/>
              <a:sym typeface="Arial"/>
            </a:endParaRPr>
          </a:p>
        </p:txBody>
      </p:sp>
      <p:sp>
        <p:nvSpPr>
          <p:cNvPr id="8" name="Titre 29">
            <a:extLst>
              <a:ext uri="{FF2B5EF4-FFF2-40B4-BE49-F238E27FC236}">
                <a16:creationId xmlns:a16="http://schemas.microsoft.com/office/drawing/2014/main" id="{F0C139CC-75B5-A59D-DD29-DE2412CA804E}"/>
              </a:ext>
            </a:extLst>
          </p:cNvPr>
          <p:cNvSpPr>
            <a:spLocks noGrp="1"/>
          </p:cNvSpPr>
          <p:nvPr>
            <p:ph type="title"/>
          </p:nvPr>
        </p:nvSpPr>
        <p:spPr>
          <a:xfrm>
            <a:off x="396655" y="257647"/>
            <a:ext cx="9907072" cy="407795"/>
          </a:xfrm>
          <a:solidFill>
            <a:schemeClr val="bg1"/>
          </a:solidFill>
        </p:spPr>
        <p:txBody>
          <a:bodyPr/>
          <a:lstStyle/>
          <a:p>
            <a:r>
              <a:rPr lang="fr-FR" sz="1800">
                <a:latin typeface="Arial Black"/>
              </a:rPr>
              <a:t>1. CADRAGE</a:t>
            </a:r>
          </a:p>
        </p:txBody>
      </p:sp>
    </p:spTree>
    <p:extLst>
      <p:ext uri="{BB962C8B-B14F-4D97-AF65-F5344CB8AC3E}">
        <p14:creationId xmlns:p14="http://schemas.microsoft.com/office/powerpoint/2010/main" val="4075207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re 29">
            <a:extLst>
              <a:ext uri="{FF2B5EF4-FFF2-40B4-BE49-F238E27FC236}">
                <a16:creationId xmlns:a16="http://schemas.microsoft.com/office/drawing/2014/main" id="{6233450F-6346-D4B1-9985-9A4B50FE151E}"/>
              </a:ext>
            </a:extLst>
          </p:cNvPr>
          <p:cNvSpPr>
            <a:spLocks noGrp="1"/>
          </p:cNvSpPr>
          <p:nvPr>
            <p:ph type="title"/>
          </p:nvPr>
        </p:nvSpPr>
        <p:spPr>
          <a:xfrm>
            <a:off x="396655" y="217390"/>
            <a:ext cx="7921435" cy="407795"/>
          </a:xfrm>
          <a:solidFill>
            <a:schemeClr val="bg1"/>
          </a:solidFill>
        </p:spPr>
        <p:txBody>
          <a:bodyPr/>
          <a:lstStyle/>
          <a:p>
            <a:r>
              <a:rPr lang="fr-FR" sz="1800">
                <a:solidFill>
                  <a:schemeClr val="bg2"/>
                </a:solidFill>
                <a:latin typeface="Arial Black"/>
              </a:rPr>
              <a:t>2. RÉALISATION DU DIAGNOSTIC</a:t>
            </a:r>
          </a:p>
        </p:txBody>
      </p:sp>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34" name="ZoneTexte 33">
            <a:extLst>
              <a:ext uri="{FF2B5EF4-FFF2-40B4-BE49-F238E27FC236}">
                <a16:creationId xmlns:a16="http://schemas.microsoft.com/office/drawing/2014/main" id="{9650F1C7-7C98-3C61-8C3C-2BBA81E3429C}"/>
              </a:ext>
            </a:extLst>
          </p:cNvPr>
          <p:cNvSpPr txBox="1"/>
          <p:nvPr/>
        </p:nvSpPr>
        <p:spPr>
          <a:xfrm>
            <a:off x="9242203" y="4907239"/>
            <a:ext cx="2794960" cy="1822263"/>
          </a:xfrm>
          <a:prstGeom prst="rect">
            <a:avLst/>
          </a:prstGeom>
          <a:noFill/>
          <a:ln w="19050">
            <a:solidFill>
              <a:srgbClr val="006EB7"/>
            </a:solidFill>
          </a:ln>
        </p:spPr>
        <p:txBody>
          <a:bodyPr wrap="square" lIns="91440" tIns="45720" rIns="91440" bIns="45720" anchor="t">
            <a:noAutofit/>
          </a:bodyPr>
          <a:lstStyle/>
          <a:p>
            <a:r>
              <a:rPr lang="fr-FR" sz="1200" b="1">
                <a:solidFill>
                  <a:srgbClr val="006EB7"/>
                </a:solidFill>
              </a:rPr>
              <a:t>Livrables</a:t>
            </a:r>
          </a:p>
          <a:p>
            <a:pPr marL="171446" lvl="1" indent="-171446" defTabSz="514308">
              <a:spcAft>
                <a:spcPts val="151"/>
              </a:spcAft>
              <a:buClr>
                <a:schemeClr val="tx1"/>
              </a:buClr>
              <a:buSzPct val="100000"/>
              <a:buFont typeface="Wingdings" panose="05000000000000000000" pitchFamily="2" charset="2"/>
              <a:buChar char="ü"/>
              <a:defRPr/>
            </a:pPr>
            <a:endParaRPr lang="fr-FR" sz="1100">
              <a:latin typeface="+mj-lt"/>
            </a:endParaRPr>
          </a:p>
          <a:p>
            <a:pPr marL="171446" lvl="1" indent="-171446" defTabSz="514308">
              <a:spcAft>
                <a:spcPts val="151"/>
              </a:spcAft>
              <a:buClr>
                <a:schemeClr val="tx1"/>
              </a:buClr>
              <a:buSzPct val="100000"/>
              <a:buFont typeface="Wingdings" panose="05000000000000000000" pitchFamily="2" charset="2"/>
              <a:buChar char="ü"/>
              <a:defRPr/>
            </a:pPr>
            <a:r>
              <a:rPr lang="fr-FR" sz="1100">
                <a:latin typeface="+mj-lt"/>
              </a:rPr>
              <a:t>Liste des difficultés/manques identifiés et de leurs causes racines</a:t>
            </a:r>
          </a:p>
          <a:p>
            <a:pPr marL="171446" marR="0" lvl="1" indent="-171446" algn="l" defTabSz="514308" rtl="0" eaLnBrk="1" fontAlgn="auto" latinLnBrk="0" hangingPunct="1">
              <a:lnSpc>
                <a:spcPct val="100000"/>
              </a:lnSpc>
              <a:spcBef>
                <a:spcPts val="0"/>
              </a:spcBef>
              <a:spcAft>
                <a:spcPts val="151"/>
              </a:spcAft>
              <a:buClr>
                <a:schemeClr val="tx1"/>
              </a:buClr>
              <a:buSzPct val="100000"/>
              <a:buFont typeface="Wingdings" panose="05000000000000000000" pitchFamily="2" charset="2"/>
              <a:buChar char="ü"/>
              <a:tabLst/>
              <a:defRPr/>
            </a:pPr>
            <a:r>
              <a:rPr kumimoji="0" lang="fr-FR" sz="1100" b="0" i="0" u="none" strike="noStrike" kern="1200" cap="none" spc="0" normalizeH="0" baseline="0" noProof="0">
                <a:ln>
                  <a:noFill/>
                </a:ln>
                <a:solidFill>
                  <a:prstClr val="black">
                    <a:lumMod val="75000"/>
                    <a:lumOff val="25000"/>
                  </a:prstClr>
                </a:solidFill>
                <a:effectLst/>
                <a:uLnTx/>
                <a:uFillTx/>
                <a:latin typeface="+mj-lt"/>
                <a:cs typeface="Calibri"/>
                <a:sym typeface="Arial"/>
              </a:rPr>
              <a:t>Synthèse de l’existant mettant en relief les points positifs et les principaux axes d’optimisation sur </a:t>
            </a:r>
            <a:r>
              <a:rPr lang="fr-FR" sz="1100">
                <a:solidFill>
                  <a:prstClr val="black">
                    <a:lumMod val="75000"/>
                    <a:lumOff val="25000"/>
                  </a:prstClr>
                </a:solidFill>
                <a:latin typeface="+mj-lt"/>
                <a:cs typeface="Calibri"/>
              </a:rPr>
              <a:t>chaque volet : organisation &amp; compétences / processus /outil</a:t>
            </a:r>
            <a:endParaRPr kumimoji="0" lang="fr-FR" sz="1100" b="0" i="0" u="none" strike="noStrike" kern="1200" cap="none" spc="0" normalizeH="0" baseline="0" noProof="0">
              <a:ln>
                <a:noFill/>
              </a:ln>
              <a:solidFill>
                <a:prstClr val="black">
                  <a:lumMod val="75000"/>
                  <a:lumOff val="25000"/>
                </a:prstClr>
              </a:solidFill>
              <a:effectLst/>
              <a:uLnTx/>
              <a:uFillTx/>
              <a:latin typeface="+mj-lt"/>
              <a:cs typeface="Calibri"/>
              <a:sym typeface="Arial"/>
            </a:endParaRPr>
          </a:p>
        </p:txBody>
      </p:sp>
      <p:grpSp>
        <p:nvGrpSpPr>
          <p:cNvPr id="10" name="Groupe 9">
            <a:extLst>
              <a:ext uri="{FF2B5EF4-FFF2-40B4-BE49-F238E27FC236}">
                <a16:creationId xmlns:a16="http://schemas.microsoft.com/office/drawing/2014/main" id="{15AADAC6-D9A2-7ECC-DBED-296040E229F2}"/>
              </a:ext>
            </a:extLst>
          </p:cNvPr>
          <p:cNvGrpSpPr/>
          <p:nvPr/>
        </p:nvGrpSpPr>
        <p:grpSpPr>
          <a:xfrm>
            <a:off x="396656" y="957373"/>
            <a:ext cx="2582334" cy="1785827"/>
            <a:chOff x="385525" y="954269"/>
            <a:chExt cx="2582334" cy="2169280"/>
          </a:xfrm>
        </p:grpSpPr>
        <p:sp>
          <p:nvSpPr>
            <p:cNvPr id="32" name="Rectangle 31">
              <a:extLst>
                <a:ext uri="{FF2B5EF4-FFF2-40B4-BE49-F238E27FC236}">
                  <a16:creationId xmlns:a16="http://schemas.microsoft.com/office/drawing/2014/main" id="{B3495833-9CC2-ED21-6E68-56E657DD98F8}"/>
                </a:ext>
              </a:extLst>
            </p:cNvPr>
            <p:cNvSpPr/>
            <p:nvPr/>
          </p:nvSpPr>
          <p:spPr>
            <a:xfrm>
              <a:off x="385525" y="1378112"/>
              <a:ext cx="2582334" cy="1745437"/>
            </a:xfrm>
            <a:prstGeom prst="rect">
              <a:avLst/>
            </a:prstGeom>
            <a:solidFill>
              <a:srgbClr val="C5E8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5738" lvl="1" indent="-185738" algn="just" fontAlgn="base">
                <a:spcBef>
                  <a:spcPct val="0"/>
                </a:spcBef>
                <a:spcAft>
                  <a:spcPct val="0"/>
                </a:spcAft>
                <a:buClr>
                  <a:schemeClr val="tx1"/>
                </a:buClr>
                <a:buSzPct val="100000"/>
                <a:buFont typeface="Arial" panose="020B0604020202020204" pitchFamily="34" charset="0"/>
                <a:buChar char="•"/>
                <a:defRPr/>
              </a:pPr>
              <a:r>
                <a:rPr lang="fr-FR" sz="1050">
                  <a:solidFill>
                    <a:schemeClr val="tx1"/>
                  </a:solidFill>
                  <a:sym typeface="Arial"/>
                </a:rPr>
                <a:t>Identifier les forces et les faiblesses du dispositif actuel, notamment </a:t>
              </a:r>
              <a:r>
                <a:rPr lang="fr-FR" sz="1050">
                  <a:solidFill>
                    <a:schemeClr val="tx1"/>
                  </a:solidFill>
                </a:rPr>
                <a:t>au regard des enjeux métiers et des ambitions exprimées</a:t>
              </a:r>
            </a:p>
            <a:p>
              <a:pPr marL="185738" lvl="1" indent="-185738" algn="just" fontAlgn="base">
                <a:spcBef>
                  <a:spcPct val="0"/>
                </a:spcBef>
                <a:spcAft>
                  <a:spcPct val="0"/>
                </a:spcAft>
                <a:buClr>
                  <a:schemeClr val="tx1"/>
                </a:buClr>
                <a:buSzPct val="100000"/>
                <a:buFont typeface="Arial" panose="020B0604020202020204" pitchFamily="34" charset="0"/>
                <a:buChar char="•"/>
                <a:defRPr/>
              </a:pPr>
              <a:r>
                <a:rPr lang="fr-FR" sz="1050">
                  <a:solidFill>
                    <a:schemeClr val="tx1"/>
                  </a:solidFill>
                </a:rPr>
                <a:t>Elaborer les restitutions de manière progressive, au fil des travaux</a:t>
              </a:r>
            </a:p>
            <a:p>
              <a:pPr marL="185738" lvl="1" indent="-185738" algn="just" fontAlgn="base">
                <a:spcBef>
                  <a:spcPct val="0"/>
                </a:spcBef>
                <a:spcAft>
                  <a:spcPct val="0"/>
                </a:spcAft>
                <a:buClr>
                  <a:schemeClr val="tx1"/>
                </a:buClr>
                <a:buSzPct val="100000"/>
                <a:buFont typeface="Arial" panose="020B0604020202020204" pitchFamily="34" charset="0"/>
                <a:buChar char="•"/>
                <a:defRPr/>
              </a:pPr>
              <a:r>
                <a:rPr lang="fr-FR" sz="1050">
                  <a:solidFill>
                    <a:schemeClr val="tx1"/>
                  </a:solidFill>
                </a:rPr>
                <a:t>Aboutir à un constat objectif et partagé sur l’existant</a:t>
              </a:r>
            </a:p>
          </p:txBody>
        </p:sp>
        <p:sp>
          <p:nvSpPr>
            <p:cNvPr id="5" name="Rectangle 4">
              <a:extLst>
                <a:ext uri="{FF2B5EF4-FFF2-40B4-BE49-F238E27FC236}">
                  <a16:creationId xmlns:a16="http://schemas.microsoft.com/office/drawing/2014/main" id="{544069F3-8220-51EE-508A-1C07112F822D}"/>
                </a:ext>
              </a:extLst>
            </p:cNvPr>
            <p:cNvSpPr/>
            <p:nvPr/>
          </p:nvSpPr>
          <p:spPr>
            <a:xfrm>
              <a:off x="385525" y="954269"/>
              <a:ext cx="2582334" cy="432000"/>
            </a:xfrm>
            <a:prstGeom prst="rect">
              <a:avLst/>
            </a:prstGeom>
            <a:solidFill>
              <a:srgbClr val="006EB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Objectifs</a:t>
              </a:r>
            </a:p>
          </p:txBody>
        </p:sp>
      </p:grpSp>
      <p:grpSp>
        <p:nvGrpSpPr>
          <p:cNvPr id="4" name="Groupe 3">
            <a:extLst>
              <a:ext uri="{FF2B5EF4-FFF2-40B4-BE49-F238E27FC236}">
                <a16:creationId xmlns:a16="http://schemas.microsoft.com/office/drawing/2014/main" id="{824A06BA-A461-44F3-8AA9-4CAAA46DE75A}"/>
              </a:ext>
            </a:extLst>
          </p:cNvPr>
          <p:cNvGrpSpPr/>
          <p:nvPr/>
        </p:nvGrpSpPr>
        <p:grpSpPr>
          <a:xfrm>
            <a:off x="3088990" y="954269"/>
            <a:ext cx="6026255" cy="5659406"/>
            <a:chOff x="3388042" y="954269"/>
            <a:chExt cx="6313802" cy="5659406"/>
          </a:xfrm>
        </p:grpSpPr>
        <p:sp>
          <p:nvSpPr>
            <p:cNvPr id="7" name="Rectangle 6">
              <a:extLst>
                <a:ext uri="{FF2B5EF4-FFF2-40B4-BE49-F238E27FC236}">
                  <a16:creationId xmlns:a16="http://schemas.microsoft.com/office/drawing/2014/main" id="{8079125D-CFC6-49E2-531A-B3BCD8992476}"/>
                </a:ext>
              </a:extLst>
            </p:cNvPr>
            <p:cNvSpPr/>
            <p:nvPr/>
          </p:nvSpPr>
          <p:spPr>
            <a:xfrm>
              <a:off x="3388700" y="954269"/>
              <a:ext cx="6313144" cy="432000"/>
            </a:xfrm>
            <a:prstGeom prst="rect">
              <a:avLst/>
            </a:prstGeom>
            <a:solidFill>
              <a:srgbClr val="006EB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Travaux à mener</a:t>
              </a:r>
            </a:p>
          </p:txBody>
        </p:sp>
        <p:pic>
          <p:nvPicPr>
            <p:cNvPr id="9" name="Graphique 8" descr="Loupe avec un remplissage uni">
              <a:extLst>
                <a:ext uri="{FF2B5EF4-FFF2-40B4-BE49-F238E27FC236}">
                  <a16:creationId xmlns:a16="http://schemas.microsoft.com/office/drawing/2014/main" id="{5904BD4C-6B18-D95B-413D-D7C652B5B9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flipH="1" flipV="1">
              <a:off x="3514635" y="1035392"/>
              <a:ext cx="269755" cy="269755"/>
            </a:xfrm>
            <a:prstGeom prst="rect">
              <a:avLst/>
            </a:prstGeom>
          </p:spPr>
        </p:pic>
        <p:sp>
          <p:nvSpPr>
            <p:cNvPr id="25" name="ZoneTexte 24">
              <a:extLst>
                <a:ext uri="{FF2B5EF4-FFF2-40B4-BE49-F238E27FC236}">
                  <a16:creationId xmlns:a16="http://schemas.microsoft.com/office/drawing/2014/main" id="{1515E993-6069-6C0D-1BB2-F62EC1A5417F}"/>
                </a:ext>
              </a:extLst>
            </p:cNvPr>
            <p:cNvSpPr txBox="1"/>
            <p:nvPr/>
          </p:nvSpPr>
          <p:spPr>
            <a:xfrm>
              <a:off x="3388042" y="1427640"/>
              <a:ext cx="6313144" cy="5186035"/>
            </a:xfrm>
            <a:prstGeom prst="rect">
              <a:avLst/>
            </a:prstGeom>
            <a:noFill/>
          </p:spPr>
          <p:txBody>
            <a:bodyPr wrap="square" lIns="91440" tIns="45720" rIns="91440" bIns="45720" anchor="t">
              <a:spAutoFit/>
            </a:bodyPr>
            <a:lstStyle/>
            <a:p>
              <a:pPr algn="just" fontAlgn="ctr">
                <a:spcAft>
                  <a:spcPts val="600"/>
                </a:spcAft>
                <a:buClr>
                  <a:schemeClr val="tx2"/>
                </a:buClr>
              </a:pPr>
              <a:r>
                <a:rPr lang="fr-FR" sz="1050" b="1" u="sng">
                  <a:solidFill>
                    <a:srgbClr val="006EB7"/>
                  </a:solidFill>
                  <a:latin typeface="+mj-lt"/>
                  <a:sym typeface="Arial"/>
                </a:rPr>
                <a:t>DÉFINIR</a:t>
              </a: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sym typeface="Arial"/>
                </a:rPr>
                <a:t>Analyser la documentation recueillie</a:t>
              </a:r>
              <a:endParaRPr lang="fr-FR" sz="1050" b="1">
                <a:solidFill>
                  <a:srgbClr val="006EB7"/>
                </a:solidFill>
                <a:latin typeface="+mj-lt"/>
              </a:endParaRP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rPr>
                <a:t>Etudier les volumétries (actes, délais, …)</a:t>
              </a: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rPr>
                <a:t>Prioriser les processus à diagnostiquer sur la base d’une macro-ventilation des coûts</a:t>
              </a:r>
            </a:p>
            <a:p>
              <a:pPr algn="just" fontAlgn="ctr">
                <a:spcAft>
                  <a:spcPts val="600"/>
                </a:spcAft>
                <a:buClr>
                  <a:schemeClr val="tx2"/>
                </a:buClr>
              </a:pPr>
              <a:r>
                <a:rPr lang="fr-FR" sz="1050" b="1" u="sng">
                  <a:solidFill>
                    <a:srgbClr val="006EB7"/>
                  </a:solidFill>
                  <a:latin typeface="+mj-lt"/>
                </a:rPr>
                <a:t>MESURER ET ANALYSER</a:t>
              </a:r>
              <a:endParaRPr lang="fr-FR" sz="1050" b="1" u="sng">
                <a:solidFill>
                  <a:srgbClr val="006EB7"/>
                </a:solidFill>
                <a:latin typeface="+mj-lt"/>
                <a:cs typeface="Arial"/>
              </a:endParaRP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sym typeface="Arial"/>
                </a:rPr>
                <a:t>Réaliser les entretiens avec les managers identifiés (France : 21, Espagne : 8, Italie 6) </a:t>
              </a:r>
              <a:r>
                <a:rPr lang="fr-FR" sz="1050" b="1">
                  <a:solidFill>
                    <a:srgbClr val="006EB7"/>
                  </a:solidFill>
                  <a:latin typeface="+mj-lt"/>
                </a:rPr>
                <a:t>sur la base d’un guide d’entretien (questionnaire)</a:t>
              </a:r>
            </a:p>
            <a:p>
              <a:pPr marL="598805" lvl="1" indent="-236855" algn="just" defTabSz="914377" eaLnBrk="0" fontAlgn="base" hangingPunct="0">
                <a:buSzPct val="100000"/>
                <a:buFont typeface="Arial" panose="020B0604020202020204" pitchFamily="34" charset="0"/>
                <a:buChar char="•"/>
                <a:defRPr/>
              </a:pPr>
              <a:r>
                <a:rPr lang="fr-FR" sz="900">
                  <a:solidFill>
                    <a:prstClr val="black"/>
                  </a:solidFill>
                  <a:latin typeface="+mj-lt"/>
                </a:rPr>
                <a:t>Dans un souci d’efficacité, transmettre aux interlocuteurs en amont du RDV le guide d’entretien afin qu’ils puissent y réfléchir et préparer au mieux les éléments</a:t>
              </a:r>
              <a:endParaRPr lang="fr-FR" sz="900">
                <a:solidFill>
                  <a:prstClr val="black"/>
                </a:solidFill>
                <a:latin typeface="+mj-lt"/>
                <a:cs typeface="Arial"/>
              </a:endParaRPr>
            </a:p>
            <a:p>
              <a:pPr marL="598805" lvl="1" indent="-236855" algn="just" defTabSz="914377" eaLnBrk="0" fontAlgn="base" hangingPunct="0">
                <a:buSzPct val="100000"/>
                <a:buFont typeface="Arial" panose="020B0604020202020204" pitchFamily="34" charset="0"/>
                <a:buChar char="•"/>
                <a:defRPr/>
              </a:pPr>
              <a:r>
                <a:rPr lang="fr-FR" sz="900">
                  <a:solidFill>
                    <a:prstClr val="black"/>
                  </a:solidFill>
                  <a:latin typeface="+mj-lt"/>
                </a:rPr>
                <a:t>Préparer et animer les entretiens à partir des questionnaires structurés</a:t>
              </a:r>
              <a:endParaRPr lang="fr-FR" sz="900">
                <a:solidFill>
                  <a:prstClr val="black"/>
                </a:solidFill>
                <a:latin typeface="+mj-lt"/>
                <a:cs typeface="Arial"/>
              </a:endParaRPr>
            </a:p>
            <a:p>
              <a:pPr marL="598805" lvl="1" indent="-236855" algn="just" defTabSz="914377" eaLnBrk="0" fontAlgn="base" hangingPunct="0">
                <a:buSzPct val="100000"/>
                <a:buFont typeface="Arial" panose="020B0604020202020204" pitchFamily="34" charset="0"/>
                <a:buChar char="•"/>
                <a:defRPr/>
              </a:pPr>
              <a:r>
                <a:rPr lang="fr-FR" sz="900">
                  <a:solidFill>
                    <a:prstClr val="black"/>
                  </a:solidFill>
                  <a:latin typeface="+mj-lt"/>
                  <a:sym typeface="Open Sans Light"/>
                </a:rPr>
                <a:t>Recueillir les satisfactions, les difficultés observées, les axes à optimiser et les attentes, </a:t>
              </a:r>
              <a:r>
                <a:rPr lang="fr-FR" sz="900">
                  <a:solidFill>
                    <a:prstClr val="black"/>
                  </a:solidFill>
                  <a:latin typeface="+mj-lt"/>
                  <a:sym typeface="Arial"/>
                </a:rPr>
                <a:t>en axant les recueils sur les volets organisation &amp; compétences/ process/ outil</a:t>
              </a:r>
              <a:endParaRPr lang="fr-FR" sz="900">
                <a:solidFill>
                  <a:prstClr val="black"/>
                </a:solidFill>
                <a:latin typeface="+mj-lt"/>
                <a:cs typeface="Arial"/>
              </a:endParaRPr>
            </a:p>
            <a:p>
              <a:pPr marL="598805" lvl="1" indent="-236855" algn="just" defTabSz="914377" eaLnBrk="0" fontAlgn="base" hangingPunct="0">
                <a:buSzPct val="100000"/>
                <a:buFont typeface="Wingdings" panose="05000000000000000000" pitchFamily="2" charset="2"/>
                <a:buChar char="Ø"/>
                <a:defRPr/>
              </a:pPr>
              <a:r>
                <a:rPr lang="fr-FR" sz="900">
                  <a:latin typeface="+mj-lt"/>
                  <a:sym typeface="Arial"/>
                </a:rPr>
                <a:t>Une synthèse sera diffusée mais la teneur des entretiens individuels demeurera confidentielle</a:t>
              </a:r>
              <a:endParaRPr lang="fr-FR" sz="200" b="1">
                <a:solidFill>
                  <a:srgbClr val="44398A"/>
                </a:solidFill>
                <a:latin typeface="+mj-lt"/>
                <a:sym typeface="Arial"/>
              </a:endParaRP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sym typeface="Arial"/>
                </a:rPr>
                <a:t>Réaliser </a:t>
              </a:r>
              <a:r>
                <a:rPr lang="fr-FR" sz="1050" b="1">
                  <a:solidFill>
                    <a:srgbClr val="006EB7"/>
                  </a:solidFill>
                  <a:latin typeface="+mj-lt"/>
                </a:rPr>
                <a:t>2 ateliers par processus</a:t>
              </a:r>
            </a:p>
            <a:p>
              <a:pPr marL="598805" marR="0" lvl="1" indent="-236855" algn="just" defTabSz="914377" eaLnBrk="0" fontAlgn="base" hangingPunct="0">
                <a:lnSpc>
                  <a:spcPct val="100000"/>
                </a:lnSpc>
                <a:spcBef>
                  <a:spcPts val="0"/>
                </a:spcBef>
                <a:spcAft>
                  <a:spcPts val="600"/>
                </a:spcAft>
                <a:buClr>
                  <a:srgbClr val="006EB7"/>
                </a:buClr>
                <a:buSzPct val="100000"/>
                <a:buFont typeface="Arial" panose="020B0604020202020204" pitchFamily="34" charset="0"/>
                <a:buChar char="•"/>
                <a:tabLst/>
                <a:defRPr/>
              </a:pPr>
              <a:r>
                <a:rPr lang="fr-FR" sz="900">
                  <a:solidFill>
                    <a:prstClr val="black"/>
                  </a:solidFill>
                  <a:latin typeface="+mj-lt"/>
                </a:rPr>
                <a:t>Atelier #1 : Décrire le processus et l’analyser de manière critique </a:t>
              </a:r>
              <a:r>
                <a:rPr lang="fr-FR" sz="900">
                  <a:solidFill>
                    <a:prstClr val="black"/>
                  </a:solidFill>
                  <a:latin typeface="+mj-lt"/>
                  <a:sym typeface="Wingdings" panose="05000000000000000000" pitchFamily="2" charset="2"/>
                </a:rPr>
                <a:t> </a:t>
              </a:r>
              <a:r>
                <a:rPr lang="fr-FR" sz="900">
                  <a:solidFill>
                    <a:prstClr val="black"/>
                  </a:solidFill>
                  <a:latin typeface="+mj-lt"/>
                </a:rPr>
                <a:t>étapes / activités, contrôles, acteurs et interfaces, couverture fonctionnelle, outils, points forts, dysfonctionnements (coût / délai / qualité), piste d’amélioration</a:t>
              </a:r>
            </a:p>
            <a:p>
              <a:pPr marL="598805" lvl="1" indent="-236855" algn="just" defTabSz="914377" eaLnBrk="0" fontAlgn="base" hangingPunct="0">
                <a:buSzPct val="100000"/>
                <a:buFont typeface="Arial" panose="020B0604020202020204" pitchFamily="34" charset="0"/>
                <a:buChar char="•"/>
                <a:defRPr/>
              </a:pPr>
              <a:r>
                <a:rPr lang="fr-FR" sz="900">
                  <a:solidFill>
                    <a:prstClr val="black"/>
                  </a:solidFill>
                  <a:latin typeface="+mj-lt"/>
                  <a:sym typeface="Open Sans Light"/>
                </a:rPr>
                <a:t>Atelier #2 : Déterminer les causes racines des principaux dysfonctionnements </a:t>
              </a:r>
              <a:r>
                <a:rPr lang="fr-FR" sz="900">
                  <a:solidFill>
                    <a:prstClr val="black"/>
                  </a:solidFill>
                  <a:latin typeface="+mj-lt"/>
                </a:rPr>
                <a:t>selon 5 axes (méthode, objet du processus, contexte, savoir-faire, outil) et les prioriser</a:t>
              </a:r>
              <a:endParaRPr lang="fr-FR" sz="200" b="1">
                <a:solidFill>
                  <a:srgbClr val="44398A"/>
                </a:solidFill>
                <a:latin typeface="+mj-lt"/>
              </a:endParaRP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rPr>
                <a:t>Mener des analyses terrain en immersion auprès de 1 à 2 collaborateurs par processus, pour préciser les mesures et approfondir certains constats </a:t>
              </a:r>
            </a:p>
            <a:p>
              <a:pPr marL="228600" indent="-228600" algn="just" fontAlgn="ctr">
                <a:spcBef>
                  <a:spcPts val="300"/>
                </a:spcBef>
                <a:spcAft>
                  <a:spcPts val="600"/>
                </a:spcAft>
                <a:buClr>
                  <a:srgbClr val="006EB7"/>
                </a:buClr>
                <a:buFont typeface="+mj-lt"/>
                <a:buAutoNum type="arabicPeriod"/>
                <a:defRPr/>
              </a:pPr>
              <a:r>
                <a:rPr lang="fr-FR" sz="1050" b="1">
                  <a:solidFill>
                    <a:srgbClr val="006EB7"/>
                  </a:solidFill>
                  <a:latin typeface="+mj-lt"/>
                </a:rPr>
                <a:t>A partir des entretiens réalisés et de la documentation étudiée, analyser la performance actuelle de l’activité au regard des enjeux métier de l’entreprise à horizon 3-5 ans </a:t>
              </a:r>
              <a:endParaRPr lang="fr-FR" sz="1050" b="1">
                <a:solidFill>
                  <a:srgbClr val="006EB7"/>
                </a:solidFill>
                <a:latin typeface="+mj-lt"/>
                <a:sym typeface="Arial"/>
              </a:endParaRPr>
            </a:p>
            <a:p>
              <a:pPr marL="228600" marR="0" lvl="0" indent="-228600" algn="just" fontAlgn="ctr">
                <a:lnSpc>
                  <a:spcPct val="100000"/>
                </a:lnSpc>
                <a:spcBef>
                  <a:spcPts val="300"/>
                </a:spcBef>
                <a:spcAft>
                  <a:spcPts val="600"/>
                </a:spcAft>
                <a:buClr>
                  <a:srgbClr val="006EB7"/>
                </a:buClr>
                <a:buSzTx/>
                <a:buFont typeface="+mj-lt"/>
                <a:buAutoNum type="arabicPeriod"/>
                <a:tabLst/>
                <a:defRPr/>
              </a:pPr>
              <a:r>
                <a:rPr lang="fr-FR" sz="1050" b="1">
                  <a:solidFill>
                    <a:srgbClr val="006EB7"/>
                  </a:solidFill>
                  <a:latin typeface="+mj-lt"/>
                  <a:sym typeface="Arial"/>
                </a:rPr>
                <a:t>Rédiger au fil de l’eau une synthèse du diagnostic de l’existant et des principaux axes d’optimisation sur chaque volet organisation &amp; compétences/ process/ outil</a:t>
              </a:r>
              <a:endParaRPr lang="fr-FR" sz="1050" b="1">
                <a:solidFill>
                  <a:srgbClr val="006EB7"/>
                </a:solidFill>
                <a:latin typeface="+mj-lt"/>
              </a:endParaRPr>
            </a:p>
            <a:p>
              <a:pPr marL="228600" marR="0" lvl="0" indent="-228600" algn="just" fontAlgn="ctr">
                <a:lnSpc>
                  <a:spcPct val="100000"/>
                </a:lnSpc>
                <a:spcBef>
                  <a:spcPts val="300"/>
                </a:spcBef>
                <a:spcAft>
                  <a:spcPts val="600"/>
                </a:spcAft>
                <a:buClr>
                  <a:srgbClr val="006EB7"/>
                </a:buClr>
                <a:buSzTx/>
                <a:buFont typeface="+mj-lt"/>
                <a:buAutoNum type="arabicPeriod"/>
                <a:tabLst/>
                <a:defRPr/>
              </a:pPr>
              <a:r>
                <a:rPr lang="fr-FR" sz="1050" b="1">
                  <a:solidFill>
                    <a:srgbClr val="006EB7"/>
                  </a:solidFill>
                  <a:latin typeface="+mj-lt"/>
                </a:rPr>
                <a:t>Partager les constats et valider une V0 de la synthèse de l’existant avec le Codir</a:t>
              </a:r>
            </a:p>
          </p:txBody>
        </p:sp>
      </p:grpSp>
      <p:grpSp>
        <p:nvGrpSpPr>
          <p:cNvPr id="2" name="Groupe 1">
            <a:extLst>
              <a:ext uri="{FF2B5EF4-FFF2-40B4-BE49-F238E27FC236}">
                <a16:creationId xmlns:a16="http://schemas.microsoft.com/office/drawing/2014/main" id="{EA28810B-0F1A-33FC-557D-04A040D2357B}"/>
              </a:ext>
            </a:extLst>
          </p:cNvPr>
          <p:cNvGrpSpPr/>
          <p:nvPr/>
        </p:nvGrpSpPr>
        <p:grpSpPr>
          <a:xfrm>
            <a:off x="9247513" y="954268"/>
            <a:ext cx="2794961" cy="3825809"/>
            <a:chOff x="9517811" y="954269"/>
            <a:chExt cx="2539280" cy="2878924"/>
          </a:xfrm>
        </p:grpSpPr>
        <p:sp>
          <p:nvSpPr>
            <p:cNvPr id="18" name="Rectangle 17">
              <a:extLst>
                <a:ext uri="{FF2B5EF4-FFF2-40B4-BE49-F238E27FC236}">
                  <a16:creationId xmlns:a16="http://schemas.microsoft.com/office/drawing/2014/main" id="{C8231268-C2B2-BE48-01AF-35E343770CEF}"/>
                </a:ext>
              </a:extLst>
            </p:cNvPr>
            <p:cNvSpPr/>
            <p:nvPr/>
          </p:nvSpPr>
          <p:spPr>
            <a:xfrm>
              <a:off x="9517811" y="1362670"/>
              <a:ext cx="2539280" cy="2470523"/>
            </a:xfrm>
            <a:prstGeom prst="rect">
              <a:avLst/>
            </a:prstGeom>
            <a:solidFill>
              <a:srgbClr val="C5E8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lvl="1" indent="-171450">
                <a:spcAft>
                  <a:spcPts val="600"/>
                </a:spcAft>
                <a:buClr>
                  <a:schemeClr val="tx1"/>
                </a:buClr>
                <a:buFont typeface="Arial" panose="020B0604020202020204" pitchFamily="34" charset="0"/>
                <a:buChar char="•"/>
                <a:defRPr/>
              </a:pPr>
              <a:r>
                <a:rPr lang="fr-FR" sz="1050">
                  <a:solidFill>
                    <a:schemeClr val="tx1"/>
                  </a:solidFill>
                </a:rPr>
                <a:t>Entretiens sur la base de questionnaires comportant du qualitatif et du quantitatif</a:t>
              </a:r>
            </a:p>
            <a:p>
              <a:pPr marL="171450" lvl="1" indent="-171450">
                <a:spcAft>
                  <a:spcPts val="600"/>
                </a:spcAft>
                <a:buClr>
                  <a:schemeClr val="tx1"/>
                </a:buClr>
                <a:buFont typeface="Arial" panose="020B0604020202020204" pitchFamily="34" charset="0"/>
                <a:buChar char="•"/>
                <a:defRPr/>
              </a:pPr>
              <a:r>
                <a:rPr lang="fr-FR" sz="1050">
                  <a:solidFill>
                    <a:schemeClr val="tx1"/>
                  </a:solidFill>
                </a:rPr>
                <a:t>1 restitution avec chaque Responsable de site</a:t>
              </a:r>
            </a:p>
            <a:p>
              <a:pPr marL="171450" lvl="1" indent="-171450">
                <a:spcAft>
                  <a:spcPts val="600"/>
                </a:spcAft>
                <a:buClr>
                  <a:schemeClr val="tx1"/>
                </a:buClr>
                <a:buFont typeface="Arial" panose="020B0604020202020204" pitchFamily="34" charset="0"/>
                <a:buChar char="•"/>
                <a:defRPr/>
              </a:pPr>
              <a:r>
                <a:rPr lang="fr-FR" sz="1050">
                  <a:solidFill>
                    <a:schemeClr val="tx1"/>
                  </a:solidFill>
                </a:rPr>
                <a:t>1 réunion avec le Codir pour partager la V0 de l’existant (en présence du Responsable de site)</a:t>
              </a:r>
            </a:p>
            <a:p>
              <a:pPr marL="171450" lvl="1" indent="-171450">
                <a:spcAft>
                  <a:spcPts val="600"/>
                </a:spcAft>
                <a:buClr>
                  <a:schemeClr val="tx1"/>
                </a:buClr>
                <a:buFont typeface="Arial" panose="020B0604020202020204" pitchFamily="34" charset="0"/>
                <a:buChar char="•"/>
                <a:defRPr/>
              </a:pPr>
              <a:r>
                <a:rPr lang="fr-FR" sz="1050">
                  <a:solidFill>
                    <a:schemeClr val="tx1"/>
                  </a:solidFill>
                </a:rPr>
                <a:t>Pour le diagnostic en France, la langue de travail et de restitution est le français. Pour le diagnostic en Espagne, la langue de travail et de restitution est l’anglais. Pour le diagnostic en Italie, la langue de travail est l’italien et la langue de restitution est l’anglais</a:t>
              </a:r>
            </a:p>
            <a:p>
              <a:pPr marL="171450" lvl="1" indent="-171450">
                <a:spcAft>
                  <a:spcPts val="600"/>
                </a:spcAft>
                <a:buClr>
                  <a:schemeClr val="tx1"/>
                </a:buClr>
                <a:buFont typeface="Arial" panose="020B0604020202020204" pitchFamily="34" charset="0"/>
                <a:buChar char="•"/>
                <a:defRPr/>
              </a:pPr>
              <a:r>
                <a:rPr lang="fr-FR" sz="1050">
                  <a:solidFill>
                    <a:schemeClr val="tx1"/>
                  </a:solidFill>
                </a:rPr>
                <a:t>Durée : </a:t>
              </a:r>
              <a:r>
                <a:rPr lang="fr-FR" sz="1000">
                  <a:solidFill>
                    <a:schemeClr val="tx1"/>
                  </a:solidFill>
                </a:rPr>
                <a:t>4,5 semaines pour la France vs 3  pour l’Espagne et 2,5 pour l’Italie, en partant de l’hypothèse que le périmètre à étudier est plus retreint pour ces deux pays</a:t>
              </a:r>
            </a:p>
          </p:txBody>
        </p:sp>
        <p:sp>
          <p:nvSpPr>
            <p:cNvPr id="19" name="Rectangle 18">
              <a:extLst>
                <a:ext uri="{FF2B5EF4-FFF2-40B4-BE49-F238E27FC236}">
                  <a16:creationId xmlns:a16="http://schemas.microsoft.com/office/drawing/2014/main" id="{2919C7B7-E893-CF95-29BA-9D5F3B7828C1}"/>
                </a:ext>
              </a:extLst>
            </p:cNvPr>
            <p:cNvSpPr/>
            <p:nvPr/>
          </p:nvSpPr>
          <p:spPr>
            <a:xfrm>
              <a:off x="9517811" y="954269"/>
              <a:ext cx="2539280" cy="387515"/>
            </a:xfrm>
            <a:prstGeom prst="rect">
              <a:avLst/>
            </a:prstGeom>
            <a:solidFill>
              <a:srgbClr val="006EB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Modalités</a:t>
              </a:r>
              <a:endParaRPr lang="fr-FR" sz="900"/>
            </a:p>
          </p:txBody>
        </p:sp>
      </p:grpSp>
      <p:grpSp>
        <p:nvGrpSpPr>
          <p:cNvPr id="11" name="Groupe 10">
            <a:extLst>
              <a:ext uri="{FF2B5EF4-FFF2-40B4-BE49-F238E27FC236}">
                <a16:creationId xmlns:a16="http://schemas.microsoft.com/office/drawing/2014/main" id="{9C7CABAD-85B9-725B-FC7C-03E6727DD17A}"/>
              </a:ext>
            </a:extLst>
          </p:cNvPr>
          <p:cNvGrpSpPr/>
          <p:nvPr/>
        </p:nvGrpSpPr>
        <p:grpSpPr>
          <a:xfrm>
            <a:off x="385523" y="2863423"/>
            <a:ext cx="2593467" cy="2043252"/>
            <a:chOff x="385523" y="3277495"/>
            <a:chExt cx="2593467" cy="1746494"/>
          </a:xfrm>
        </p:grpSpPr>
        <p:sp>
          <p:nvSpPr>
            <p:cNvPr id="33" name="Rectangle 32">
              <a:extLst>
                <a:ext uri="{FF2B5EF4-FFF2-40B4-BE49-F238E27FC236}">
                  <a16:creationId xmlns:a16="http://schemas.microsoft.com/office/drawing/2014/main" id="{7A064286-2ACC-8408-C2B8-83BB75643094}"/>
                </a:ext>
              </a:extLst>
            </p:cNvPr>
            <p:cNvSpPr/>
            <p:nvPr/>
          </p:nvSpPr>
          <p:spPr>
            <a:xfrm>
              <a:off x="385523" y="3685897"/>
              <a:ext cx="2593467" cy="1338092"/>
            </a:xfrm>
            <a:prstGeom prst="rect">
              <a:avLst/>
            </a:prstGeom>
            <a:solidFill>
              <a:srgbClr val="C5E8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lvl="1" indent="-171450" fontAlgn="base">
                <a:spcAft>
                  <a:spcPts val="600"/>
                </a:spcAft>
                <a:buClr>
                  <a:schemeClr val="tx1"/>
                </a:buClr>
                <a:buFont typeface="Arial" panose="020B0604020202020204" pitchFamily="34" charset="0"/>
                <a:buChar char="•"/>
                <a:defRPr/>
              </a:pPr>
              <a:r>
                <a:rPr lang="fr-FR" sz="1050">
                  <a:solidFill>
                    <a:schemeClr val="tx1"/>
                  </a:solidFill>
                </a:rPr>
                <a:t>Disposer d’un panel d’interlocuteurs représentatifs des différentes parties prenantes</a:t>
              </a:r>
              <a:endParaRPr lang="fr-FR" sz="1050">
                <a:solidFill>
                  <a:schemeClr val="tx1"/>
                </a:solidFill>
                <a:sym typeface="Arial"/>
              </a:endParaRPr>
            </a:p>
            <a:p>
              <a:pPr marL="171450" indent="-171450">
                <a:spcAft>
                  <a:spcPts val="600"/>
                </a:spcAft>
                <a:buClr>
                  <a:schemeClr val="tx1"/>
                </a:buClr>
                <a:buFont typeface="Arial" panose="020B0604020202020204" pitchFamily="34" charset="0"/>
                <a:buChar char="•"/>
              </a:pPr>
              <a:r>
                <a:rPr lang="fr-FR" sz="1050">
                  <a:solidFill>
                    <a:schemeClr val="tx1"/>
                  </a:solidFill>
                </a:rPr>
                <a:t>Disponibilité des ressources documentaires demandées pendant le cadrage</a:t>
              </a:r>
            </a:p>
          </p:txBody>
        </p:sp>
        <p:sp>
          <p:nvSpPr>
            <p:cNvPr id="38" name="Rectangle 37">
              <a:extLst>
                <a:ext uri="{FF2B5EF4-FFF2-40B4-BE49-F238E27FC236}">
                  <a16:creationId xmlns:a16="http://schemas.microsoft.com/office/drawing/2014/main" id="{B39395E4-28F0-BDD2-0069-AD0984A16A96}"/>
                </a:ext>
              </a:extLst>
            </p:cNvPr>
            <p:cNvSpPr/>
            <p:nvPr/>
          </p:nvSpPr>
          <p:spPr>
            <a:xfrm>
              <a:off x="385523" y="3277495"/>
              <a:ext cx="2593467" cy="369257"/>
            </a:xfrm>
            <a:prstGeom prst="rect">
              <a:avLst/>
            </a:prstGeom>
            <a:solidFill>
              <a:srgbClr val="006EB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Prérequis</a:t>
              </a:r>
              <a:endParaRPr lang="fr-FR" sz="900"/>
            </a:p>
          </p:txBody>
        </p:sp>
      </p:grpSp>
      <p:grpSp>
        <p:nvGrpSpPr>
          <p:cNvPr id="14" name="Groupe 13">
            <a:extLst>
              <a:ext uri="{FF2B5EF4-FFF2-40B4-BE49-F238E27FC236}">
                <a16:creationId xmlns:a16="http://schemas.microsoft.com/office/drawing/2014/main" id="{E4069771-A32A-EC0F-B433-AD1F41F55C7A}"/>
              </a:ext>
            </a:extLst>
          </p:cNvPr>
          <p:cNvGrpSpPr/>
          <p:nvPr/>
        </p:nvGrpSpPr>
        <p:grpSpPr>
          <a:xfrm>
            <a:off x="385524" y="5007914"/>
            <a:ext cx="2593466" cy="1529861"/>
            <a:chOff x="385524" y="4818131"/>
            <a:chExt cx="2593466" cy="1529861"/>
          </a:xfrm>
        </p:grpSpPr>
        <p:sp>
          <p:nvSpPr>
            <p:cNvPr id="3" name="Rectangle 2">
              <a:extLst>
                <a:ext uri="{FF2B5EF4-FFF2-40B4-BE49-F238E27FC236}">
                  <a16:creationId xmlns:a16="http://schemas.microsoft.com/office/drawing/2014/main" id="{667C8A85-8CD5-181E-1B44-9BED4BC58ECF}"/>
                </a:ext>
              </a:extLst>
            </p:cNvPr>
            <p:cNvSpPr/>
            <p:nvPr/>
          </p:nvSpPr>
          <p:spPr>
            <a:xfrm>
              <a:off x="390835" y="5203478"/>
              <a:ext cx="2588155" cy="1144514"/>
            </a:xfrm>
            <a:prstGeom prst="rect">
              <a:avLst/>
            </a:prstGeom>
            <a:solidFill>
              <a:srgbClr val="C5E8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lvl="1" indent="-171450" fontAlgn="base">
                <a:spcAft>
                  <a:spcPts val="600"/>
                </a:spcAft>
                <a:buClr>
                  <a:schemeClr val="tx1"/>
                </a:buClr>
                <a:buFont typeface="Arial" panose="020B0604020202020204" pitchFamily="34" charset="0"/>
                <a:buChar char="•"/>
                <a:defRPr/>
              </a:pPr>
              <a:r>
                <a:rPr lang="fr-FR" sz="1050">
                  <a:solidFill>
                    <a:schemeClr val="tx1"/>
                  </a:solidFill>
                </a:rPr>
                <a:t>Implication et disponibilité des ressources clés </a:t>
              </a:r>
              <a:r>
                <a:rPr lang="fr-FR" sz="1050">
                  <a:solidFill>
                    <a:schemeClr val="tx1"/>
                  </a:solidFill>
                  <a:sym typeface="Wingdings" panose="05000000000000000000" pitchFamily="2" charset="2"/>
                </a:rPr>
                <a:t>l</a:t>
              </a:r>
              <a:r>
                <a:rPr lang="fr-FR" sz="1050">
                  <a:solidFill>
                    <a:schemeClr val="tx1"/>
                  </a:solidFill>
                </a:rPr>
                <a:t>ibérer les agendas</a:t>
              </a:r>
            </a:p>
            <a:p>
              <a:pPr marL="171450" lvl="1" indent="-171450" fontAlgn="base">
                <a:spcAft>
                  <a:spcPts val="600"/>
                </a:spcAft>
                <a:buClr>
                  <a:schemeClr val="tx1"/>
                </a:buClr>
                <a:buFont typeface="Arial" panose="020B0604020202020204" pitchFamily="34" charset="0"/>
                <a:buChar char="•"/>
                <a:defRPr/>
              </a:pPr>
              <a:r>
                <a:rPr lang="fr-FR" sz="1050">
                  <a:solidFill>
                    <a:schemeClr val="tx1"/>
                  </a:solidFill>
                  <a:sym typeface="Arial"/>
                </a:rPr>
                <a:t>Analyse factuelle de l’existant</a:t>
              </a:r>
              <a:endParaRPr lang="fr-FR" sz="1050">
                <a:solidFill>
                  <a:schemeClr val="tx1"/>
                </a:solidFill>
              </a:endParaRPr>
            </a:p>
            <a:p>
              <a:pPr marL="171450" lvl="1" indent="-171450" fontAlgn="base">
                <a:spcAft>
                  <a:spcPts val="600"/>
                </a:spcAft>
                <a:buClr>
                  <a:schemeClr val="tx1"/>
                </a:buClr>
                <a:buFont typeface="Arial" panose="020B0604020202020204" pitchFamily="34" charset="0"/>
                <a:buChar char="•"/>
                <a:defRPr/>
              </a:pPr>
              <a:r>
                <a:rPr lang="fr-FR" sz="1050">
                  <a:solidFill>
                    <a:schemeClr val="tx1"/>
                  </a:solidFill>
                </a:rPr>
                <a:t>Identification rapide des points clés</a:t>
              </a:r>
            </a:p>
          </p:txBody>
        </p:sp>
        <p:sp>
          <p:nvSpPr>
            <p:cNvPr id="8" name="Rectangle 7">
              <a:extLst>
                <a:ext uri="{FF2B5EF4-FFF2-40B4-BE49-F238E27FC236}">
                  <a16:creationId xmlns:a16="http://schemas.microsoft.com/office/drawing/2014/main" id="{DE545888-F0D1-9B72-F95E-9BE644FB71DD}"/>
                </a:ext>
              </a:extLst>
            </p:cNvPr>
            <p:cNvSpPr/>
            <p:nvPr/>
          </p:nvSpPr>
          <p:spPr>
            <a:xfrm>
              <a:off x="385524" y="4818131"/>
              <a:ext cx="2588155" cy="424593"/>
            </a:xfrm>
            <a:prstGeom prst="rect">
              <a:avLst/>
            </a:prstGeom>
            <a:solidFill>
              <a:srgbClr val="006EB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Points clefs</a:t>
              </a:r>
              <a:endParaRPr lang="fr-FR" sz="900"/>
            </a:p>
          </p:txBody>
        </p:sp>
        <p:pic>
          <p:nvPicPr>
            <p:cNvPr id="29" name="Graphique 28" descr="Avertissement avec un remplissage uni">
              <a:extLst>
                <a:ext uri="{FF2B5EF4-FFF2-40B4-BE49-F238E27FC236}">
                  <a16:creationId xmlns:a16="http://schemas.microsoft.com/office/drawing/2014/main" id="{A8095A6A-1248-5614-C52C-7A5FEF182E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1448" y="4852962"/>
              <a:ext cx="354930" cy="354930"/>
            </a:xfrm>
            <a:prstGeom prst="rect">
              <a:avLst/>
            </a:prstGeom>
          </p:spPr>
        </p:pic>
      </p:grpSp>
      <p:pic>
        <p:nvPicPr>
          <p:cNvPr id="16" name="Graphique 15" descr="Engrenages avec un remplissage uni">
            <a:extLst>
              <a:ext uri="{FF2B5EF4-FFF2-40B4-BE49-F238E27FC236}">
                <a16:creationId xmlns:a16="http://schemas.microsoft.com/office/drawing/2014/main" id="{AAEFF45A-7C30-570B-777B-84E6E0CEC8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64418" y="1020512"/>
            <a:ext cx="360031" cy="360031"/>
          </a:xfrm>
          <a:prstGeom prst="rect">
            <a:avLst/>
          </a:prstGeom>
        </p:spPr>
      </p:pic>
      <p:pic>
        <p:nvPicPr>
          <p:cNvPr id="23" name="Graphique 22" descr="Cible avec un remplissage uni">
            <a:extLst>
              <a:ext uri="{FF2B5EF4-FFF2-40B4-BE49-F238E27FC236}">
                <a16:creationId xmlns:a16="http://schemas.microsoft.com/office/drawing/2014/main" id="{E8F8225A-CC3C-6B0E-B9D1-38066DE0938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1447" y="946795"/>
            <a:ext cx="354931" cy="354931"/>
          </a:xfrm>
          <a:prstGeom prst="rect">
            <a:avLst/>
          </a:prstGeom>
        </p:spPr>
      </p:pic>
      <p:pic>
        <p:nvPicPr>
          <p:cNvPr id="24" name="Graphique 23" descr="Badge Tick1 avec un remplissage uni">
            <a:extLst>
              <a:ext uri="{FF2B5EF4-FFF2-40B4-BE49-F238E27FC236}">
                <a16:creationId xmlns:a16="http://schemas.microsoft.com/office/drawing/2014/main" id="{E788CB7D-8539-3557-3653-54B83FFAB9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1446" y="2901957"/>
            <a:ext cx="354931" cy="354931"/>
          </a:xfrm>
          <a:prstGeom prst="rect">
            <a:avLst/>
          </a:prstGeom>
        </p:spPr>
      </p:pic>
      <p:pic>
        <p:nvPicPr>
          <p:cNvPr id="36" name="Picture 6" descr="United kingdom ">
            <a:extLst>
              <a:ext uri="{FF2B5EF4-FFF2-40B4-BE49-F238E27FC236}">
                <a16:creationId xmlns:a16="http://schemas.microsoft.com/office/drawing/2014/main" id="{B9775266-8DCD-FD3E-3AED-2EBE183D462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595967" y="4960667"/>
            <a:ext cx="306000" cy="3060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France ">
            <a:extLst>
              <a:ext uri="{FF2B5EF4-FFF2-40B4-BE49-F238E27FC236}">
                <a16:creationId xmlns:a16="http://schemas.microsoft.com/office/drawing/2014/main" id="{43BAABDC-D51E-3147-E1B6-6A8DA166243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134065" y="4960667"/>
            <a:ext cx="306000" cy="30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6205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re 29">
            <a:extLst>
              <a:ext uri="{FF2B5EF4-FFF2-40B4-BE49-F238E27FC236}">
                <a16:creationId xmlns:a16="http://schemas.microsoft.com/office/drawing/2014/main" id="{DBD249CB-1B79-62D3-6E21-2EBC4695B0F7}"/>
              </a:ext>
            </a:extLst>
          </p:cNvPr>
          <p:cNvSpPr>
            <a:spLocks noGrp="1"/>
          </p:cNvSpPr>
          <p:nvPr>
            <p:ph type="title"/>
          </p:nvPr>
        </p:nvSpPr>
        <p:spPr>
          <a:xfrm>
            <a:off x="396655" y="217390"/>
            <a:ext cx="9907072" cy="407795"/>
          </a:xfrm>
          <a:solidFill>
            <a:schemeClr val="bg1"/>
          </a:solidFill>
        </p:spPr>
        <p:txBody>
          <a:bodyPr/>
          <a:lstStyle/>
          <a:p>
            <a:r>
              <a:rPr lang="fr-FR" sz="1800">
                <a:solidFill>
                  <a:schemeClr val="bg2"/>
                </a:solidFill>
                <a:latin typeface="Arial Black"/>
              </a:rPr>
              <a:t>2. RÉALISATION DU DIAGNOSTIC</a:t>
            </a:r>
          </a:p>
        </p:txBody>
      </p:sp>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12" name="Rectangle 4">
            <a:extLst>
              <a:ext uri="{FF2B5EF4-FFF2-40B4-BE49-F238E27FC236}">
                <a16:creationId xmlns:a16="http://schemas.microsoft.com/office/drawing/2014/main" id="{A69472D7-2493-2CA6-688C-D454739D34D4}"/>
              </a:ext>
            </a:extLst>
          </p:cNvPr>
          <p:cNvSpPr>
            <a:spLocks noChangeArrowheads="1"/>
          </p:cNvSpPr>
          <p:nvPr/>
        </p:nvSpPr>
        <p:spPr bwMode="blackWhite">
          <a:xfrm>
            <a:off x="651906" y="913713"/>
            <a:ext cx="9738744" cy="215444"/>
          </a:xfrm>
          <a:prstGeom prst="rect">
            <a:avLst/>
          </a:prstGeom>
          <a:noFill/>
          <a:ln w="9525">
            <a:noFill/>
            <a:miter lim="800000"/>
            <a:headEnd/>
            <a:tailEnd/>
          </a:ln>
        </p:spPr>
        <p:txBody>
          <a:bodyPr wrap="square" lIns="3807" tIns="0" rIns="3807" bIns="0" anchor="b">
            <a:spAutoFit/>
          </a:bodyPr>
          <a:lstStyle/>
          <a:p>
            <a:pPr defTabSz="883035">
              <a:buSzPct val="120000"/>
              <a:defRPr/>
            </a:pPr>
            <a:r>
              <a:rPr lang="fr-FR" altLang="ko-KR" sz="1400" b="1">
                <a:solidFill>
                  <a:srgbClr val="006EB7"/>
                </a:solidFill>
                <a:latin typeface="+mj-lt"/>
                <a:ea typeface="맑은 고딕" panose="020B0503020000020004" pitchFamily="34" charset="-127"/>
                <a:cs typeface="Arial" panose="020B0604020202020204" pitchFamily="34" charset="0"/>
                <a:sym typeface="Arial"/>
              </a:rPr>
              <a:t>Illustrations de structure du « kit de diagnostic »</a:t>
            </a:r>
            <a:endParaRPr lang="fr-FR" altLang="ko-KR" sz="1400" b="1">
              <a:solidFill>
                <a:srgbClr val="006EB7"/>
              </a:solidFill>
              <a:highlight>
                <a:srgbClr val="FFFF00"/>
              </a:highlight>
              <a:latin typeface="+mj-lt"/>
              <a:ea typeface="맑은 고딕" panose="020B0503020000020004" pitchFamily="34" charset="-127"/>
              <a:cs typeface="Arial" panose="020B0604020202020204" pitchFamily="34" charset="0"/>
              <a:sym typeface="Arial"/>
            </a:endParaRPr>
          </a:p>
        </p:txBody>
      </p:sp>
      <p:sp>
        <p:nvSpPr>
          <p:cNvPr id="13" name="Line 5">
            <a:extLst>
              <a:ext uri="{FF2B5EF4-FFF2-40B4-BE49-F238E27FC236}">
                <a16:creationId xmlns:a16="http://schemas.microsoft.com/office/drawing/2014/main" id="{60144A62-D7A0-7B1B-0A70-C0D515E9FA51}"/>
              </a:ext>
            </a:extLst>
          </p:cNvPr>
          <p:cNvSpPr>
            <a:spLocks noChangeShapeType="1"/>
          </p:cNvSpPr>
          <p:nvPr/>
        </p:nvSpPr>
        <p:spPr bwMode="blackWhite">
          <a:xfrm>
            <a:off x="569185" y="1184800"/>
            <a:ext cx="10224000" cy="0"/>
          </a:xfrm>
          <a:prstGeom prst="line">
            <a:avLst/>
          </a:prstGeom>
          <a:noFill/>
          <a:ln w="12700">
            <a:solidFill>
              <a:srgbClr val="006EB7"/>
            </a:solidFill>
            <a:round/>
            <a:headEnd/>
            <a:tailEnd/>
          </a:ln>
        </p:spPr>
        <p:txBody>
          <a:bodyPr wrap="none" lIns="67677" tIns="33824" rIns="67677" bIns="33824" anchor="ctr"/>
          <a:lstStyle/>
          <a:p>
            <a:pPr marL="0" marR="0" lvl="0" indent="0" algn="l" defTabSz="652790" rtl="0" eaLnBrk="1" fontAlgn="auto" latinLnBrk="0" hangingPunct="1">
              <a:lnSpc>
                <a:spcPct val="100000"/>
              </a:lnSpc>
              <a:spcBef>
                <a:spcPts val="0"/>
              </a:spcBef>
              <a:spcAft>
                <a:spcPts val="0"/>
              </a:spcAft>
              <a:buClrTx/>
              <a:buSzTx/>
              <a:buFontTx/>
              <a:buNone/>
              <a:tabLst/>
              <a:defRPr/>
            </a:pPr>
            <a:endParaRPr kumimoji="0" lang="fr-FR" sz="2400" b="1" i="0" u="none" strike="noStrike" kern="0" cap="none" spc="0" normalizeH="0" baseline="0" noProof="0">
              <a:ln>
                <a:noFill/>
              </a:ln>
              <a:solidFill>
                <a:prstClr val="black"/>
              </a:solidFill>
              <a:effectLst/>
              <a:uLnTx/>
              <a:uFillTx/>
              <a:latin typeface="Calibri" panose="020F0502020204030204"/>
              <a:ea typeface="+mn-ea"/>
              <a:cs typeface="Arial" charset="0"/>
              <a:sym typeface="Arial"/>
            </a:endParaRPr>
          </a:p>
        </p:txBody>
      </p:sp>
      <p:sp>
        <p:nvSpPr>
          <p:cNvPr id="2" name="Rectangle 1">
            <a:extLst>
              <a:ext uri="{FF2B5EF4-FFF2-40B4-BE49-F238E27FC236}">
                <a16:creationId xmlns:a16="http://schemas.microsoft.com/office/drawing/2014/main" id="{BF857A13-9B21-9D08-5BCE-9F6F794662F3}"/>
              </a:ext>
            </a:extLst>
          </p:cNvPr>
          <p:cNvSpPr/>
          <p:nvPr/>
        </p:nvSpPr>
        <p:spPr>
          <a:xfrm>
            <a:off x="1390251" y="1295442"/>
            <a:ext cx="31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200" b="1">
                <a:solidFill>
                  <a:schemeClr val="accent4"/>
                </a:solidFill>
              </a:rPr>
              <a:t>#</a:t>
            </a:r>
            <a:r>
              <a:rPr lang="fr-FR" sz="1600" b="1">
                <a:solidFill>
                  <a:schemeClr val="accent4"/>
                </a:solidFill>
              </a:rPr>
              <a:t>1 </a:t>
            </a:r>
            <a:r>
              <a:rPr lang="fr-FR" sz="1200" b="1">
                <a:solidFill>
                  <a:schemeClr val="accent4"/>
                </a:solidFill>
              </a:rPr>
              <a:t>Checklist de documents à apporter</a:t>
            </a:r>
          </a:p>
        </p:txBody>
      </p:sp>
      <p:sp>
        <p:nvSpPr>
          <p:cNvPr id="3" name="Rectangle 2">
            <a:extLst>
              <a:ext uri="{FF2B5EF4-FFF2-40B4-BE49-F238E27FC236}">
                <a16:creationId xmlns:a16="http://schemas.microsoft.com/office/drawing/2014/main" id="{CD2C8806-76FD-0C48-E7CE-AAACEF057CA1}"/>
              </a:ext>
            </a:extLst>
          </p:cNvPr>
          <p:cNvSpPr/>
          <p:nvPr/>
        </p:nvSpPr>
        <p:spPr>
          <a:xfrm>
            <a:off x="7699750" y="1347260"/>
            <a:ext cx="31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a:solidFill>
                  <a:schemeClr val="accent2"/>
                </a:solidFill>
              </a:rPr>
              <a:t>#</a:t>
            </a:r>
            <a:r>
              <a:rPr lang="fr-FR" sz="1600" b="1">
                <a:solidFill>
                  <a:schemeClr val="accent2"/>
                </a:solidFill>
              </a:rPr>
              <a:t>2 </a:t>
            </a:r>
            <a:r>
              <a:rPr lang="fr-FR" sz="1200" b="1">
                <a:solidFill>
                  <a:schemeClr val="accent2"/>
                </a:solidFill>
              </a:rPr>
              <a:t>Grille d’entretien </a:t>
            </a:r>
          </a:p>
        </p:txBody>
      </p:sp>
      <p:sp>
        <p:nvSpPr>
          <p:cNvPr id="4" name="Rectangle 3">
            <a:extLst>
              <a:ext uri="{FF2B5EF4-FFF2-40B4-BE49-F238E27FC236}">
                <a16:creationId xmlns:a16="http://schemas.microsoft.com/office/drawing/2014/main" id="{2C16A74B-6324-D090-A7CB-C426DA64F2FC}"/>
              </a:ext>
            </a:extLst>
          </p:cNvPr>
          <p:cNvSpPr/>
          <p:nvPr/>
        </p:nvSpPr>
        <p:spPr>
          <a:xfrm>
            <a:off x="1041511" y="3750382"/>
            <a:ext cx="316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fr-FR" sz="1200" b="1">
                <a:solidFill>
                  <a:schemeClr val="accent1"/>
                </a:solidFill>
              </a:rPr>
              <a:t>#</a:t>
            </a:r>
            <a:r>
              <a:rPr lang="fr-FR" sz="1600" b="1">
                <a:solidFill>
                  <a:schemeClr val="accent1"/>
                </a:solidFill>
              </a:rPr>
              <a:t>4 </a:t>
            </a:r>
            <a:r>
              <a:rPr lang="fr-FR" sz="1200" b="1">
                <a:solidFill>
                  <a:schemeClr val="accent1"/>
                </a:solidFill>
              </a:rPr>
              <a:t>Supports d’analyses &amp; restitution</a:t>
            </a:r>
          </a:p>
        </p:txBody>
      </p:sp>
      <p:sp>
        <p:nvSpPr>
          <p:cNvPr id="5" name="Rectangle 4">
            <a:extLst>
              <a:ext uri="{FF2B5EF4-FFF2-40B4-BE49-F238E27FC236}">
                <a16:creationId xmlns:a16="http://schemas.microsoft.com/office/drawing/2014/main" id="{BB2F53DE-CA86-D804-EE23-B3CF4B0C5E76}"/>
              </a:ext>
            </a:extLst>
          </p:cNvPr>
          <p:cNvSpPr/>
          <p:nvPr/>
        </p:nvSpPr>
        <p:spPr>
          <a:xfrm>
            <a:off x="7699750" y="3750382"/>
            <a:ext cx="39779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200" b="1">
                <a:solidFill>
                  <a:schemeClr val="accent6"/>
                </a:solidFill>
              </a:rPr>
              <a:t>#</a:t>
            </a:r>
            <a:r>
              <a:rPr lang="fr-FR" sz="1600" b="1">
                <a:solidFill>
                  <a:schemeClr val="accent6"/>
                </a:solidFill>
              </a:rPr>
              <a:t>3 </a:t>
            </a:r>
            <a:r>
              <a:rPr lang="fr-FR" sz="1200" b="1">
                <a:solidFill>
                  <a:schemeClr val="accent6"/>
                </a:solidFill>
              </a:rPr>
              <a:t>Supports d’animation ateliers et livrables types</a:t>
            </a:r>
          </a:p>
        </p:txBody>
      </p:sp>
      <p:pic>
        <p:nvPicPr>
          <p:cNvPr id="6" name="Image 5">
            <a:extLst>
              <a:ext uri="{FF2B5EF4-FFF2-40B4-BE49-F238E27FC236}">
                <a16:creationId xmlns:a16="http://schemas.microsoft.com/office/drawing/2014/main" id="{042CE5C4-7EE3-9845-EF71-0AED3AA53166}"/>
              </a:ext>
            </a:extLst>
          </p:cNvPr>
          <p:cNvPicPr>
            <a:picLocks noChangeAspect="1"/>
          </p:cNvPicPr>
          <p:nvPr/>
        </p:nvPicPr>
        <p:blipFill>
          <a:blip r:embed="rId3"/>
          <a:stretch>
            <a:fillRect/>
          </a:stretch>
        </p:blipFill>
        <p:spPr>
          <a:xfrm>
            <a:off x="9591399" y="2334655"/>
            <a:ext cx="2466415" cy="1102413"/>
          </a:xfrm>
          <a:prstGeom prst="rect">
            <a:avLst/>
          </a:prstGeom>
        </p:spPr>
      </p:pic>
      <p:sp>
        <p:nvSpPr>
          <p:cNvPr id="7" name="Rectangle 6">
            <a:extLst>
              <a:ext uri="{FF2B5EF4-FFF2-40B4-BE49-F238E27FC236}">
                <a16:creationId xmlns:a16="http://schemas.microsoft.com/office/drawing/2014/main" id="{81245684-CB42-C707-9FDE-D172B55AFB51}"/>
              </a:ext>
            </a:extLst>
          </p:cNvPr>
          <p:cNvSpPr/>
          <p:nvPr/>
        </p:nvSpPr>
        <p:spPr>
          <a:xfrm>
            <a:off x="9749918" y="2052783"/>
            <a:ext cx="2346256" cy="351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100" i="1">
                <a:solidFill>
                  <a:schemeClr val="accent2"/>
                </a:solidFill>
              </a:rPr>
              <a:t>Questions fermées / notations</a:t>
            </a:r>
          </a:p>
        </p:txBody>
      </p:sp>
      <p:sp>
        <p:nvSpPr>
          <p:cNvPr id="8" name="Rectangle 7">
            <a:extLst>
              <a:ext uri="{FF2B5EF4-FFF2-40B4-BE49-F238E27FC236}">
                <a16:creationId xmlns:a16="http://schemas.microsoft.com/office/drawing/2014/main" id="{726EBE60-6DE4-5564-5AE0-ACBBA72D891C}"/>
              </a:ext>
            </a:extLst>
          </p:cNvPr>
          <p:cNvSpPr/>
          <p:nvPr/>
        </p:nvSpPr>
        <p:spPr>
          <a:xfrm>
            <a:off x="7223782" y="1603777"/>
            <a:ext cx="2095852" cy="272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r"/>
            <a:r>
              <a:rPr lang="fr-FR" sz="1100" i="1">
                <a:solidFill>
                  <a:schemeClr val="accent2"/>
                </a:solidFill>
              </a:rPr>
              <a:t>Questions ouvertes</a:t>
            </a:r>
            <a:endParaRPr lang="fr-FR" sz="1100" i="1">
              <a:solidFill>
                <a:schemeClr val="accent2"/>
              </a:solidFill>
              <a:cs typeface="Arial"/>
            </a:endParaRPr>
          </a:p>
        </p:txBody>
      </p:sp>
      <p:sp>
        <p:nvSpPr>
          <p:cNvPr id="11" name="Rectangle 10">
            <a:extLst>
              <a:ext uri="{FF2B5EF4-FFF2-40B4-BE49-F238E27FC236}">
                <a16:creationId xmlns:a16="http://schemas.microsoft.com/office/drawing/2014/main" id="{0D3969C1-1754-9C82-D6F6-EA2081A7C97C}"/>
              </a:ext>
            </a:extLst>
          </p:cNvPr>
          <p:cNvSpPr/>
          <p:nvPr/>
        </p:nvSpPr>
        <p:spPr>
          <a:xfrm>
            <a:off x="7642556" y="4190338"/>
            <a:ext cx="2555292" cy="299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accent6"/>
                </a:solidFill>
              </a:rPr>
              <a:t>Atelier #1 – Processus &amp; dysfonctionnements</a:t>
            </a:r>
          </a:p>
        </p:txBody>
      </p:sp>
      <p:sp>
        <p:nvSpPr>
          <p:cNvPr id="15" name="Rectangle 14">
            <a:extLst>
              <a:ext uri="{FF2B5EF4-FFF2-40B4-BE49-F238E27FC236}">
                <a16:creationId xmlns:a16="http://schemas.microsoft.com/office/drawing/2014/main" id="{0FBC5C26-9AFF-3C81-E825-1A9E300C8CE3}"/>
              </a:ext>
            </a:extLst>
          </p:cNvPr>
          <p:cNvSpPr/>
          <p:nvPr/>
        </p:nvSpPr>
        <p:spPr>
          <a:xfrm>
            <a:off x="9544769" y="5145479"/>
            <a:ext cx="2037631" cy="299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accent6"/>
                </a:solidFill>
              </a:rPr>
              <a:t>Atelier #2 – Causes Racines</a:t>
            </a:r>
          </a:p>
        </p:txBody>
      </p:sp>
      <p:sp>
        <p:nvSpPr>
          <p:cNvPr id="16" name="Rectangle 15">
            <a:extLst>
              <a:ext uri="{FF2B5EF4-FFF2-40B4-BE49-F238E27FC236}">
                <a16:creationId xmlns:a16="http://schemas.microsoft.com/office/drawing/2014/main" id="{987CCA58-6F77-73EE-D619-990A9747F4C6}"/>
              </a:ext>
            </a:extLst>
          </p:cNvPr>
          <p:cNvSpPr/>
          <p:nvPr/>
        </p:nvSpPr>
        <p:spPr>
          <a:xfrm>
            <a:off x="2756309" y="4413019"/>
            <a:ext cx="2495016" cy="275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accent2"/>
                </a:solidFill>
              </a:rPr>
              <a:t>Matrice de priorisation</a:t>
            </a:r>
          </a:p>
        </p:txBody>
      </p:sp>
      <p:pic>
        <p:nvPicPr>
          <p:cNvPr id="17" name="Picture 71">
            <a:extLst>
              <a:ext uri="{FF2B5EF4-FFF2-40B4-BE49-F238E27FC236}">
                <a16:creationId xmlns:a16="http://schemas.microsoft.com/office/drawing/2014/main" id="{CCC1284C-1A3E-2789-E43E-E33D730481CF}"/>
              </a:ext>
            </a:extLst>
          </p:cNvPr>
          <p:cNvPicPr>
            <a:picLocks/>
          </p:cNvPicPr>
          <p:nvPr/>
        </p:nvPicPr>
        <p:blipFill>
          <a:blip r:embed="rId4">
            <a:duotone>
              <a:schemeClr val="accent2">
                <a:shade val="45000"/>
                <a:satMod val="135000"/>
              </a:schemeClr>
              <a:prstClr val="white"/>
            </a:duotone>
          </a:blip>
          <a:stretch>
            <a:fillRect/>
          </a:stretch>
        </p:blipFill>
        <p:spPr>
          <a:xfrm>
            <a:off x="1072002" y="4268726"/>
            <a:ext cx="1654334" cy="995469"/>
          </a:xfrm>
          <a:prstGeom prst="rect">
            <a:avLst/>
          </a:prstGeom>
          <a:effectLst>
            <a:outerShdw blurRad="50800" dist="38100" dir="2700000" algn="tl" rotWithShape="0">
              <a:prstClr val="black">
                <a:alpha val="40000"/>
              </a:prstClr>
            </a:outerShdw>
          </a:effectLst>
        </p:spPr>
      </p:pic>
      <p:sp>
        <p:nvSpPr>
          <p:cNvPr id="18" name="Rectangle 17">
            <a:extLst>
              <a:ext uri="{FF2B5EF4-FFF2-40B4-BE49-F238E27FC236}">
                <a16:creationId xmlns:a16="http://schemas.microsoft.com/office/drawing/2014/main" id="{04A2156D-3519-BD73-95A4-651804F74F58}"/>
              </a:ext>
            </a:extLst>
          </p:cNvPr>
          <p:cNvSpPr/>
          <p:nvPr/>
        </p:nvSpPr>
        <p:spPr>
          <a:xfrm>
            <a:off x="877328" y="4005745"/>
            <a:ext cx="2495016" cy="275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accent1"/>
                </a:solidFill>
              </a:rPr>
              <a:t>Cartographie enjeux / risques</a:t>
            </a:r>
          </a:p>
        </p:txBody>
      </p:sp>
      <p:sp>
        <p:nvSpPr>
          <p:cNvPr id="19" name="Rectangle 18">
            <a:extLst>
              <a:ext uri="{FF2B5EF4-FFF2-40B4-BE49-F238E27FC236}">
                <a16:creationId xmlns:a16="http://schemas.microsoft.com/office/drawing/2014/main" id="{7E21368D-4C55-A6A6-9BFD-F0DE40746AA3}"/>
              </a:ext>
            </a:extLst>
          </p:cNvPr>
          <p:cNvSpPr/>
          <p:nvPr/>
        </p:nvSpPr>
        <p:spPr>
          <a:xfrm>
            <a:off x="1175498" y="5236698"/>
            <a:ext cx="2030946" cy="341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accent1"/>
                </a:solidFill>
              </a:rPr>
              <a:t>Constats mis en perspective</a:t>
            </a:r>
          </a:p>
        </p:txBody>
      </p:sp>
      <p:graphicFrame>
        <p:nvGraphicFramePr>
          <p:cNvPr id="20" name="Tableau 19">
            <a:extLst>
              <a:ext uri="{FF2B5EF4-FFF2-40B4-BE49-F238E27FC236}">
                <a16:creationId xmlns:a16="http://schemas.microsoft.com/office/drawing/2014/main" id="{22B2804A-82C6-1CDD-196B-E04860297200}"/>
              </a:ext>
            </a:extLst>
          </p:cNvPr>
          <p:cNvGraphicFramePr>
            <a:graphicFrameLocks noGrp="1"/>
          </p:cNvGraphicFramePr>
          <p:nvPr/>
        </p:nvGraphicFramePr>
        <p:xfrm>
          <a:off x="2657273" y="1747082"/>
          <a:ext cx="1402375" cy="1651000"/>
        </p:xfrm>
        <a:graphic>
          <a:graphicData uri="http://schemas.openxmlformats.org/drawingml/2006/table">
            <a:tbl>
              <a:tblPr/>
              <a:tblGrid>
                <a:gridCol w="144482">
                  <a:extLst>
                    <a:ext uri="{9D8B030D-6E8A-4147-A177-3AD203B41FA5}">
                      <a16:colId xmlns:a16="http://schemas.microsoft.com/office/drawing/2014/main" val="4112818562"/>
                    </a:ext>
                  </a:extLst>
                </a:gridCol>
                <a:gridCol w="1257893">
                  <a:extLst>
                    <a:ext uri="{9D8B030D-6E8A-4147-A177-3AD203B41FA5}">
                      <a16:colId xmlns:a16="http://schemas.microsoft.com/office/drawing/2014/main" val="2855046326"/>
                    </a:ext>
                  </a:extLst>
                </a:gridCol>
              </a:tblGrid>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83ACBD"/>
                    </a:solidFill>
                  </a:tcPr>
                </a:tc>
                <a:tc>
                  <a:txBody>
                    <a:bodyPr/>
                    <a:lstStyle/>
                    <a:p>
                      <a:pPr algn="l" fontAlgn="b"/>
                      <a:r>
                        <a:rPr lang="fr-FR" sz="500" b="1" i="0" u="none" strike="noStrike">
                          <a:solidFill>
                            <a:srgbClr val="000000"/>
                          </a:solidFill>
                          <a:effectLst/>
                          <a:latin typeface="Arial" panose="020B0604020202020204" pitchFamily="34" charset="0"/>
                        </a:rPr>
                        <a:t>Performance</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83ACBD"/>
                    </a:solidFill>
                  </a:tcPr>
                </a:tc>
                <a:extLst>
                  <a:ext uri="{0D108BD9-81ED-4DB2-BD59-A6C34878D82A}">
                    <a16:rowId xmlns:a16="http://schemas.microsoft.com/office/drawing/2014/main" val="183243542"/>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Tableaux de bord</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910775665"/>
                  </a:ext>
                </a:extLst>
              </a:tr>
              <a:tr h="0">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Autres outils de pilotage</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18633364"/>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Gouvernance &amp; comitologie</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11492250"/>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83ACBD"/>
                    </a:solidFill>
                  </a:tcPr>
                </a:tc>
                <a:tc>
                  <a:txBody>
                    <a:bodyPr/>
                    <a:lstStyle/>
                    <a:p>
                      <a:pPr algn="l" fontAlgn="b"/>
                      <a:r>
                        <a:rPr lang="fr-FR" sz="500" b="1" i="0" u="none" strike="noStrike">
                          <a:solidFill>
                            <a:srgbClr val="000000"/>
                          </a:solidFill>
                          <a:effectLst/>
                          <a:latin typeface="Arial" panose="020B0604020202020204" pitchFamily="34" charset="0"/>
                        </a:rPr>
                        <a:t>Modèle opérationnel</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83ACBD"/>
                    </a:solidFill>
                  </a:tcPr>
                </a:tc>
                <a:extLst>
                  <a:ext uri="{0D108BD9-81ED-4DB2-BD59-A6C34878D82A}">
                    <a16:rowId xmlns:a16="http://schemas.microsoft.com/office/drawing/2014/main" val="1321351012"/>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Cartographie des processus</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87993031"/>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Processus métiers / guides procédures</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339148951"/>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Analyse / diagnostic sur le domaine</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501758736"/>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Analyse satisfaction client</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040131765"/>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Parcours clients</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700622090"/>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Automatisation</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38684592"/>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Politique de remboursement LCB-FT</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250383443"/>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Projet de directions</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19209061"/>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83ACBD"/>
                    </a:solidFill>
                  </a:tcPr>
                </a:tc>
                <a:tc>
                  <a:txBody>
                    <a:bodyPr/>
                    <a:lstStyle/>
                    <a:p>
                      <a:pPr algn="l" fontAlgn="b"/>
                      <a:r>
                        <a:rPr lang="fr-FR" sz="500" b="1" i="0" u="none" strike="noStrike">
                          <a:solidFill>
                            <a:srgbClr val="000000"/>
                          </a:solidFill>
                          <a:effectLst/>
                          <a:latin typeface="Arial" panose="020B0604020202020204" pitchFamily="34" charset="0"/>
                        </a:rPr>
                        <a:t>Collaborateur</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83ACBD"/>
                    </a:solidFill>
                  </a:tcPr>
                </a:tc>
                <a:extLst>
                  <a:ext uri="{0D108BD9-81ED-4DB2-BD59-A6C34878D82A}">
                    <a16:rowId xmlns:a16="http://schemas.microsoft.com/office/drawing/2014/main" val="3863740175"/>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Baromètre collaborateur</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581336607"/>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Politiques RH</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87631726"/>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GPEC</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021862178"/>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Fiches de postes / évaluations</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914635344"/>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Offre d'emploi / promesse employeur</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89386062"/>
                  </a:ext>
                </a:extLst>
              </a:tr>
              <a:tr h="60639">
                <a:tc>
                  <a:txBody>
                    <a:bodyPr/>
                    <a:lstStyle/>
                    <a:p>
                      <a:pPr algn="l" fontAlgn="b"/>
                      <a:r>
                        <a:rPr lang="fr-FR" sz="500" b="0" i="0" u="none" strike="noStrike">
                          <a:solidFill>
                            <a:srgbClr val="000000"/>
                          </a:solidFill>
                          <a:effectLst/>
                          <a:latin typeface="Arial" panose="020B0604020202020204" pitchFamily="34" charset="0"/>
                        </a:rPr>
                        <a:t> </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l" fontAlgn="b"/>
                      <a:r>
                        <a:rPr lang="fr-FR" sz="500" b="0" i="0" u="none" strike="noStrike">
                          <a:solidFill>
                            <a:srgbClr val="000000"/>
                          </a:solidFill>
                          <a:effectLst/>
                          <a:latin typeface="Arial" panose="020B0604020202020204" pitchFamily="34" charset="0"/>
                        </a:rPr>
                        <a:t>QVT, télétravail</a:t>
                      </a:r>
                    </a:p>
                  </a:txBody>
                  <a:tcPr marL="6350" marR="6350" marT="6350"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072726877"/>
                  </a:ext>
                </a:extLst>
              </a:tr>
            </a:tbl>
          </a:graphicData>
        </a:graphic>
      </p:graphicFrame>
      <p:grpSp>
        <p:nvGrpSpPr>
          <p:cNvPr id="21" name="Groupe 20">
            <a:extLst>
              <a:ext uri="{FF2B5EF4-FFF2-40B4-BE49-F238E27FC236}">
                <a16:creationId xmlns:a16="http://schemas.microsoft.com/office/drawing/2014/main" id="{B178DBDD-9F7A-E298-03C5-4851235AACBC}"/>
              </a:ext>
            </a:extLst>
          </p:cNvPr>
          <p:cNvGrpSpPr/>
          <p:nvPr/>
        </p:nvGrpSpPr>
        <p:grpSpPr>
          <a:xfrm>
            <a:off x="4458000" y="1534839"/>
            <a:ext cx="3276000" cy="3276000"/>
            <a:chOff x="4072976" y="1534839"/>
            <a:chExt cx="3276000" cy="3276000"/>
          </a:xfrm>
        </p:grpSpPr>
        <p:sp>
          <p:nvSpPr>
            <p:cNvPr id="22" name="Ellipse 21">
              <a:extLst>
                <a:ext uri="{FF2B5EF4-FFF2-40B4-BE49-F238E27FC236}">
                  <a16:creationId xmlns:a16="http://schemas.microsoft.com/office/drawing/2014/main" id="{7E6B49CC-E41C-F1BC-220A-375049216C4B}"/>
                </a:ext>
              </a:extLst>
            </p:cNvPr>
            <p:cNvSpPr/>
            <p:nvPr/>
          </p:nvSpPr>
          <p:spPr>
            <a:xfrm>
              <a:off x="4720976" y="2182839"/>
              <a:ext cx="1980000" cy="1980000"/>
            </a:xfrm>
            <a:prstGeom prst="ellipse">
              <a:avLst/>
            </a:prstGeom>
            <a:solidFill>
              <a:schemeClr val="bg1">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r>
                <a:rPr lang="fr-FR" b="1">
                  <a:solidFill>
                    <a:srgbClr val="20408E"/>
                  </a:solidFill>
                </a:rPr>
                <a:t>Boîte à outils du diagnostic</a:t>
              </a:r>
            </a:p>
          </p:txBody>
        </p:sp>
        <p:pic>
          <p:nvPicPr>
            <p:cNvPr id="23" name="Graphique 22" descr="Outils contour">
              <a:extLst>
                <a:ext uri="{FF2B5EF4-FFF2-40B4-BE49-F238E27FC236}">
                  <a16:creationId xmlns:a16="http://schemas.microsoft.com/office/drawing/2014/main" id="{51C0B081-8581-C4FE-8ACB-E45DA04D8D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30787" y="2607217"/>
              <a:ext cx="344917" cy="344917"/>
            </a:xfrm>
            <a:prstGeom prst="rect">
              <a:avLst/>
            </a:prstGeom>
          </p:spPr>
        </p:pic>
        <p:pic>
          <p:nvPicPr>
            <p:cNvPr id="24" name="Graphique 23" descr="Plan contour">
              <a:extLst>
                <a:ext uri="{FF2B5EF4-FFF2-40B4-BE49-F238E27FC236}">
                  <a16:creationId xmlns:a16="http://schemas.microsoft.com/office/drawing/2014/main" id="{F938BF94-39E1-583D-F8DA-8B25D51FDA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70646" y="2533015"/>
              <a:ext cx="419119" cy="419119"/>
            </a:xfrm>
            <a:prstGeom prst="rect">
              <a:avLst/>
            </a:prstGeom>
          </p:spPr>
        </p:pic>
        <p:sp>
          <p:nvSpPr>
            <p:cNvPr id="25" name="Ellipse 24">
              <a:extLst>
                <a:ext uri="{FF2B5EF4-FFF2-40B4-BE49-F238E27FC236}">
                  <a16:creationId xmlns:a16="http://schemas.microsoft.com/office/drawing/2014/main" id="{331553C3-66F1-E25B-9F96-7654657A17E0}"/>
                </a:ext>
              </a:extLst>
            </p:cNvPr>
            <p:cNvSpPr/>
            <p:nvPr/>
          </p:nvSpPr>
          <p:spPr>
            <a:xfrm>
              <a:off x="4072976" y="1534839"/>
              <a:ext cx="3276000" cy="3276000"/>
            </a:xfrm>
            <a:prstGeom prst="ellipse">
              <a:avLst/>
            </a:prstGeom>
            <a:noFill/>
            <a:ln>
              <a:solidFill>
                <a:srgbClr val="20408E"/>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fr-FR" b="1">
                <a:solidFill>
                  <a:schemeClr val="tx1"/>
                </a:solidFill>
              </a:endParaRPr>
            </a:p>
          </p:txBody>
        </p:sp>
        <p:sp>
          <p:nvSpPr>
            <p:cNvPr id="26" name="Ellipse 25">
              <a:extLst>
                <a:ext uri="{FF2B5EF4-FFF2-40B4-BE49-F238E27FC236}">
                  <a16:creationId xmlns:a16="http://schemas.microsoft.com/office/drawing/2014/main" id="{F223CCD6-E1D8-FF87-E63E-40ED971B70BA}"/>
                </a:ext>
              </a:extLst>
            </p:cNvPr>
            <p:cNvSpPr/>
            <p:nvPr/>
          </p:nvSpPr>
          <p:spPr>
            <a:xfrm>
              <a:off x="4204639" y="1819826"/>
              <a:ext cx="540000" cy="540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endParaRPr lang="fr-FR" b="1">
                <a:solidFill>
                  <a:schemeClr val="tx1"/>
                </a:solidFill>
              </a:endParaRPr>
            </a:p>
          </p:txBody>
        </p:sp>
        <p:pic>
          <p:nvPicPr>
            <p:cNvPr id="27" name="Graphique 26" descr="Liste contour">
              <a:extLst>
                <a:ext uri="{FF2B5EF4-FFF2-40B4-BE49-F238E27FC236}">
                  <a16:creationId xmlns:a16="http://schemas.microsoft.com/office/drawing/2014/main" id="{84FBCC65-4BDC-4753-81E9-366D75941E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68478" y="1872597"/>
              <a:ext cx="393363" cy="393363"/>
            </a:xfrm>
            <a:prstGeom prst="rect">
              <a:avLst/>
            </a:prstGeom>
          </p:spPr>
        </p:pic>
        <p:sp>
          <p:nvSpPr>
            <p:cNvPr id="28" name="Ellipse 27">
              <a:extLst>
                <a:ext uri="{FF2B5EF4-FFF2-40B4-BE49-F238E27FC236}">
                  <a16:creationId xmlns:a16="http://schemas.microsoft.com/office/drawing/2014/main" id="{22012DBA-7592-2A46-F195-F17E48E30B43}"/>
                </a:ext>
              </a:extLst>
            </p:cNvPr>
            <p:cNvSpPr/>
            <p:nvPr/>
          </p:nvSpPr>
          <p:spPr>
            <a:xfrm>
              <a:off x="4204639" y="3895775"/>
              <a:ext cx="540000" cy="540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endParaRPr lang="fr-FR" b="1">
                <a:solidFill>
                  <a:schemeClr val="tx1"/>
                </a:solidFill>
              </a:endParaRPr>
            </a:p>
          </p:txBody>
        </p:sp>
        <p:pic>
          <p:nvPicPr>
            <p:cNvPr id="29" name="Graphique 28" descr="Statistiques contour">
              <a:extLst>
                <a:ext uri="{FF2B5EF4-FFF2-40B4-BE49-F238E27FC236}">
                  <a16:creationId xmlns:a16="http://schemas.microsoft.com/office/drawing/2014/main" id="{E259C474-C42F-D7AD-BCB3-09EF89D368B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277958" y="3969094"/>
              <a:ext cx="393363" cy="393363"/>
            </a:xfrm>
            <a:prstGeom prst="rect">
              <a:avLst/>
            </a:prstGeom>
          </p:spPr>
        </p:pic>
        <p:sp>
          <p:nvSpPr>
            <p:cNvPr id="32" name="Ellipse 31">
              <a:extLst>
                <a:ext uri="{FF2B5EF4-FFF2-40B4-BE49-F238E27FC236}">
                  <a16:creationId xmlns:a16="http://schemas.microsoft.com/office/drawing/2014/main" id="{A3D3A913-4D58-2940-DA59-87891A769FC9}"/>
                </a:ext>
              </a:extLst>
            </p:cNvPr>
            <p:cNvSpPr/>
            <p:nvPr/>
          </p:nvSpPr>
          <p:spPr>
            <a:xfrm>
              <a:off x="6779322" y="1819826"/>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endParaRPr lang="fr-FR" b="1">
                <a:solidFill>
                  <a:schemeClr val="tx1"/>
                </a:solidFill>
              </a:endParaRPr>
            </a:p>
          </p:txBody>
        </p:sp>
        <p:pic>
          <p:nvPicPr>
            <p:cNvPr id="33" name="Graphique 32" descr="Micro de radio contour">
              <a:extLst>
                <a:ext uri="{FF2B5EF4-FFF2-40B4-BE49-F238E27FC236}">
                  <a16:creationId xmlns:a16="http://schemas.microsoft.com/office/drawing/2014/main" id="{50D85CFD-9D01-2BC2-0857-14AA0865ACB0}"/>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864169" y="1893144"/>
              <a:ext cx="393363" cy="393363"/>
            </a:xfrm>
            <a:prstGeom prst="rect">
              <a:avLst/>
            </a:prstGeom>
          </p:spPr>
        </p:pic>
        <p:sp>
          <p:nvSpPr>
            <p:cNvPr id="34" name="Ellipse 33">
              <a:extLst>
                <a:ext uri="{FF2B5EF4-FFF2-40B4-BE49-F238E27FC236}">
                  <a16:creationId xmlns:a16="http://schemas.microsoft.com/office/drawing/2014/main" id="{12CF65C6-5AD5-C01D-2D51-949EC30458A6}"/>
                </a:ext>
              </a:extLst>
            </p:cNvPr>
            <p:cNvSpPr/>
            <p:nvPr/>
          </p:nvSpPr>
          <p:spPr>
            <a:xfrm>
              <a:off x="6779322" y="3867633"/>
              <a:ext cx="540000" cy="5400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endParaRPr lang="fr-FR" b="1">
                <a:solidFill>
                  <a:schemeClr val="tx1"/>
                </a:solidFill>
              </a:endParaRPr>
            </a:p>
          </p:txBody>
        </p:sp>
        <p:pic>
          <p:nvPicPr>
            <p:cNvPr id="35" name="Graphique 34" descr="Réunion en ligne contour">
              <a:extLst>
                <a:ext uri="{FF2B5EF4-FFF2-40B4-BE49-F238E27FC236}">
                  <a16:creationId xmlns:a16="http://schemas.microsoft.com/office/drawing/2014/main" id="{A143C66B-AF2A-B709-BD84-663926C02FB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6852641" y="3940952"/>
              <a:ext cx="393363" cy="393363"/>
            </a:xfrm>
            <a:prstGeom prst="rect">
              <a:avLst/>
            </a:prstGeom>
          </p:spPr>
        </p:pic>
        <p:pic>
          <p:nvPicPr>
            <p:cNvPr id="36" name="Graphique 35" descr="Plateforme pétrolière contour">
              <a:extLst>
                <a:ext uri="{FF2B5EF4-FFF2-40B4-BE49-F238E27FC236}">
                  <a16:creationId xmlns:a16="http://schemas.microsoft.com/office/drawing/2014/main" id="{BA44B6BC-A839-75B2-24CF-F615FB1363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984707" y="2458991"/>
              <a:ext cx="493143" cy="493143"/>
            </a:xfrm>
            <a:prstGeom prst="rect">
              <a:avLst/>
            </a:prstGeom>
          </p:spPr>
        </p:pic>
      </p:grpSp>
      <p:pic>
        <p:nvPicPr>
          <p:cNvPr id="37" name="Image 36">
            <a:extLst>
              <a:ext uri="{FF2B5EF4-FFF2-40B4-BE49-F238E27FC236}">
                <a16:creationId xmlns:a16="http://schemas.microsoft.com/office/drawing/2014/main" id="{4AC3B667-83AB-AC08-C283-23E2B20A7A96}"/>
              </a:ext>
            </a:extLst>
          </p:cNvPr>
          <p:cNvPicPr>
            <a:picLocks noChangeAspect="1"/>
          </p:cNvPicPr>
          <p:nvPr/>
        </p:nvPicPr>
        <p:blipFill>
          <a:blip r:embed="rId19"/>
          <a:stretch>
            <a:fillRect/>
          </a:stretch>
        </p:blipFill>
        <p:spPr>
          <a:xfrm>
            <a:off x="859577" y="5527176"/>
            <a:ext cx="3575966" cy="954969"/>
          </a:xfrm>
          <a:prstGeom prst="rect">
            <a:avLst/>
          </a:prstGeom>
        </p:spPr>
      </p:pic>
      <p:pic>
        <p:nvPicPr>
          <p:cNvPr id="38" name="Picture 5">
            <a:extLst>
              <a:ext uri="{FF2B5EF4-FFF2-40B4-BE49-F238E27FC236}">
                <a16:creationId xmlns:a16="http://schemas.microsoft.com/office/drawing/2014/main" id="{F38A29F6-CA33-B4B8-C3C1-F70985486861}"/>
              </a:ext>
            </a:extLst>
          </p:cNvPr>
          <p:cNvPicPr>
            <a:picLocks noChangeAspect="1"/>
          </p:cNvPicPr>
          <p:nvPr/>
        </p:nvPicPr>
        <p:blipFill>
          <a:blip r:embed="rId20">
            <a:duotone>
              <a:schemeClr val="accent2">
                <a:shade val="45000"/>
                <a:satMod val="135000"/>
              </a:schemeClr>
              <a:prstClr val="white"/>
            </a:duotone>
          </a:blip>
          <a:stretch>
            <a:fillRect/>
          </a:stretch>
        </p:blipFill>
        <p:spPr>
          <a:xfrm>
            <a:off x="3353236" y="4766460"/>
            <a:ext cx="1737608" cy="1298709"/>
          </a:xfrm>
          <a:prstGeom prst="rect">
            <a:avLst/>
          </a:prstGeom>
          <a:effectLst>
            <a:outerShdw blurRad="50800" dist="38100" dir="2700000" algn="tl" rotWithShape="0">
              <a:prstClr val="black">
                <a:alpha val="40000"/>
              </a:prstClr>
            </a:outerShdw>
          </a:effectLst>
        </p:spPr>
      </p:pic>
      <p:pic>
        <p:nvPicPr>
          <p:cNvPr id="40" name="Image 39">
            <a:extLst>
              <a:ext uri="{FF2B5EF4-FFF2-40B4-BE49-F238E27FC236}">
                <a16:creationId xmlns:a16="http://schemas.microsoft.com/office/drawing/2014/main" id="{F6C015B9-AB3D-564E-55C3-9E8F64C008E6}"/>
              </a:ext>
            </a:extLst>
          </p:cNvPr>
          <p:cNvPicPr>
            <a:picLocks noChangeAspect="1"/>
          </p:cNvPicPr>
          <p:nvPr/>
        </p:nvPicPr>
        <p:blipFill rotWithShape="1">
          <a:blip r:embed="rId21"/>
          <a:srcRect r="30004"/>
          <a:stretch/>
        </p:blipFill>
        <p:spPr>
          <a:xfrm>
            <a:off x="7898200" y="1820091"/>
            <a:ext cx="1759124" cy="1356496"/>
          </a:xfrm>
          <a:prstGeom prst="rect">
            <a:avLst/>
          </a:prstGeom>
        </p:spPr>
      </p:pic>
      <p:pic>
        <p:nvPicPr>
          <p:cNvPr id="42" name="Image 5">
            <a:extLst>
              <a:ext uri="{FF2B5EF4-FFF2-40B4-BE49-F238E27FC236}">
                <a16:creationId xmlns:a16="http://schemas.microsoft.com/office/drawing/2014/main" id="{D2A976B5-D609-5470-25B0-D215B30297AB}"/>
              </a:ext>
            </a:extLst>
          </p:cNvPr>
          <p:cNvPicPr>
            <a:picLocks noChangeAspect="1"/>
          </p:cNvPicPr>
          <p:nvPr/>
        </p:nvPicPr>
        <p:blipFill>
          <a:blip r:embed="rId22">
            <a:grayscl/>
            <a:extLst>
              <a:ext uri="{28A0092B-C50C-407E-A947-70E740481C1C}">
                <a14:useLocalDpi xmlns:a14="http://schemas.microsoft.com/office/drawing/2010/main" val="0"/>
              </a:ext>
            </a:extLst>
          </a:blip>
          <a:srcRect/>
          <a:stretch>
            <a:fillRect/>
          </a:stretch>
        </p:blipFill>
        <p:spPr bwMode="auto">
          <a:xfrm>
            <a:off x="7784019" y="4578220"/>
            <a:ext cx="2147589" cy="571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Image 42" descr="Une image contenant texte, capture d’écran, Rectangle, carré&#10;&#10;Description générée automatiquement">
            <a:extLst>
              <a:ext uri="{FF2B5EF4-FFF2-40B4-BE49-F238E27FC236}">
                <a16:creationId xmlns:a16="http://schemas.microsoft.com/office/drawing/2014/main" id="{8C880A42-B27B-14EE-0879-52A852DEB4C5}"/>
              </a:ext>
            </a:extLst>
          </p:cNvPr>
          <p:cNvPicPr>
            <a:picLocks noChangeAspect="1"/>
          </p:cNvPicPr>
          <p:nvPr/>
        </p:nvPicPr>
        <p:blipFill rotWithShape="1">
          <a:blip r:embed="rId23">
            <a:grayscl/>
            <a:extLst>
              <a:ext uri="{28A0092B-C50C-407E-A947-70E740481C1C}">
                <a14:useLocalDpi xmlns:a14="http://schemas.microsoft.com/office/drawing/2010/main" val="0"/>
              </a:ext>
            </a:extLst>
          </a:blip>
          <a:srcRect l="5292" t="14691" r="15019" b="15984"/>
          <a:stretch/>
        </p:blipFill>
        <p:spPr>
          <a:xfrm>
            <a:off x="9573439" y="5500938"/>
            <a:ext cx="1739975" cy="851468"/>
          </a:xfrm>
          <a:prstGeom prst="rect">
            <a:avLst/>
          </a:prstGeom>
        </p:spPr>
      </p:pic>
      <p:pic>
        <p:nvPicPr>
          <p:cNvPr id="45" name="Image 44">
            <a:extLst>
              <a:ext uri="{FF2B5EF4-FFF2-40B4-BE49-F238E27FC236}">
                <a16:creationId xmlns:a16="http://schemas.microsoft.com/office/drawing/2014/main" id="{CAC03E2B-B886-6CE0-5911-A97C66A5E11E}"/>
              </a:ext>
            </a:extLst>
          </p:cNvPr>
          <p:cNvPicPr>
            <a:picLocks noChangeAspect="1"/>
          </p:cNvPicPr>
          <p:nvPr/>
        </p:nvPicPr>
        <p:blipFill>
          <a:blip r:embed="rId24">
            <a:duotone>
              <a:schemeClr val="accent2">
                <a:shade val="45000"/>
                <a:satMod val="135000"/>
              </a:schemeClr>
              <a:prstClr val="white"/>
            </a:duotone>
          </a:blip>
          <a:stretch>
            <a:fillRect/>
          </a:stretch>
        </p:blipFill>
        <p:spPr>
          <a:xfrm>
            <a:off x="9827317" y="4256255"/>
            <a:ext cx="624112" cy="742553"/>
          </a:xfrm>
          <a:prstGeom prst="rect">
            <a:avLst/>
          </a:prstGeom>
          <a:effectLst>
            <a:outerShdw blurRad="50800" dist="38100" dir="2700000" algn="tl" rotWithShape="0">
              <a:prstClr val="black">
                <a:alpha val="40000"/>
              </a:prstClr>
            </a:outerShdw>
          </a:effectLst>
        </p:spPr>
      </p:pic>
      <p:pic>
        <p:nvPicPr>
          <p:cNvPr id="46" name="Image 45">
            <a:extLst>
              <a:ext uri="{FF2B5EF4-FFF2-40B4-BE49-F238E27FC236}">
                <a16:creationId xmlns:a16="http://schemas.microsoft.com/office/drawing/2014/main" id="{2E06527B-E7E3-8EE2-636F-F2AEB5F926C3}"/>
              </a:ext>
            </a:extLst>
          </p:cNvPr>
          <p:cNvPicPr>
            <a:picLocks noChangeAspect="1"/>
          </p:cNvPicPr>
          <p:nvPr/>
        </p:nvPicPr>
        <p:blipFill>
          <a:blip r:embed="rId25">
            <a:duotone>
              <a:schemeClr val="accent2">
                <a:shade val="45000"/>
                <a:satMod val="135000"/>
              </a:schemeClr>
              <a:prstClr val="white"/>
            </a:duotone>
          </a:blip>
          <a:stretch>
            <a:fillRect/>
          </a:stretch>
        </p:blipFill>
        <p:spPr>
          <a:xfrm>
            <a:off x="9319634" y="6037176"/>
            <a:ext cx="507683" cy="669579"/>
          </a:xfrm>
          <a:prstGeom prst="rect">
            <a:avLst/>
          </a:prstGeom>
          <a:effectLst>
            <a:outerShdw blurRad="50800" dist="38100" dir="2700000" algn="tl" rotWithShape="0">
              <a:prstClr val="black">
                <a:alpha val="40000"/>
              </a:prstClr>
            </a:outerShdw>
          </a:effectLst>
        </p:spPr>
      </p:pic>
      <p:pic>
        <p:nvPicPr>
          <p:cNvPr id="47" name="Image 5">
            <a:extLst>
              <a:ext uri="{FF2B5EF4-FFF2-40B4-BE49-F238E27FC236}">
                <a16:creationId xmlns:a16="http://schemas.microsoft.com/office/drawing/2014/main" id="{3B4DC75F-5E54-4E08-3897-85B13B0C196A}"/>
              </a:ext>
            </a:extLst>
          </p:cNvPr>
          <p:cNvPicPr>
            <a:picLocks noChangeAspect="1"/>
          </p:cNvPicPr>
          <p:nvPr/>
        </p:nvPicPr>
        <p:blipFill>
          <a:blip r:embed="rId26">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12977" y="5029633"/>
            <a:ext cx="2555291" cy="68665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50683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sz="1800" kern="0">
              <a:solidFill>
                <a:schemeClr val="bg2"/>
              </a:solidFill>
              <a:latin typeface="Arial Black" panose="020B0A04020102020204" pitchFamily="34" charset="0"/>
            </a:endParaRPr>
          </a:p>
        </p:txBody>
      </p:sp>
      <p:sp>
        <p:nvSpPr>
          <p:cNvPr id="12" name="Rectangle 4">
            <a:extLst>
              <a:ext uri="{FF2B5EF4-FFF2-40B4-BE49-F238E27FC236}">
                <a16:creationId xmlns:a16="http://schemas.microsoft.com/office/drawing/2014/main" id="{A69472D7-2493-2CA6-688C-D454739D34D4}"/>
              </a:ext>
            </a:extLst>
          </p:cNvPr>
          <p:cNvSpPr>
            <a:spLocks noChangeArrowheads="1"/>
          </p:cNvSpPr>
          <p:nvPr/>
        </p:nvSpPr>
        <p:spPr bwMode="blackWhite">
          <a:xfrm>
            <a:off x="651906" y="913713"/>
            <a:ext cx="9738744" cy="215444"/>
          </a:xfrm>
          <a:prstGeom prst="rect">
            <a:avLst/>
          </a:prstGeom>
          <a:noFill/>
          <a:ln w="9525">
            <a:noFill/>
            <a:miter lim="800000"/>
            <a:headEnd/>
            <a:tailEnd/>
          </a:ln>
        </p:spPr>
        <p:txBody>
          <a:bodyPr wrap="square" lIns="3807" tIns="0" rIns="3807" bIns="0" anchor="b">
            <a:spAutoFit/>
          </a:bodyPr>
          <a:lstStyle/>
          <a:p>
            <a:pPr defTabSz="883035">
              <a:buSzPct val="120000"/>
              <a:defRPr/>
            </a:pPr>
            <a:r>
              <a:rPr lang="fr-FR" altLang="ko-KR" sz="1400" b="1">
                <a:solidFill>
                  <a:srgbClr val="006EB7"/>
                </a:solidFill>
                <a:latin typeface="+mj-lt"/>
                <a:ea typeface="맑은 고딕" panose="020B0503020000020004" pitchFamily="34" charset="-127"/>
                <a:cs typeface="Arial" panose="020B0604020202020204" pitchFamily="34" charset="0"/>
                <a:sym typeface="Arial"/>
              </a:rPr>
              <a:t>Plateforme d’intelligence collective pour faciliter le diagnostic et embarquer les collaborateurs</a:t>
            </a:r>
          </a:p>
        </p:txBody>
      </p:sp>
      <p:sp>
        <p:nvSpPr>
          <p:cNvPr id="13" name="Line 5">
            <a:extLst>
              <a:ext uri="{FF2B5EF4-FFF2-40B4-BE49-F238E27FC236}">
                <a16:creationId xmlns:a16="http://schemas.microsoft.com/office/drawing/2014/main" id="{60144A62-D7A0-7B1B-0A70-C0D515E9FA51}"/>
              </a:ext>
            </a:extLst>
          </p:cNvPr>
          <p:cNvSpPr>
            <a:spLocks noChangeShapeType="1"/>
          </p:cNvSpPr>
          <p:nvPr/>
        </p:nvSpPr>
        <p:spPr bwMode="blackWhite">
          <a:xfrm>
            <a:off x="569185" y="1184800"/>
            <a:ext cx="10224000" cy="0"/>
          </a:xfrm>
          <a:prstGeom prst="line">
            <a:avLst/>
          </a:prstGeom>
          <a:noFill/>
          <a:ln w="12700">
            <a:solidFill>
              <a:srgbClr val="006EB7"/>
            </a:solidFill>
            <a:round/>
            <a:headEnd/>
            <a:tailEnd/>
          </a:ln>
        </p:spPr>
        <p:txBody>
          <a:bodyPr wrap="none" lIns="67677" tIns="33824" rIns="67677" bIns="33824" anchor="ctr"/>
          <a:lstStyle/>
          <a:p>
            <a:pPr marL="0" marR="0" lvl="0" indent="0" algn="l" defTabSz="652790" rtl="0" eaLnBrk="1" fontAlgn="auto" latinLnBrk="0" hangingPunct="1">
              <a:lnSpc>
                <a:spcPct val="100000"/>
              </a:lnSpc>
              <a:spcBef>
                <a:spcPts val="0"/>
              </a:spcBef>
              <a:spcAft>
                <a:spcPts val="0"/>
              </a:spcAft>
              <a:buClrTx/>
              <a:buSzTx/>
              <a:buFontTx/>
              <a:buNone/>
              <a:tabLst/>
              <a:defRPr/>
            </a:pPr>
            <a:endParaRPr kumimoji="0" lang="fr-FR" sz="2400" b="1" i="0" u="none" strike="noStrike" kern="0" cap="none" spc="0" normalizeH="0" baseline="0" noProof="0">
              <a:ln>
                <a:noFill/>
              </a:ln>
              <a:solidFill>
                <a:prstClr val="black"/>
              </a:solidFill>
              <a:effectLst/>
              <a:uLnTx/>
              <a:uFillTx/>
              <a:latin typeface="Calibri" panose="020F0502020204030204"/>
              <a:ea typeface="+mn-ea"/>
              <a:cs typeface="Arial" charset="0"/>
              <a:sym typeface="Arial"/>
            </a:endParaRPr>
          </a:p>
        </p:txBody>
      </p:sp>
      <p:sp>
        <p:nvSpPr>
          <p:cNvPr id="39" name="Rectangle 38">
            <a:extLst>
              <a:ext uri="{FF2B5EF4-FFF2-40B4-BE49-F238E27FC236}">
                <a16:creationId xmlns:a16="http://schemas.microsoft.com/office/drawing/2014/main" id="{35C5A787-FD08-71EA-88EE-850203439C2B}"/>
              </a:ext>
            </a:extLst>
          </p:cNvPr>
          <p:cNvSpPr/>
          <p:nvPr/>
        </p:nvSpPr>
        <p:spPr>
          <a:xfrm>
            <a:off x="7353734" y="2385466"/>
            <a:ext cx="4583084" cy="2779352"/>
          </a:xfrm>
          <a:prstGeom prst="rect">
            <a:avLst/>
          </a:prstGeom>
          <a:solidFill>
            <a:schemeClr val="bg1"/>
          </a:solidFill>
          <a:ln w="3175">
            <a:solidFill>
              <a:srgbClr val="4439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ZoneTexte 40">
            <a:extLst>
              <a:ext uri="{FF2B5EF4-FFF2-40B4-BE49-F238E27FC236}">
                <a16:creationId xmlns:a16="http://schemas.microsoft.com/office/drawing/2014/main" id="{91B6A13E-3269-4257-3B1F-192758E6E957}"/>
              </a:ext>
            </a:extLst>
          </p:cNvPr>
          <p:cNvSpPr txBox="1"/>
          <p:nvPr/>
        </p:nvSpPr>
        <p:spPr>
          <a:xfrm>
            <a:off x="444499" y="1549714"/>
            <a:ext cx="11492319" cy="523220"/>
          </a:xfrm>
          <a:prstGeom prst="rect">
            <a:avLst/>
          </a:prstGeom>
          <a:noFill/>
        </p:spPr>
        <p:txBody>
          <a:bodyPr wrap="square" rtlCol="0">
            <a:spAutoFit/>
          </a:bodyPr>
          <a:lstStyle/>
          <a:p>
            <a:r>
              <a:rPr lang="fr-FR" sz="1400" b="1">
                <a:solidFill>
                  <a:schemeClr val="bg2"/>
                </a:solidFill>
                <a:latin typeface="+mj-lt"/>
                <a:cs typeface="Calibri" panose="020F0502020204030204" pitchFamily="34" charset="0"/>
              </a:rPr>
              <a:t>Synapscore est une plateforme d’intelligence collective que nous utilisons sur ce type de mission et qui vise à faciliter la démarche de diagnostic en embarquant vos collaborateurs sur toutes les phases.</a:t>
            </a:r>
          </a:p>
        </p:txBody>
      </p:sp>
      <p:sp>
        <p:nvSpPr>
          <p:cNvPr id="42" name="Rectangle 41">
            <a:extLst>
              <a:ext uri="{FF2B5EF4-FFF2-40B4-BE49-F238E27FC236}">
                <a16:creationId xmlns:a16="http://schemas.microsoft.com/office/drawing/2014/main" id="{BBB7655A-24C6-3BC7-54D6-D19397F7EA53}"/>
              </a:ext>
            </a:extLst>
          </p:cNvPr>
          <p:cNvSpPr/>
          <p:nvPr/>
        </p:nvSpPr>
        <p:spPr>
          <a:xfrm>
            <a:off x="348802" y="2385466"/>
            <a:ext cx="4583084" cy="2779352"/>
          </a:xfrm>
          <a:prstGeom prst="rect">
            <a:avLst/>
          </a:prstGeom>
          <a:solidFill>
            <a:schemeClr val="bg1"/>
          </a:solidFill>
          <a:ln w="3175">
            <a:solidFill>
              <a:srgbClr val="4439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3" name="Picture 2" descr="Image">
            <a:extLst>
              <a:ext uri="{FF2B5EF4-FFF2-40B4-BE49-F238E27FC236}">
                <a16:creationId xmlns:a16="http://schemas.microsoft.com/office/drawing/2014/main" id="{E54A17BC-EB4A-3E55-CB9B-94DBEF5FC3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321" y="2955751"/>
            <a:ext cx="4410045" cy="2159907"/>
          </a:xfrm>
          <a:prstGeom prst="rect">
            <a:avLst/>
          </a:prstGeom>
          <a:noFill/>
          <a:extLst>
            <a:ext uri="{909E8E84-426E-40DD-AFC4-6F175D3DCCD1}">
              <a14:hiddenFill xmlns:a14="http://schemas.microsoft.com/office/drawing/2010/main">
                <a:solidFill>
                  <a:srgbClr val="FFFFFF"/>
                </a:solidFill>
              </a14:hiddenFill>
            </a:ext>
          </a:extLst>
        </p:spPr>
      </p:pic>
      <p:sp>
        <p:nvSpPr>
          <p:cNvPr id="44" name="Titre 4">
            <a:extLst>
              <a:ext uri="{FF2B5EF4-FFF2-40B4-BE49-F238E27FC236}">
                <a16:creationId xmlns:a16="http://schemas.microsoft.com/office/drawing/2014/main" id="{E78E13E7-F18F-A6EA-74DD-C56F18EAEB30}"/>
              </a:ext>
            </a:extLst>
          </p:cNvPr>
          <p:cNvSpPr txBox="1">
            <a:spLocks/>
          </p:cNvSpPr>
          <p:nvPr/>
        </p:nvSpPr>
        <p:spPr>
          <a:xfrm>
            <a:off x="463642" y="2475263"/>
            <a:ext cx="4381724" cy="369332"/>
          </a:xfrm>
          <a:prstGeom prst="rect">
            <a:avLst/>
          </a:prstGeom>
        </p:spPr>
        <p:txBody>
          <a:bodyPr vert="horz" wrap="square" lIns="0" tIns="0" rIns="0" bIns="0" rtlCol="0" anchor="t" anchorCtr="0">
            <a:sp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000" b="1" i="0" u="none" strike="noStrike" cap="none">
                <a:solidFill>
                  <a:srgbClr val="000000"/>
                </a:solidFill>
                <a:latin typeface="Montserrat" panose="00000500000000000000" pitchFamily="2" charset="0"/>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fr-FR" sz="1200" kern="0">
                <a:solidFill>
                  <a:srgbClr val="44398A"/>
                </a:solidFill>
                <a:latin typeface="Arial"/>
              </a:rPr>
              <a:t>Technologie de rupture pour exploiter la puissance de l’intelligence collective</a:t>
            </a:r>
          </a:p>
        </p:txBody>
      </p:sp>
      <p:pic>
        <p:nvPicPr>
          <p:cNvPr id="45" name="Image 44">
            <a:extLst>
              <a:ext uri="{FF2B5EF4-FFF2-40B4-BE49-F238E27FC236}">
                <a16:creationId xmlns:a16="http://schemas.microsoft.com/office/drawing/2014/main" id="{89F7B679-CF07-D1B2-37C0-6976B945EDCF}"/>
              </a:ext>
            </a:extLst>
          </p:cNvPr>
          <p:cNvPicPr>
            <a:picLocks/>
          </p:cNvPicPr>
          <p:nvPr/>
        </p:nvPicPr>
        <p:blipFill rotWithShape="1">
          <a:blip r:embed="rId4"/>
          <a:srcRect t="18527"/>
          <a:stretch/>
        </p:blipFill>
        <p:spPr>
          <a:xfrm>
            <a:off x="7440276" y="2955658"/>
            <a:ext cx="4410000" cy="2160000"/>
          </a:xfrm>
          <a:prstGeom prst="rect">
            <a:avLst/>
          </a:prstGeom>
        </p:spPr>
      </p:pic>
      <p:sp>
        <p:nvSpPr>
          <p:cNvPr id="46" name="Rectangle 45">
            <a:extLst>
              <a:ext uri="{FF2B5EF4-FFF2-40B4-BE49-F238E27FC236}">
                <a16:creationId xmlns:a16="http://schemas.microsoft.com/office/drawing/2014/main" id="{7F37E21E-D0EB-3114-9EF2-9A243DD7C81B}"/>
              </a:ext>
            </a:extLst>
          </p:cNvPr>
          <p:cNvSpPr/>
          <p:nvPr/>
        </p:nvSpPr>
        <p:spPr>
          <a:xfrm>
            <a:off x="4097064" y="3982082"/>
            <a:ext cx="4583084" cy="2779352"/>
          </a:xfrm>
          <a:prstGeom prst="rect">
            <a:avLst/>
          </a:prstGeom>
          <a:solidFill>
            <a:schemeClr val="bg1"/>
          </a:solidFill>
          <a:ln w="3175">
            <a:solidFill>
              <a:srgbClr val="4439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Titre 4">
            <a:extLst>
              <a:ext uri="{FF2B5EF4-FFF2-40B4-BE49-F238E27FC236}">
                <a16:creationId xmlns:a16="http://schemas.microsoft.com/office/drawing/2014/main" id="{7A54174B-6B3B-8268-8663-13305BFB4CC7}"/>
              </a:ext>
            </a:extLst>
          </p:cNvPr>
          <p:cNvSpPr txBox="1">
            <a:spLocks/>
          </p:cNvSpPr>
          <p:nvPr/>
        </p:nvSpPr>
        <p:spPr>
          <a:xfrm>
            <a:off x="4180005" y="4125044"/>
            <a:ext cx="4381724" cy="369332"/>
          </a:xfrm>
          <a:prstGeom prst="rect">
            <a:avLst/>
          </a:prstGeom>
        </p:spPr>
        <p:txBody>
          <a:bodyPr vert="horz" wrap="square" lIns="0" tIns="0" rIns="0" bIns="0" rtlCol="0" anchor="t" anchorCtr="0">
            <a:sp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000" b="1" i="0" u="none" strike="noStrike" cap="none">
                <a:solidFill>
                  <a:srgbClr val="000000"/>
                </a:solidFill>
                <a:latin typeface="Montserrat" panose="00000500000000000000" pitchFamily="2" charset="0"/>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fr-FR" sz="1200" kern="0">
                <a:solidFill>
                  <a:srgbClr val="44398A"/>
                </a:solidFill>
                <a:latin typeface="Arial"/>
              </a:rPr>
              <a:t>Une plateforme complète qui remplace une multitude d’outils </a:t>
            </a:r>
          </a:p>
        </p:txBody>
      </p:sp>
      <p:pic>
        <p:nvPicPr>
          <p:cNvPr id="48" name="Image 47">
            <a:extLst>
              <a:ext uri="{FF2B5EF4-FFF2-40B4-BE49-F238E27FC236}">
                <a16:creationId xmlns:a16="http://schemas.microsoft.com/office/drawing/2014/main" id="{79E4158B-2CE2-51DE-29B8-C953A374EDF9}"/>
              </a:ext>
            </a:extLst>
          </p:cNvPr>
          <p:cNvPicPr>
            <a:picLocks/>
          </p:cNvPicPr>
          <p:nvPr/>
        </p:nvPicPr>
        <p:blipFill rotWithShape="1">
          <a:blip r:embed="rId5"/>
          <a:srcRect t="16847"/>
          <a:stretch/>
        </p:blipFill>
        <p:spPr>
          <a:xfrm>
            <a:off x="4180005" y="4525266"/>
            <a:ext cx="4410000" cy="2160000"/>
          </a:xfrm>
          <a:prstGeom prst="rect">
            <a:avLst/>
          </a:prstGeom>
        </p:spPr>
      </p:pic>
      <p:sp>
        <p:nvSpPr>
          <p:cNvPr id="49" name="Titre 4">
            <a:extLst>
              <a:ext uri="{FF2B5EF4-FFF2-40B4-BE49-F238E27FC236}">
                <a16:creationId xmlns:a16="http://schemas.microsoft.com/office/drawing/2014/main" id="{93F976D5-AB33-923D-D3DD-7480CC48ADCB}"/>
              </a:ext>
            </a:extLst>
          </p:cNvPr>
          <p:cNvSpPr txBox="1">
            <a:spLocks/>
          </p:cNvSpPr>
          <p:nvPr/>
        </p:nvSpPr>
        <p:spPr>
          <a:xfrm>
            <a:off x="7468574" y="2475263"/>
            <a:ext cx="4381724" cy="369332"/>
          </a:xfrm>
          <a:prstGeom prst="rect">
            <a:avLst/>
          </a:prstGeom>
        </p:spPr>
        <p:txBody>
          <a:bodyPr vert="horz" wrap="square" lIns="0" tIns="0" rIns="0" bIns="0" rtlCol="0" anchor="t" anchorCtr="0">
            <a:sp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000" b="1" i="0" u="none" strike="noStrike" cap="none">
                <a:solidFill>
                  <a:srgbClr val="000000"/>
                </a:solidFill>
                <a:latin typeface="Montserrat" panose="00000500000000000000" pitchFamily="2" charset="0"/>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fr-FR" sz="1200" kern="0">
                <a:solidFill>
                  <a:srgbClr val="44398A"/>
                </a:solidFill>
                <a:latin typeface="Arial"/>
              </a:rPr>
              <a:t>Une fonction d’enquête intelligente permet de collecter et d’analyser des données et de détecter des opportunités</a:t>
            </a:r>
          </a:p>
        </p:txBody>
      </p:sp>
      <p:pic>
        <p:nvPicPr>
          <p:cNvPr id="50" name="Image 49">
            <a:extLst>
              <a:ext uri="{FF2B5EF4-FFF2-40B4-BE49-F238E27FC236}">
                <a16:creationId xmlns:a16="http://schemas.microsoft.com/office/drawing/2014/main" id="{5CA2EF6D-F87D-3C84-45C7-6BF7B06F66B7}"/>
              </a:ext>
            </a:extLst>
          </p:cNvPr>
          <p:cNvPicPr>
            <a:picLocks noChangeAspect="1"/>
          </p:cNvPicPr>
          <p:nvPr/>
        </p:nvPicPr>
        <p:blipFill>
          <a:blip r:embed="rId6"/>
          <a:stretch>
            <a:fillRect/>
          </a:stretch>
        </p:blipFill>
        <p:spPr>
          <a:xfrm>
            <a:off x="5218268" y="2984255"/>
            <a:ext cx="1755463" cy="445723"/>
          </a:xfrm>
          <a:prstGeom prst="rect">
            <a:avLst/>
          </a:prstGeom>
        </p:spPr>
      </p:pic>
      <p:sp>
        <p:nvSpPr>
          <p:cNvPr id="6" name="Titre 29">
            <a:extLst>
              <a:ext uri="{FF2B5EF4-FFF2-40B4-BE49-F238E27FC236}">
                <a16:creationId xmlns:a16="http://schemas.microsoft.com/office/drawing/2014/main" id="{2D2C8092-12C3-F51D-F225-F381FB143A92}"/>
              </a:ext>
            </a:extLst>
          </p:cNvPr>
          <p:cNvSpPr>
            <a:spLocks noGrp="1"/>
          </p:cNvSpPr>
          <p:nvPr>
            <p:ph type="title"/>
          </p:nvPr>
        </p:nvSpPr>
        <p:spPr>
          <a:xfrm>
            <a:off x="396655" y="217390"/>
            <a:ext cx="9907072" cy="407795"/>
          </a:xfrm>
          <a:solidFill>
            <a:schemeClr val="bg1"/>
          </a:solidFill>
        </p:spPr>
        <p:txBody>
          <a:bodyPr/>
          <a:lstStyle/>
          <a:p>
            <a:r>
              <a:rPr lang="fr-FR" sz="1800">
                <a:solidFill>
                  <a:schemeClr val="bg2"/>
                </a:solidFill>
                <a:latin typeface="Arial Black"/>
              </a:rPr>
              <a:t>2. RÉALISATION DU DIAGNOSTIC</a:t>
            </a:r>
          </a:p>
        </p:txBody>
      </p:sp>
    </p:spTree>
    <p:extLst>
      <p:ext uri="{BB962C8B-B14F-4D97-AF65-F5344CB8AC3E}">
        <p14:creationId xmlns:p14="http://schemas.microsoft.com/office/powerpoint/2010/main" val="33214151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12" name="Rectangle 4">
            <a:extLst>
              <a:ext uri="{FF2B5EF4-FFF2-40B4-BE49-F238E27FC236}">
                <a16:creationId xmlns:a16="http://schemas.microsoft.com/office/drawing/2014/main" id="{A69472D7-2493-2CA6-688C-D454739D34D4}"/>
              </a:ext>
            </a:extLst>
          </p:cNvPr>
          <p:cNvSpPr>
            <a:spLocks noChangeArrowheads="1"/>
          </p:cNvSpPr>
          <p:nvPr/>
        </p:nvSpPr>
        <p:spPr bwMode="blackWhite">
          <a:xfrm>
            <a:off x="651906" y="873456"/>
            <a:ext cx="9738744" cy="215444"/>
          </a:xfrm>
          <a:prstGeom prst="rect">
            <a:avLst/>
          </a:prstGeom>
          <a:noFill/>
          <a:ln w="9525">
            <a:noFill/>
            <a:miter lim="800000"/>
            <a:headEnd/>
            <a:tailEnd/>
          </a:ln>
        </p:spPr>
        <p:txBody>
          <a:bodyPr wrap="square" lIns="3807" tIns="0" rIns="3807" bIns="0" anchor="b">
            <a:spAutoFit/>
          </a:bodyPr>
          <a:lstStyle/>
          <a:p>
            <a:pPr defTabSz="883035">
              <a:buSzPct val="120000"/>
              <a:defRPr/>
            </a:pPr>
            <a:r>
              <a:rPr lang="fr-FR" altLang="ko-KR" sz="1400" b="1">
                <a:solidFill>
                  <a:srgbClr val="006EB7"/>
                </a:solidFill>
                <a:latin typeface="Arial" panose="020B0604020202020204" pitchFamily="34" charset="0"/>
                <a:ea typeface="맑은 고딕" panose="020B0503020000020004" pitchFamily="34" charset="-127"/>
                <a:cs typeface="Arial" panose="020B0604020202020204" pitchFamily="34" charset="0"/>
                <a:sym typeface="Arial"/>
              </a:rPr>
              <a:t>Extrait d’une matrice de maturité (à adapter lors du cadrage)</a:t>
            </a:r>
          </a:p>
        </p:txBody>
      </p:sp>
      <p:graphicFrame>
        <p:nvGraphicFramePr>
          <p:cNvPr id="39" name="Tableau 38">
            <a:extLst>
              <a:ext uri="{FF2B5EF4-FFF2-40B4-BE49-F238E27FC236}">
                <a16:creationId xmlns:a16="http://schemas.microsoft.com/office/drawing/2014/main" id="{7E822EDC-4BD1-514B-2869-A9AE2BC16F64}"/>
              </a:ext>
            </a:extLst>
          </p:cNvPr>
          <p:cNvGraphicFramePr>
            <a:graphicFrameLocks noGrp="1"/>
          </p:cNvGraphicFramePr>
          <p:nvPr>
            <p:extLst>
              <p:ext uri="{D42A27DB-BD31-4B8C-83A1-F6EECF244321}">
                <p14:modId xmlns:p14="http://schemas.microsoft.com/office/powerpoint/2010/main" val="3066203435"/>
              </p:ext>
            </p:extLst>
          </p:nvPr>
        </p:nvGraphicFramePr>
        <p:xfrm>
          <a:off x="520749" y="1291709"/>
          <a:ext cx="11020251" cy="5257479"/>
        </p:xfrm>
        <a:graphic>
          <a:graphicData uri="http://schemas.openxmlformats.org/drawingml/2006/table">
            <a:tbl>
              <a:tblPr/>
              <a:tblGrid>
                <a:gridCol w="1566992">
                  <a:extLst>
                    <a:ext uri="{9D8B030D-6E8A-4147-A177-3AD203B41FA5}">
                      <a16:colId xmlns:a16="http://schemas.microsoft.com/office/drawing/2014/main" val="1035355902"/>
                    </a:ext>
                  </a:extLst>
                </a:gridCol>
                <a:gridCol w="1395688">
                  <a:extLst>
                    <a:ext uri="{9D8B030D-6E8A-4147-A177-3AD203B41FA5}">
                      <a16:colId xmlns:a16="http://schemas.microsoft.com/office/drawing/2014/main" val="492386726"/>
                    </a:ext>
                  </a:extLst>
                </a:gridCol>
                <a:gridCol w="1469571">
                  <a:extLst>
                    <a:ext uri="{9D8B030D-6E8A-4147-A177-3AD203B41FA5}">
                      <a16:colId xmlns:a16="http://schemas.microsoft.com/office/drawing/2014/main" val="207691018"/>
                    </a:ext>
                  </a:extLst>
                </a:gridCol>
                <a:gridCol w="2196000">
                  <a:extLst>
                    <a:ext uri="{9D8B030D-6E8A-4147-A177-3AD203B41FA5}">
                      <a16:colId xmlns:a16="http://schemas.microsoft.com/office/drawing/2014/main" val="1327816018"/>
                    </a:ext>
                  </a:extLst>
                </a:gridCol>
                <a:gridCol w="2196000">
                  <a:extLst>
                    <a:ext uri="{9D8B030D-6E8A-4147-A177-3AD203B41FA5}">
                      <a16:colId xmlns:a16="http://schemas.microsoft.com/office/drawing/2014/main" val="2315492038"/>
                    </a:ext>
                  </a:extLst>
                </a:gridCol>
                <a:gridCol w="2196000">
                  <a:extLst>
                    <a:ext uri="{9D8B030D-6E8A-4147-A177-3AD203B41FA5}">
                      <a16:colId xmlns:a16="http://schemas.microsoft.com/office/drawing/2014/main" val="3813589448"/>
                    </a:ext>
                  </a:extLst>
                </a:gridCol>
              </a:tblGrid>
              <a:tr h="285796">
                <a:tc gridSpan="3">
                  <a:txBody>
                    <a:bodyPr/>
                    <a:lstStyle/>
                    <a:p>
                      <a:pPr algn="ctr" fontAlgn="b"/>
                      <a:r>
                        <a:rPr lang="fr-FR" sz="1300" b="1" i="0" u="none" strike="noStrike">
                          <a:solidFill>
                            <a:schemeClr val="bg1"/>
                          </a:solidFill>
                          <a:effectLst/>
                          <a:latin typeface="+mj-lt"/>
                        </a:rPr>
                        <a:t>Axe d'analyse</a:t>
                      </a:r>
                    </a:p>
                  </a:txBody>
                  <a:tcPr marL="36000" marR="36000" marT="45267" marB="45267" anchor="ctr">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03764"/>
                    </a:solidFill>
                  </a:tcPr>
                </a:tc>
                <a:tc hMerge="1">
                  <a:txBody>
                    <a:bodyPr/>
                    <a:lstStyle/>
                    <a:p>
                      <a:endParaRPr lang="fr-FR"/>
                    </a:p>
                  </a:txBody>
                  <a:tcPr/>
                </a:tc>
                <a:tc hMerge="1">
                  <a:txBody>
                    <a:bodyPr/>
                    <a:lstStyle/>
                    <a:p>
                      <a:endParaRPr lang="fr-FR"/>
                    </a:p>
                  </a:txBody>
                  <a:tcPr/>
                </a:tc>
                <a:tc gridSpan="3">
                  <a:txBody>
                    <a:bodyPr/>
                    <a:lstStyle/>
                    <a:p>
                      <a:pPr algn="ctr" fontAlgn="ctr"/>
                      <a:r>
                        <a:rPr lang="fr-FR" sz="1300" b="1" i="0" u="none" strike="noStrike">
                          <a:solidFill>
                            <a:schemeClr val="bg1"/>
                          </a:solidFill>
                          <a:effectLst/>
                          <a:latin typeface="+mj-lt"/>
                        </a:rPr>
                        <a:t>Niveau de maturité</a:t>
                      </a:r>
                    </a:p>
                  </a:txBody>
                  <a:tcPr marL="36000" marR="36000" marT="45267" marB="45267"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03764"/>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649682005"/>
                  </a:ext>
                </a:extLst>
              </a:tr>
              <a:tr h="229246">
                <a:tc>
                  <a:txBody>
                    <a:bodyPr/>
                    <a:lstStyle/>
                    <a:p>
                      <a:pPr algn="ctr" fontAlgn="ctr"/>
                      <a:r>
                        <a:rPr lang="fr-FR" sz="1100" b="1" i="0" u="none" strike="noStrike">
                          <a:solidFill>
                            <a:srgbClr val="000000"/>
                          </a:solidFill>
                          <a:effectLst/>
                          <a:latin typeface="+mj-lt"/>
                        </a:rPr>
                        <a:t>Axe</a:t>
                      </a:r>
                    </a:p>
                  </a:txBody>
                  <a:tcPr marL="36000" marR="36000" marT="31633" marB="31633" anchor="ctr">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1" i="0" u="none" strike="noStrike">
                          <a:solidFill>
                            <a:srgbClr val="000000"/>
                          </a:solidFill>
                          <a:effectLst/>
                          <a:latin typeface="+mj-lt"/>
                        </a:rPr>
                        <a:t>Thèm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1" i="0" u="none" strike="noStrike">
                          <a:solidFill>
                            <a:srgbClr val="000000"/>
                          </a:solidFill>
                          <a:effectLst/>
                          <a:latin typeface="+mj-lt"/>
                        </a:rPr>
                        <a:t>Critèr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1" i="0" u="none" strike="noStrike">
                          <a:solidFill>
                            <a:schemeClr val="bg1"/>
                          </a:solidFill>
                          <a:effectLst/>
                          <a:latin typeface="+mj-lt"/>
                        </a:rPr>
                        <a:t>1 - Artisanal</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ctr"/>
                      <a:r>
                        <a:rPr lang="fr-FR" sz="1100" b="1" i="0" u="none" strike="noStrike">
                          <a:solidFill>
                            <a:schemeClr val="bg1"/>
                          </a:solidFill>
                          <a:effectLst/>
                          <a:latin typeface="+mj-lt"/>
                        </a:rPr>
                        <a:t>2 - Industriel</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CB37"/>
                    </a:solidFill>
                  </a:tcPr>
                </a:tc>
                <a:tc>
                  <a:txBody>
                    <a:bodyPr/>
                    <a:lstStyle/>
                    <a:p>
                      <a:pPr algn="ctr" fontAlgn="ctr"/>
                      <a:r>
                        <a:rPr lang="fr-FR" sz="1100" b="1" i="0" u="none" strike="noStrike">
                          <a:solidFill>
                            <a:schemeClr val="bg1"/>
                          </a:solidFill>
                          <a:effectLst/>
                          <a:latin typeface="+mj-lt"/>
                        </a:rPr>
                        <a:t>3 - Automatisé</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348140065"/>
                  </a:ext>
                </a:extLst>
              </a:tr>
              <a:tr h="365048">
                <a:tc rowSpan="4">
                  <a:txBody>
                    <a:bodyPr/>
                    <a:lstStyle/>
                    <a:p>
                      <a:pPr algn="ctr" fontAlgn="ctr"/>
                      <a:endParaRPr lang="fr-FR" sz="1200" b="1" i="0" u="none" strike="noStrike">
                        <a:solidFill>
                          <a:schemeClr val="bg1"/>
                        </a:solidFill>
                        <a:effectLst/>
                        <a:latin typeface="+mj-lt"/>
                      </a:endParaRPr>
                    </a:p>
                    <a:p>
                      <a:pPr algn="ctr" fontAlgn="ctr"/>
                      <a:endParaRPr lang="fr-FR" sz="1200" b="1" i="0" u="none" strike="noStrike">
                        <a:solidFill>
                          <a:schemeClr val="bg1"/>
                        </a:solidFill>
                        <a:effectLst/>
                        <a:latin typeface="+mj-lt"/>
                      </a:endParaRPr>
                    </a:p>
                    <a:p>
                      <a:pPr algn="ctr" fontAlgn="ctr"/>
                      <a:r>
                        <a:rPr lang="fr-FR" sz="1200" b="1" i="0" u="none" strike="noStrike">
                          <a:solidFill>
                            <a:schemeClr val="bg1"/>
                          </a:solidFill>
                          <a:effectLst/>
                          <a:latin typeface="+mj-lt"/>
                        </a:rPr>
                        <a:t>Organisation &amp; compétences</a:t>
                      </a:r>
                    </a:p>
                  </a:txBody>
                  <a:tcPr marL="36000" marR="36000" marT="45267" marB="45267">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2">
                  <a:txBody>
                    <a:bodyPr/>
                    <a:lstStyle/>
                    <a:p>
                      <a:pPr algn="ctr" fontAlgn="ctr"/>
                      <a:r>
                        <a:rPr lang="fr-FR" sz="1000" b="1" i="0" u="none" strike="noStrike">
                          <a:solidFill>
                            <a:srgbClr val="000000"/>
                          </a:solidFill>
                          <a:effectLst/>
                          <a:latin typeface="+mj-lt"/>
                        </a:rPr>
                        <a:t>Pilotage</a:t>
                      </a:r>
                    </a:p>
                  </a:txBody>
                  <a:tcPr marL="36000" marR="36000" marT="45267" marB="45267"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Indicateur</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indicateur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Indicateurs de fonctionnement partiel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Indicateurs pertinents </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983544470"/>
                  </a:ext>
                </a:extLst>
              </a:tr>
              <a:tr h="214156">
                <a:tc vMerge="1">
                  <a:txBody>
                    <a:bodyPr/>
                    <a:lstStyle/>
                    <a:p>
                      <a:endParaRPr lang="fr-FR"/>
                    </a:p>
                  </a:txBody>
                  <a:tcPr/>
                </a:tc>
                <a:tc vMerge="1">
                  <a:txBody>
                    <a:bodyPr/>
                    <a:lstStyle/>
                    <a:p>
                      <a:endParaRPr lang="fr-FR"/>
                    </a:p>
                  </a:txBody>
                  <a:tcPr/>
                </a:tc>
                <a:tc>
                  <a:txBody>
                    <a:bodyPr/>
                    <a:lstStyle/>
                    <a:p>
                      <a:pPr algn="ctr" fontAlgn="ctr"/>
                      <a:r>
                        <a:rPr lang="fr-FR" sz="1000" b="0" i="0" u="none" strike="noStrike">
                          <a:solidFill>
                            <a:srgbClr val="000000"/>
                          </a:solidFill>
                          <a:effectLst/>
                          <a:latin typeface="+mj-lt"/>
                        </a:rPr>
                        <a:t>Suivi</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e suivi</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Suivi partiel</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Suivi régulier</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198616668"/>
                  </a:ext>
                </a:extLst>
              </a:tr>
              <a:tr h="365048">
                <a:tc vMerge="1">
                  <a:txBody>
                    <a:bodyPr/>
                    <a:lstStyle/>
                    <a:p>
                      <a:endParaRPr lang="fr-FR"/>
                    </a:p>
                  </a:txBody>
                  <a:tcPr/>
                </a:tc>
                <a:tc rowSpan="2">
                  <a:txBody>
                    <a:bodyPr/>
                    <a:lstStyle/>
                    <a:p>
                      <a:pPr algn="ctr" fontAlgn="ctr"/>
                      <a:r>
                        <a:rPr lang="fr-FR" sz="1000" b="1" i="0" u="none" strike="noStrike">
                          <a:solidFill>
                            <a:srgbClr val="000000"/>
                          </a:solidFill>
                          <a:effectLst/>
                          <a:latin typeface="+mj-lt"/>
                        </a:rPr>
                        <a:t>Niveau de contrôle</a:t>
                      </a:r>
                    </a:p>
                  </a:txBody>
                  <a:tcPr marL="36000" marR="36000" marT="45267" marB="45267"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Niveau </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e contrôl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Présence de contrôle de 1</a:t>
                      </a:r>
                      <a:r>
                        <a:rPr lang="fr-FR" sz="1000" b="0" i="0" u="none" strike="noStrike" baseline="30000">
                          <a:solidFill>
                            <a:srgbClr val="000000"/>
                          </a:solidFill>
                          <a:effectLst/>
                          <a:latin typeface="+mj-lt"/>
                        </a:rPr>
                        <a:t>er</a:t>
                      </a:r>
                      <a:r>
                        <a:rPr lang="fr-FR" sz="1000" b="0" i="0" u="none" strike="noStrike">
                          <a:solidFill>
                            <a:srgbClr val="000000"/>
                          </a:solidFill>
                          <a:effectLst/>
                          <a:latin typeface="+mj-lt"/>
                        </a:rPr>
                        <a:t> niveau</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Présence de contrôle de 1</a:t>
                      </a:r>
                      <a:r>
                        <a:rPr lang="fr-FR" sz="1000" b="0" i="0" u="none" strike="noStrike" baseline="30000">
                          <a:solidFill>
                            <a:srgbClr val="000000"/>
                          </a:solidFill>
                          <a:effectLst/>
                          <a:latin typeface="+mj-lt"/>
                        </a:rPr>
                        <a:t>er</a:t>
                      </a:r>
                      <a:r>
                        <a:rPr lang="fr-FR" sz="1000" b="0" i="0" u="none" strike="noStrike">
                          <a:solidFill>
                            <a:srgbClr val="000000"/>
                          </a:solidFill>
                          <a:effectLst/>
                          <a:latin typeface="+mj-lt"/>
                        </a:rPr>
                        <a:t> et 2</a:t>
                      </a:r>
                      <a:r>
                        <a:rPr lang="fr-FR" sz="1000" b="0" i="0" u="none" strike="noStrike" baseline="30000">
                          <a:solidFill>
                            <a:srgbClr val="000000"/>
                          </a:solidFill>
                          <a:effectLst/>
                          <a:latin typeface="+mj-lt"/>
                        </a:rPr>
                        <a:t>nd</a:t>
                      </a:r>
                      <a:r>
                        <a:rPr lang="fr-FR" sz="1000" b="0" i="0" u="none" strike="noStrike">
                          <a:solidFill>
                            <a:srgbClr val="000000"/>
                          </a:solidFill>
                          <a:effectLst/>
                          <a:latin typeface="+mj-lt"/>
                        </a:rPr>
                        <a:t> niveaux</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22871664"/>
                  </a:ext>
                </a:extLst>
              </a:tr>
              <a:tr h="365048">
                <a:tc vMerge="1">
                  <a:txBody>
                    <a:bodyPr/>
                    <a:lstStyle/>
                    <a:p>
                      <a:endParaRPr lang="fr-FR"/>
                    </a:p>
                  </a:txBody>
                  <a:tcPr/>
                </a:tc>
                <a:tc vMerge="1">
                  <a:txBody>
                    <a:bodyPr/>
                    <a:lstStyle/>
                    <a:p>
                      <a:endParaRPr lang="fr-FR"/>
                    </a:p>
                  </a:txBody>
                  <a:tcPr/>
                </a:tc>
                <a:tc>
                  <a:txBody>
                    <a:bodyPr/>
                    <a:lstStyle/>
                    <a:p>
                      <a:pPr algn="ctr" fontAlgn="ctr"/>
                      <a:r>
                        <a:rPr lang="fr-FR" sz="1000" b="0" i="0" u="none" strike="noStrike">
                          <a:solidFill>
                            <a:srgbClr val="000000"/>
                          </a:solidFill>
                          <a:effectLst/>
                          <a:latin typeface="+mj-lt"/>
                        </a:rPr>
                        <a:t>Gestion des risque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identification des risque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Risques définis par expérience </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La maitrise des risques est revue et améliorée régulièrement</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273435673"/>
                  </a:ext>
                </a:extLst>
              </a:tr>
              <a:tr h="515939">
                <a:tc rowSpan="5">
                  <a:txBody>
                    <a:bodyPr/>
                    <a:lstStyle/>
                    <a:p>
                      <a:pPr algn="ctr" fontAlgn="ctr"/>
                      <a:endParaRPr lang="fr-FR" sz="1200" b="1" i="0" u="none" strike="noStrike">
                        <a:solidFill>
                          <a:schemeClr val="bg1"/>
                        </a:solidFill>
                        <a:effectLst/>
                        <a:latin typeface="+mj-lt"/>
                      </a:endParaRPr>
                    </a:p>
                    <a:p>
                      <a:pPr algn="ctr" fontAlgn="ctr"/>
                      <a:endParaRPr lang="fr-FR" sz="1200" b="1" i="0" u="none" strike="noStrike">
                        <a:solidFill>
                          <a:schemeClr val="bg1"/>
                        </a:solidFill>
                        <a:effectLst/>
                        <a:latin typeface="+mj-lt"/>
                      </a:endParaRPr>
                    </a:p>
                    <a:p>
                      <a:pPr algn="ctr" fontAlgn="ctr"/>
                      <a:endParaRPr lang="fr-FR" sz="1200" b="1" i="0" u="none" strike="noStrike">
                        <a:solidFill>
                          <a:schemeClr val="bg1"/>
                        </a:solidFill>
                        <a:effectLst/>
                        <a:latin typeface="+mj-lt"/>
                      </a:endParaRPr>
                    </a:p>
                    <a:p>
                      <a:pPr algn="ctr" fontAlgn="ctr"/>
                      <a:endParaRPr lang="fr-FR" sz="1200" b="1" i="0" u="none" strike="noStrike">
                        <a:solidFill>
                          <a:schemeClr val="bg1"/>
                        </a:solidFill>
                        <a:effectLst/>
                        <a:latin typeface="+mj-lt"/>
                      </a:endParaRPr>
                    </a:p>
                    <a:p>
                      <a:pPr algn="ctr" fontAlgn="ctr"/>
                      <a:r>
                        <a:rPr lang="fr-FR" sz="1200" b="1" i="0" u="none" strike="noStrike" cap="none">
                          <a:solidFill>
                            <a:schemeClr val="bg1"/>
                          </a:solidFill>
                          <a:effectLst/>
                          <a:latin typeface="+mn-lt"/>
                          <a:ea typeface="+mn-ea"/>
                          <a:cs typeface="+mn-cs"/>
                          <a:sym typeface="Arial"/>
                        </a:rPr>
                        <a:t>Outils</a:t>
                      </a:r>
                      <a:endParaRPr lang="fr-FR" sz="1200" b="1" i="0" u="none" strike="noStrike">
                        <a:solidFill>
                          <a:schemeClr val="bg1"/>
                        </a:solidFill>
                        <a:effectLst/>
                        <a:latin typeface="+mj-lt"/>
                      </a:endParaRPr>
                    </a:p>
                  </a:txBody>
                  <a:tcPr marL="36000" marR="36000" marT="45267" marB="45267">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3">
                  <a:txBody>
                    <a:bodyPr/>
                    <a:lstStyle/>
                    <a:p>
                      <a:pPr algn="ctr" fontAlgn="ctr"/>
                      <a:r>
                        <a:rPr lang="fr-FR" sz="1000" b="1" i="0" u="none" strike="noStrike">
                          <a:solidFill>
                            <a:srgbClr val="000000"/>
                          </a:solidFill>
                          <a:effectLst/>
                          <a:latin typeface="+mj-lt"/>
                        </a:rPr>
                        <a:t>Management</a:t>
                      </a:r>
                    </a:p>
                  </a:txBody>
                  <a:tcPr marL="36000" marR="36000" marT="45267" marB="45267"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Collectif</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Aucune routine de management  n'anime le processu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Un standard pour les routines est formalisé</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Le fonctionnement des routines est régulièrement évalué et des améliorations formalisée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322210509"/>
                  </a:ext>
                </a:extLst>
              </a:tr>
              <a:tr h="365048">
                <a:tc vMerge="1">
                  <a:txBody>
                    <a:bodyPr/>
                    <a:lstStyle/>
                    <a:p>
                      <a:endParaRPr lang="fr-FR"/>
                    </a:p>
                  </a:txBody>
                  <a:tcPr/>
                </a:tc>
                <a:tc vMerge="1">
                  <a:txBody>
                    <a:bodyPr/>
                    <a:lstStyle/>
                    <a:p>
                      <a:endParaRPr lang="fr-FR"/>
                    </a:p>
                  </a:txBody>
                  <a:tcPr/>
                </a:tc>
                <a:tc>
                  <a:txBody>
                    <a:bodyPr/>
                    <a:lstStyle/>
                    <a:p>
                      <a:pPr algn="ctr" fontAlgn="ctr"/>
                      <a:r>
                        <a:rPr lang="fr-FR" sz="1000" b="0" i="0" u="none" strike="noStrike">
                          <a:solidFill>
                            <a:srgbClr val="000000"/>
                          </a:solidFill>
                          <a:effectLst/>
                          <a:latin typeface="+mj-lt"/>
                        </a:rPr>
                        <a:t>Individuel</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ilotage des tâche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Pilotage des résultats et dispositif d’évaluation biannuel</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Accompagnement de la progression professionnelle et feedback continu</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511373834"/>
                  </a:ext>
                </a:extLst>
              </a:tr>
              <a:tr h="365048">
                <a:tc vMerge="1">
                  <a:txBody>
                    <a:bodyPr/>
                    <a:lstStyle/>
                    <a:p>
                      <a:endParaRPr lang="fr-FR"/>
                    </a:p>
                  </a:txBody>
                  <a:tcPr/>
                </a:tc>
                <a:tc vMerge="1">
                  <a:txBody>
                    <a:bodyPr/>
                    <a:lstStyle/>
                    <a:p>
                      <a:endParaRPr lang="fr-FR"/>
                    </a:p>
                  </a:txBody>
                  <a:tcPr/>
                </a:tc>
                <a:tc>
                  <a:txBody>
                    <a:bodyPr/>
                    <a:lstStyle/>
                    <a:p>
                      <a:pPr algn="ctr" fontAlgn="ctr"/>
                      <a:r>
                        <a:rPr lang="fr-FR" sz="1000" b="0" i="0" u="none" strike="noStrike">
                          <a:solidFill>
                            <a:srgbClr val="000000"/>
                          </a:solidFill>
                          <a:effectLst/>
                          <a:latin typeface="+mj-lt"/>
                        </a:rPr>
                        <a:t>Accompagnement des manager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accompagnement</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Dispositif de formation managérial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Dispositif de coaching et de co-développement</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32285268"/>
                  </a:ext>
                </a:extLst>
              </a:tr>
              <a:tr h="450365">
                <a:tc vMerge="1">
                  <a:txBody>
                    <a:bodyPr/>
                    <a:lstStyle/>
                    <a:p>
                      <a:endParaRPr lang="fr-FR"/>
                    </a:p>
                  </a:txBody>
                  <a:tcPr/>
                </a:tc>
                <a:tc rowSpan="2">
                  <a:txBody>
                    <a:bodyPr/>
                    <a:lstStyle/>
                    <a:p>
                      <a:pPr algn="ctr" fontAlgn="ctr"/>
                      <a:r>
                        <a:rPr lang="fr-FR" sz="1000" b="1" i="0" u="none" strike="noStrike">
                          <a:solidFill>
                            <a:srgbClr val="000000"/>
                          </a:solidFill>
                          <a:effectLst/>
                          <a:latin typeface="+mj-lt"/>
                        </a:rPr>
                        <a:t>Engagement collaborateur</a:t>
                      </a:r>
                    </a:p>
                  </a:txBody>
                  <a:tcPr marL="36000" marR="36000" marT="45267" marB="45267"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Amélioration continu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actions d'amélioration formalisée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Action d'amélioration formalisé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Amélioration continue prise en charge par les acteurs du processu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13421574"/>
                  </a:ext>
                </a:extLst>
              </a:tr>
              <a:tr h="365048">
                <a:tc vMerge="1">
                  <a:txBody>
                    <a:bodyPr/>
                    <a:lstStyle/>
                    <a:p>
                      <a:endParaRPr lang="fr-FR"/>
                    </a:p>
                  </a:txBody>
                  <a:tcPr/>
                </a:tc>
                <a:tc vMerge="1">
                  <a:txBody>
                    <a:bodyPr/>
                    <a:lstStyle/>
                    <a:p>
                      <a:endParaRPr lang="fr-FR"/>
                    </a:p>
                  </a:txBody>
                  <a:tcPr/>
                </a:tc>
                <a:tc>
                  <a:txBody>
                    <a:bodyPr/>
                    <a:lstStyle/>
                    <a:p>
                      <a:pPr algn="ctr" fontAlgn="ctr"/>
                      <a:r>
                        <a:rPr lang="fr-FR" sz="1000" b="0" i="0" u="none" strike="noStrike">
                          <a:solidFill>
                            <a:srgbClr val="000000"/>
                          </a:solidFill>
                          <a:effectLst/>
                          <a:latin typeface="+mj-lt"/>
                        </a:rPr>
                        <a:t>Autonomi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e pouvoir de délégation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Contraintes liées aux processus validation </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Une délégation sur mesur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219877748"/>
                  </a:ext>
                </a:extLst>
              </a:tr>
              <a:tr h="666830">
                <a:tc rowSpan="3">
                  <a:txBody>
                    <a:bodyPr/>
                    <a:lstStyle/>
                    <a:p>
                      <a:pPr algn="ctr" fontAlgn="ctr"/>
                      <a:endParaRPr lang="fr-FR" sz="1200" b="1" i="0" u="none" strike="noStrike">
                        <a:solidFill>
                          <a:schemeClr val="bg1"/>
                        </a:solidFill>
                        <a:effectLst/>
                        <a:latin typeface="+mj-lt"/>
                      </a:endParaRPr>
                    </a:p>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FFFFFF"/>
                          </a:solidFill>
                          <a:effectLst/>
                          <a:uLnTx/>
                          <a:uFillTx/>
                          <a:latin typeface="+mn-lt"/>
                          <a:ea typeface="+mn-ea"/>
                          <a:cs typeface="+mn-cs"/>
                          <a:sym typeface="Arial"/>
                        </a:rPr>
                        <a:t>Processus</a:t>
                      </a:r>
                      <a:endParaRPr lang="fr-FR" sz="600" b="1" i="0" u="none" strike="noStrike">
                        <a:solidFill>
                          <a:schemeClr val="bg1"/>
                        </a:solidFill>
                        <a:effectLst/>
                        <a:latin typeface="+mj-lt"/>
                      </a:endParaRPr>
                    </a:p>
                    <a:p>
                      <a:pPr algn="ctr" fontAlgn="ctr"/>
                      <a:endParaRPr lang="fr-FR" sz="1200" b="1" i="0" u="none" strike="noStrike">
                        <a:solidFill>
                          <a:schemeClr val="bg1"/>
                        </a:solidFill>
                        <a:effectLst/>
                        <a:latin typeface="+mj-lt"/>
                      </a:endParaRPr>
                    </a:p>
                  </a:txBody>
                  <a:tcPr marL="36000" marR="36000" marT="45267" marB="45267">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fr-FR" sz="1000" b="1" i="0" u="none" strike="noStrike">
                          <a:solidFill>
                            <a:srgbClr val="000000"/>
                          </a:solidFill>
                          <a:effectLst/>
                          <a:latin typeface="+mj-lt"/>
                        </a:rPr>
                        <a:t>Solution hors indemnisation</a:t>
                      </a:r>
                      <a:br>
                        <a:rPr lang="fr-FR" sz="1000" b="1" i="0" u="none" strike="noStrike">
                          <a:solidFill>
                            <a:srgbClr val="000000"/>
                          </a:solidFill>
                          <a:effectLst/>
                          <a:latin typeface="+mj-lt"/>
                        </a:rPr>
                      </a:br>
                      <a:r>
                        <a:rPr lang="fr-FR" sz="1000" b="1" i="0" u="none" strike="noStrike">
                          <a:solidFill>
                            <a:srgbClr val="000000"/>
                          </a:solidFill>
                          <a:effectLst/>
                          <a:latin typeface="+mj-lt"/>
                        </a:rPr>
                        <a:t>Gestion au-delà de la garanti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Qualité</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as de solution proposé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Un accompagnement partiel (envoi de documentation/contact)</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Suivi du client pour la solution hors indemnisation/hors garanti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514130851"/>
                  </a:ext>
                </a:extLst>
              </a:tr>
              <a:tr h="302094">
                <a:tc vMerge="1">
                  <a:txBody>
                    <a:bodyPr/>
                    <a:lstStyle/>
                    <a:p>
                      <a:endParaRPr lang="fr-FR"/>
                    </a:p>
                  </a:txBody>
                  <a:tcPr>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2">
                  <a:txBody>
                    <a:bodyPr/>
                    <a:lstStyle/>
                    <a:p>
                      <a:pPr algn="ctr" fontAlgn="ctr"/>
                      <a:r>
                        <a:rPr lang="fr-FR" sz="1000" b="1" i="0" u="none" strike="noStrike">
                          <a:solidFill>
                            <a:srgbClr val="000000"/>
                          </a:solidFill>
                          <a:effectLst/>
                          <a:latin typeface="+mj-lt"/>
                        </a:rPr>
                        <a:t>Processus</a:t>
                      </a:r>
                    </a:p>
                  </a:txBody>
                  <a:tcPr marL="36000" marR="36000" marT="45267" marB="45267"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Niveau d'automatisation</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Peu d'automatisation</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Automatisation partielle</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Tous les processus sont automatisé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79752886"/>
                  </a:ext>
                </a:extLst>
              </a:tr>
              <a:tr h="365048">
                <a:tc vMerge="1">
                  <a:txBody>
                    <a:bodyPr/>
                    <a:lstStyle/>
                    <a:p>
                      <a:endParaRPr lang="fr-FR"/>
                    </a:p>
                  </a:txBody>
                  <a:tcPr>
                    <a:lnL w="1905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endParaRPr lang="fr-F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000" b="0" i="0" u="none" strike="noStrike">
                          <a:solidFill>
                            <a:srgbClr val="000000"/>
                          </a:solidFill>
                          <a:effectLst/>
                          <a:latin typeface="+mj-lt"/>
                        </a:rPr>
                        <a:t>Fluidité des processu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fr-FR" sz="1000" b="0" i="0" u="none" strike="noStrike">
                          <a:solidFill>
                            <a:srgbClr val="000000"/>
                          </a:solidFill>
                          <a:effectLst/>
                          <a:latin typeface="+mj-lt"/>
                        </a:rPr>
                        <a:t>Absence de processu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l" fontAlgn="ctr"/>
                      <a:r>
                        <a:rPr lang="fr-FR" sz="1000" b="0" i="0" u="none" strike="noStrike">
                          <a:solidFill>
                            <a:srgbClr val="000000"/>
                          </a:solidFill>
                          <a:effectLst/>
                          <a:latin typeface="+mj-lt"/>
                        </a:rPr>
                        <a:t>Peu de processus mis en place et partagé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l" fontAlgn="ctr"/>
                      <a:r>
                        <a:rPr lang="fr-FR" sz="1000" b="0" i="0" u="none" strike="noStrike">
                          <a:solidFill>
                            <a:srgbClr val="000000"/>
                          </a:solidFill>
                          <a:effectLst/>
                          <a:latin typeface="+mj-lt"/>
                        </a:rPr>
                        <a:t>Des processus bien définis et partagés</a:t>
                      </a:r>
                    </a:p>
                  </a:txBody>
                  <a:tcPr marL="36000" marR="36000" marT="31633" marB="31633" anchor="ctr">
                    <a:lnL w="9525" cap="flat" cmpd="sng" algn="ctr">
                      <a:solidFill>
                        <a:schemeClr val="tx1">
                          <a:lumMod val="50000"/>
                          <a:lumOff val="50000"/>
                        </a:schemeClr>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263904692"/>
                  </a:ext>
                </a:extLst>
              </a:tr>
            </a:tbl>
          </a:graphicData>
        </a:graphic>
      </p:graphicFrame>
      <p:sp>
        <p:nvSpPr>
          <p:cNvPr id="41" name="Line 5">
            <a:extLst>
              <a:ext uri="{FF2B5EF4-FFF2-40B4-BE49-F238E27FC236}">
                <a16:creationId xmlns:a16="http://schemas.microsoft.com/office/drawing/2014/main" id="{FCC8CA04-A669-EB00-CF2D-BF0B2CFAA0B2}"/>
              </a:ext>
            </a:extLst>
          </p:cNvPr>
          <p:cNvSpPr>
            <a:spLocks noChangeShapeType="1"/>
          </p:cNvSpPr>
          <p:nvPr/>
        </p:nvSpPr>
        <p:spPr bwMode="blackWhite">
          <a:xfrm>
            <a:off x="569185" y="1144543"/>
            <a:ext cx="10224000" cy="0"/>
          </a:xfrm>
          <a:prstGeom prst="line">
            <a:avLst/>
          </a:prstGeom>
          <a:noFill/>
          <a:ln w="12700">
            <a:solidFill>
              <a:srgbClr val="006EB7"/>
            </a:solidFill>
            <a:round/>
            <a:headEnd/>
            <a:tailEnd/>
          </a:ln>
        </p:spPr>
        <p:txBody>
          <a:bodyPr wrap="none" lIns="67677" tIns="33824" rIns="67677" bIns="33824" anchor="ctr"/>
          <a:lstStyle/>
          <a:p>
            <a:pPr marL="0" marR="0" lvl="0" indent="0" algn="l" defTabSz="652790" rtl="0" eaLnBrk="1" fontAlgn="auto" latinLnBrk="0" hangingPunct="1">
              <a:lnSpc>
                <a:spcPct val="100000"/>
              </a:lnSpc>
              <a:spcBef>
                <a:spcPts val="0"/>
              </a:spcBef>
              <a:spcAft>
                <a:spcPts val="0"/>
              </a:spcAft>
              <a:buClrTx/>
              <a:buSzTx/>
              <a:buFontTx/>
              <a:buNone/>
              <a:tabLst/>
              <a:defRPr/>
            </a:pPr>
            <a:endParaRPr kumimoji="0" lang="fr-FR" sz="2400" b="1" i="0" u="none" strike="noStrike" kern="0" cap="none" spc="0" normalizeH="0" baseline="0" noProof="0">
              <a:ln>
                <a:noFill/>
              </a:ln>
              <a:solidFill>
                <a:prstClr val="black"/>
              </a:solidFill>
              <a:effectLst/>
              <a:uLnTx/>
              <a:uFillTx/>
              <a:latin typeface="Calibri" panose="020F0502020204030204"/>
              <a:ea typeface="+mn-ea"/>
              <a:cs typeface="Arial" charset="0"/>
              <a:sym typeface="Arial"/>
            </a:endParaRPr>
          </a:p>
        </p:txBody>
      </p:sp>
      <p:sp>
        <p:nvSpPr>
          <p:cNvPr id="6" name="Titre 29">
            <a:extLst>
              <a:ext uri="{FF2B5EF4-FFF2-40B4-BE49-F238E27FC236}">
                <a16:creationId xmlns:a16="http://schemas.microsoft.com/office/drawing/2014/main" id="{D440BF25-5FD2-2B30-374D-10F8B85EC323}"/>
              </a:ext>
            </a:extLst>
          </p:cNvPr>
          <p:cNvSpPr>
            <a:spLocks noGrp="1"/>
          </p:cNvSpPr>
          <p:nvPr>
            <p:ph type="title"/>
          </p:nvPr>
        </p:nvSpPr>
        <p:spPr>
          <a:xfrm>
            <a:off x="396655" y="217390"/>
            <a:ext cx="9907072" cy="407795"/>
          </a:xfrm>
          <a:solidFill>
            <a:schemeClr val="bg1"/>
          </a:solidFill>
        </p:spPr>
        <p:txBody>
          <a:bodyPr/>
          <a:lstStyle/>
          <a:p>
            <a:r>
              <a:rPr lang="fr-FR" sz="1800">
                <a:solidFill>
                  <a:schemeClr val="bg2"/>
                </a:solidFill>
                <a:latin typeface="Arial Black"/>
              </a:rPr>
              <a:t>2. RÉALISATION DU DIAGNOSTIC</a:t>
            </a:r>
          </a:p>
        </p:txBody>
      </p:sp>
    </p:spTree>
    <p:extLst>
      <p:ext uri="{BB962C8B-B14F-4D97-AF65-F5344CB8AC3E}">
        <p14:creationId xmlns:p14="http://schemas.microsoft.com/office/powerpoint/2010/main" val="40779974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89173"/>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34" name="ZoneTexte 33">
            <a:extLst>
              <a:ext uri="{FF2B5EF4-FFF2-40B4-BE49-F238E27FC236}">
                <a16:creationId xmlns:a16="http://schemas.microsoft.com/office/drawing/2014/main" id="{9650F1C7-7C98-3C61-8C3C-2BBA81E3429C}"/>
              </a:ext>
            </a:extLst>
          </p:cNvPr>
          <p:cNvSpPr txBox="1"/>
          <p:nvPr/>
        </p:nvSpPr>
        <p:spPr>
          <a:xfrm>
            <a:off x="9160399" y="4728727"/>
            <a:ext cx="2891381" cy="1896362"/>
          </a:xfrm>
          <a:prstGeom prst="rect">
            <a:avLst/>
          </a:prstGeom>
          <a:noFill/>
          <a:ln w="19050">
            <a:solidFill>
              <a:schemeClr val="accent2"/>
            </a:solidFill>
          </a:ln>
        </p:spPr>
        <p:txBody>
          <a:bodyPr wrap="square" lIns="91440" tIns="45720" rIns="91440" bIns="45720" anchor="t">
            <a:noAutofit/>
          </a:bodyPr>
          <a:lstStyle/>
          <a:p>
            <a:r>
              <a:rPr lang="fr-FR" sz="1200" b="1">
                <a:solidFill>
                  <a:schemeClr val="accent2"/>
                </a:solidFill>
              </a:rPr>
              <a:t>Livrables</a:t>
            </a:r>
          </a:p>
          <a:p>
            <a:endParaRPr lang="fr-FR" sz="1200" b="1">
              <a:solidFill>
                <a:schemeClr val="bg2"/>
              </a:solidFill>
            </a:endParaRPr>
          </a:p>
          <a:p>
            <a:pPr marL="171450" lvl="1" indent="-171450"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Liste priorisée des actions à mettre en œuvre</a:t>
            </a:r>
          </a:p>
          <a:p>
            <a:pPr marL="171450" lvl="1" indent="-171450"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Projets à lancer en priorité</a:t>
            </a:r>
          </a:p>
          <a:p>
            <a:pPr marL="171450" lvl="1" indent="-171450"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Feuille de route (macro-planning)</a:t>
            </a:r>
          </a:p>
          <a:p>
            <a:pPr marL="171450" lvl="1" indent="-171450"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Stratégie de mise en œuvre</a:t>
            </a:r>
          </a:p>
          <a:p>
            <a:pPr marL="171450" lvl="1" indent="-171450"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Macro chiffrage des solutions et des gains estimés</a:t>
            </a:r>
          </a:p>
          <a:p>
            <a:pPr marL="171450" lvl="1" indent="-171450" defTabSz="514308">
              <a:spcAft>
                <a:spcPts val="151"/>
              </a:spcAft>
              <a:buClr>
                <a:schemeClr val="tx1"/>
              </a:buClr>
              <a:buSzPct val="100000"/>
              <a:buFont typeface="Wingdings" panose="05000000000000000000" pitchFamily="2" charset="2"/>
              <a:buChar char="ü"/>
              <a:defRPr/>
            </a:pPr>
            <a:r>
              <a:rPr lang="fr-FR" sz="1050">
                <a:solidFill>
                  <a:prstClr val="black">
                    <a:lumMod val="75000"/>
                    <a:lumOff val="25000"/>
                  </a:prstClr>
                </a:solidFill>
                <a:latin typeface="+mj-lt"/>
                <a:cs typeface="Calibri"/>
              </a:rPr>
              <a:t>Liste des points à approfondir</a:t>
            </a:r>
            <a:endParaRPr lang="fr-FR" sz="1100">
              <a:solidFill>
                <a:prstClr val="white">
                  <a:lumMod val="50000"/>
                </a:prstClr>
              </a:solidFill>
              <a:ea typeface="Open Sans" panose="020B0604020202020204" charset="0"/>
              <a:cs typeface="Open Sans" panose="020B0604020202020204" charset="0"/>
            </a:endParaRPr>
          </a:p>
          <a:p>
            <a:pPr marL="171450" indent="-171450">
              <a:buClr>
                <a:schemeClr val="accent2"/>
              </a:buClr>
              <a:buFont typeface="Wingdings" panose="05000000000000000000" pitchFamily="2" charset="2"/>
              <a:buChar char="ü"/>
            </a:pPr>
            <a:endParaRPr lang="fr-FR" sz="1100"/>
          </a:p>
        </p:txBody>
      </p:sp>
      <p:grpSp>
        <p:nvGrpSpPr>
          <p:cNvPr id="13" name="Groupe 12">
            <a:extLst>
              <a:ext uri="{FF2B5EF4-FFF2-40B4-BE49-F238E27FC236}">
                <a16:creationId xmlns:a16="http://schemas.microsoft.com/office/drawing/2014/main" id="{682A4517-7D9B-394B-F7A0-DA6827440CB0}"/>
              </a:ext>
            </a:extLst>
          </p:cNvPr>
          <p:cNvGrpSpPr/>
          <p:nvPr/>
        </p:nvGrpSpPr>
        <p:grpSpPr>
          <a:xfrm>
            <a:off x="385524" y="954269"/>
            <a:ext cx="2891381" cy="2169280"/>
            <a:chOff x="385524" y="954269"/>
            <a:chExt cx="2891381" cy="2169280"/>
          </a:xfrm>
        </p:grpSpPr>
        <p:sp>
          <p:nvSpPr>
            <p:cNvPr id="32" name="Rectangle 31">
              <a:extLst>
                <a:ext uri="{FF2B5EF4-FFF2-40B4-BE49-F238E27FC236}">
                  <a16:creationId xmlns:a16="http://schemas.microsoft.com/office/drawing/2014/main" id="{B3495833-9CC2-ED21-6E68-56E657DD98F8}"/>
                </a:ext>
              </a:extLst>
            </p:cNvPr>
            <p:cNvSpPr/>
            <p:nvPr/>
          </p:nvSpPr>
          <p:spPr>
            <a:xfrm>
              <a:off x="385524" y="1378112"/>
              <a:ext cx="2891381" cy="1745437"/>
            </a:xfrm>
            <a:prstGeom prst="rect">
              <a:avLst/>
            </a:prstGeom>
            <a:solidFill>
              <a:srgbClr val="C1EFF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5738" lvl="1" indent="-185738" algn="just" fontAlgn="base">
                <a:spcBef>
                  <a:spcPct val="0"/>
                </a:spcBef>
                <a:spcAft>
                  <a:spcPct val="0"/>
                </a:spcAft>
                <a:buClr>
                  <a:schemeClr val="tx1"/>
                </a:buClr>
                <a:buSzPct val="100000"/>
                <a:buFont typeface="Arial" panose="020B0604020202020204" pitchFamily="34" charset="0"/>
                <a:buChar char="•"/>
                <a:defRPr/>
              </a:pPr>
              <a:r>
                <a:rPr lang="fr-FR" sz="1050">
                  <a:solidFill>
                    <a:schemeClr val="tx1"/>
                  </a:solidFill>
                  <a:sym typeface="Arial"/>
                </a:rPr>
                <a:t>Prendre de la hauteur sur le dispositif actuel afin de proposer la cible la plus pertinente au regard des ambitions et des attendus exprimés </a:t>
              </a:r>
              <a:endParaRPr lang="fr-FR" sz="1050">
                <a:solidFill>
                  <a:schemeClr val="tx1"/>
                </a:solidFill>
              </a:endParaRPr>
            </a:p>
            <a:p>
              <a:pPr marL="185738" lvl="1" indent="-185738" algn="just" fontAlgn="base">
                <a:spcBef>
                  <a:spcPct val="0"/>
                </a:spcBef>
                <a:spcAft>
                  <a:spcPct val="0"/>
                </a:spcAft>
                <a:buClr>
                  <a:schemeClr val="tx1"/>
                </a:buClr>
                <a:buSzPct val="100000"/>
                <a:buFont typeface="Arial" panose="020B0604020202020204" pitchFamily="34" charset="0"/>
                <a:buChar char="•"/>
                <a:defRPr/>
              </a:pPr>
              <a:r>
                <a:rPr lang="fr-FR" sz="1050">
                  <a:solidFill>
                    <a:schemeClr val="tx1"/>
                  </a:solidFill>
                </a:rPr>
                <a:t>Estimer les principaux impacts et l’effort de transformation nécessaire</a:t>
              </a:r>
            </a:p>
            <a:p>
              <a:pPr marL="185738" lvl="1" indent="-185738" algn="just" fontAlgn="base">
                <a:spcBef>
                  <a:spcPct val="0"/>
                </a:spcBef>
                <a:spcAft>
                  <a:spcPct val="0"/>
                </a:spcAft>
                <a:buClr>
                  <a:schemeClr val="tx1"/>
                </a:buClr>
                <a:buSzPct val="100000"/>
                <a:buFont typeface="Arial" panose="020B0604020202020204" pitchFamily="34" charset="0"/>
                <a:buChar char="•"/>
                <a:defRPr/>
              </a:pPr>
              <a:r>
                <a:rPr lang="fr-FR" sz="1050">
                  <a:solidFill>
                    <a:schemeClr val="tx1"/>
                  </a:solidFill>
                </a:rPr>
                <a:t>Estimer les gains escomptés</a:t>
              </a:r>
            </a:p>
            <a:p>
              <a:pPr marL="185738" marR="0" lvl="1" indent="-185738" algn="just" fontAlgn="base">
                <a:lnSpc>
                  <a:spcPct val="100000"/>
                </a:lnSpc>
                <a:spcBef>
                  <a:spcPct val="0"/>
                </a:spcBef>
                <a:spcAft>
                  <a:spcPct val="0"/>
                </a:spcAft>
                <a:buClr>
                  <a:schemeClr val="tx1"/>
                </a:buClr>
                <a:buSzPct val="100000"/>
                <a:buFont typeface="Arial" panose="020B0604020202020204" pitchFamily="34" charset="0"/>
                <a:buChar char="•"/>
                <a:tabLst/>
                <a:defRPr/>
              </a:pPr>
              <a:r>
                <a:rPr lang="fr-FR" sz="1050">
                  <a:solidFill>
                    <a:schemeClr val="tx1"/>
                  </a:solidFill>
                </a:rPr>
                <a:t>Etablir la roadmap du plan de transformation</a:t>
              </a:r>
            </a:p>
          </p:txBody>
        </p:sp>
        <p:sp>
          <p:nvSpPr>
            <p:cNvPr id="5" name="Rectangle 4">
              <a:extLst>
                <a:ext uri="{FF2B5EF4-FFF2-40B4-BE49-F238E27FC236}">
                  <a16:creationId xmlns:a16="http://schemas.microsoft.com/office/drawing/2014/main" id="{544069F3-8220-51EE-508A-1C07112F822D}"/>
                </a:ext>
              </a:extLst>
            </p:cNvPr>
            <p:cNvSpPr/>
            <p:nvPr/>
          </p:nvSpPr>
          <p:spPr>
            <a:xfrm>
              <a:off x="385524" y="954269"/>
              <a:ext cx="2891381" cy="432000"/>
            </a:xfrm>
            <a:prstGeom prst="rect">
              <a:avLst/>
            </a:prstGeom>
            <a:solidFill>
              <a:srgbClr val="26AA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Objectifs</a:t>
              </a:r>
            </a:p>
          </p:txBody>
        </p:sp>
        <p:pic>
          <p:nvPicPr>
            <p:cNvPr id="6" name="Graphique 5" descr="Cible avec un remplissage uni">
              <a:extLst>
                <a:ext uri="{FF2B5EF4-FFF2-40B4-BE49-F238E27FC236}">
                  <a16:creationId xmlns:a16="http://schemas.microsoft.com/office/drawing/2014/main" id="{BA2E81AC-9F07-04EA-5F37-1F7FA2A01E6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1447" y="992803"/>
              <a:ext cx="354931" cy="354931"/>
            </a:xfrm>
            <a:prstGeom prst="rect">
              <a:avLst/>
            </a:prstGeom>
          </p:spPr>
        </p:pic>
      </p:grpSp>
      <p:grpSp>
        <p:nvGrpSpPr>
          <p:cNvPr id="4" name="Groupe 3">
            <a:extLst>
              <a:ext uri="{FF2B5EF4-FFF2-40B4-BE49-F238E27FC236}">
                <a16:creationId xmlns:a16="http://schemas.microsoft.com/office/drawing/2014/main" id="{824A06BA-A461-44F3-8AA9-4CAAA46DE75A}"/>
              </a:ext>
            </a:extLst>
          </p:cNvPr>
          <p:cNvGrpSpPr/>
          <p:nvPr/>
        </p:nvGrpSpPr>
        <p:grpSpPr>
          <a:xfrm>
            <a:off x="3388042" y="954269"/>
            <a:ext cx="5666531" cy="5965708"/>
            <a:chOff x="3388042" y="954269"/>
            <a:chExt cx="5666531" cy="5965708"/>
          </a:xfrm>
        </p:grpSpPr>
        <p:sp>
          <p:nvSpPr>
            <p:cNvPr id="7" name="Rectangle 6">
              <a:extLst>
                <a:ext uri="{FF2B5EF4-FFF2-40B4-BE49-F238E27FC236}">
                  <a16:creationId xmlns:a16="http://schemas.microsoft.com/office/drawing/2014/main" id="{8079125D-CFC6-49E2-531A-B3BCD8992476}"/>
                </a:ext>
              </a:extLst>
            </p:cNvPr>
            <p:cNvSpPr/>
            <p:nvPr/>
          </p:nvSpPr>
          <p:spPr>
            <a:xfrm>
              <a:off x="3388700" y="954269"/>
              <a:ext cx="5665215" cy="432000"/>
            </a:xfrm>
            <a:prstGeom prst="rect">
              <a:avLst/>
            </a:prstGeom>
            <a:solidFill>
              <a:srgbClr val="26AA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Travaux à mener</a:t>
              </a:r>
            </a:p>
          </p:txBody>
        </p:sp>
        <p:pic>
          <p:nvPicPr>
            <p:cNvPr id="9" name="Graphique 8" descr="Loupe avec un remplissage uni">
              <a:extLst>
                <a:ext uri="{FF2B5EF4-FFF2-40B4-BE49-F238E27FC236}">
                  <a16:creationId xmlns:a16="http://schemas.microsoft.com/office/drawing/2014/main" id="{5904BD4C-6B18-D95B-413D-D7C652B5B9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flipV="1">
              <a:off x="3514635" y="1035392"/>
              <a:ext cx="269755" cy="269755"/>
            </a:xfrm>
            <a:prstGeom prst="rect">
              <a:avLst/>
            </a:prstGeom>
          </p:spPr>
        </p:pic>
        <p:sp>
          <p:nvSpPr>
            <p:cNvPr id="25" name="ZoneTexte 24">
              <a:extLst>
                <a:ext uri="{FF2B5EF4-FFF2-40B4-BE49-F238E27FC236}">
                  <a16:creationId xmlns:a16="http://schemas.microsoft.com/office/drawing/2014/main" id="{1515E993-6069-6C0D-1BB2-F62EC1A5417F}"/>
                </a:ext>
              </a:extLst>
            </p:cNvPr>
            <p:cNvSpPr txBox="1"/>
            <p:nvPr/>
          </p:nvSpPr>
          <p:spPr>
            <a:xfrm>
              <a:off x="3388042" y="1427640"/>
              <a:ext cx="5666531" cy="5492337"/>
            </a:xfrm>
            <a:prstGeom prst="rect">
              <a:avLst/>
            </a:prstGeom>
            <a:noFill/>
          </p:spPr>
          <p:txBody>
            <a:bodyPr wrap="square" lIns="91440" tIns="45720" rIns="91440" bIns="45720" anchor="t">
              <a:spAutoFit/>
            </a:bodyPr>
            <a:lstStyle/>
            <a:p>
              <a:pPr fontAlgn="ctr">
                <a:buClr>
                  <a:srgbClr val="44398A"/>
                </a:buClr>
              </a:pPr>
              <a:r>
                <a:rPr lang="fr-FR" sz="1050" b="1" u="sng">
                  <a:solidFill>
                    <a:srgbClr val="26AAAF"/>
                  </a:solidFill>
                  <a:latin typeface="+mj-lt"/>
                  <a:sym typeface="Arial"/>
                </a:rPr>
                <a:t>AMÉLIORER</a:t>
              </a:r>
            </a:p>
            <a:p>
              <a:pPr marL="228600" indent="-228600" fontAlgn="ctr">
                <a:buClr>
                  <a:srgbClr val="26AAAF"/>
                </a:buClr>
                <a:buFont typeface="+mj-lt"/>
                <a:buAutoNum type="arabicPeriod"/>
              </a:pPr>
              <a:r>
                <a:rPr lang="fr-FR" sz="1050" b="1">
                  <a:solidFill>
                    <a:srgbClr val="26AAAF"/>
                  </a:solidFill>
                  <a:latin typeface="+mj-lt"/>
                  <a:sym typeface="Arial"/>
                </a:rPr>
                <a:t>Réaliser 1</a:t>
              </a:r>
              <a:r>
                <a:rPr lang="fr-FR" sz="1050" b="1">
                  <a:solidFill>
                    <a:srgbClr val="26AAAF"/>
                  </a:solidFill>
                  <a:latin typeface="+mj-lt"/>
                </a:rPr>
                <a:t> atelier (#3) par processus afin de définir les solutions aux dysfonctionnements / manques observés sur chaque axe </a:t>
              </a:r>
              <a:r>
                <a:rPr lang="fr-FR" sz="1050" b="1">
                  <a:solidFill>
                    <a:srgbClr val="26AAAF"/>
                  </a:solidFill>
                  <a:latin typeface="+mj-lt"/>
                  <a:sym typeface="Arial"/>
                </a:rPr>
                <a:t>organisation &amp; compétences / process / outil</a:t>
              </a:r>
            </a:p>
            <a:p>
              <a:pPr marL="599002" lvl="1" indent="-237061" algn="just" defTabSz="914377" eaLnBrk="0" fontAlgn="base" hangingPunct="0">
                <a:lnSpc>
                  <a:spcPct val="120000"/>
                </a:lnSpc>
                <a:buClr>
                  <a:schemeClr val="tx1"/>
                </a:buClr>
                <a:buSzPct val="100000"/>
                <a:buFont typeface="Arial" panose="020B0604020202020204" pitchFamily="34" charset="0"/>
                <a:buChar char="•"/>
                <a:defRPr/>
              </a:pPr>
              <a:r>
                <a:rPr lang="fr-FR" sz="900">
                  <a:solidFill>
                    <a:prstClr val="black"/>
                  </a:solidFill>
                  <a:latin typeface="+mj-lt"/>
                  <a:sym typeface="Open Sans Light"/>
                </a:rPr>
                <a:t>Identifier les solutions au regard des constats et des ambitions, </a:t>
              </a:r>
              <a:r>
                <a:rPr lang="fr-FR" sz="900" kern="0">
                  <a:solidFill>
                    <a:srgbClr val="000000"/>
                  </a:solidFill>
                  <a:latin typeface="+mj-lt"/>
                  <a:ea typeface="Open Sans Light"/>
                  <a:cs typeface="Calibri" panose="020F0502020204030204" pitchFamily="34" charset="0"/>
                  <a:sym typeface="Arial"/>
                </a:rPr>
                <a:t>les challenger et les objectiver</a:t>
              </a:r>
              <a:endParaRPr lang="fr-FR" sz="900">
                <a:solidFill>
                  <a:prstClr val="black"/>
                </a:solidFill>
                <a:latin typeface="+mj-lt"/>
                <a:sym typeface="Open Sans Light"/>
              </a:endParaRPr>
            </a:p>
            <a:p>
              <a:pPr marL="228600" indent="-228600" fontAlgn="ctr">
                <a:buClr>
                  <a:srgbClr val="44398A"/>
                </a:buClr>
                <a:buFont typeface="+mj-lt"/>
                <a:buAutoNum type="arabicPeriod"/>
              </a:pPr>
              <a:endParaRPr lang="fr-FR" sz="800" b="1">
                <a:solidFill>
                  <a:srgbClr val="44398A"/>
                </a:solidFill>
                <a:latin typeface="+mj-lt"/>
              </a:endParaRPr>
            </a:p>
            <a:p>
              <a:pPr marL="228600" indent="-228600" fontAlgn="ctr">
                <a:buClr>
                  <a:srgbClr val="26AAAF"/>
                </a:buClr>
                <a:buFont typeface="+mj-lt"/>
                <a:buAutoNum type="arabicPeriod"/>
              </a:pPr>
              <a:r>
                <a:rPr lang="fr-FR" sz="1050" b="1">
                  <a:solidFill>
                    <a:srgbClr val="26AAAF"/>
                  </a:solidFill>
                  <a:latin typeface="+mj-lt"/>
                </a:rPr>
                <a:t>Effectuer un macro chiffrage des solutions d’amélioration proposées : gains vs coûts </a:t>
              </a:r>
              <a:r>
                <a:rPr lang="fr-FR" sz="1050">
                  <a:latin typeface="Arial" panose="020B0604020202020204" pitchFamily="34" charset="0"/>
                  <a:cs typeface="Arial" panose="020B0604020202020204" pitchFamily="34" charset="0"/>
                </a:rPr>
                <a:t>(</a:t>
              </a:r>
              <a:r>
                <a:rPr lang="fr-FR" sz="1050">
                  <a:latin typeface="Arial" panose="020B0604020202020204" pitchFamily="34" charset="0"/>
                  <a:cs typeface="Arial" panose="020B0604020202020204" pitchFamily="34" charset="0"/>
                  <a:sym typeface="Open Sans Light"/>
                </a:rPr>
                <a:t>combien peut-on espérer économiser et à quel horizon ?)</a:t>
              </a:r>
            </a:p>
            <a:p>
              <a:pPr marL="228600" indent="-228600" fontAlgn="ctr">
                <a:buClr>
                  <a:srgbClr val="44398A"/>
                </a:buClr>
                <a:buFont typeface="+mj-lt"/>
                <a:buAutoNum type="arabicPeriod"/>
              </a:pPr>
              <a:endParaRPr lang="fr-FR" sz="800" b="1">
                <a:solidFill>
                  <a:srgbClr val="26AAAF"/>
                </a:solidFill>
                <a:latin typeface="+mj-lt"/>
              </a:endParaRPr>
            </a:p>
            <a:p>
              <a:pPr marL="228600" indent="-228600" fontAlgn="ctr">
                <a:buClr>
                  <a:srgbClr val="26AAAF"/>
                </a:buClr>
                <a:buFont typeface="+mj-lt"/>
                <a:buAutoNum type="arabicPeriod"/>
              </a:pPr>
              <a:r>
                <a:rPr lang="fr-FR" sz="1050" b="1">
                  <a:solidFill>
                    <a:srgbClr val="26AAAF"/>
                  </a:solidFill>
                  <a:latin typeface="+mj-lt"/>
                </a:rPr>
                <a:t>Prioriser les solutions à mettre en œuvre</a:t>
              </a:r>
            </a:p>
            <a:p>
              <a:pPr marL="599002" lvl="1" indent="-237061" algn="just" defTabSz="914377" eaLnBrk="0" fontAlgn="base" hangingPunct="0">
                <a:lnSpc>
                  <a:spcPct val="120000"/>
                </a:lnSpc>
                <a:buClr>
                  <a:schemeClr val="tx1"/>
                </a:buClr>
                <a:buSzPct val="100000"/>
                <a:buFont typeface="Arial" panose="020B0604020202020204" pitchFamily="34" charset="0"/>
                <a:buChar char="•"/>
                <a:defRPr/>
              </a:pPr>
              <a:r>
                <a:rPr lang="fr-FR" sz="900">
                  <a:solidFill>
                    <a:prstClr val="black"/>
                  </a:solidFill>
                  <a:latin typeface="+mj-lt"/>
                </a:rPr>
                <a:t>Hiérarchiser les axes d’optimisation à mettre en œuvre en respectant l’échelle de priorisation suivante : </a:t>
              </a:r>
            </a:p>
            <a:p>
              <a:pPr marL="1042988" lvl="3" indent="-228600">
                <a:lnSpc>
                  <a:spcPct val="120000"/>
                </a:lnSpc>
                <a:buClr>
                  <a:schemeClr val="tx1">
                    <a:lumMod val="65000"/>
                    <a:lumOff val="35000"/>
                  </a:schemeClr>
                </a:buClr>
                <a:buSzPct val="100000"/>
                <a:buFont typeface="+mj-lt"/>
                <a:buAutoNum type="arabicPeriod"/>
              </a:pPr>
              <a:r>
                <a:rPr lang="fr-FR" sz="900">
                  <a:latin typeface="+mj-lt"/>
                </a:rPr>
                <a:t>Organisation &amp; compétences</a:t>
              </a:r>
            </a:p>
            <a:p>
              <a:pPr marL="1042988" lvl="3" indent="-228600">
                <a:lnSpc>
                  <a:spcPct val="120000"/>
                </a:lnSpc>
                <a:buClr>
                  <a:schemeClr val="tx1">
                    <a:lumMod val="65000"/>
                    <a:lumOff val="35000"/>
                  </a:schemeClr>
                </a:buClr>
                <a:buSzPct val="100000"/>
                <a:buFont typeface="+mj-lt"/>
                <a:buAutoNum type="arabicPeriod"/>
              </a:pPr>
              <a:r>
                <a:rPr lang="fr-FR" sz="900">
                  <a:latin typeface="+mj-lt"/>
                </a:rPr>
                <a:t>Processus</a:t>
              </a:r>
            </a:p>
            <a:p>
              <a:pPr marL="1042988" lvl="3" indent="-228600">
                <a:lnSpc>
                  <a:spcPct val="120000"/>
                </a:lnSpc>
                <a:buClr>
                  <a:schemeClr val="tx1">
                    <a:lumMod val="65000"/>
                    <a:lumOff val="35000"/>
                  </a:schemeClr>
                </a:buClr>
                <a:buSzPct val="100000"/>
                <a:buFont typeface="+mj-lt"/>
                <a:buAutoNum type="arabicPeriod"/>
              </a:pPr>
              <a:r>
                <a:rPr lang="fr-FR" sz="900">
                  <a:latin typeface="+mj-lt"/>
                </a:rPr>
                <a:t>Outils</a:t>
              </a:r>
            </a:p>
            <a:p>
              <a:pPr marL="1042988" lvl="3" indent="-228600">
                <a:lnSpc>
                  <a:spcPct val="120000"/>
                </a:lnSpc>
                <a:buClr>
                  <a:schemeClr val="tx1">
                    <a:lumMod val="65000"/>
                    <a:lumOff val="35000"/>
                  </a:schemeClr>
                </a:buClr>
                <a:buSzPct val="100000"/>
                <a:buFont typeface="+mj-lt"/>
                <a:buAutoNum type="arabicPeriod"/>
              </a:pPr>
              <a:endParaRPr lang="fr-FR" sz="800">
                <a:solidFill>
                  <a:srgbClr val="26AAAF"/>
                </a:solidFill>
              </a:endParaRPr>
            </a:p>
            <a:p>
              <a:pPr marL="228600" marR="0" lvl="0" indent="-228600" algn="l" defTabSz="914400" rtl="0" eaLnBrk="1" fontAlgn="ctr" latinLnBrk="0" hangingPunct="1">
                <a:lnSpc>
                  <a:spcPct val="100000"/>
                </a:lnSpc>
                <a:spcBef>
                  <a:spcPts val="0"/>
                </a:spcBef>
                <a:spcAft>
                  <a:spcPts val="0"/>
                </a:spcAft>
                <a:buClr>
                  <a:srgbClr val="26AAAF"/>
                </a:buClr>
                <a:buSzTx/>
                <a:buFont typeface="+mj-lt"/>
                <a:buAutoNum type="arabicPeriod"/>
                <a:tabLst/>
                <a:defRPr/>
              </a:pPr>
              <a:r>
                <a:rPr lang="fr-FR" sz="1050" b="1">
                  <a:solidFill>
                    <a:srgbClr val="26AAAF"/>
                  </a:solidFill>
                  <a:latin typeface="+mj-lt"/>
                  <a:sym typeface="Open Sans Light"/>
                </a:rPr>
                <a:t>Réaliser une macro analyse des impacts de ces solutions et identifier les principaux risques</a:t>
              </a:r>
            </a:p>
            <a:p>
              <a:pPr marL="1042988" lvl="3" indent="-228600">
                <a:lnSpc>
                  <a:spcPct val="120000"/>
                </a:lnSpc>
                <a:buClr>
                  <a:srgbClr val="26AAAF"/>
                </a:buClr>
                <a:buSzPct val="100000"/>
                <a:buFont typeface="+mj-lt"/>
                <a:buAutoNum type="arabicPeriod"/>
              </a:pPr>
              <a:endParaRPr lang="fr-FR" sz="900">
                <a:solidFill>
                  <a:srgbClr val="26AAAF"/>
                </a:solidFill>
              </a:endParaRPr>
            </a:p>
            <a:p>
              <a:pPr marL="228600" marR="0" lvl="0" indent="-228600" algn="l" defTabSz="914400" rtl="0" eaLnBrk="1" fontAlgn="ctr" latinLnBrk="0" hangingPunct="1">
                <a:lnSpc>
                  <a:spcPct val="100000"/>
                </a:lnSpc>
                <a:spcBef>
                  <a:spcPts val="0"/>
                </a:spcBef>
                <a:spcAft>
                  <a:spcPts val="0"/>
                </a:spcAft>
                <a:buClr>
                  <a:srgbClr val="26AAAF"/>
                </a:buClr>
                <a:buSzTx/>
                <a:buFont typeface="+mj-lt"/>
                <a:buAutoNum type="arabicPeriod"/>
                <a:tabLst/>
                <a:defRPr/>
              </a:pPr>
              <a:r>
                <a:rPr lang="fr-FR" sz="1050" b="1">
                  <a:solidFill>
                    <a:srgbClr val="26AAAF"/>
                  </a:solidFill>
                  <a:latin typeface="Arial"/>
                  <a:sym typeface="Open Sans Light"/>
                </a:rPr>
                <a:t>Formuler les préconisations en matière d’efficacité opérationnelle et de gains financiers</a:t>
              </a:r>
            </a:p>
            <a:p>
              <a:pPr marL="228600" marR="0" lvl="0" indent="-228600" algn="l" defTabSz="914400" rtl="0" eaLnBrk="1" fontAlgn="ctr" latinLnBrk="0" hangingPunct="1">
                <a:lnSpc>
                  <a:spcPct val="100000"/>
                </a:lnSpc>
                <a:spcBef>
                  <a:spcPts val="0"/>
                </a:spcBef>
                <a:spcAft>
                  <a:spcPts val="0"/>
                </a:spcAft>
                <a:buClr>
                  <a:srgbClr val="26AAAF"/>
                </a:buClr>
                <a:buSzTx/>
                <a:buFont typeface="+mj-lt"/>
                <a:buAutoNum type="arabicPeriod"/>
                <a:tabLst/>
                <a:defRPr/>
              </a:pPr>
              <a:endParaRPr lang="fr-FR" sz="800" b="1">
                <a:solidFill>
                  <a:srgbClr val="26AAAF"/>
                </a:solidFill>
                <a:latin typeface="Arial"/>
                <a:sym typeface="Open Sans Light"/>
              </a:endParaRPr>
            </a:p>
            <a:p>
              <a:pPr marL="228600" marR="0" lvl="0" indent="-228600" algn="l" defTabSz="914400" rtl="0" eaLnBrk="1" fontAlgn="ctr" latinLnBrk="0" hangingPunct="1">
                <a:lnSpc>
                  <a:spcPct val="100000"/>
                </a:lnSpc>
                <a:spcBef>
                  <a:spcPts val="0"/>
                </a:spcBef>
                <a:spcAft>
                  <a:spcPts val="0"/>
                </a:spcAft>
                <a:buClr>
                  <a:srgbClr val="26AAAF"/>
                </a:buClr>
                <a:buSzTx/>
                <a:buFont typeface="+mj-lt"/>
                <a:buAutoNum type="arabicPeriod"/>
                <a:tabLst/>
                <a:defRPr/>
              </a:pPr>
              <a:r>
                <a:rPr lang="fr-FR" sz="1050" b="1">
                  <a:solidFill>
                    <a:srgbClr val="26AAAF"/>
                  </a:solidFill>
                  <a:latin typeface="Arial"/>
                  <a:sym typeface="Open Sans Light"/>
                </a:rPr>
                <a:t>Faire valider par le Codir cette cible et les recommandations</a:t>
              </a:r>
            </a:p>
            <a:p>
              <a:pPr marL="599002" lvl="1" indent="-237061" algn="just" defTabSz="914377" eaLnBrk="0" fontAlgn="base" hangingPunct="0">
                <a:lnSpc>
                  <a:spcPct val="120000"/>
                </a:lnSpc>
                <a:buClr>
                  <a:srgbClr val="26AAAF"/>
                </a:buClr>
                <a:buSzPct val="100000"/>
                <a:buFont typeface="+mj-lt"/>
                <a:buAutoNum type="arabicPeriod"/>
                <a:defRPr/>
              </a:pPr>
              <a:endParaRPr lang="fr-FR" sz="800">
                <a:sym typeface="Open Sans Light"/>
              </a:endParaRPr>
            </a:p>
            <a:p>
              <a:pPr marL="228600" indent="-228600" fontAlgn="ctr">
                <a:buClr>
                  <a:srgbClr val="26AAAF"/>
                </a:buClr>
                <a:buFont typeface="+mj-lt"/>
                <a:buAutoNum type="arabicPeriod"/>
              </a:pPr>
              <a:r>
                <a:rPr lang="fr-FR" sz="1050" b="1">
                  <a:solidFill>
                    <a:srgbClr val="26AAAF"/>
                  </a:solidFill>
                  <a:latin typeface="+mj-lt"/>
                  <a:sym typeface="Open Sans Light"/>
                </a:rPr>
                <a:t>Décliner la cible en chantiers </a:t>
              </a:r>
            </a:p>
            <a:p>
              <a:pPr marL="599002" lvl="1" indent="-237061" algn="just" defTabSz="914377" eaLnBrk="0" fontAlgn="base" hangingPunct="0">
                <a:lnSpc>
                  <a:spcPct val="120000"/>
                </a:lnSpc>
                <a:buClr>
                  <a:schemeClr val="tx1"/>
                </a:buClr>
                <a:buSzPct val="100000"/>
                <a:buFont typeface="Arial" panose="020B0604020202020204" pitchFamily="34" charset="0"/>
                <a:buChar char="•"/>
                <a:defRPr/>
              </a:pPr>
              <a:r>
                <a:rPr lang="fr-FR" sz="900">
                  <a:solidFill>
                    <a:prstClr val="black"/>
                  </a:solidFill>
                  <a:latin typeface="+mj-lt"/>
                  <a:sym typeface="Open Sans Light"/>
                </a:rPr>
                <a:t>Identification des chantiers (métiers et techniques) à mener pour mettre en place cette cible </a:t>
              </a:r>
            </a:p>
            <a:p>
              <a:pPr marL="228600" marR="0" lvl="0" indent="-228600" algn="l" defTabSz="914400" rtl="0" eaLnBrk="1" fontAlgn="ctr" latinLnBrk="0" hangingPunct="1">
                <a:lnSpc>
                  <a:spcPct val="100000"/>
                </a:lnSpc>
                <a:spcBef>
                  <a:spcPts val="0"/>
                </a:spcBef>
                <a:spcAft>
                  <a:spcPts val="0"/>
                </a:spcAft>
                <a:buClr>
                  <a:srgbClr val="44398A"/>
                </a:buClr>
                <a:buSzTx/>
                <a:buFont typeface="+mj-lt"/>
                <a:buAutoNum type="arabicPeriod"/>
                <a:tabLst/>
                <a:defRPr/>
              </a:pPr>
              <a:endParaRPr kumimoji="0" lang="fr-FR" sz="1050" b="1" i="0" u="none" strike="noStrike" kern="1200" cap="none" spc="0" normalizeH="0" baseline="0" noProof="0">
                <a:ln>
                  <a:noFill/>
                </a:ln>
                <a:solidFill>
                  <a:srgbClr val="44398A"/>
                </a:solidFill>
                <a:effectLst/>
                <a:uLnTx/>
                <a:uFillTx/>
                <a:latin typeface="Arial"/>
                <a:ea typeface="+mn-ea"/>
                <a:cs typeface="+mn-cs"/>
                <a:sym typeface="Open Sans Light"/>
              </a:endParaRPr>
            </a:p>
            <a:p>
              <a:pPr marL="228600" marR="0" lvl="0" indent="-228600" algn="l" defTabSz="914400" rtl="0" eaLnBrk="1" fontAlgn="ctr" latinLnBrk="0" hangingPunct="1">
                <a:lnSpc>
                  <a:spcPct val="100000"/>
                </a:lnSpc>
                <a:spcBef>
                  <a:spcPts val="0"/>
                </a:spcBef>
                <a:spcAft>
                  <a:spcPts val="0"/>
                </a:spcAft>
                <a:buClr>
                  <a:srgbClr val="26AAAF"/>
                </a:buClr>
                <a:buSzTx/>
                <a:buFont typeface="+mj-lt"/>
                <a:buAutoNum type="arabicPeriod"/>
                <a:tabLst/>
                <a:defRPr/>
              </a:pPr>
              <a:r>
                <a:rPr kumimoji="0" lang="fr-FR" sz="1050" b="1" i="0" u="none" strike="noStrike" kern="1200" cap="none" spc="0" normalizeH="0" baseline="0" noProof="0">
                  <a:ln>
                    <a:noFill/>
                  </a:ln>
                  <a:solidFill>
                    <a:srgbClr val="26AAAF"/>
                  </a:solidFill>
                  <a:effectLst/>
                  <a:uLnTx/>
                  <a:uFillTx/>
                  <a:latin typeface="Arial"/>
                  <a:ea typeface="+mn-ea"/>
                  <a:cs typeface="+mn-cs"/>
                  <a:sym typeface="Open Sans Light"/>
                </a:rPr>
                <a:t>Dé</a:t>
              </a:r>
              <a:r>
                <a:rPr lang="fr-FR" sz="1050" b="1">
                  <a:solidFill>
                    <a:srgbClr val="26AAAF"/>
                  </a:solidFill>
                  <a:latin typeface="+mj-lt"/>
                </a:rPr>
                <a:t>finir et valider la trajectoire </a:t>
              </a:r>
            </a:p>
            <a:p>
              <a:pPr marL="599002" lvl="1" indent="-237061" algn="just" defTabSz="914377" eaLnBrk="0" fontAlgn="base" hangingPunct="0">
                <a:lnSpc>
                  <a:spcPct val="120000"/>
                </a:lnSpc>
                <a:buClr>
                  <a:schemeClr val="tx1"/>
                </a:buClr>
                <a:buSzPct val="100000"/>
                <a:buFont typeface="Arial" panose="020B0604020202020204" pitchFamily="34" charset="0"/>
                <a:buChar char="•"/>
                <a:defRPr/>
              </a:pPr>
              <a:r>
                <a:rPr lang="fr-FR" sz="900">
                  <a:solidFill>
                    <a:prstClr val="black"/>
                  </a:solidFill>
                  <a:latin typeface="+mj-lt"/>
                  <a:sym typeface="Open Sans Light"/>
                </a:rPr>
                <a:t>Identification des premiers chantiers quick </a:t>
              </a:r>
              <a:r>
                <a:rPr lang="fr-FR" sz="900" err="1">
                  <a:solidFill>
                    <a:prstClr val="black"/>
                  </a:solidFill>
                  <a:latin typeface="+mj-lt"/>
                  <a:sym typeface="Open Sans Light"/>
                </a:rPr>
                <a:t>wins</a:t>
              </a:r>
              <a:r>
                <a:rPr lang="fr-FR" sz="900">
                  <a:solidFill>
                    <a:prstClr val="black"/>
                  </a:solidFill>
                  <a:latin typeface="+mj-lt"/>
                  <a:sym typeface="Open Sans Light"/>
                </a:rPr>
                <a:t> à lancer en priorité</a:t>
              </a:r>
            </a:p>
            <a:p>
              <a:pPr marL="599002" lvl="1" indent="-237061" algn="just" defTabSz="914377" eaLnBrk="0" fontAlgn="base" hangingPunct="0">
                <a:lnSpc>
                  <a:spcPct val="120000"/>
                </a:lnSpc>
                <a:buClr>
                  <a:schemeClr val="tx1"/>
                </a:buClr>
                <a:buSzPct val="100000"/>
                <a:buFont typeface="Arial" panose="020B0604020202020204" pitchFamily="34" charset="0"/>
                <a:buChar char="•"/>
                <a:defRPr/>
              </a:pPr>
              <a:r>
                <a:rPr lang="fr-FR" sz="900">
                  <a:solidFill>
                    <a:prstClr val="black"/>
                  </a:solidFill>
                  <a:latin typeface="+mj-lt"/>
                  <a:sym typeface="Open Sans Light"/>
                </a:rPr>
                <a:t>Mise en avant des interdépendances</a:t>
              </a:r>
            </a:p>
            <a:p>
              <a:pPr marL="599002" lvl="1" indent="-237061" algn="just" defTabSz="914377" eaLnBrk="0" fontAlgn="base" hangingPunct="0">
                <a:lnSpc>
                  <a:spcPct val="120000"/>
                </a:lnSpc>
                <a:spcBef>
                  <a:spcPct val="0"/>
                </a:spcBef>
                <a:spcAft>
                  <a:spcPct val="0"/>
                </a:spcAft>
                <a:buClr>
                  <a:schemeClr val="tx1"/>
                </a:buClr>
                <a:buSzPct val="100000"/>
                <a:buFont typeface="Arial" panose="020B0604020202020204" pitchFamily="34" charset="0"/>
                <a:buChar char="•"/>
                <a:defRPr/>
              </a:pPr>
              <a:r>
                <a:rPr lang="fr-FR" sz="900">
                  <a:solidFill>
                    <a:prstClr val="black"/>
                  </a:solidFill>
                  <a:latin typeface="+mj-lt"/>
                </a:rPr>
                <a:t>Cadencer les chantiers dans une roadmap (macro planning) sur les 24 prochains mois</a:t>
              </a:r>
            </a:p>
            <a:p>
              <a:pPr marL="599002" lvl="1" indent="-237061" algn="just" defTabSz="914377" eaLnBrk="0" fontAlgn="base" hangingPunct="0">
                <a:lnSpc>
                  <a:spcPct val="120000"/>
                </a:lnSpc>
                <a:spcBef>
                  <a:spcPct val="0"/>
                </a:spcBef>
                <a:spcAft>
                  <a:spcPct val="0"/>
                </a:spcAft>
                <a:buClr>
                  <a:schemeClr val="tx1"/>
                </a:buClr>
                <a:buSzPct val="100000"/>
                <a:buFont typeface="Arial" panose="020B0604020202020204" pitchFamily="34" charset="0"/>
                <a:buChar char="•"/>
                <a:defRPr/>
              </a:pPr>
              <a:r>
                <a:rPr lang="fr-FR" sz="900">
                  <a:solidFill>
                    <a:prstClr val="black"/>
                  </a:solidFill>
                  <a:latin typeface="+mj-lt"/>
                </a:rPr>
                <a:t>Lister les points restant à approfondir</a:t>
              </a:r>
            </a:p>
            <a:p>
              <a:pPr marL="599002" lvl="1" indent="-237061" algn="just" defTabSz="914377" eaLnBrk="0" fontAlgn="base" hangingPunct="0">
                <a:lnSpc>
                  <a:spcPct val="120000"/>
                </a:lnSpc>
                <a:spcBef>
                  <a:spcPct val="0"/>
                </a:spcBef>
                <a:spcAft>
                  <a:spcPct val="0"/>
                </a:spcAft>
                <a:buClr>
                  <a:schemeClr val="tx1"/>
                </a:buClr>
                <a:buSzPct val="100000"/>
                <a:buFont typeface="Arial" panose="020B0604020202020204" pitchFamily="34" charset="0"/>
                <a:buChar char="•"/>
                <a:defRPr/>
              </a:pPr>
              <a:r>
                <a:rPr lang="fr-FR" sz="900">
                  <a:solidFill>
                    <a:prstClr val="black"/>
                  </a:solidFill>
                  <a:latin typeface="+mj-lt"/>
                </a:rPr>
                <a:t>Lister les prochaines étapes</a:t>
              </a:r>
            </a:p>
            <a:p>
              <a:pPr marL="599002" lvl="1" indent="-237061" algn="just" defTabSz="914377" eaLnBrk="0" fontAlgn="base" hangingPunct="0">
                <a:lnSpc>
                  <a:spcPct val="120000"/>
                </a:lnSpc>
                <a:buClr>
                  <a:schemeClr val="tx1"/>
                </a:buClr>
                <a:buSzPct val="100000"/>
                <a:buFont typeface="Arial" panose="020B0604020202020204" pitchFamily="34" charset="0"/>
                <a:buChar char="•"/>
                <a:defRPr/>
              </a:pPr>
              <a:r>
                <a:rPr lang="fr-FR" sz="900">
                  <a:solidFill>
                    <a:prstClr val="black"/>
                  </a:solidFill>
                  <a:latin typeface="+mj-lt"/>
                  <a:sym typeface="Open Sans Light"/>
                </a:rPr>
                <a:t>Faire valider la trajectoire par le Codir</a:t>
              </a:r>
              <a:endParaRPr lang="fr-FR" sz="900">
                <a:solidFill>
                  <a:prstClr val="black"/>
                </a:solidFill>
                <a:latin typeface="+mj-lt"/>
              </a:endParaRPr>
            </a:p>
          </p:txBody>
        </p:sp>
      </p:grpSp>
      <p:grpSp>
        <p:nvGrpSpPr>
          <p:cNvPr id="12" name="Groupe 11">
            <a:extLst>
              <a:ext uri="{FF2B5EF4-FFF2-40B4-BE49-F238E27FC236}">
                <a16:creationId xmlns:a16="http://schemas.microsoft.com/office/drawing/2014/main" id="{13EEDC31-401C-1294-52D7-6A99D1887501}"/>
              </a:ext>
            </a:extLst>
          </p:cNvPr>
          <p:cNvGrpSpPr/>
          <p:nvPr/>
        </p:nvGrpSpPr>
        <p:grpSpPr>
          <a:xfrm>
            <a:off x="9165710" y="954269"/>
            <a:ext cx="2891381" cy="3705444"/>
            <a:chOff x="9165710" y="954269"/>
            <a:chExt cx="2891381" cy="3705444"/>
          </a:xfrm>
        </p:grpSpPr>
        <p:sp>
          <p:nvSpPr>
            <p:cNvPr id="18" name="Rectangle 17">
              <a:extLst>
                <a:ext uri="{FF2B5EF4-FFF2-40B4-BE49-F238E27FC236}">
                  <a16:creationId xmlns:a16="http://schemas.microsoft.com/office/drawing/2014/main" id="{C8231268-C2B2-BE48-01AF-35E343770CEF}"/>
                </a:ext>
              </a:extLst>
            </p:cNvPr>
            <p:cNvSpPr/>
            <p:nvPr/>
          </p:nvSpPr>
          <p:spPr>
            <a:xfrm>
              <a:off x="9165710" y="1362671"/>
              <a:ext cx="2891381" cy="3297042"/>
            </a:xfrm>
            <a:prstGeom prst="rect">
              <a:avLst/>
            </a:prstGeom>
            <a:solidFill>
              <a:srgbClr val="C1EFF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lvl="1" indent="-171450">
                <a:spcAft>
                  <a:spcPts val="600"/>
                </a:spcAft>
                <a:buClr>
                  <a:schemeClr val="tx1"/>
                </a:buClr>
                <a:buFont typeface="Arial" panose="020B0604020202020204" pitchFamily="34" charset="0"/>
                <a:buChar char="•"/>
                <a:defRPr/>
              </a:pPr>
              <a:r>
                <a:rPr lang="fr-FR" sz="1050">
                  <a:solidFill>
                    <a:schemeClr val="tx1"/>
                  </a:solidFill>
                </a:rPr>
                <a:t>Capitalisation sur les enseignements tirés des entretiens/ateliers</a:t>
              </a:r>
            </a:p>
            <a:p>
              <a:pPr marL="171450" lvl="1" indent="-171450">
                <a:spcAft>
                  <a:spcPts val="600"/>
                </a:spcAft>
                <a:buClr>
                  <a:schemeClr val="tx1"/>
                </a:buClr>
                <a:buFont typeface="Arial" panose="020B0604020202020204" pitchFamily="34" charset="0"/>
                <a:buChar char="•"/>
                <a:defRPr/>
              </a:pPr>
              <a:r>
                <a:rPr lang="fr-FR" sz="1050">
                  <a:solidFill>
                    <a:schemeClr val="tx1"/>
                  </a:solidFill>
                </a:rPr>
                <a:t>Ateliers de définition de la cible</a:t>
              </a:r>
            </a:p>
            <a:p>
              <a:pPr marL="171450" indent="-171450">
                <a:spcAft>
                  <a:spcPts val="600"/>
                </a:spcAft>
                <a:buClr>
                  <a:schemeClr val="tx1"/>
                </a:buClr>
                <a:buFont typeface="Arial" panose="020B0604020202020204" pitchFamily="34" charset="0"/>
                <a:buChar char="•"/>
              </a:pPr>
              <a:r>
                <a:rPr lang="fr-FR" sz="1050">
                  <a:solidFill>
                    <a:schemeClr val="tx1"/>
                  </a:solidFill>
                </a:rPr>
                <a:t>Ateliers d’élaboration de la feuille de route</a:t>
              </a:r>
            </a:p>
            <a:p>
              <a:pPr marL="171450" indent="-171450">
                <a:spcAft>
                  <a:spcPts val="600"/>
                </a:spcAft>
                <a:buClr>
                  <a:schemeClr val="tx1"/>
                </a:buClr>
                <a:buFont typeface="Arial" panose="020B0604020202020204" pitchFamily="34" charset="0"/>
                <a:buChar char="•"/>
              </a:pPr>
              <a:r>
                <a:rPr lang="fr-FR" sz="1050">
                  <a:solidFill>
                    <a:schemeClr val="tx1"/>
                  </a:solidFill>
                </a:rPr>
                <a:t>1 réunion avec le Codir pour partager et valider la cible</a:t>
              </a:r>
            </a:p>
            <a:p>
              <a:pPr marL="171450" indent="-171450">
                <a:spcAft>
                  <a:spcPts val="600"/>
                </a:spcAft>
                <a:buClr>
                  <a:schemeClr val="tx1"/>
                </a:buClr>
                <a:buFont typeface="Arial" panose="020B0604020202020204" pitchFamily="34" charset="0"/>
                <a:buChar char="•"/>
              </a:pPr>
              <a:r>
                <a:rPr lang="fr-FR" sz="1050">
                  <a:solidFill>
                    <a:schemeClr val="tx1"/>
                  </a:solidFill>
                </a:rPr>
                <a:t>1 réunion avec le Codir pour partager et valider la trajectoire</a:t>
              </a:r>
            </a:p>
            <a:p>
              <a:pPr marL="171450" indent="-171450">
                <a:spcAft>
                  <a:spcPts val="600"/>
                </a:spcAft>
                <a:buClr>
                  <a:schemeClr val="tx1"/>
                </a:buClr>
                <a:buFont typeface="Arial" panose="020B0604020202020204" pitchFamily="34" charset="0"/>
                <a:buChar char="•"/>
              </a:pPr>
              <a:r>
                <a:rPr lang="fr-FR" sz="1050">
                  <a:solidFill>
                    <a:schemeClr val="tx1"/>
                  </a:solidFill>
                </a:rPr>
                <a:t>Pour le diagnostic en France, la langue de travail et de restitution est le français. Pour le diagnostic en Espagne, la langue de travail et de restitution est l’anglais. Pour le diagnostic en Italie, la langue de travail est l’italien et la langue de restitution est l’anglais</a:t>
              </a:r>
            </a:p>
            <a:p>
              <a:pPr marL="171450" indent="-171450">
                <a:spcAft>
                  <a:spcPts val="600"/>
                </a:spcAft>
                <a:buClr>
                  <a:schemeClr val="tx1"/>
                </a:buClr>
                <a:buFont typeface="Arial" panose="020B0604020202020204" pitchFamily="34" charset="0"/>
                <a:buChar char="•"/>
              </a:pPr>
              <a:r>
                <a:rPr lang="fr-FR" sz="1050">
                  <a:solidFill>
                    <a:schemeClr val="tx1"/>
                  </a:solidFill>
                </a:rPr>
                <a:t>Durée : 6 semaines pour la France et 3 semaines pour l’Espagne et l’Italie</a:t>
              </a:r>
            </a:p>
            <a:p>
              <a:pPr marL="171450" indent="-171450">
                <a:spcAft>
                  <a:spcPts val="600"/>
                </a:spcAft>
                <a:buFont typeface="Arial" panose="020B0604020202020204" pitchFamily="34" charset="0"/>
                <a:buChar char="•"/>
              </a:pPr>
              <a:endParaRPr lang="fr-FR" sz="1100">
                <a:solidFill>
                  <a:schemeClr val="tx1"/>
                </a:solidFill>
                <a:highlight>
                  <a:srgbClr val="FFFF00"/>
                </a:highlight>
              </a:endParaRPr>
            </a:p>
            <a:p>
              <a:pPr marL="171450" indent="-171450">
                <a:spcAft>
                  <a:spcPts val="600"/>
                </a:spcAft>
                <a:buFont typeface="Arial" panose="020B0604020202020204" pitchFamily="34" charset="0"/>
                <a:buChar char="•"/>
              </a:pPr>
              <a:endParaRPr lang="fr-FR" sz="1100">
                <a:solidFill>
                  <a:schemeClr val="tx1"/>
                </a:solidFill>
              </a:endParaRPr>
            </a:p>
          </p:txBody>
        </p:sp>
        <p:sp>
          <p:nvSpPr>
            <p:cNvPr id="19" name="Rectangle 18">
              <a:extLst>
                <a:ext uri="{FF2B5EF4-FFF2-40B4-BE49-F238E27FC236}">
                  <a16:creationId xmlns:a16="http://schemas.microsoft.com/office/drawing/2014/main" id="{2919C7B7-E893-CF95-29BA-9D5F3B7828C1}"/>
                </a:ext>
              </a:extLst>
            </p:cNvPr>
            <p:cNvSpPr/>
            <p:nvPr/>
          </p:nvSpPr>
          <p:spPr>
            <a:xfrm>
              <a:off x="9165710" y="954269"/>
              <a:ext cx="2891381" cy="424593"/>
            </a:xfrm>
            <a:prstGeom prst="rect">
              <a:avLst/>
            </a:prstGeom>
            <a:solidFill>
              <a:srgbClr val="26AA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t>Modalités</a:t>
              </a:r>
              <a:endParaRPr lang="fr-FR" sz="1000"/>
            </a:p>
          </p:txBody>
        </p:sp>
        <p:pic>
          <p:nvPicPr>
            <p:cNvPr id="39" name="Graphique 38" descr="Engrenages avec un remplissage uni">
              <a:extLst>
                <a:ext uri="{FF2B5EF4-FFF2-40B4-BE49-F238E27FC236}">
                  <a16:creationId xmlns:a16="http://schemas.microsoft.com/office/drawing/2014/main" id="{EDA1B137-74C6-F626-009B-D825BB4A19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30035" y="987703"/>
              <a:ext cx="360031" cy="360031"/>
            </a:xfrm>
            <a:prstGeom prst="rect">
              <a:avLst/>
            </a:prstGeom>
          </p:spPr>
        </p:pic>
      </p:grpSp>
      <p:grpSp>
        <p:nvGrpSpPr>
          <p:cNvPr id="15" name="Groupe 14">
            <a:extLst>
              <a:ext uri="{FF2B5EF4-FFF2-40B4-BE49-F238E27FC236}">
                <a16:creationId xmlns:a16="http://schemas.microsoft.com/office/drawing/2014/main" id="{79A4B582-91E7-C401-C90B-99D21C1E8904}"/>
              </a:ext>
            </a:extLst>
          </p:cNvPr>
          <p:cNvGrpSpPr/>
          <p:nvPr/>
        </p:nvGrpSpPr>
        <p:grpSpPr>
          <a:xfrm>
            <a:off x="385523" y="3277495"/>
            <a:ext cx="2891381" cy="1386690"/>
            <a:chOff x="385523" y="3277495"/>
            <a:chExt cx="2891381" cy="1386690"/>
          </a:xfrm>
        </p:grpSpPr>
        <p:sp>
          <p:nvSpPr>
            <p:cNvPr id="33" name="Rectangle 32">
              <a:extLst>
                <a:ext uri="{FF2B5EF4-FFF2-40B4-BE49-F238E27FC236}">
                  <a16:creationId xmlns:a16="http://schemas.microsoft.com/office/drawing/2014/main" id="{7A064286-2ACC-8408-C2B8-83BB75643094}"/>
                </a:ext>
              </a:extLst>
            </p:cNvPr>
            <p:cNvSpPr/>
            <p:nvPr/>
          </p:nvSpPr>
          <p:spPr>
            <a:xfrm>
              <a:off x="385523" y="3685898"/>
              <a:ext cx="2891381" cy="978287"/>
            </a:xfrm>
            <a:prstGeom prst="rect">
              <a:avLst/>
            </a:prstGeom>
            <a:solidFill>
              <a:srgbClr val="C1EFF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600"/>
                </a:spcAft>
                <a:buFont typeface="Arial" panose="020B0604020202020204" pitchFamily="34" charset="0"/>
                <a:buChar char="•"/>
              </a:pPr>
              <a:r>
                <a:rPr lang="fr-FR" sz="1100">
                  <a:solidFill>
                    <a:schemeClr val="tx1"/>
                  </a:solidFill>
                </a:rPr>
                <a:t>Besoins priorisés</a:t>
              </a:r>
            </a:p>
            <a:p>
              <a:pPr marL="171450" indent="-171450">
                <a:spcAft>
                  <a:spcPts val="600"/>
                </a:spcAft>
                <a:buFont typeface="Arial" panose="020B0604020202020204" pitchFamily="34" charset="0"/>
                <a:buChar char="•"/>
              </a:pPr>
              <a:r>
                <a:rPr lang="fr-FR" sz="1100">
                  <a:solidFill>
                    <a:schemeClr val="tx1"/>
                  </a:solidFill>
                </a:rPr>
                <a:t>Validation de la synthèse du diagnostic de l’existant</a:t>
              </a:r>
            </a:p>
            <a:p>
              <a:pPr marL="171450" indent="-171450">
                <a:spcAft>
                  <a:spcPts val="600"/>
                </a:spcAft>
                <a:buFont typeface="Arial" panose="020B0604020202020204" pitchFamily="34" charset="0"/>
                <a:buChar char="•"/>
              </a:pPr>
              <a:r>
                <a:rPr lang="fr-FR" sz="1100">
                  <a:solidFill>
                    <a:schemeClr val="tx1"/>
                  </a:solidFill>
                  <a:sym typeface="Arial"/>
                </a:rPr>
                <a:t>Réalisation en amont de tous les entretiens/ateliers prévus</a:t>
              </a:r>
            </a:p>
            <a:p>
              <a:pPr marL="171450" indent="-171450">
                <a:spcAft>
                  <a:spcPts val="600"/>
                </a:spcAft>
                <a:buFont typeface="Arial" panose="020B0604020202020204" pitchFamily="34" charset="0"/>
                <a:buChar char="•"/>
              </a:pPr>
              <a:endParaRPr lang="fr-FR" sz="1100">
                <a:solidFill>
                  <a:schemeClr val="tx1"/>
                </a:solidFill>
              </a:endParaRPr>
            </a:p>
            <a:p>
              <a:pPr marL="171450" indent="-171450">
                <a:spcAft>
                  <a:spcPts val="600"/>
                </a:spcAft>
                <a:buFont typeface="Arial" panose="020B0604020202020204" pitchFamily="34" charset="0"/>
                <a:buChar char="•"/>
              </a:pPr>
              <a:endParaRPr lang="fr-FR" sz="1100">
                <a:solidFill>
                  <a:schemeClr val="tx1"/>
                </a:solidFill>
              </a:endParaRPr>
            </a:p>
          </p:txBody>
        </p:sp>
        <p:sp>
          <p:nvSpPr>
            <p:cNvPr id="38" name="Rectangle 37">
              <a:extLst>
                <a:ext uri="{FF2B5EF4-FFF2-40B4-BE49-F238E27FC236}">
                  <a16:creationId xmlns:a16="http://schemas.microsoft.com/office/drawing/2014/main" id="{B39395E4-28F0-BDD2-0069-AD0984A16A96}"/>
                </a:ext>
              </a:extLst>
            </p:cNvPr>
            <p:cNvSpPr/>
            <p:nvPr/>
          </p:nvSpPr>
          <p:spPr>
            <a:xfrm>
              <a:off x="385523" y="3277495"/>
              <a:ext cx="2891381" cy="424593"/>
            </a:xfrm>
            <a:prstGeom prst="rect">
              <a:avLst/>
            </a:prstGeom>
            <a:solidFill>
              <a:srgbClr val="26AA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Prérequis</a:t>
              </a:r>
              <a:endParaRPr lang="fr-FR" sz="900"/>
            </a:p>
          </p:txBody>
        </p:sp>
        <p:pic>
          <p:nvPicPr>
            <p:cNvPr id="26" name="Graphique 25" descr="Badge Tick1 avec un remplissage uni">
              <a:extLst>
                <a:ext uri="{FF2B5EF4-FFF2-40B4-BE49-F238E27FC236}">
                  <a16:creationId xmlns:a16="http://schemas.microsoft.com/office/drawing/2014/main" id="{D5AD588F-5B77-D8D8-9D30-96C8BB2D17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1447" y="3312326"/>
              <a:ext cx="354931" cy="354931"/>
            </a:xfrm>
            <a:prstGeom prst="rect">
              <a:avLst/>
            </a:prstGeom>
          </p:spPr>
        </p:pic>
      </p:grpSp>
      <p:grpSp>
        <p:nvGrpSpPr>
          <p:cNvPr id="16" name="Groupe 15">
            <a:extLst>
              <a:ext uri="{FF2B5EF4-FFF2-40B4-BE49-F238E27FC236}">
                <a16:creationId xmlns:a16="http://schemas.microsoft.com/office/drawing/2014/main" id="{E24A5035-662C-044B-71E3-3188C88FED1B}"/>
              </a:ext>
            </a:extLst>
          </p:cNvPr>
          <p:cNvGrpSpPr/>
          <p:nvPr/>
        </p:nvGrpSpPr>
        <p:grpSpPr>
          <a:xfrm>
            <a:off x="385524" y="4818131"/>
            <a:ext cx="2896692" cy="1663999"/>
            <a:chOff x="385524" y="4818131"/>
            <a:chExt cx="2896692" cy="1663999"/>
          </a:xfrm>
        </p:grpSpPr>
        <p:sp>
          <p:nvSpPr>
            <p:cNvPr id="3" name="Rectangle 2">
              <a:extLst>
                <a:ext uri="{FF2B5EF4-FFF2-40B4-BE49-F238E27FC236}">
                  <a16:creationId xmlns:a16="http://schemas.microsoft.com/office/drawing/2014/main" id="{667C8A85-8CD5-181E-1B44-9BED4BC58ECF}"/>
                </a:ext>
              </a:extLst>
            </p:cNvPr>
            <p:cNvSpPr/>
            <p:nvPr/>
          </p:nvSpPr>
          <p:spPr>
            <a:xfrm>
              <a:off x="390835" y="5257908"/>
              <a:ext cx="2891381" cy="1224222"/>
            </a:xfrm>
            <a:prstGeom prst="rect">
              <a:avLst/>
            </a:prstGeom>
            <a:solidFill>
              <a:srgbClr val="C1EFF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spcAft>
                  <a:spcPts val="600"/>
                </a:spcAft>
                <a:buFont typeface="Arial" panose="020B0604020202020204" pitchFamily="34" charset="0"/>
                <a:buChar char="•"/>
              </a:pPr>
              <a:r>
                <a:rPr lang="fr-FR" sz="1100">
                  <a:solidFill>
                    <a:schemeClr val="tx1"/>
                  </a:solidFill>
                </a:rPr>
                <a:t>Disponibilité des équipes internes pour la réalisation des ateliers sur la définition de la cible et de la trajectoire</a:t>
              </a:r>
            </a:p>
            <a:p>
              <a:pPr marL="171450" indent="-171450">
                <a:spcAft>
                  <a:spcPts val="600"/>
                </a:spcAft>
                <a:buFont typeface="Arial" panose="020B0604020202020204" pitchFamily="34" charset="0"/>
                <a:buChar char="•"/>
              </a:pPr>
              <a:r>
                <a:rPr lang="fr-FR" sz="1100">
                  <a:solidFill>
                    <a:schemeClr val="tx1"/>
                  </a:solidFill>
                  <a:sym typeface="Arial"/>
                </a:rPr>
                <a:t>Mise en rapport des principaux axes de progrès avec les ambitions de </a:t>
              </a:r>
              <a:r>
                <a:rPr lang="fr-FR" sz="1100" err="1">
                  <a:solidFill>
                    <a:schemeClr val="tx1"/>
                  </a:solidFill>
                  <a:sym typeface="Arial"/>
                </a:rPr>
                <a:t>Kereis</a:t>
              </a:r>
              <a:endParaRPr lang="fr-FR" sz="1100">
                <a:solidFill>
                  <a:schemeClr val="tx1"/>
                </a:solidFill>
              </a:endParaRPr>
            </a:p>
          </p:txBody>
        </p:sp>
        <p:sp>
          <p:nvSpPr>
            <p:cNvPr id="8" name="Rectangle 7">
              <a:extLst>
                <a:ext uri="{FF2B5EF4-FFF2-40B4-BE49-F238E27FC236}">
                  <a16:creationId xmlns:a16="http://schemas.microsoft.com/office/drawing/2014/main" id="{DE545888-F0D1-9B72-F95E-9BE644FB71DD}"/>
                </a:ext>
              </a:extLst>
            </p:cNvPr>
            <p:cNvSpPr/>
            <p:nvPr/>
          </p:nvSpPr>
          <p:spPr>
            <a:xfrm>
              <a:off x="385524" y="4818131"/>
              <a:ext cx="2891381" cy="424593"/>
            </a:xfrm>
            <a:prstGeom prst="rect">
              <a:avLst/>
            </a:prstGeom>
            <a:solidFill>
              <a:srgbClr val="26AA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Points clefs</a:t>
              </a:r>
              <a:endParaRPr lang="fr-FR" sz="900"/>
            </a:p>
          </p:txBody>
        </p:sp>
        <p:pic>
          <p:nvPicPr>
            <p:cNvPr id="29" name="Graphique 28" descr="Avertissement avec un remplissage uni">
              <a:extLst>
                <a:ext uri="{FF2B5EF4-FFF2-40B4-BE49-F238E27FC236}">
                  <a16:creationId xmlns:a16="http://schemas.microsoft.com/office/drawing/2014/main" id="{A8095A6A-1248-5614-C52C-7A5FEF182EF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1448" y="4852962"/>
              <a:ext cx="354930" cy="354930"/>
            </a:xfrm>
            <a:prstGeom prst="rect">
              <a:avLst/>
            </a:prstGeom>
          </p:spPr>
        </p:pic>
      </p:grpSp>
      <p:pic>
        <p:nvPicPr>
          <p:cNvPr id="24" name="Picture 6" descr="United kingdom ">
            <a:extLst>
              <a:ext uri="{FF2B5EF4-FFF2-40B4-BE49-F238E27FC236}">
                <a16:creationId xmlns:a16="http://schemas.microsoft.com/office/drawing/2014/main" id="{05FF0777-84EC-A037-44B1-B7294EFEC44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3477" y="4774733"/>
            <a:ext cx="306000" cy="306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France ">
            <a:extLst>
              <a:ext uri="{FF2B5EF4-FFF2-40B4-BE49-F238E27FC236}">
                <a16:creationId xmlns:a16="http://schemas.microsoft.com/office/drawing/2014/main" id="{940D74CE-0EA6-6A62-A7F8-15E7A07AEC6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191575" y="4774733"/>
            <a:ext cx="306000" cy="306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re 29">
            <a:extLst>
              <a:ext uri="{FF2B5EF4-FFF2-40B4-BE49-F238E27FC236}">
                <a16:creationId xmlns:a16="http://schemas.microsoft.com/office/drawing/2014/main" id="{F6EBD677-2A1A-DF4A-F862-B9E9EC827287}"/>
              </a:ext>
            </a:extLst>
          </p:cNvPr>
          <p:cNvSpPr txBox="1">
            <a:spLocks/>
          </p:cNvSpPr>
          <p:nvPr/>
        </p:nvSpPr>
        <p:spPr>
          <a:xfrm>
            <a:off x="396655" y="217390"/>
            <a:ext cx="9907072"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solidFill>
                  <a:schemeClr val="bg2"/>
                </a:solidFill>
                <a:latin typeface="Arial Black"/>
              </a:rPr>
              <a:t>3. DÉFINITION DE LA CIBLE ET DE LA TRAJECTOIRE</a:t>
            </a:r>
            <a:endParaRPr lang="fr-FR" sz="1800" kern="0">
              <a:latin typeface="Arial Black"/>
            </a:endParaRPr>
          </a:p>
        </p:txBody>
      </p:sp>
    </p:spTree>
    <p:extLst>
      <p:ext uri="{BB962C8B-B14F-4D97-AF65-F5344CB8AC3E}">
        <p14:creationId xmlns:p14="http://schemas.microsoft.com/office/powerpoint/2010/main" val="11744104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1">
            <a:extLst>
              <a:ext uri="{FF2B5EF4-FFF2-40B4-BE49-F238E27FC236}">
                <a16:creationId xmlns:a16="http://schemas.microsoft.com/office/drawing/2014/main" id="{DCE0C919-2FF0-B960-B4CB-977F62465439}"/>
              </a:ext>
            </a:extLst>
          </p:cNvPr>
          <p:cNvSpPr txBox="1">
            <a:spLocks/>
          </p:cNvSpPr>
          <p:nvPr/>
        </p:nvSpPr>
        <p:spPr>
          <a:xfrm>
            <a:off x="396655" y="237414"/>
            <a:ext cx="6366095" cy="40779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kern="0">
              <a:latin typeface="Arial Black" panose="020B0A04020102020204" pitchFamily="34" charset="0"/>
            </a:endParaRPr>
          </a:p>
        </p:txBody>
      </p:sp>
      <p:sp>
        <p:nvSpPr>
          <p:cNvPr id="5" name="Rectangle 4">
            <a:extLst>
              <a:ext uri="{FF2B5EF4-FFF2-40B4-BE49-F238E27FC236}">
                <a16:creationId xmlns:a16="http://schemas.microsoft.com/office/drawing/2014/main" id="{AC7880CC-651F-F6C0-089E-8DE72D33A13C}"/>
              </a:ext>
            </a:extLst>
          </p:cNvPr>
          <p:cNvSpPr>
            <a:spLocks noChangeArrowheads="1"/>
          </p:cNvSpPr>
          <p:nvPr/>
        </p:nvSpPr>
        <p:spPr bwMode="blackWhite">
          <a:xfrm>
            <a:off x="651906" y="913713"/>
            <a:ext cx="9738744" cy="215444"/>
          </a:xfrm>
          <a:prstGeom prst="rect">
            <a:avLst/>
          </a:prstGeom>
          <a:noFill/>
          <a:ln w="9525">
            <a:noFill/>
            <a:miter lim="800000"/>
            <a:headEnd/>
            <a:tailEnd/>
          </a:ln>
        </p:spPr>
        <p:txBody>
          <a:bodyPr wrap="square" lIns="3807" tIns="0" rIns="3807" bIns="0" anchor="b">
            <a:spAutoFit/>
          </a:bodyPr>
          <a:lstStyle/>
          <a:p>
            <a:pPr defTabSz="883035">
              <a:buSzPct val="120000"/>
              <a:defRPr/>
            </a:pPr>
            <a:r>
              <a:rPr lang="fr-FR" altLang="ko-KR" sz="1400" b="1">
                <a:solidFill>
                  <a:srgbClr val="26AAAF"/>
                </a:solidFill>
                <a:latin typeface="+mj-lt"/>
                <a:ea typeface="맑은 고딕" panose="020B0503020000020004" pitchFamily="34" charset="-127"/>
                <a:cs typeface="Arial" panose="020B0604020202020204" pitchFamily="34" charset="0"/>
                <a:sym typeface="Arial"/>
              </a:rPr>
              <a:t>Illustrations</a:t>
            </a:r>
          </a:p>
        </p:txBody>
      </p:sp>
      <p:sp>
        <p:nvSpPr>
          <p:cNvPr id="9" name="Line 5">
            <a:extLst>
              <a:ext uri="{FF2B5EF4-FFF2-40B4-BE49-F238E27FC236}">
                <a16:creationId xmlns:a16="http://schemas.microsoft.com/office/drawing/2014/main" id="{1321CE61-B65D-D9E6-FB92-61161E4BBC53}"/>
              </a:ext>
            </a:extLst>
          </p:cNvPr>
          <p:cNvSpPr>
            <a:spLocks noChangeShapeType="1"/>
          </p:cNvSpPr>
          <p:nvPr/>
        </p:nvSpPr>
        <p:spPr bwMode="blackWhite">
          <a:xfrm>
            <a:off x="569185" y="1184800"/>
            <a:ext cx="10224000" cy="0"/>
          </a:xfrm>
          <a:prstGeom prst="line">
            <a:avLst/>
          </a:prstGeom>
          <a:noFill/>
          <a:ln w="12700">
            <a:solidFill>
              <a:srgbClr val="26AAAF"/>
            </a:solidFill>
            <a:round/>
            <a:headEnd/>
            <a:tailEnd/>
          </a:ln>
        </p:spPr>
        <p:txBody>
          <a:bodyPr wrap="none" lIns="67677" tIns="33824" rIns="67677" bIns="33824" anchor="ctr"/>
          <a:lstStyle/>
          <a:p>
            <a:pPr marL="0" marR="0" lvl="0" indent="0" algn="l" defTabSz="652790" rtl="0" eaLnBrk="1" fontAlgn="auto" latinLnBrk="0" hangingPunct="1">
              <a:lnSpc>
                <a:spcPct val="100000"/>
              </a:lnSpc>
              <a:spcBef>
                <a:spcPts val="0"/>
              </a:spcBef>
              <a:spcAft>
                <a:spcPts val="0"/>
              </a:spcAft>
              <a:buClrTx/>
              <a:buSzTx/>
              <a:buFontTx/>
              <a:buNone/>
              <a:tabLst/>
              <a:defRPr/>
            </a:pPr>
            <a:endParaRPr kumimoji="0" lang="fr-FR" sz="2400" b="1" i="0" u="none" strike="noStrike" kern="0" cap="none" spc="0" normalizeH="0" baseline="0" noProof="0">
              <a:ln>
                <a:noFill/>
              </a:ln>
              <a:solidFill>
                <a:prstClr val="black"/>
              </a:solidFill>
              <a:effectLst/>
              <a:uLnTx/>
              <a:uFillTx/>
              <a:latin typeface="Calibri" panose="020F0502020204030204"/>
              <a:ea typeface="+mn-ea"/>
              <a:cs typeface="Arial" charset="0"/>
              <a:sym typeface="Arial"/>
            </a:endParaRPr>
          </a:p>
        </p:txBody>
      </p:sp>
      <p:sp>
        <p:nvSpPr>
          <p:cNvPr id="3" name="Rectangle 4">
            <a:extLst>
              <a:ext uri="{FF2B5EF4-FFF2-40B4-BE49-F238E27FC236}">
                <a16:creationId xmlns:a16="http://schemas.microsoft.com/office/drawing/2014/main" id="{E4E2061E-9990-9FE5-0D57-8F31A4143A90}"/>
              </a:ext>
            </a:extLst>
          </p:cNvPr>
          <p:cNvSpPr>
            <a:spLocks noChangeArrowheads="1"/>
          </p:cNvSpPr>
          <p:nvPr/>
        </p:nvSpPr>
        <p:spPr bwMode="blackWhite">
          <a:xfrm>
            <a:off x="6396792" y="1861498"/>
            <a:ext cx="4205228" cy="169277"/>
          </a:xfrm>
          <a:prstGeom prst="rect">
            <a:avLst/>
          </a:prstGeom>
          <a:noFill/>
          <a:ln w="9525">
            <a:noFill/>
            <a:miter lim="800000"/>
            <a:headEnd/>
            <a:tailEnd/>
          </a:ln>
        </p:spPr>
        <p:txBody>
          <a:bodyPr wrap="square" lIns="3807" tIns="0" rIns="3807" bIns="0" anchor="b">
            <a:spAutoFit/>
          </a:bodyPr>
          <a:lstStyle/>
          <a:p>
            <a:pPr algn="ctr" defTabSz="883035">
              <a:buSzPct val="120000"/>
              <a:defRPr/>
            </a:pPr>
            <a:r>
              <a:rPr lang="fr-FR" altLang="ko-KR" sz="1100" b="1">
                <a:latin typeface="+mj-lt"/>
                <a:ea typeface="맑은 고딕" panose="020B0503020000020004" pitchFamily="34" charset="-127"/>
                <a:cs typeface="Arial" panose="020B0604020202020204" pitchFamily="34" charset="0"/>
                <a:sym typeface="Arial"/>
              </a:rPr>
              <a:t>Exemples de roadmap</a:t>
            </a:r>
          </a:p>
        </p:txBody>
      </p:sp>
      <p:sp>
        <p:nvSpPr>
          <p:cNvPr id="2" name="Rectangle 4">
            <a:extLst>
              <a:ext uri="{FF2B5EF4-FFF2-40B4-BE49-F238E27FC236}">
                <a16:creationId xmlns:a16="http://schemas.microsoft.com/office/drawing/2014/main" id="{43DFF4CD-4562-09CE-3D1A-F9443AB78791}"/>
              </a:ext>
            </a:extLst>
          </p:cNvPr>
          <p:cNvSpPr>
            <a:spLocks noChangeArrowheads="1"/>
          </p:cNvSpPr>
          <p:nvPr/>
        </p:nvSpPr>
        <p:spPr bwMode="blackWhite">
          <a:xfrm>
            <a:off x="859794" y="1861498"/>
            <a:ext cx="4205228" cy="169277"/>
          </a:xfrm>
          <a:prstGeom prst="rect">
            <a:avLst/>
          </a:prstGeom>
          <a:noFill/>
          <a:ln w="9525">
            <a:noFill/>
            <a:miter lim="800000"/>
            <a:headEnd/>
            <a:tailEnd/>
          </a:ln>
        </p:spPr>
        <p:txBody>
          <a:bodyPr wrap="square" lIns="3807" tIns="0" rIns="3807" bIns="0" anchor="b">
            <a:spAutoFit/>
          </a:bodyPr>
          <a:lstStyle/>
          <a:p>
            <a:pPr algn="ctr" defTabSz="883035">
              <a:buSzPct val="120000"/>
              <a:defRPr/>
            </a:pPr>
            <a:r>
              <a:rPr lang="fr-FR" altLang="ko-KR" sz="1100" b="1">
                <a:latin typeface="+mj-lt"/>
                <a:ea typeface="맑은 고딕" panose="020B0503020000020004" pitchFamily="34" charset="-127"/>
                <a:cs typeface="Arial" panose="020B0604020202020204" pitchFamily="34" charset="0"/>
                <a:sym typeface="Arial"/>
              </a:rPr>
              <a:t>Exemple de qualification des pistes d’optimisation</a:t>
            </a:r>
          </a:p>
        </p:txBody>
      </p:sp>
      <p:grpSp>
        <p:nvGrpSpPr>
          <p:cNvPr id="20" name="Groupe 19">
            <a:extLst>
              <a:ext uri="{FF2B5EF4-FFF2-40B4-BE49-F238E27FC236}">
                <a16:creationId xmlns:a16="http://schemas.microsoft.com/office/drawing/2014/main" id="{E78D0321-E854-5BE7-F50F-EDE523CF7961}"/>
              </a:ext>
            </a:extLst>
          </p:cNvPr>
          <p:cNvGrpSpPr>
            <a:grpSpLocks noChangeAspect="1"/>
          </p:cNvGrpSpPr>
          <p:nvPr/>
        </p:nvGrpSpPr>
        <p:grpSpPr>
          <a:xfrm>
            <a:off x="859792" y="2270387"/>
            <a:ext cx="10401590" cy="3188551"/>
            <a:chOff x="3080377" y="2832201"/>
            <a:chExt cx="7539361" cy="2101048"/>
          </a:xfrm>
        </p:grpSpPr>
        <p:pic>
          <p:nvPicPr>
            <p:cNvPr id="10" name="Image 9">
              <a:extLst>
                <a:ext uri="{FF2B5EF4-FFF2-40B4-BE49-F238E27FC236}">
                  <a16:creationId xmlns:a16="http://schemas.microsoft.com/office/drawing/2014/main" id="{76EC65D6-4717-958B-EFBB-2B050B3628A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7000"/>
                      </a14:imgEffect>
                    </a14:imgLayer>
                  </a14:imgProps>
                </a:ext>
              </a:extLst>
            </a:blip>
            <a:stretch>
              <a:fillRect/>
            </a:stretch>
          </p:blipFill>
          <p:spPr>
            <a:xfrm>
              <a:off x="6953068" y="2868408"/>
              <a:ext cx="2879155" cy="1478403"/>
            </a:xfrm>
            <a:prstGeom prst="rect">
              <a:avLst/>
            </a:prstGeom>
            <a:solidFill>
              <a:schemeClr val="bg1"/>
            </a:solidFill>
            <a:effectLst>
              <a:outerShdw blurRad="50800" dist="38100" dir="2700000" algn="tl" rotWithShape="0">
                <a:prstClr val="black">
                  <a:alpha val="40000"/>
                </a:prstClr>
              </a:outerShdw>
            </a:effectLst>
          </p:spPr>
        </p:pic>
        <p:pic>
          <p:nvPicPr>
            <p:cNvPr id="11" name="Picture 2">
              <a:extLst>
                <a:ext uri="{FF2B5EF4-FFF2-40B4-BE49-F238E27FC236}">
                  <a16:creationId xmlns:a16="http://schemas.microsoft.com/office/drawing/2014/main" id="{5CE3F4A0-87BD-DF3E-40EB-6F074AEE419F}"/>
                </a:ext>
              </a:extLst>
            </p:cNvPr>
            <p:cNvPicPr>
              <a:picLocks noChangeAspect="1" noChangeArrowheads="1"/>
            </p:cNvPicPr>
            <p:nvPr/>
          </p:nvPicPr>
          <p:blipFill rotWithShape="1">
            <a:blip r:embed="rId5" cstate="screen">
              <a:duotone>
                <a:schemeClr val="accent4">
                  <a:shade val="45000"/>
                  <a:satMod val="135000"/>
                </a:schemeClr>
                <a:prstClr val="white"/>
              </a:duotone>
              <a:extLst>
                <a:ext uri="{28A0092B-C50C-407E-A947-70E740481C1C}">
                  <a14:useLocalDpi xmlns:a14="http://schemas.microsoft.com/office/drawing/2010/main"/>
                </a:ext>
              </a:extLst>
            </a:blip>
            <a:srcRect t="3754"/>
            <a:stretch/>
          </p:blipFill>
          <p:spPr bwMode="auto">
            <a:xfrm>
              <a:off x="7653808" y="3243360"/>
              <a:ext cx="2440467" cy="1443896"/>
            </a:xfrm>
            <a:prstGeom prst="rect">
              <a:avLst/>
            </a:prstGeom>
            <a:solidFill>
              <a:schemeClr val="bg1"/>
            </a:solidFill>
            <a:ln w="9525">
              <a:solidFill>
                <a:srgbClr val="FFFFFF"/>
              </a:solidFill>
              <a:miter lim="800000"/>
              <a:headEnd/>
              <a:tailEnd/>
            </a:ln>
            <a:effectLst>
              <a:outerShdw blurRad="50800" dist="38100" dir="2700000" algn="tl" rotWithShape="0">
                <a:prstClr val="black">
                  <a:alpha val="40000"/>
                </a:prstClr>
              </a:outerShdw>
            </a:effectLst>
          </p:spPr>
        </p:pic>
        <p:pic>
          <p:nvPicPr>
            <p:cNvPr id="13" name="Image 12">
              <a:extLst>
                <a:ext uri="{FF2B5EF4-FFF2-40B4-BE49-F238E27FC236}">
                  <a16:creationId xmlns:a16="http://schemas.microsoft.com/office/drawing/2014/main" id="{FB25BB29-C01D-B907-15B6-6CC3A4DFF784}"/>
                </a:ext>
              </a:extLst>
            </p:cNvPr>
            <p:cNvPicPr>
              <a:picLocks noChangeAspect="1"/>
            </p:cNvPicPr>
            <p:nvPr/>
          </p:nvPicPr>
          <p:blipFill>
            <a:blip r:embed="rId6">
              <a:duotone>
                <a:schemeClr val="accent4">
                  <a:shade val="45000"/>
                  <a:satMod val="135000"/>
                </a:schemeClr>
                <a:prstClr val="white"/>
              </a:duotone>
            </a:blip>
            <a:stretch>
              <a:fillRect/>
            </a:stretch>
          </p:blipFill>
          <p:spPr>
            <a:xfrm>
              <a:off x="8261463" y="3925249"/>
              <a:ext cx="2358275" cy="1008000"/>
            </a:xfrm>
            <a:prstGeom prst="rect">
              <a:avLst/>
            </a:prstGeom>
            <a:effectLst>
              <a:outerShdw blurRad="50800" dist="38100" dir="2700000" algn="tl" rotWithShape="0">
                <a:prstClr val="black">
                  <a:alpha val="40000"/>
                </a:prstClr>
              </a:outerShdw>
            </a:effectLst>
          </p:spPr>
        </p:pic>
        <p:pic>
          <p:nvPicPr>
            <p:cNvPr id="15" name="Image 14">
              <a:extLst>
                <a:ext uri="{FF2B5EF4-FFF2-40B4-BE49-F238E27FC236}">
                  <a16:creationId xmlns:a16="http://schemas.microsoft.com/office/drawing/2014/main" id="{CC110D12-1BF3-92D5-5CF1-72614E064EA6}"/>
                </a:ext>
              </a:extLst>
            </p:cNvPr>
            <p:cNvPicPr>
              <a:picLocks noChangeAspect="1"/>
            </p:cNvPicPr>
            <p:nvPr/>
          </p:nvPicPr>
          <p:blipFill>
            <a:blip r:embed="rId7">
              <a:duotone>
                <a:schemeClr val="accent4">
                  <a:shade val="45000"/>
                  <a:satMod val="135000"/>
                </a:schemeClr>
                <a:prstClr val="white"/>
              </a:duotone>
            </a:blip>
            <a:stretch>
              <a:fillRect/>
            </a:stretch>
          </p:blipFill>
          <p:spPr>
            <a:xfrm>
              <a:off x="3080377" y="2832201"/>
              <a:ext cx="3054378" cy="1439246"/>
            </a:xfrm>
            <a:prstGeom prst="rect">
              <a:avLst/>
            </a:prstGeom>
            <a:solidFill>
              <a:schemeClr val="bg1"/>
            </a:solidFill>
            <a:effectLst>
              <a:outerShdw blurRad="50800" dist="38100" dir="2700000" algn="tl" rotWithShape="0">
                <a:prstClr val="black">
                  <a:alpha val="40000"/>
                </a:prstClr>
              </a:outerShdw>
            </a:effectLst>
          </p:spPr>
        </p:pic>
        <p:pic>
          <p:nvPicPr>
            <p:cNvPr id="4" name="Image 3">
              <a:extLst>
                <a:ext uri="{FF2B5EF4-FFF2-40B4-BE49-F238E27FC236}">
                  <a16:creationId xmlns:a16="http://schemas.microsoft.com/office/drawing/2014/main" id="{3F9D5E9E-4AA1-699A-54FB-4EC60A8E8D8B}"/>
                </a:ext>
              </a:extLst>
            </p:cNvPr>
            <p:cNvPicPr>
              <a:picLocks noChangeAspect="1"/>
            </p:cNvPicPr>
            <p:nvPr/>
          </p:nvPicPr>
          <p:blipFill>
            <a:blip r:embed="rId8">
              <a:duotone>
                <a:schemeClr val="accent4">
                  <a:shade val="45000"/>
                  <a:satMod val="135000"/>
                </a:schemeClr>
                <a:prstClr val="white"/>
              </a:duotone>
            </a:blip>
            <a:stretch>
              <a:fillRect/>
            </a:stretch>
          </p:blipFill>
          <p:spPr>
            <a:xfrm>
              <a:off x="3818319" y="3260891"/>
              <a:ext cx="2764869" cy="1439247"/>
            </a:xfrm>
            <a:prstGeom prst="rect">
              <a:avLst/>
            </a:prstGeom>
            <a:effectLst>
              <a:outerShdw blurRad="50800" dist="38100" dir="2700000" algn="tl" rotWithShape="0">
                <a:prstClr val="black">
                  <a:alpha val="40000"/>
                </a:prstClr>
              </a:outerShdw>
            </a:effectLst>
          </p:spPr>
        </p:pic>
      </p:grpSp>
      <p:sp>
        <p:nvSpPr>
          <p:cNvPr id="18" name="Titre 29">
            <a:extLst>
              <a:ext uri="{FF2B5EF4-FFF2-40B4-BE49-F238E27FC236}">
                <a16:creationId xmlns:a16="http://schemas.microsoft.com/office/drawing/2014/main" id="{D8176CC3-9795-3639-351F-F9AB09AE1274}"/>
              </a:ext>
            </a:extLst>
          </p:cNvPr>
          <p:cNvSpPr txBox="1">
            <a:spLocks/>
          </p:cNvSpPr>
          <p:nvPr/>
        </p:nvSpPr>
        <p:spPr>
          <a:xfrm>
            <a:off x="396655" y="217390"/>
            <a:ext cx="9907072"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solidFill>
                  <a:schemeClr val="bg2"/>
                </a:solidFill>
                <a:latin typeface="Arial Black"/>
              </a:rPr>
              <a:t>3. DÉFINITION DE LA CIBLE ET DE LA TRAJECTOIRE</a:t>
            </a:r>
            <a:endParaRPr lang="fr-FR" sz="1800" kern="0">
              <a:latin typeface="Arial Black"/>
            </a:endParaRPr>
          </a:p>
        </p:txBody>
      </p:sp>
    </p:spTree>
    <p:extLst>
      <p:ext uri="{BB962C8B-B14F-4D97-AF65-F5344CB8AC3E}">
        <p14:creationId xmlns:p14="http://schemas.microsoft.com/office/powerpoint/2010/main" val="3670225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F010E3A-9898-4967-8E0E-189A53740B55}"/>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130FE673-0678-95B6-C3B9-B1E6E8BF77E1}"/>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49AD9D9-8EB9-40C8-817E-797AEF95B20C}"/>
              </a:ext>
            </a:extLst>
          </p:cNvPr>
          <p:cNvGraphicFramePr/>
          <p:nvPr>
            <p:extLst>
              <p:ext uri="{D42A27DB-BD31-4B8C-83A1-F6EECF244321}">
                <p14:modId xmlns:p14="http://schemas.microsoft.com/office/powerpoint/2010/main" val="1532314070"/>
              </p:ext>
            </p:extLst>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0">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a:solidFill>
                            <a:schemeClr val="tx2"/>
                          </a:solidFill>
                          <a:latin typeface="+mj-lt"/>
                          <a:cs typeface="Calibri" panose="020F0502020204030204" pitchFamily="34" charset="0"/>
                          <a:sym typeface="Montserrat"/>
                        </a:rPr>
                        <a:t>Synthèse de notre proposition</a:t>
                      </a:r>
                      <a:endParaRPr lang="fr-FR" sz="1900" b="0">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0"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0"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402162129"/>
                  </a:ext>
                </a:extLst>
              </a:tr>
              <a:tr h="535332">
                <a:tc>
                  <a:txBody>
                    <a:bodyPr/>
                    <a:lstStyle/>
                    <a:p>
                      <a:pPr algn="ctr"/>
                      <a:r>
                        <a:rPr lang="fr-FR" sz="1600" b="0">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1"/>
                  </a:ext>
                </a:extLst>
              </a:tr>
              <a:tr h="484169">
                <a:tc>
                  <a:txBody>
                    <a:bodyPr/>
                    <a:lstStyle/>
                    <a:p>
                      <a:pPr algn="ctr"/>
                      <a:r>
                        <a:rPr lang="fr-FR" sz="1600" b="0">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2"/>
                  </a:ext>
                </a:extLst>
              </a:tr>
              <a:tr h="484169">
                <a:tc>
                  <a:txBody>
                    <a:bodyPr/>
                    <a:lstStyle/>
                    <a:p>
                      <a:pPr algn="ctr"/>
                      <a:r>
                        <a:rPr lang="fr-FR" sz="1600" b="1">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1">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extLst>
                  <a:ext uri="{0D108BD9-81ED-4DB2-BD59-A6C34878D82A}">
                    <a16:rowId xmlns:a16="http://schemas.microsoft.com/office/drawing/2014/main" val="2683504451"/>
                  </a:ext>
                </a:extLst>
              </a:tr>
              <a:tr h="484169">
                <a:tc>
                  <a:txBody>
                    <a:bodyPr/>
                    <a:lstStyle/>
                    <a:p>
                      <a:pPr algn="ctr"/>
                      <a:r>
                        <a:rPr lang="fr-FR" sz="1600">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472287062"/>
                  </a:ext>
                </a:extLst>
              </a:tr>
              <a:tr h="484169">
                <a:tc>
                  <a:txBody>
                    <a:bodyPr/>
                    <a:lstStyle/>
                    <a:p>
                      <a:pPr algn="ctr"/>
                      <a:r>
                        <a:rPr lang="fr-FR" sz="1600">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25827347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 avec coins arrondis en diagonale 2">
            <a:extLst>
              <a:ext uri="{FF2B5EF4-FFF2-40B4-BE49-F238E27FC236}">
                <a16:creationId xmlns:a16="http://schemas.microsoft.com/office/drawing/2014/main" id="{D4E38D81-BD1B-CA7C-5594-3ABC758921A4}"/>
              </a:ext>
            </a:extLst>
          </p:cNvPr>
          <p:cNvSpPr/>
          <p:nvPr>
            <p:custDataLst>
              <p:tags r:id="rId1"/>
            </p:custDataLst>
          </p:nvPr>
        </p:nvSpPr>
        <p:spPr>
          <a:xfrm>
            <a:off x="527200" y="1230911"/>
            <a:ext cx="3380457" cy="1080000"/>
          </a:xfrm>
          <a:prstGeom prst="round2DiagRect">
            <a:avLst/>
          </a:prstGeom>
          <a:solidFill>
            <a:srgbClr val="EEF5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lnSpc>
                <a:spcPct val="90000"/>
              </a:lnSpc>
              <a:spcBef>
                <a:spcPts val="1067"/>
              </a:spcBef>
              <a:buClr>
                <a:srgbClr val="000000"/>
              </a:buClr>
              <a:defRPr/>
            </a:pPr>
            <a:r>
              <a:rPr lang="fr-FR" sz="1300" b="1" kern="0">
                <a:solidFill>
                  <a:srgbClr val="0029CC"/>
                </a:solidFill>
                <a:sym typeface="Arial"/>
              </a:rPr>
              <a:t>UNE FORTE EXPÉRIENCE SUR LA RÉALISATION DE DIAGNOSTICS ET LA DÉFINITION DES TRAJECTOIRES D’EFFICACITÉ OPÉRATIONNELLE</a:t>
            </a:r>
            <a:endParaRPr lang="en-US" sz="1300" b="1" kern="0">
              <a:solidFill>
                <a:srgbClr val="0029CC"/>
              </a:solidFill>
              <a:sym typeface="Arial"/>
            </a:endParaRPr>
          </a:p>
        </p:txBody>
      </p:sp>
      <p:sp>
        <p:nvSpPr>
          <p:cNvPr id="41" name="Rectangle : avec coins arrondis en diagonale 40">
            <a:extLst>
              <a:ext uri="{FF2B5EF4-FFF2-40B4-BE49-F238E27FC236}">
                <a16:creationId xmlns:a16="http://schemas.microsoft.com/office/drawing/2014/main" id="{7CAAACC4-3B3D-9B2F-87DF-8B270EB1CA14}"/>
              </a:ext>
            </a:extLst>
          </p:cNvPr>
          <p:cNvSpPr/>
          <p:nvPr>
            <p:custDataLst>
              <p:tags r:id="rId2"/>
            </p:custDataLst>
          </p:nvPr>
        </p:nvSpPr>
        <p:spPr>
          <a:xfrm>
            <a:off x="527200" y="4057478"/>
            <a:ext cx="3380457" cy="1080000"/>
          </a:xfrm>
          <a:prstGeom prst="round2DiagRect">
            <a:avLst/>
          </a:prstGeom>
          <a:solidFill>
            <a:srgbClr val="E7E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lnSpc>
                <a:spcPct val="90000"/>
              </a:lnSpc>
              <a:spcBef>
                <a:spcPts val="1067"/>
              </a:spcBef>
              <a:buClr>
                <a:srgbClr val="000000"/>
              </a:buClr>
              <a:defRPr/>
            </a:pPr>
            <a:r>
              <a:rPr lang="fr-FR" sz="1300" b="1" kern="0">
                <a:solidFill>
                  <a:srgbClr val="1D3D91"/>
                </a:solidFill>
                <a:latin typeface="+mj-lt"/>
                <a:cs typeface="Calibri" panose="020F0502020204030204" pitchFamily="34" charset="0"/>
                <a:sym typeface="Arial"/>
              </a:rPr>
              <a:t>LA CONNAISSANCE DES ACTIVITÉS DE BACK-OFFICE ET DE LEUR PERFORMANCE</a:t>
            </a:r>
          </a:p>
        </p:txBody>
      </p:sp>
      <p:sp>
        <p:nvSpPr>
          <p:cNvPr id="42" name="Rectangle : avec coins arrondis en diagonale 41">
            <a:extLst>
              <a:ext uri="{FF2B5EF4-FFF2-40B4-BE49-F238E27FC236}">
                <a16:creationId xmlns:a16="http://schemas.microsoft.com/office/drawing/2014/main" id="{F2EA099A-43EF-C3CA-1F70-C35EA14758FC}"/>
              </a:ext>
            </a:extLst>
          </p:cNvPr>
          <p:cNvSpPr/>
          <p:nvPr>
            <p:custDataLst>
              <p:tags r:id="rId3"/>
            </p:custDataLst>
          </p:nvPr>
        </p:nvSpPr>
        <p:spPr>
          <a:xfrm flipH="1">
            <a:off x="8267211" y="1242466"/>
            <a:ext cx="3605103" cy="1080000"/>
          </a:xfrm>
          <a:prstGeom prst="round2DiagRect">
            <a:avLst/>
          </a:prstGeom>
          <a:solidFill>
            <a:srgbClr val="E7F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lnSpc>
                <a:spcPct val="90000"/>
              </a:lnSpc>
              <a:spcBef>
                <a:spcPts val="1067"/>
              </a:spcBef>
              <a:buClr>
                <a:srgbClr val="000000"/>
              </a:buClr>
              <a:defRPr/>
            </a:pPr>
            <a:r>
              <a:rPr lang="fr-FR" sz="1300" b="1" spc="15">
                <a:solidFill>
                  <a:srgbClr val="5AA2AE"/>
                </a:solidFill>
                <a:latin typeface="+mj-lt"/>
                <a:cs typeface="Calibri" panose="020F0502020204030204" pitchFamily="34" charset="0"/>
                <a:sym typeface="Arial"/>
              </a:rPr>
              <a:t>NOTRE CONNAISSANCE DE L’ASSURANCE EMPRUNTEUR ET DE LA PRÉVOYANCE INDIVIDUELLE</a:t>
            </a:r>
          </a:p>
        </p:txBody>
      </p:sp>
      <p:sp>
        <p:nvSpPr>
          <p:cNvPr id="190" name="Rectangle : avec coins arrondis en diagonale 189">
            <a:extLst>
              <a:ext uri="{FF2B5EF4-FFF2-40B4-BE49-F238E27FC236}">
                <a16:creationId xmlns:a16="http://schemas.microsoft.com/office/drawing/2014/main" id="{7228D4CC-A5E2-CD94-0660-BB0FDA6CE920}"/>
              </a:ext>
            </a:extLst>
          </p:cNvPr>
          <p:cNvSpPr/>
          <p:nvPr>
            <p:custDataLst>
              <p:tags r:id="rId4"/>
            </p:custDataLst>
          </p:nvPr>
        </p:nvSpPr>
        <p:spPr>
          <a:xfrm flipH="1">
            <a:off x="8267211" y="3951026"/>
            <a:ext cx="3605103" cy="1080000"/>
          </a:xfrm>
          <a:prstGeom prst="round2DiagRect">
            <a:avLst/>
          </a:prstGeom>
          <a:solidFill>
            <a:srgbClr val="EDE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lnSpc>
                <a:spcPct val="90000"/>
              </a:lnSpc>
              <a:spcBef>
                <a:spcPts val="1067"/>
              </a:spcBef>
              <a:buClr>
                <a:srgbClr val="000000"/>
              </a:buClr>
              <a:defRPr/>
            </a:pPr>
            <a:endParaRPr lang="fr-FR" sz="1600" b="1" kern="0">
              <a:solidFill>
                <a:srgbClr val="3D00F2"/>
              </a:solidFill>
              <a:latin typeface="Calibri" panose="020F0502020204030204" pitchFamily="34" charset="0"/>
              <a:cs typeface="Calibri" panose="020F0502020204030204" pitchFamily="34" charset="0"/>
              <a:sym typeface="Arial"/>
            </a:endParaRPr>
          </a:p>
          <a:p>
            <a:pPr defTabSz="914377">
              <a:lnSpc>
                <a:spcPct val="90000"/>
              </a:lnSpc>
              <a:spcBef>
                <a:spcPts val="1067"/>
              </a:spcBef>
              <a:buClr>
                <a:srgbClr val="000000"/>
              </a:buClr>
              <a:defRPr/>
            </a:pPr>
            <a:r>
              <a:rPr lang="fr-FR" sz="1300" b="1" kern="0">
                <a:solidFill>
                  <a:srgbClr val="0029CC"/>
                </a:solidFill>
                <a:latin typeface="+mj-lt"/>
                <a:cs typeface="Calibri" panose="020F0502020204030204" pitchFamily="34" charset="0"/>
                <a:sym typeface="Arial"/>
              </a:rPr>
              <a:t>DES PROFILS EXPÉRIMENTÉS ET EN TOTALE ADÉQUATION AVEC LES ENJEUX DE LA MISSION</a:t>
            </a:r>
          </a:p>
          <a:p>
            <a:pPr defTabSz="914377">
              <a:lnSpc>
                <a:spcPct val="90000"/>
              </a:lnSpc>
              <a:spcBef>
                <a:spcPts val="1067"/>
              </a:spcBef>
              <a:buClr>
                <a:srgbClr val="000000"/>
              </a:buClr>
              <a:defRPr/>
            </a:pPr>
            <a:endParaRPr lang="fr-FR" sz="1400" b="1" kern="0">
              <a:solidFill>
                <a:srgbClr val="0070C0"/>
              </a:solidFill>
              <a:latin typeface="Calibri" panose="020F0502020204030204" pitchFamily="34" charset="0"/>
              <a:cs typeface="Calibri" panose="020F0502020204030204" pitchFamily="34" charset="0"/>
              <a:sym typeface="Arial"/>
            </a:endParaRPr>
          </a:p>
        </p:txBody>
      </p:sp>
      <p:sp>
        <p:nvSpPr>
          <p:cNvPr id="191" name="Freeform 39">
            <a:extLst>
              <a:ext uri="{FF2B5EF4-FFF2-40B4-BE49-F238E27FC236}">
                <a16:creationId xmlns:a16="http://schemas.microsoft.com/office/drawing/2014/main" id="{A53B28F2-8CAA-B9E9-D6D4-5094340CE54A}"/>
              </a:ext>
            </a:extLst>
          </p:cNvPr>
          <p:cNvSpPr/>
          <p:nvPr>
            <p:custDataLst>
              <p:tags r:id="rId5"/>
            </p:custDataLst>
          </p:nvPr>
        </p:nvSpPr>
        <p:spPr>
          <a:xfrm>
            <a:off x="7488031" y="1138472"/>
            <a:ext cx="3457232" cy="860735"/>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25400" cmpd="sng">
            <a:solidFill>
              <a:srgbClr val="2C85AE"/>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buClr>
                <a:srgbClr val="000000"/>
              </a:buClr>
              <a:defRPr/>
            </a:pPr>
            <a:endParaRPr lang="en-US" sz="3200" kern="0">
              <a:solidFill>
                <a:srgbClr val="FF33CC"/>
              </a:solidFill>
              <a:latin typeface="Arial"/>
              <a:sym typeface="Arial"/>
            </a:endParaRPr>
          </a:p>
        </p:txBody>
      </p:sp>
      <p:sp>
        <p:nvSpPr>
          <p:cNvPr id="192" name="Freeform 41">
            <a:extLst>
              <a:ext uri="{FF2B5EF4-FFF2-40B4-BE49-F238E27FC236}">
                <a16:creationId xmlns:a16="http://schemas.microsoft.com/office/drawing/2014/main" id="{3C5BAE56-434E-31E5-6186-0A238F2167B9}"/>
              </a:ext>
            </a:extLst>
          </p:cNvPr>
          <p:cNvSpPr/>
          <p:nvPr>
            <p:custDataLst>
              <p:tags r:id="rId6"/>
            </p:custDataLst>
          </p:nvPr>
        </p:nvSpPr>
        <p:spPr>
          <a:xfrm flipV="1">
            <a:off x="7488031" y="5162729"/>
            <a:ext cx="3457232" cy="1551688"/>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25400" cmpd="sng">
            <a:solidFill>
              <a:srgbClr val="859DFF"/>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4377">
              <a:buClr>
                <a:srgbClr val="000000"/>
              </a:buClr>
              <a:defRPr/>
            </a:pPr>
            <a:endParaRPr lang="en-US" sz="3200" kern="0">
              <a:solidFill>
                <a:srgbClr val="FF33CC"/>
              </a:solidFill>
              <a:latin typeface="Arial"/>
              <a:sym typeface="Arial"/>
            </a:endParaRPr>
          </a:p>
        </p:txBody>
      </p:sp>
      <p:sp>
        <p:nvSpPr>
          <p:cNvPr id="193" name="Freeform 44">
            <a:extLst>
              <a:ext uri="{FF2B5EF4-FFF2-40B4-BE49-F238E27FC236}">
                <a16:creationId xmlns:a16="http://schemas.microsoft.com/office/drawing/2014/main" id="{B243D059-BB55-72C9-539A-458ABE8E5C7C}"/>
              </a:ext>
            </a:extLst>
          </p:cNvPr>
          <p:cNvSpPr/>
          <p:nvPr>
            <p:custDataLst>
              <p:tags r:id="rId7"/>
            </p:custDataLst>
          </p:nvPr>
        </p:nvSpPr>
        <p:spPr>
          <a:xfrm flipH="1">
            <a:off x="1323193" y="1117523"/>
            <a:ext cx="3432099" cy="931057"/>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25400" cmpd="sng">
            <a:solidFill>
              <a:srgbClr val="0029CC"/>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defTabSz="914377">
              <a:buClr>
                <a:srgbClr val="000000"/>
              </a:buClr>
              <a:defRPr/>
            </a:pPr>
            <a:endParaRPr lang="en-US" sz="3200" b="1" kern="0">
              <a:solidFill>
                <a:srgbClr val="FF33CC"/>
              </a:solidFill>
              <a:latin typeface="Arial"/>
              <a:sym typeface="Arial"/>
            </a:endParaRPr>
          </a:p>
        </p:txBody>
      </p:sp>
      <p:sp>
        <p:nvSpPr>
          <p:cNvPr id="194" name="Freeform 45">
            <a:extLst>
              <a:ext uri="{FF2B5EF4-FFF2-40B4-BE49-F238E27FC236}">
                <a16:creationId xmlns:a16="http://schemas.microsoft.com/office/drawing/2014/main" id="{513CC9D8-5360-46F8-77D1-0896F27F629B}"/>
              </a:ext>
            </a:extLst>
          </p:cNvPr>
          <p:cNvSpPr/>
          <p:nvPr>
            <p:custDataLst>
              <p:tags r:id="rId8"/>
            </p:custDataLst>
          </p:nvPr>
        </p:nvSpPr>
        <p:spPr>
          <a:xfrm flipH="1" flipV="1">
            <a:off x="1323191" y="5275061"/>
            <a:ext cx="3495307" cy="1380061"/>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25400" cmpd="sng">
            <a:solidFill>
              <a:srgbClr val="1D3D91">
                <a:alpha val="50000"/>
              </a:srgb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defTabSz="914377">
              <a:buClr>
                <a:srgbClr val="000000"/>
              </a:buClr>
              <a:defRPr/>
            </a:pPr>
            <a:endParaRPr lang="en-US" sz="3200" b="1" kern="0">
              <a:solidFill>
                <a:srgbClr val="FF33CC"/>
              </a:solidFill>
              <a:latin typeface="Arial"/>
              <a:sym typeface="Arial"/>
            </a:endParaRPr>
          </a:p>
        </p:txBody>
      </p:sp>
      <p:sp>
        <p:nvSpPr>
          <p:cNvPr id="195" name="Oval 4">
            <a:extLst>
              <a:ext uri="{FF2B5EF4-FFF2-40B4-BE49-F238E27FC236}">
                <a16:creationId xmlns:a16="http://schemas.microsoft.com/office/drawing/2014/main" id="{A5C96D53-4498-1E79-FD27-B4AE172FC750}"/>
              </a:ext>
            </a:extLst>
          </p:cNvPr>
          <p:cNvSpPr>
            <a:spLocks noChangeAspect="1"/>
          </p:cNvSpPr>
          <p:nvPr>
            <p:custDataLst>
              <p:tags r:id="rId9"/>
            </p:custDataLst>
          </p:nvPr>
        </p:nvSpPr>
        <p:spPr>
          <a:xfrm>
            <a:off x="4724707" y="2195415"/>
            <a:ext cx="2736000" cy="2736000"/>
          </a:xfrm>
          <a:prstGeom prst="ellipse">
            <a:avLst/>
          </a:prstGeom>
          <a:noFill/>
          <a:ln w="19050" cmpd="sng">
            <a:solidFill>
              <a:srgbClr val="E3E1EE"/>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txBody>
          <a:bodyPr/>
          <a:lstStyle/>
          <a:p>
            <a:pPr defTabSz="1219170">
              <a:buClr>
                <a:srgbClr val="000000"/>
              </a:buClr>
              <a:defRPr/>
            </a:pPr>
            <a:endParaRPr lang="fr-FR" sz="1867" kern="0">
              <a:solidFill>
                <a:srgbClr val="FF9966">
                  <a:hueOff val="0"/>
                  <a:satOff val="0"/>
                  <a:lumOff val="0"/>
                  <a:alphaOff val="0"/>
                </a:srgbClr>
              </a:solidFill>
              <a:latin typeface="Montserrat"/>
              <a:sym typeface="Arial"/>
            </a:endParaRPr>
          </a:p>
        </p:txBody>
      </p:sp>
      <p:grpSp>
        <p:nvGrpSpPr>
          <p:cNvPr id="196" name="Groupe 195">
            <a:extLst>
              <a:ext uri="{FF2B5EF4-FFF2-40B4-BE49-F238E27FC236}">
                <a16:creationId xmlns:a16="http://schemas.microsoft.com/office/drawing/2014/main" id="{CF69D58A-C33B-BED9-D34F-50F107566AEB}"/>
              </a:ext>
            </a:extLst>
          </p:cNvPr>
          <p:cNvGrpSpPr/>
          <p:nvPr>
            <p:custDataLst>
              <p:tags r:id="rId10"/>
            </p:custDataLst>
          </p:nvPr>
        </p:nvGrpSpPr>
        <p:grpSpPr>
          <a:xfrm>
            <a:off x="4351397" y="1810162"/>
            <a:ext cx="3482619" cy="3552241"/>
            <a:chOff x="4394228" y="1965313"/>
            <a:chExt cx="3482618" cy="3552241"/>
          </a:xfrm>
        </p:grpSpPr>
        <p:sp>
          <p:nvSpPr>
            <p:cNvPr id="197" name="Freeform 5">
              <a:extLst>
                <a:ext uri="{FF2B5EF4-FFF2-40B4-BE49-F238E27FC236}">
                  <a16:creationId xmlns:a16="http://schemas.microsoft.com/office/drawing/2014/main" id="{8911F646-94B3-C4B0-D98C-CA6072FEB69A}"/>
                </a:ext>
              </a:extLst>
            </p:cNvPr>
            <p:cNvSpPr/>
            <p:nvPr/>
          </p:nvSpPr>
          <p:spPr>
            <a:xfrm>
              <a:off x="4394228" y="2002689"/>
              <a:ext cx="1529652" cy="1529652"/>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00212" tIns="300212" rIns="300212" bIns="300212" numCol="1" spcCol="1270" anchor="ctr" anchorCtr="0">
              <a:noAutofit/>
            </a:bodyPr>
            <a:lstStyle/>
            <a:p>
              <a:pPr algn="ctr" defTabSz="888956">
                <a:lnSpc>
                  <a:spcPct val="90000"/>
                </a:lnSpc>
                <a:spcBef>
                  <a:spcPct val="0"/>
                </a:spcBef>
                <a:spcAft>
                  <a:spcPct val="35000"/>
                </a:spcAft>
                <a:buClr>
                  <a:srgbClr val="000000"/>
                </a:buClr>
                <a:defRPr/>
              </a:pPr>
              <a:endParaRPr lang="en-US" sz="2000" kern="0">
                <a:solidFill>
                  <a:srgbClr val="FFFFFF"/>
                </a:solidFill>
                <a:latin typeface="Arial"/>
                <a:sym typeface="Arial"/>
              </a:endParaRPr>
            </a:p>
          </p:txBody>
        </p:sp>
        <p:sp>
          <p:nvSpPr>
            <p:cNvPr id="198" name="Freeform 6">
              <a:extLst>
                <a:ext uri="{FF2B5EF4-FFF2-40B4-BE49-F238E27FC236}">
                  <a16:creationId xmlns:a16="http://schemas.microsoft.com/office/drawing/2014/main" id="{AC6D2876-1E3B-426A-73EB-AA08A886B732}"/>
                </a:ext>
              </a:extLst>
            </p:cNvPr>
            <p:cNvSpPr/>
            <p:nvPr/>
          </p:nvSpPr>
          <p:spPr>
            <a:xfrm>
              <a:off x="6312580" y="1965313"/>
              <a:ext cx="1529652" cy="1529652"/>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rgbClr val="2C85AE"/>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00212" tIns="300212" rIns="300212" bIns="300212" numCol="1" spcCol="1270" anchor="ctr" anchorCtr="0">
              <a:noAutofit/>
            </a:bodyPr>
            <a:lstStyle/>
            <a:p>
              <a:pPr algn="ctr" defTabSz="888956">
                <a:lnSpc>
                  <a:spcPct val="90000"/>
                </a:lnSpc>
                <a:spcBef>
                  <a:spcPct val="0"/>
                </a:spcBef>
                <a:spcAft>
                  <a:spcPct val="35000"/>
                </a:spcAft>
                <a:buClr>
                  <a:srgbClr val="000000"/>
                </a:buClr>
                <a:defRPr/>
              </a:pPr>
              <a:endParaRPr lang="en-US" sz="2000" kern="0">
                <a:solidFill>
                  <a:srgbClr val="FFFFFF"/>
                </a:solidFill>
                <a:latin typeface="Arial"/>
                <a:sym typeface="Arial"/>
              </a:endParaRPr>
            </a:p>
          </p:txBody>
        </p:sp>
        <p:sp>
          <p:nvSpPr>
            <p:cNvPr id="199" name="Freeform 7">
              <a:extLst>
                <a:ext uri="{FF2B5EF4-FFF2-40B4-BE49-F238E27FC236}">
                  <a16:creationId xmlns:a16="http://schemas.microsoft.com/office/drawing/2014/main" id="{5FAF2B20-9BC0-4B23-A921-2B7C715F7A14}"/>
                </a:ext>
              </a:extLst>
            </p:cNvPr>
            <p:cNvSpPr/>
            <p:nvPr/>
          </p:nvSpPr>
          <p:spPr>
            <a:xfrm>
              <a:off x="4425384" y="3987902"/>
              <a:ext cx="1529652" cy="1529652"/>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rgbClr val="1D3D9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00212" tIns="300212" rIns="300212" bIns="300212" numCol="1" spcCol="1270" anchor="ctr" anchorCtr="0">
              <a:noAutofit/>
            </a:bodyPr>
            <a:lstStyle/>
            <a:p>
              <a:pPr algn="ctr" defTabSz="888956">
                <a:lnSpc>
                  <a:spcPct val="90000"/>
                </a:lnSpc>
                <a:spcBef>
                  <a:spcPct val="0"/>
                </a:spcBef>
                <a:spcAft>
                  <a:spcPct val="35000"/>
                </a:spcAft>
                <a:buClr>
                  <a:srgbClr val="000000"/>
                </a:buClr>
                <a:defRPr/>
              </a:pPr>
              <a:endParaRPr lang="en-US" sz="2000" kern="0">
                <a:solidFill>
                  <a:srgbClr val="FFFFFF"/>
                </a:solidFill>
                <a:latin typeface="Arial"/>
                <a:sym typeface="Arial"/>
              </a:endParaRPr>
            </a:p>
          </p:txBody>
        </p:sp>
        <p:sp>
          <p:nvSpPr>
            <p:cNvPr id="200" name="Freeform 8">
              <a:extLst>
                <a:ext uri="{FF2B5EF4-FFF2-40B4-BE49-F238E27FC236}">
                  <a16:creationId xmlns:a16="http://schemas.microsoft.com/office/drawing/2014/main" id="{C67A5394-9E58-8711-A1B0-8AF94AD3F0A1}"/>
                </a:ext>
              </a:extLst>
            </p:cNvPr>
            <p:cNvSpPr/>
            <p:nvPr/>
          </p:nvSpPr>
          <p:spPr>
            <a:xfrm>
              <a:off x="6347194" y="3956629"/>
              <a:ext cx="1529652" cy="1529652"/>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rgbClr val="859DFF"/>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00212" tIns="300212" rIns="300212" bIns="300212" numCol="1" spcCol="1270" anchor="ctr" anchorCtr="0">
              <a:noAutofit/>
            </a:bodyPr>
            <a:lstStyle/>
            <a:p>
              <a:pPr algn="ctr" defTabSz="888956">
                <a:lnSpc>
                  <a:spcPct val="90000"/>
                </a:lnSpc>
                <a:spcBef>
                  <a:spcPct val="0"/>
                </a:spcBef>
                <a:spcAft>
                  <a:spcPct val="35000"/>
                </a:spcAft>
                <a:buClr>
                  <a:srgbClr val="000000"/>
                </a:buClr>
                <a:defRPr/>
              </a:pPr>
              <a:endParaRPr lang="en-US" sz="2000" kern="0">
                <a:solidFill>
                  <a:srgbClr val="FFFFFF"/>
                </a:solidFill>
                <a:latin typeface="Arial"/>
                <a:sym typeface="Arial"/>
              </a:endParaRPr>
            </a:p>
          </p:txBody>
        </p:sp>
      </p:grpSp>
      <p:sp>
        <p:nvSpPr>
          <p:cNvPr id="201" name="TextBox 24">
            <a:extLst>
              <a:ext uri="{FF2B5EF4-FFF2-40B4-BE49-F238E27FC236}">
                <a16:creationId xmlns:a16="http://schemas.microsoft.com/office/drawing/2014/main" id="{2C4ABB04-EA42-6EC1-0989-4DD327CA2799}"/>
              </a:ext>
            </a:extLst>
          </p:cNvPr>
          <p:cNvSpPr txBox="1"/>
          <p:nvPr>
            <p:custDataLst>
              <p:tags r:id="rId11"/>
            </p:custDataLst>
          </p:nvPr>
        </p:nvSpPr>
        <p:spPr>
          <a:xfrm>
            <a:off x="8267211" y="2281543"/>
            <a:ext cx="3724151" cy="1195199"/>
          </a:xfrm>
          <a:prstGeom prst="rect">
            <a:avLst/>
          </a:prstGeom>
          <a:noFill/>
        </p:spPr>
        <p:txBody>
          <a:bodyPr wrap="square" lIns="121920" rIns="121920" rtlCol="0">
            <a:spAutoFit/>
          </a:bodyPr>
          <a:lstStyle/>
          <a:p>
            <a:pPr marL="122764" indent="-122764" defTabSz="914377">
              <a:spcBef>
                <a:spcPts val="213"/>
              </a:spcBef>
              <a:buClr>
                <a:srgbClr val="000000"/>
              </a:buClr>
              <a:buFont typeface="Arial" panose="020B0604020202020204" pitchFamily="34" charset="0"/>
              <a:buChar char="•"/>
              <a:defRPr/>
            </a:pPr>
            <a:r>
              <a:rPr lang="fr-FR" sz="1000" kern="0">
                <a:solidFill>
                  <a:srgbClr val="E7E6E6">
                    <a:lumMod val="10000"/>
                  </a:srgbClr>
                </a:solidFill>
                <a:cs typeface="Calibri" panose="020F0502020204030204" pitchFamily="34" charset="0"/>
                <a:sym typeface="Arial"/>
              </a:rPr>
              <a:t>Nos équipes sont habituées à </a:t>
            </a:r>
            <a:r>
              <a:rPr lang="fr-FR" sz="1000" b="1" kern="0">
                <a:solidFill>
                  <a:srgbClr val="E7E6E6">
                    <a:lumMod val="10000"/>
                  </a:srgbClr>
                </a:solidFill>
                <a:cs typeface="Calibri" panose="020F0502020204030204" pitchFamily="34" charset="0"/>
                <a:sym typeface="Arial"/>
              </a:rPr>
              <a:t>évaluer les niveaux de performances </a:t>
            </a:r>
            <a:r>
              <a:rPr lang="fr-FR" sz="1000" kern="0">
                <a:solidFill>
                  <a:srgbClr val="E7E6E6">
                    <a:lumMod val="10000"/>
                  </a:srgbClr>
                </a:solidFill>
                <a:cs typeface="Calibri" panose="020F0502020204030204" pitchFamily="34" charset="0"/>
                <a:sym typeface="Arial"/>
              </a:rPr>
              <a:t>: taille des équipes, principes d'organisation, de prise de décision, modes de management, efficacité des processus…</a:t>
            </a:r>
          </a:p>
          <a:p>
            <a:pPr marL="122764" indent="-122764" defTabSz="914377">
              <a:spcBef>
                <a:spcPts val="213"/>
              </a:spcBef>
              <a:buClr>
                <a:srgbClr val="000000"/>
              </a:buClr>
              <a:buFont typeface="Arial" panose="020B0604020202020204" pitchFamily="34" charset="0"/>
              <a:buChar char="•"/>
              <a:defRPr/>
            </a:pPr>
            <a:r>
              <a:rPr lang="fr-FR" sz="1000" kern="0">
                <a:solidFill>
                  <a:srgbClr val="E7E6E6">
                    <a:lumMod val="10000"/>
                  </a:srgbClr>
                </a:solidFill>
                <a:cs typeface="Calibri" panose="020F0502020204030204" pitchFamily="34" charset="0"/>
                <a:sym typeface="Arial"/>
              </a:rPr>
              <a:t>Notre expérience nous garantit également la </a:t>
            </a:r>
            <a:r>
              <a:rPr lang="fr-FR" sz="1000" b="1" kern="0">
                <a:solidFill>
                  <a:srgbClr val="E7E6E6">
                    <a:lumMod val="10000"/>
                  </a:srgbClr>
                </a:solidFill>
                <a:cs typeface="Calibri" panose="020F0502020204030204" pitchFamily="34" charset="0"/>
                <a:sym typeface="Arial"/>
              </a:rPr>
              <a:t>compréhension des enjeux de l’assurance emprunteur et de la prévoyance individuelle</a:t>
            </a:r>
            <a:r>
              <a:rPr lang="fr-FR" sz="1000" kern="0">
                <a:solidFill>
                  <a:srgbClr val="E7E6E6">
                    <a:lumMod val="10000"/>
                  </a:srgbClr>
                </a:solidFill>
                <a:cs typeface="Calibri" panose="020F0502020204030204" pitchFamily="34" charset="0"/>
                <a:sym typeface="Arial"/>
              </a:rPr>
              <a:t> (yc. Madelin)</a:t>
            </a:r>
            <a:endParaRPr lang="fr-FR" sz="1000">
              <a:solidFill>
                <a:srgbClr val="7F8FA9">
                  <a:lumMod val="50000"/>
                </a:srgbClr>
              </a:solidFill>
              <a:cs typeface="Calibri" panose="020F0502020204030204" pitchFamily="34" charset="0"/>
              <a:sym typeface="Arial"/>
            </a:endParaRPr>
          </a:p>
        </p:txBody>
      </p:sp>
      <p:sp>
        <p:nvSpPr>
          <p:cNvPr id="202" name="TextBox 42">
            <a:extLst>
              <a:ext uri="{FF2B5EF4-FFF2-40B4-BE49-F238E27FC236}">
                <a16:creationId xmlns:a16="http://schemas.microsoft.com/office/drawing/2014/main" id="{A8EB5BAF-E527-5ABC-1BD8-172C893635BB}"/>
              </a:ext>
            </a:extLst>
          </p:cNvPr>
          <p:cNvSpPr txBox="1"/>
          <p:nvPr>
            <p:custDataLst>
              <p:tags r:id="rId12"/>
            </p:custDataLst>
          </p:nvPr>
        </p:nvSpPr>
        <p:spPr>
          <a:xfrm>
            <a:off x="8267211" y="5039207"/>
            <a:ext cx="3809226" cy="1567096"/>
          </a:xfrm>
          <a:prstGeom prst="rect">
            <a:avLst/>
          </a:prstGeom>
          <a:noFill/>
        </p:spPr>
        <p:txBody>
          <a:bodyPr wrap="square" lIns="48000" rIns="48000" rtlCol="0">
            <a:spAutoFit/>
          </a:bodyPr>
          <a:lstStyle/>
          <a:p>
            <a:pPr marL="258188" marR="307175" indent="-168860" defTabSz="829889">
              <a:lnSpc>
                <a:spcPts val="1333"/>
              </a:lnSpc>
              <a:spcBef>
                <a:spcPts val="213"/>
              </a:spcBef>
              <a:buFont typeface="Arial"/>
              <a:buChar char="•"/>
              <a:tabLst>
                <a:tab pos="355600" algn="l"/>
              </a:tabLst>
              <a:defRPr/>
            </a:pPr>
            <a:r>
              <a:rPr lang="fr-FR" sz="1000" kern="0">
                <a:solidFill>
                  <a:srgbClr val="E7E6E6">
                    <a:lumMod val="10000"/>
                  </a:srgbClr>
                </a:solidFill>
                <a:cs typeface="Calibri" panose="020F0502020204030204" pitchFamily="34" charset="0"/>
                <a:sym typeface="Arial"/>
              </a:rPr>
              <a:t>Une équipe constituée de </a:t>
            </a:r>
            <a:r>
              <a:rPr lang="fr-FR" sz="1000" b="1" kern="0">
                <a:solidFill>
                  <a:srgbClr val="E7E6E6">
                    <a:lumMod val="10000"/>
                  </a:srgbClr>
                </a:solidFill>
                <a:cs typeface="Calibri" panose="020F0502020204030204" pitchFamily="34" charset="0"/>
                <a:sym typeface="Arial"/>
              </a:rPr>
              <a:t>profils très expérimentés</a:t>
            </a:r>
            <a:r>
              <a:rPr lang="fr-FR" sz="1000" kern="0">
                <a:solidFill>
                  <a:srgbClr val="E7E6E6">
                    <a:lumMod val="10000"/>
                  </a:srgbClr>
                </a:solidFill>
                <a:cs typeface="Calibri" panose="020F0502020204030204" pitchFamily="34" charset="0"/>
                <a:sym typeface="Arial"/>
              </a:rPr>
              <a:t>, ayant réalisé des projets similaires et possédant une double expertise :</a:t>
            </a:r>
          </a:p>
          <a:p>
            <a:pPr marL="480472" lvl="1" indent="-122764" defTabSz="829889">
              <a:spcBef>
                <a:spcPts val="213"/>
              </a:spcBef>
              <a:buFont typeface="Arial"/>
              <a:buChar char="▪"/>
              <a:tabLst>
                <a:tab pos="480472" algn="l"/>
              </a:tabLst>
              <a:defRPr/>
            </a:pPr>
            <a:r>
              <a:rPr lang="fr-FR" sz="1000" kern="0">
                <a:solidFill>
                  <a:srgbClr val="E7E6E6">
                    <a:lumMod val="10000"/>
                  </a:srgbClr>
                </a:solidFill>
                <a:cs typeface="Calibri" panose="020F0502020204030204" pitchFamily="34" charset="0"/>
                <a:sym typeface="Arial"/>
              </a:rPr>
              <a:t>Parfaite </a:t>
            </a:r>
            <a:r>
              <a:rPr lang="fr-FR" sz="1000" b="1" kern="0">
                <a:solidFill>
                  <a:srgbClr val="E7E6E6">
                    <a:lumMod val="10000"/>
                  </a:srgbClr>
                </a:solidFill>
                <a:cs typeface="Calibri" panose="020F0502020204030204" pitchFamily="34" charset="0"/>
                <a:sym typeface="Arial"/>
              </a:rPr>
              <a:t>maîtrise méthodologique des démarches lean six sigma </a:t>
            </a:r>
            <a:r>
              <a:rPr lang="fr-FR" sz="1000" kern="0">
                <a:solidFill>
                  <a:srgbClr val="E7E6E6">
                    <a:lumMod val="10000"/>
                  </a:srgbClr>
                </a:solidFill>
                <a:cs typeface="Calibri" panose="020F0502020204030204" pitchFamily="34" charset="0"/>
                <a:sym typeface="Arial"/>
              </a:rPr>
              <a:t>de diagnostic et d’élaboration de feuilles de route</a:t>
            </a:r>
          </a:p>
          <a:p>
            <a:pPr marL="480472" lvl="1" indent="-122764" defTabSz="829889">
              <a:spcBef>
                <a:spcPts val="213"/>
              </a:spcBef>
              <a:buFont typeface="Arial"/>
              <a:buChar char="▪"/>
              <a:tabLst>
                <a:tab pos="480472" algn="l"/>
              </a:tabLst>
              <a:defRPr/>
            </a:pPr>
            <a:r>
              <a:rPr lang="fr-FR" sz="1000" kern="0">
                <a:solidFill>
                  <a:srgbClr val="E7E6E6">
                    <a:lumMod val="10000"/>
                  </a:srgbClr>
                </a:solidFill>
                <a:cs typeface="Calibri" panose="020F0502020204030204" pitchFamily="34" charset="0"/>
                <a:sym typeface="Arial"/>
              </a:rPr>
              <a:t>Capacité à </a:t>
            </a:r>
            <a:r>
              <a:rPr lang="fr-FR" sz="1000" b="1" kern="0">
                <a:solidFill>
                  <a:srgbClr val="E7E6E6">
                    <a:lumMod val="10000"/>
                  </a:srgbClr>
                </a:solidFill>
                <a:cs typeface="Calibri" panose="020F0502020204030204" pitchFamily="34" charset="0"/>
                <a:sym typeface="Arial"/>
              </a:rPr>
              <a:t>adapter la méthode à la taille de vos équipes et aux spécificités de chacune des trois entités</a:t>
            </a:r>
            <a:endParaRPr lang="fr-FR" sz="1000" b="1" kern="0">
              <a:solidFill>
                <a:srgbClr val="7F8FA9">
                  <a:lumMod val="50000"/>
                </a:srgbClr>
              </a:solidFill>
              <a:cs typeface="Calibri" panose="020F0502020204030204" pitchFamily="34" charset="0"/>
              <a:sym typeface="Arial"/>
            </a:endParaRPr>
          </a:p>
        </p:txBody>
      </p:sp>
      <p:sp>
        <p:nvSpPr>
          <p:cNvPr id="203" name="TextBox 46">
            <a:extLst>
              <a:ext uri="{FF2B5EF4-FFF2-40B4-BE49-F238E27FC236}">
                <a16:creationId xmlns:a16="http://schemas.microsoft.com/office/drawing/2014/main" id="{D113490F-A536-D20A-DBAC-FEFF8816594C}"/>
              </a:ext>
            </a:extLst>
          </p:cNvPr>
          <p:cNvSpPr txBox="1"/>
          <p:nvPr>
            <p:custDataLst>
              <p:tags r:id="rId13"/>
            </p:custDataLst>
          </p:nvPr>
        </p:nvSpPr>
        <p:spPr>
          <a:xfrm>
            <a:off x="443981" y="5098885"/>
            <a:ext cx="3792739" cy="1195199"/>
          </a:xfrm>
          <a:prstGeom prst="rect">
            <a:avLst/>
          </a:prstGeom>
          <a:noFill/>
        </p:spPr>
        <p:txBody>
          <a:bodyPr wrap="square" lIns="121920" tIns="45720" rIns="121920" bIns="45720" rtlCol="0" anchor="t">
            <a:spAutoFit/>
          </a:bodyPr>
          <a:lstStyle/>
          <a:p>
            <a:pPr marL="269875" indent="-122238" defTabSz="914377">
              <a:spcBef>
                <a:spcPts val="213"/>
              </a:spcBef>
              <a:buClr>
                <a:srgbClr val="000000"/>
              </a:buClr>
              <a:buFont typeface="Arial" panose="020B0604020202020204" pitchFamily="34" charset="0"/>
              <a:buChar char="•"/>
              <a:defRPr/>
            </a:pPr>
            <a:r>
              <a:rPr lang="fr-FR" sz="1000" kern="0">
                <a:solidFill>
                  <a:srgbClr val="000000"/>
                </a:solidFill>
                <a:cs typeface="Calibri" panose="020F0502020204030204" pitchFamily="34" charset="0"/>
                <a:sym typeface="Arial"/>
              </a:rPr>
              <a:t>Nos fréquentes </a:t>
            </a:r>
            <a:r>
              <a:rPr lang="fr-FR" sz="1000" b="1" kern="0">
                <a:solidFill>
                  <a:srgbClr val="000000"/>
                </a:solidFill>
                <a:cs typeface="Calibri" panose="020F0502020204030204" pitchFamily="34" charset="0"/>
                <a:sym typeface="Arial"/>
              </a:rPr>
              <a:t>missions opérationnelles au sein de back offices </a:t>
            </a:r>
            <a:r>
              <a:rPr lang="fr-FR" sz="1000" kern="0">
                <a:solidFill>
                  <a:srgbClr val="000000"/>
                </a:solidFill>
                <a:cs typeface="Calibri" panose="020F0502020204030204" pitchFamily="34" charset="0"/>
                <a:sym typeface="Arial"/>
              </a:rPr>
              <a:t>d’acteurs des services financiers nous permettent d’être au fait des </a:t>
            </a:r>
            <a:r>
              <a:rPr lang="fr-FR" sz="1000" b="1" kern="0">
                <a:solidFill>
                  <a:srgbClr val="000000"/>
                </a:solidFill>
                <a:cs typeface="Calibri" panose="020F0502020204030204" pitchFamily="34" charset="0"/>
                <a:sym typeface="Arial"/>
              </a:rPr>
              <a:t>modalités d’organisation </a:t>
            </a:r>
            <a:r>
              <a:rPr lang="fr-FR" sz="1000" kern="0">
                <a:solidFill>
                  <a:srgbClr val="000000"/>
                </a:solidFill>
                <a:cs typeface="Calibri" panose="020F0502020204030204" pitchFamily="34" charset="0"/>
                <a:sym typeface="Arial"/>
              </a:rPr>
              <a:t>adaptées à chaque configuration, de la manière de gérer les différents processus et des </a:t>
            </a:r>
            <a:r>
              <a:rPr lang="fr-FR" sz="1000" b="1" kern="0">
                <a:solidFill>
                  <a:srgbClr val="000000"/>
                </a:solidFill>
                <a:cs typeface="Calibri" panose="020F0502020204030204" pitchFamily="34" charset="0"/>
                <a:sym typeface="Arial"/>
              </a:rPr>
              <a:t>axes de performance</a:t>
            </a:r>
          </a:p>
          <a:p>
            <a:pPr marL="269875" indent="-122238" defTabSz="914377">
              <a:spcBef>
                <a:spcPts val="213"/>
              </a:spcBef>
              <a:buClr>
                <a:srgbClr val="000000"/>
              </a:buClr>
              <a:buFont typeface="Arial" panose="020B0604020202020204" pitchFamily="34" charset="0"/>
              <a:buChar char="•"/>
              <a:defRPr/>
            </a:pPr>
            <a:r>
              <a:rPr lang="fr-FR" sz="1000" kern="0">
                <a:solidFill>
                  <a:srgbClr val="000000"/>
                </a:solidFill>
                <a:cs typeface="Calibri" panose="020F0502020204030204" pitchFamily="34" charset="0"/>
                <a:sym typeface="Arial"/>
              </a:rPr>
              <a:t>Nous possédons également une bonne compréhension des </a:t>
            </a:r>
            <a:r>
              <a:rPr lang="fr-FR" sz="1000" b="1" kern="0">
                <a:solidFill>
                  <a:srgbClr val="000000"/>
                </a:solidFill>
                <a:cs typeface="Calibri" panose="020F0502020204030204" pitchFamily="34" charset="0"/>
                <a:sym typeface="Arial"/>
              </a:rPr>
              <a:t>liens courtier / gestionnaire / assureur</a:t>
            </a:r>
          </a:p>
        </p:txBody>
      </p:sp>
      <p:sp>
        <p:nvSpPr>
          <p:cNvPr id="204" name="TextBox 43">
            <a:extLst>
              <a:ext uri="{FF2B5EF4-FFF2-40B4-BE49-F238E27FC236}">
                <a16:creationId xmlns:a16="http://schemas.microsoft.com/office/drawing/2014/main" id="{44D66E35-4B7E-6762-ED34-1C832269F88C}"/>
              </a:ext>
            </a:extLst>
          </p:cNvPr>
          <p:cNvSpPr txBox="1"/>
          <p:nvPr>
            <p:custDataLst>
              <p:tags r:id="rId14"/>
            </p:custDataLst>
          </p:nvPr>
        </p:nvSpPr>
        <p:spPr>
          <a:xfrm>
            <a:off x="444499" y="2281543"/>
            <a:ext cx="4172011" cy="1349087"/>
          </a:xfrm>
          <a:prstGeom prst="rect">
            <a:avLst/>
          </a:prstGeom>
          <a:noFill/>
        </p:spPr>
        <p:txBody>
          <a:bodyPr wrap="square" lIns="121920" rIns="121920" rtlCol="0">
            <a:spAutoFit/>
          </a:bodyPr>
          <a:lstStyle/>
          <a:p>
            <a:pPr marL="257804" marR="305427" indent="-168270" defTabSz="829889">
              <a:spcBef>
                <a:spcPts val="213"/>
              </a:spcBef>
              <a:buClr>
                <a:srgbClr val="000000"/>
              </a:buClr>
              <a:buFont typeface="Arial"/>
              <a:buChar char="•"/>
              <a:tabLst>
                <a:tab pos="258188" algn="l"/>
                <a:tab pos="258764" algn="l"/>
              </a:tabLst>
              <a:defRPr/>
            </a:pPr>
            <a:r>
              <a:rPr lang="fr-FR" sz="1000" kern="0" spc="-5">
                <a:solidFill>
                  <a:srgbClr val="000000"/>
                </a:solidFill>
                <a:cs typeface="Calibri" panose="020F0502020204030204" pitchFamily="34" charset="0"/>
                <a:sym typeface="Arial"/>
              </a:rPr>
              <a:t>Talan Consulting dispose d’une expérience avérée </a:t>
            </a:r>
            <a:r>
              <a:rPr lang="fr-FR" sz="1000" b="1" kern="0" spc="-5">
                <a:solidFill>
                  <a:srgbClr val="000000"/>
                </a:solidFill>
                <a:cs typeface="Calibri" panose="020F0502020204030204" pitchFamily="34" charset="0"/>
                <a:sym typeface="Arial"/>
              </a:rPr>
              <a:t>dans la réalisation de diagnostics et la définition de trajectoire d’efficacité opérationnelle, </a:t>
            </a:r>
            <a:r>
              <a:rPr lang="fr-FR" sz="1000" kern="0" spc="-5">
                <a:solidFill>
                  <a:srgbClr val="000000"/>
                </a:solidFill>
                <a:cs typeface="Calibri" panose="020F0502020204030204" pitchFamily="34" charset="0"/>
                <a:sym typeface="Arial"/>
              </a:rPr>
              <a:t>permettant de déboucher sur une </a:t>
            </a:r>
            <a:r>
              <a:rPr lang="fr-FR" sz="1000" b="1" kern="0" spc="-5">
                <a:solidFill>
                  <a:srgbClr val="000000"/>
                </a:solidFill>
                <a:cs typeface="Calibri" panose="020F0502020204030204" pitchFamily="34" charset="0"/>
                <a:sym typeface="Arial"/>
              </a:rPr>
              <a:t>rationalisation des organisations, des processus et des outils, et ce, dans de nombreux secteurs d’activité.</a:t>
            </a:r>
            <a:endParaRPr lang="fr-FR" sz="1000" kern="0" spc="-5">
              <a:solidFill>
                <a:srgbClr val="000000"/>
              </a:solidFill>
              <a:cs typeface="Calibri" panose="020F0502020204030204" pitchFamily="34" charset="0"/>
              <a:sym typeface="Arial"/>
            </a:endParaRPr>
          </a:p>
          <a:p>
            <a:pPr marL="257804" marR="305427" indent="-168270" defTabSz="829889">
              <a:spcBef>
                <a:spcPts val="213"/>
              </a:spcBef>
              <a:buClr>
                <a:srgbClr val="000000"/>
              </a:buClr>
              <a:buFont typeface="Arial"/>
              <a:buChar char="•"/>
              <a:tabLst>
                <a:tab pos="258188" algn="l"/>
                <a:tab pos="258764" algn="l"/>
              </a:tabLst>
              <a:defRPr/>
            </a:pPr>
            <a:r>
              <a:rPr lang="fr-FR" sz="1000" kern="0" spc="-5">
                <a:solidFill>
                  <a:srgbClr val="000000"/>
                </a:solidFill>
                <a:cs typeface="Calibri" panose="020F0502020204030204" pitchFamily="34" charset="0"/>
                <a:sym typeface="Arial"/>
              </a:rPr>
              <a:t>Notre </a:t>
            </a:r>
            <a:r>
              <a:rPr lang="fr-FR" sz="1000" b="1" kern="0" spc="-5">
                <a:solidFill>
                  <a:srgbClr val="000000"/>
                </a:solidFill>
                <a:cs typeface="Calibri" panose="020F0502020204030204" pitchFamily="34" charset="0"/>
                <a:sym typeface="Arial"/>
              </a:rPr>
              <a:t>approche est résolument orientée ROI</a:t>
            </a:r>
            <a:r>
              <a:rPr lang="fr-FR" sz="1000" kern="0" spc="-5">
                <a:solidFill>
                  <a:srgbClr val="000000"/>
                </a:solidFill>
                <a:cs typeface="Calibri" panose="020F0502020204030204" pitchFamily="34" charset="0"/>
                <a:sym typeface="Arial"/>
              </a:rPr>
              <a:t>, avec l’identification des gisements de productivité, d’</a:t>
            </a:r>
            <a:r>
              <a:rPr lang="fr-FR" sz="1000" b="1" kern="0" spc="-5">
                <a:solidFill>
                  <a:srgbClr val="000000"/>
                </a:solidFill>
                <a:cs typeface="Calibri" panose="020F0502020204030204" pitchFamily="34" charset="0"/>
                <a:sym typeface="Arial"/>
              </a:rPr>
              <a:t>optimisation des coûts et d’efficacité</a:t>
            </a:r>
            <a:r>
              <a:rPr lang="fr-FR" sz="1000" kern="0" spc="-5">
                <a:solidFill>
                  <a:srgbClr val="000000"/>
                </a:solidFill>
                <a:cs typeface="Calibri" panose="020F0502020204030204" pitchFamily="34" charset="0"/>
                <a:sym typeface="Arial"/>
              </a:rPr>
              <a:t>.</a:t>
            </a:r>
          </a:p>
        </p:txBody>
      </p:sp>
      <p:sp>
        <p:nvSpPr>
          <p:cNvPr id="205" name="Google Shape;4891;p248">
            <a:extLst>
              <a:ext uri="{FF2B5EF4-FFF2-40B4-BE49-F238E27FC236}">
                <a16:creationId xmlns:a16="http://schemas.microsoft.com/office/drawing/2014/main" id="{49B5DD33-35F0-212E-A8FA-A14AC96CC04E}"/>
              </a:ext>
            </a:extLst>
          </p:cNvPr>
          <p:cNvSpPr>
            <a:spLocks noChangeAspect="1"/>
          </p:cNvSpPr>
          <p:nvPr>
            <p:custDataLst>
              <p:tags r:id="rId15"/>
            </p:custDataLst>
          </p:nvPr>
        </p:nvSpPr>
        <p:spPr>
          <a:xfrm>
            <a:off x="4864223" y="2338672"/>
            <a:ext cx="504000" cy="483145"/>
          </a:xfrm>
          <a:custGeom>
            <a:avLst/>
            <a:gdLst/>
            <a:ahLst/>
            <a:cxnLst/>
            <a:rect l="l" t="t" r="r" b="b"/>
            <a:pathLst>
              <a:path w="67" h="64" extrusionOk="0">
                <a:moveTo>
                  <a:pt x="63" y="49"/>
                </a:moveTo>
                <a:cubicBezTo>
                  <a:pt x="62" y="49"/>
                  <a:pt x="58" y="45"/>
                  <a:pt x="58" y="44"/>
                </a:cubicBezTo>
                <a:cubicBezTo>
                  <a:pt x="54" y="48"/>
                  <a:pt x="54" y="48"/>
                  <a:pt x="54" y="48"/>
                </a:cubicBezTo>
                <a:cubicBezTo>
                  <a:pt x="63" y="57"/>
                  <a:pt x="63" y="57"/>
                  <a:pt x="63" y="57"/>
                </a:cubicBezTo>
                <a:cubicBezTo>
                  <a:pt x="63" y="58"/>
                  <a:pt x="64" y="59"/>
                  <a:pt x="64" y="60"/>
                </a:cubicBezTo>
                <a:cubicBezTo>
                  <a:pt x="64" y="62"/>
                  <a:pt x="61" y="64"/>
                  <a:pt x="59" y="64"/>
                </a:cubicBezTo>
                <a:cubicBezTo>
                  <a:pt x="58" y="64"/>
                  <a:pt x="57" y="64"/>
                  <a:pt x="56" y="63"/>
                </a:cubicBezTo>
                <a:cubicBezTo>
                  <a:pt x="29" y="36"/>
                  <a:pt x="29" y="36"/>
                  <a:pt x="29" y="36"/>
                </a:cubicBezTo>
                <a:cubicBezTo>
                  <a:pt x="25" y="39"/>
                  <a:pt x="20" y="42"/>
                  <a:pt x="15" y="42"/>
                </a:cubicBezTo>
                <a:cubicBezTo>
                  <a:pt x="6" y="42"/>
                  <a:pt x="0" y="36"/>
                  <a:pt x="0" y="27"/>
                </a:cubicBezTo>
                <a:cubicBezTo>
                  <a:pt x="0" y="14"/>
                  <a:pt x="13" y="0"/>
                  <a:pt x="26" y="0"/>
                </a:cubicBezTo>
                <a:cubicBezTo>
                  <a:pt x="35" y="0"/>
                  <a:pt x="41" y="6"/>
                  <a:pt x="41" y="15"/>
                </a:cubicBezTo>
                <a:cubicBezTo>
                  <a:pt x="41" y="21"/>
                  <a:pt x="39" y="26"/>
                  <a:pt x="36" y="30"/>
                </a:cubicBezTo>
                <a:cubicBezTo>
                  <a:pt x="50" y="44"/>
                  <a:pt x="50" y="44"/>
                  <a:pt x="50" y="44"/>
                </a:cubicBezTo>
                <a:cubicBezTo>
                  <a:pt x="54" y="40"/>
                  <a:pt x="54" y="40"/>
                  <a:pt x="54" y="40"/>
                </a:cubicBezTo>
                <a:cubicBezTo>
                  <a:pt x="53" y="39"/>
                  <a:pt x="49" y="36"/>
                  <a:pt x="49" y="35"/>
                </a:cubicBezTo>
                <a:cubicBezTo>
                  <a:pt x="49" y="34"/>
                  <a:pt x="53" y="31"/>
                  <a:pt x="54" y="31"/>
                </a:cubicBezTo>
                <a:cubicBezTo>
                  <a:pt x="54" y="31"/>
                  <a:pt x="54" y="31"/>
                  <a:pt x="55" y="31"/>
                </a:cubicBezTo>
                <a:cubicBezTo>
                  <a:pt x="56" y="32"/>
                  <a:pt x="67" y="43"/>
                  <a:pt x="67" y="44"/>
                </a:cubicBezTo>
                <a:cubicBezTo>
                  <a:pt x="67" y="45"/>
                  <a:pt x="64" y="49"/>
                  <a:pt x="63" y="49"/>
                </a:cubicBezTo>
                <a:close/>
                <a:moveTo>
                  <a:pt x="25" y="8"/>
                </a:moveTo>
                <a:cubicBezTo>
                  <a:pt x="21" y="8"/>
                  <a:pt x="18" y="12"/>
                  <a:pt x="18" y="16"/>
                </a:cubicBezTo>
                <a:cubicBezTo>
                  <a:pt x="18" y="17"/>
                  <a:pt x="18" y="18"/>
                  <a:pt x="19" y="19"/>
                </a:cubicBezTo>
                <a:cubicBezTo>
                  <a:pt x="17" y="19"/>
                  <a:pt x="16" y="18"/>
                  <a:pt x="15" y="18"/>
                </a:cubicBezTo>
                <a:cubicBezTo>
                  <a:pt x="11" y="18"/>
                  <a:pt x="7" y="22"/>
                  <a:pt x="7" y="26"/>
                </a:cubicBezTo>
                <a:cubicBezTo>
                  <a:pt x="7" y="30"/>
                  <a:pt x="11" y="34"/>
                  <a:pt x="15" y="34"/>
                </a:cubicBezTo>
                <a:cubicBezTo>
                  <a:pt x="19" y="34"/>
                  <a:pt x="23" y="30"/>
                  <a:pt x="23" y="26"/>
                </a:cubicBezTo>
                <a:cubicBezTo>
                  <a:pt x="23" y="25"/>
                  <a:pt x="23" y="24"/>
                  <a:pt x="22" y="23"/>
                </a:cubicBezTo>
                <a:cubicBezTo>
                  <a:pt x="23" y="23"/>
                  <a:pt x="24" y="24"/>
                  <a:pt x="25" y="24"/>
                </a:cubicBezTo>
                <a:cubicBezTo>
                  <a:pt x="30" y="24"/>
                  <a:pt x="33" y="20"/>
                  <a:pt x="33" y="16"/>
                </a:cubicBezTo>
                <a:cubicBezTo>
                  <a:pt x="33" y="12"/>
                  <a:pt x="30" y="8"/>
                  <a:pt x="25" y="8"/>
                </a:cubicBezTo>
                <a:close/>
              </a:path>
            </a:pathLst>
          </a:custGeom>
          <a:solidFill>
            <a:schemeClr val="lt1"/>
          </a:solidFill>
          <a:ln>
            <a:noFill/>
          </a:ln>
        </p:spPr>
        <p:txBody>
          <a:bodyPr spcFirstLastPara="1" wrap="square" lIns="91425" tIns="45700" rIns="91425" bIns="45700" anchor="t" anchorCtr="0">
            <a:noAutofit/>
          </a:bodyPr>
          <a:lstStyle/>
          <a:p>
            <a:pPr defTabSz="914377">
              <a:buClr>
                <a:srgbClr val="000000"/>
              </a:buClr>
              <a:defRPr/>
            </a:pPr>
            <a:endParaRPr lang="fr-FR" sz="2000" kern="0">
              <a:solidFill>
                <a:srgbClr val="FF33CC"/>
              </a:solidFill>
              <a:latin typeface="Arial"/>
              <a:cs typeface="Arial"/>
              <a:sym typeface="Arial"/>
            </a:endParaRPr>
          </a:p>
        </p:txBody>
      </p:sp>
      <p:grpSp>
        <p:nvGrpSpPr>
          <p:cNvPr id="207" name="Groupe 206">
            <a:extLst>
              <a:ext uri="{FF2B5EF4-FFF2-40B4-BE49-F238E27FC236}">
                <a16:creationId xmlns:a16="http://schemas.microsoft.com/office/drawing/2014/main" id="{9FD4CC37-6570-5D24-8504-B7639EDDC3AF}"/>
              </a:ext>
            </a:extLst>
          </p:cNvPr>
          <p:cNvGrpSpPr/>
          <p:nvPr/>
        </p:nvGrpSpPr>
        <p:grpSpPr>
          <a:xfrm>
            <a:off x="6690554" y="2195416"/>
            <a:ext cx="684337" cy="616737"/>
            <a:chOff x="5113338" y="3975100"/>
            <a:chExt cx="434975" cy="390525"/>
          </a:xfrm>
          <a:solidFill>
            <a:schemeClr val="bg1"/>
          </a:solidFill>
        </p:grpSpPr>
        <p:sp>
          <p:nvSpPr>
            <p:cNvPr id="208" name="Freeform 761">
              <a:extLst>
                <a:ext uri="{FF2B5EF4-FFF2-40B4-BE49-F238E27FC236}">
                  <a16:creationId xmlns:a16="http://schemas.microsoft.com/office/drawing/2014/main" id="{9CA5CB4D-C73C-9959-AD96-592F5C05FAA4}"/>
                </a:ext>
              </a:extLst>
            </p:cNvPr>
            <p:cNvSpPr>
              <a:spLocks/>
            </p:cNvSpPr>
            <p:nvPr/>
          </p:nvSpPr>
          <p:spPr bwMode="auto">
            <a:xfrm>
              <a:off x="5181600" y="3975100"/>
              <a:ext cx="309563" cy="106363"/>
            </a:xfrm>
            <a:custGeom>
              <a:avLst/>
              <a:gdLst>
                <a:gd name="T0" fmla="*/ 24 w 299"/>
                <a:gd name="T1" fmla="*/ 96 h 105"/>
                <a:gd name="T2" fmla="*/ 46 w 299"/>
                <a:gd name="T3" fmla="*/ 79 h 105"/>
                <a:gd name="T4" fmla="*/ 87 w 299"/>
                <a:gd name="T5" fmla="*/ 55 h 105"/>
                <a:gd name="T6" fmla="*/ 147 w 299"/>
                <a:gd name="T7" fmla="*/ 43 h 105"/>
                <a:gd name="T8" fmla="*/ 267 w 299"/>
                <a:gd name="T9" fmla="*/ 98 h 105"/>
                <a:gd name="T10" fmla="*/ 290 w 299"/>
                <a:gd name="T11" fmla="*/ 88 h 105"/>
                <a:gd name="T12" fmla="*/ 77 w 299"/>
                <a:gd name="T13" fmla="*/ 33 h 105"/>
                <a:gd name="T14" fmla="*/ 6 w 299"/>
                <a:gd name="T15" fmla="*/ 86 h 105"/>
                <a:gd name="T16" fmla="*/ 19 w 299"/>
                <a:gd name="T17" fmla="*/ 97 h 105"/>
                <a:gd name="T18" fmla="*/ 24 w 299"/>
                <a:gd name="T19" fmla="*/ 9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105">
                  <a:moveTo>
                    <a:pt x="24" y="96"/>
                  </a:moveTo>
                  <a:cubicBezTo>
                    <a:pt x="33" y="94"/>
                    <a:pt x="39" y="86"/>
                    <a:pt x="46" y="79"/>
                  </a:cubicBezTo>
                  <a:cubicBezTo>
                    <a:pt x="58" y="69"/>
                    <a:pt x="72" y="61"/>
                    <a:pt x="87" y="55"/>
                  </a:cubicBezTo>
                  <a:cubicBezTo>
                    <a:pt x="106" y="47"/>
                    <a:pt x="127" y="43"/>
                    <a:pt x="147" y="43"/>
                  </a:cubicBezTo>
                  <a:cubicBezTo>
                    <a:pt x="193" y="43"/>
                    <a:pt x="237" y="63"/>
                    <a:pt x="267" y="98"/>
                  </a:cubicBezTo>
                  <a:cubicBezTo>
                    <a:pt x="273" y="105"/>
                    <a:pt x="299" y="99"/>
                    <a:pt x="290" y="88"/>
                  </a:cubicBezTo>
                  <a:cubicBezTo>
                    <a:pt x="240" y="25"/>
                    <a:pt x="154" y="0"/>
                    <a:pt x="77" y="33"/>
                  </a:cubicBezTo>
                  <a:cubicBezTo>
                    <a:pt x="49" y="44"/>
                    <a:pt x="25" y="63"/>
                    <a:pt x="6" y="86"/>
                  </a:cubicBezTo>
                  <a:cubicBezTo>
                    <a:pt x="0" y="94"/>
                    <a:pt x="14" y="97"/>
                    <a:pt x="19" y="97"/>
                  </a:cubicBezTo>
                  <a:cubicBezTo>
                    <a:pt x="21" y="97"/>
                    <a:pt x="22" y="97"/>
                    <a:pt x="24" y="96"/>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09" name="Freeform 762">
              <a:extLst>
                <a:ext uri="{FF2B5EF4-FFF2-40B4-BE49-F238E27FC236}">
                  <a16:creationId xmlns:a16="http://schemas.microsoft.com/office/drawing/2014/main" id="{EF88B07A-25EE-C667-F639-C75A9358B8A6}"/>
                </a:ext>
              </a:extLst>
            </p:cNvPr>
            <p:cNvSpPr>
              <a:spLocks/>
            </p:cNvSpPr>
            <p:nvPr/>
          </p:nvSpPr>
          <p:spPr bwMode="auto">
            <a:xfrm>
              <a:off x="5187950" y="4283075"/>
              <a:ext cx="290513" cy="82550"/>
            </a:xfrm>
            <a:custGeom>
              <a:avLst/>
              <a:gdLst>
                <a:gd name="T0" fmla="*/ 178 w 284"/>
                <a:gd name="T1" fmla="*/ 50 h 78"/>
                <a:gd name="T2" fmla="*/ 107 w 284"/>
                <a:gd name="T3" fmla="*/ 50 h 78"/>
                <a:gd name="T4" fmla="*/ 27 w 284"/>
                <a:gd name="T5" fmla="*/ 3 h 78"/>
                <a:gd name="T6" fmla="*/ 20 w 284"/>
                <a:gd name="T7" fmla="*/ 0 h 78"/>
                <a:gd name="T8" fmla="*/ 12 w 284"/>
                <a:gd name="T9" fmla="*/ 0 h 78"/>
                <a:gd name="T10" fmla="*/ 5 w 284"/>
                <a:gd name="T11" fmla="*/ 15 h 78"/>
                <a:gd name="T12" fmla="*/ 74 w 284"/>
                <a:gd name="T13" fmla="*/ 65 h 78"/>
                <a:gd name="T14" fmla="*/ 142 w 284"/>
                <a:gd name="T15" fmla="*/ 78 h 78"/>
                <a:gd name="T16" fmla="*/ 212 w 284"/>
                <a:gd name="T17" fmla="*/ 64 h 78"/>
                <a:gd name="T18" fmla="*/ 279 w 284"/>
                <a:gd name="T19" fmla="*/ 15 h 78"/>
                <a:gd name="T20" fmla="*/ 272 w 284"/>
                <a:gd name="T21" fmla="*/ 0 h 78"/>
                <a:gd name="T22" fmla="*/ 267 w 284"/>
                <a:gd name="T23" fmla="*/ 0 h 78"/>
                <a:gd name="T24" fmla="*/ 256 w 284"/>
                <a:gd name="T25" fmla="*/ 5 h 78"/>
                <a:gd name="T26" fmla="*/ 178 w 284"/>
                <a:gd name="T27"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 h="78">
                  <a:moveTo>
                    <a:pt x="178" y="50"/>
                  </a:moveTo>
                  <a:cubicBezTo>
                    <a:pt x="155" y="55"/>
                    <a:pt x="131" y="55"/>
                    <a:pt x="107" y="50"/>
                  </a:cubicBezTo>
                  <a:cubicBezTo>
                    <a:pt x="75" y="43"/>
                    <a:pt x="48" y="26"/>
                    <a:pt x="27" y="3"/>
                  </a:cubicBezTo>
                  <a:cubicBezTo>
                    <a:pt x="25" y="1"/>
                    <a:pt x="23" y="0"/>
                    <a:pt x="20" y="0"/>
                  </a:cubicBezTo>
                  <a:cubicBezTo>
                    <a:pt x="12" y="0"/>
                    <a:pt x="12" y="0"/>
                    <a:pt x="12" y="0"/>
                  </a:cubicBezTo>
                  <a:cubicBezTo>
                    <a:pt x="4" y="0"/>
                    <a:pt x="0" y="9"/>
                    <a:pt x="5" y="15"/>
                  </a:cubicBezTo>
                  <a:cubicBezTo>
                    <a:pt x="23" y="37"/>
                    <a:pt x="47" y="54"/>
                    <a:pt x="74" y="65"/>
                  </a:cubicBezTo>
                  <a:cubicBezTo>
                    <a:pt x="96" y="74"/>
                    <a:pt x="119" y="78"/>
                    <a:pt x="142" y="78"/>
                  </a:cubicBezTo>
                  <a:cubicBezTo>
                    <a:pt x="166" y="78"/>
                    <a:pt x="190" y="73"/>
                    <a:pt x="212" y="64"/>
                  </a:cubicBezTo>
                  <a:cubicBezTo>
                    <a:pt x="239" y="53"/>
                    <a:pt x="262" y="36"/>
                    <a:pt x="279" y="15"/>
                  </a:cubicBezTo>
                  <a:cubicBezTo>
                    <a:pt x="284" y="9"/>
                    <a:pt x="280" y="0"/>
                    <a:pt x="272" y="0"/>
                  </a:cubicBezTo>
                  <a:cubicBezTo>
                    <a:pt x="267" y="0"/>
                    <a:pt x="267" y="0"/>
                    <a:pt x="267" y="0"/>
                  </a:cubicBezTo>
                  <a:cubicBezTo>
                    <a:pt x="263" y="0"/>
                    <a:pt x="259" y="2"/>
                    <a:pt x="256" y="5"/>
                  </a:cubicBezTo>
                  <a:cubicBezTo>
                    <a:pt x="236" y="26"/>
                    <a:pt x="210" y="42"/>
                    <a:pt x="178" y="50"/>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0" name="Freeform 763">
              <a:extLst>
                <a:ext uri="{FF2B5EF4-FFF2-40B4-BE49-F238E27FC236}">
                  <a16:creationId xmlns:a16="http://schemas.microsoft.com/office/drawing/2014/main" id="{ABC5A150-B62C-E4D5-F1C3-08C118EF744F}"/>
                </a:ext>
              </a:extLst>
            </p:cNvPr>
            <p:cNvSpPr>
              <a:spLocks/>
            </p:cNvSpPr>
            <p:nvPr/>
          </p:nvSpPr>
          <p:spPr bwMode="auto">
            <a:xfrm>
              <a:off x="5151438" y="4094163"/>
              <a:ext cx="87312" cy="95250"/>
            </a:xfrm>
            <a:custGeom>
              <a:avLst/>
              <a:gdLst>
                <a:gd name="T0" fmla="*/ 38 w 89"/>
                <a:gd name="T1" fmla="*/ 85 h 89"/>
                <a:gd name="T2" fmla="*/ 85 w 89"/>
                <a:gd name="T3" fmla="*/ 38 h 89"/>
                <a:gd name="T4" fmla="*/ 52 w 89"/>
                <a:gd name="T5" fmla="*/ 5 h 89"/>
                <a:gd name="T6" fmla="*/ 4 w 89"/>
                <a:gd name="T7" fmla="*/ 52 h 89"/>
                <a:gd name="T8" fmla="*/ 38 w 89"/>
                <a:gd name="T9" fmla="*/ 85 h 89"/>
              </a:gdLst>
              <a:ahLst/>
              <a:cxnLst>
                <a:cxn ang="0">
                  <a:pos x="T0" y="T1"/>
                </a:cxn>
                <a:cxn ang="0">
                  <a:pos x="T2" y="T3"/>
                </a:cxn>
                <a:cxn ang="0">
                  <a:pos x="T4" y="T5"/>
                </a:cxn>
                <a:cxn ang="0">
                  <a:pos x="T6" y="T7"/>
                </a:cxn>
                <a:cxn ang="0">
                  <a:pos x="T8" y="T9"/>
                </a:cxn>
              </a:cxnLst>
              <a:rect l="0" t="0" r="r" b="b"/>
              <a:pathLst>
                <a:path w="89" h="89">
                  <a:moveTo>
                    <a:pt x="38" y="85"/>
                  </a:moveTo>
                  <a:cubicBezTo>
                    <a:pt x="66" y="89"/>
                    <a:pt x="89" y="66"/>
                    <a:pt x="85" y="38"/>
                  </a:cubicBezTo>
                  <a:cubicBezTo>
                    <a:pt x="82" y="21"/>
                    <a:pt x="68" y="7"/>
                    <a:pt x="52" y="5"/>
                  </a:cubicBezTo>
                  <a:cubicBezTo>
                    <a:pt x="24" y="0"/>
                    <a:pt x="0" y="24"/>
                    <a:pt x="4" y="52"/>
                  </a:cubicBezTo>
                  <a:cubicBezTo>
                    <a:pt x="7" y="68"/>
                    <a:pt x="21" y="82"/>
                    <a:pt x="38" y="85"/>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1" name="Freeform 764">
              <a:extLst>
                <a:ext uri="{FF2B5EF4-FFF2-40B4-BE49-F238E27FC236}">
                  <a16:creationId xmlns:a16="http://schemas.microsoft.com/office/drawing/2014/main" id="{0BEBDA52-72CC-B9EB-B28F-5EEF6094E749}"/>
                </a:ext>
              </a:extLst>
            </p:cNvPr>
            <p:cNvSpPr>
              <a:spLocks/>
            </p:cNvSpPr>
            <p:nvPr/>
          </p:nvSpPr>
          <p:spPr bwMode="auto">
            <a:xfrm>
              <a:off x="5113338" y="4213225"/>
              <a:ext cx="138112" cy="57150"/>
            </a:xfrm>
            <a:custGeom>
              <a:avLst/>
              <a:gdLst>
                <a:gd name="T0" fmla="*/ 119 w 133"/>
                <a:gd name="T1" fmla="*/ 48 h 52"/>
                <a:gd name="T2" fmla="*/ 133 w 133"/>
                <a:gd name="T3" fmla="*/ 15 h 52"/>
                <a:gd name="T4" fmla="*/ 94 w 133"/>
                <a:gd name="T5" fmla="*/ 0 h 52"/>
                <a:gd name="T6" fmla="*/ 57 w 133"/>
                <a:gd name="T7" fmla="*/ 0 h 52"/>
                <a:gd name="T8" fmla="*/ 1 w 133"/>
                <a:gd name="T9" fmla="*/ 44 h 52"/>
                <a:gd name="T10" fmla="*/ 8 w 133"/>
                <a:gd name="T11" fmla="*/ 52 h 52"/>
                <a:gd name="T12" fmla="*/ 18 w 133"/>
                <a:gd name="T13" fmla="*/ 52 h 52"/>
                <a:gd name="T14" fmla="*/ 118 w 133"/>
                <a:gd name="T15" fmla="*/ 52 h 52"/>
                <a:gd name="T16" fmla="*/ 119 w 133"/>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52">
                  <a:moveTo>
                    <a:pt x="119" y="48"/>
                  </a:moveTo>
                  <a:cubicBezTo>
                    <a:pt x="121" y="36"/>
                    <a:pt x="126" y="25"/>
                    <a:pt x="133" y="15"/>
                  </a:cubicBezTo>
                  <a:cubicBezTo>
                    <a:pt x="122" y="6"/>
                    <a:pt x="109" y="0"/>
                    <a:pt x="94" y="0"/>
                  </a:cubicBezTo>
                  <a:cubicBezTo>
                    <a:pt x="57" y="0"/>
                    <a:pt x="57" y="0"/>
                    <a:pt x="57" y="0"/>
                  </a:cubicBezTo>
                  <a:cubicBezTo>
                    <a:pt x="30" y="0"/>
                    <a:pt x="8" y="19"/>
                    <a:pt x="1" y="44"/>
                  </a:cubicBezTo>
                  <a:cubicBezTo>
                    <a:pt x="0" y="48"/>
                    <a:pt x="4" y="52"/>
                    <a:pt x="8" y="52"/>
                  </a:cubicBezTo>
                  <a:cubicBezTo>
                    <a:pt x="18" y="52"/>
                    <a:pt x="18" y="52"/>
                    <a:pt x="18" y="52"/>
                  </a:cubicBezTo>
                  <a:cubicBezTo>
                    <a:pt x="118" y="52"/>
                    <a:pt x="118" y="52"/>
                    <a:pt x="118" y="52"/>
                  </a:cubicBezTo>
                  <a:lnTo>
                    <a:pt x="119" y="48"/>
                  </a:ln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2" name="Freeform 765">
              <a:extLst>
                <a:ext uri="{FF2B5EF4-FFF2-40B4-BE49-F238E27FC236}">
                  <a16:creationId xmlns:a16="http://schemas.microsoft.com/office/drawing/2014/main" id="{AB84D593-6750-5AD5-0956-04F70AC0DB24}"/>
                </a:ext>
              </a:extLst>
            </p:cNvPr>
            <p:cNvSpPr>
              <a:spLocks/>
            </p:cNvSpPr>
            <p:nvPr/>
          </p:nvSpPr>
          <p:spPr bwMode="auto">
            <a:xfrm>
              <a:off x="5427663" y="4100513"/>
              <a:ext cx="88900" cy="88900"/>
            </a:xfrm>
            <a:custGeom>
              <a:avLst/>
              <a:gdLst>
                <a:gd name="T0" fmla="*/ 4 w 89"/>
                <a:gd name="T1" fmla="*/ 38 h 90"/>
                <a:gd name="T2" fmla="*/ 51 w 89"/>
                <a:gd name="T3" fmla="*/ 85 h 90"/>
                <a:gd name="T4" fmla="*/ 85 w 89"/>
                <a:gd name="T5" fmla="*/ 52 h 90"/>
                <a:gd name="T6" fmla="*/ 38 w 89"/>
                <a:gd name="T7" fmla="*/ 5 h 90"/>
                <a:gd name="T8" fmla="*/ 4 w 89"/>
                <a:gd name="T9" fmla="*/ 38 h 90"/>
              </a:gdLst>
              <a:ahLst/>
              <a:cxnLst>
                <a:cxn ang="0">
                  <a:pos x="T0" y="T1"/>
                </a:cxn>
                <a:cxn ang="0">
                  <a:pos x="T2" y="T3"/>
                </a:cxn>
                <a:cxn ang="0">
                  <a:pos x="T4" y="T5"/>
                </a:cxn>
                <a:cxn ang="0">
                  <a:pos x="T6" y="T7"/>
                </a:cxn>
                <a:cxn ang="0">
                  <a:pos x="T8" y="T9"/>
                </a:cxn>
              </a:cxnLst>
              <a:rect l="0" t="0" r="r" b="b"/>
              <a:pathLst>
                <a:path w="89" h="90">
                  <a:moveTo>
                    <a:pt x="4" y="38"/>
                  </a:moveTo>
                  <a:cubicBezTo>
                    <a:pt x="0" y="66"/>
                    <a:pt x="24" y="90"/>
                    <a:pt x="51" y="85"/>
                  </a:cubicBezTo>
                  <a:cubicBezTo>
                    <a:pt x="68" y="82"/>
                    <a:pt x="82" y="69"/>
                    <a:pt x="85" y="52"/>
                  </a:cubicBezTo>
                  <a:cubicBezTo>
                    <a:pt x="89" y="24"/>
                    <a:pt x="65" y="0"/>
                    <a:pt x="38" y="5"/>
                  </a:cubicBezTo>
                  <a:cubicBezTo>
                    <a:pt x="21" y="8"/>
                    <a:pt x="7" y="21"/>
                    <a:pt x="4" y="38"/>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3" name="Freeform 766">
              <a:extLst>
                <a:ext uri="{FF2B5EF4-FFF2-40B4-BE49-F238E27FC236}">
                  <a16:creationId xmlns:a16="http://schemas.microsoft.com/office/drawing/2014/main" id="{52E3314D-825E-EF40-0600-537230C1B3FA}"/>
                </a:ext>
              </a:extLst>
            </p:cNvPr>
            <p:cNvSpPr>
              <a:spLocks/>
            </p:cNvSpPr>
            <p:nvPr/>
          </p:nvSpPr>
          <p:spPr bwMode="auto">
            <a:xfrm>
              <a:off x="5414963" y="4219575"/>
              <a:ext cx="133350" cy="50800"/>
            </a:xfrm>
            <a:custGeom>
              <a:avLst/>
              <a:gdLst>
                <a:gd name="T0" fmla="*/ 74 w 130"/>
                <a:gd name="T1" fmla="*/ 0 h 49"/>
                <a:gd name="T2" fmla="*/ 37 w 130"/>
                <a:gd name="T3" fmla="*/ 0 h 49"/>
                <a:gd name="T4" fmla="*/ 0 w 130"/>
                <a:gd name="T5" fmla="*/ 14 h 49"/>
                <a:gd name="T6" fmla="*/ 11 w 130"/>
                <a:gd name="T7" fmla="*/ 45 h 49"/>
                <a:gd name="T8" fmla="*/ 12 w 130"/>
                <a:gd name="T9" fmla="*/ 49 h 49"/>
                <a:gd name="T10" fmla="*/ 113 w 130"/>
                <a:gd name="T11" fmla="*/ 49 h 49"/>
                <a:gd name="T12" fmla="*/ 122 w 130"/>
                <a:gd name="T13" fmla="*/ 49 h 49"/>
                <a:gd name="T14" fmla="*/ 128 w 130"/>
                <a:gd name="T15" fmla="*/ 40 h 49"/>
                <a:gd name="T16" fmla="*/ 74 w 130"/>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49">
                  <a:moveTo>
                    <a:pt x="74" y="0"/>
                  </a:moveTo>
                  <a:cubicBezTo>
                    <a:pt x="37" y="0"/>
                    <a:pt x="37" y="0"/>
                    <a:pt x="37" y="0"/>
                  </a:cubicBezTo>
                  <a:cubicBezTo>
                    <a:pt x="23" y="0"/>
                    <a:pt x="10" y="6"/>
                    <a:pt x="0" y="14"/>
                  </a:cubicBezTo>
                  <a:cubicBezTo>
                    <a:pt x="6" y="23"/>
                    <a:pt x="10" y="33"/>
                    <a:pt x="11" y="45"/>
                  </a:cubicBezTo>
                  <a:cubicBezTo>
                    <a:pt x="12" y="49"/>
                    <a:pt x="12" y="49"/>
                    <a:pt x="12" y="49"/>
                  </a:cubicBezTo>
                  <a:cubicBezTo>
                    <a:pt x="113" y="49"/>
                    <a:pt x="113" y="49"/>
                    <a:pt x="113" y="49"/>
                  </a:cubicBezTo>
                  <a:cubicBezTo>
                    <a:pt x="122" y="49"/>
                    <a:pt x="122" y="49"/>
                    <a:pt x="122" y="49"/>
                  </a:cubicBezTo>
                  <a:cubicBezTo>
                    <a:pt x="127" y="49"/>
                    <a:pt x="130" y="45"/>
                    <a:pt x="128" y="40"/>
                  </a:cubicBezTo>
                  <a:cubicBezTo>
                    <a:pt x="121" y="17"/>
                    <a:pt x="99" y="0"/>
                    <a:pt x="74" y="0"/>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4" name="Freeform 767">
              <a:extLst>
                <a:ext uri="{FF2B5EF4-FFF2-40B4-BE49-F238E27FC236}">
                  <a16:creationId xmlns:a16="http://schemas.microsoft.com/office/drawing/2014/main" id="{2C6F3066-1B7B-D6FA-690F-C1D9D50F4A9A}"/>
                </a:ext>
              </a:extLst>
            </p:cNvPr>
            <p:cNvSpPr>
              <a:spLocks/>
            </p:cNvSpPr>
            <p:nvPr/>
          </p:nvSpPr>
          <p:spPr bwMode="auto">
            <a:xfrm>
              <a:off x="5276850" y="4087813"/>
              <a:ext cx="112713" cy="112712"/>
            </a:xfrm>
            <a:custGeom>
              <a:avLst/>
              <a:gdLst>
                <a:gd name="T0" fmla="*/ 105 w 110"/>
                <a:gd name="T1" fmla="*/ 64 h 110"/>
                <a:gd name="T2" fmla="*/ 47 w 110"/>
                <a:gd name="T3" fmla="*/ 6 h 110"/>
                <a:gd name="T4" fmla="*/ 6 w 110"/>
                <a:gd name="T5" fmla="*/ 47 h 110"/>
                <a:gd name="T6" fmla="*/ 64 w 110"/>
                <a:gd name="T7" fmla="*/ 105 h 110"/>
                <a:gd name="T8" fmla="*/ 105 w 110"/>
                <a:gd name="T9" fmla="*/ 64 h 110"/>
              </a:gdLst>
              <a:ahLst/>
              <a:cxnLst>
                <a:cxn ang="0">
                  <a:pos x="T0" y="T1"/>
                </a:cxn>
                <a:cxn ang="0">
                  <a:pos x="T2" y="T3"/>
                </a:cxn>
                <a:cxn ang="0">
                  <a:pos x="T4" y="T5"/>
                </a:cxn>
                <a:cxn ang="0">
                  <a:pos x="T6" y="T7"/>
                </a:cxn>
                <a:cxn ang="0">
                  <a:pos x="T8" y="T9"/>
                </a:cxn>
              </a:cxnLst>
              <a:rect l="0" t="0" r="r" b="b"/>
              <a:pathLst>
                <a:path w="110" h="110">
                  <a:moveTo>
                    <a:pt x="105" y="64"/>
                  </a:moveTo>
                  <a:cubicBezTo>
                    <a:pt x="110" y="30"/>
                    <a:pt x="81" y="0"/>
                    <a:pt x="47" y="6"/>
                  </a:cubicBezTo>
                  <a:cubicBezTo>
                    <a:pt x="26" y="9"/>
                    <a:pt x="9" y="26"/>
                    <a:pt x="6" y="47"/>
                  </a:cubicBezTo>
                  <a:cubicBezTo>
                    <a:pt x="0" y="81"/>
                    <a:pt x="30" y="110"/>
                    <a:pt x="64" y="105"/>
                  </a:cubicBezTo>
                  <a:cubicBezTo>
                    <a:pt x="84" y="101"/>
                    <a:pt x="101" y="84"/>
                    <a:pt x="105" y="64"/>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5" name="Freeform 768">
              <a:extLst>
                <a:ext uri="{FF2B5EF4-FFF2-40B4-BE49-F238E27FC236}">
                  <a16:creationId xmlns:a16="http://schemas.microsoft.com/office/drawing/2014/main" id="{5AE523B4-B2B7-11A5-C0FC-1924A23D648A}"/>
                </a:ext>
              </a:extLst>
            </p:cNvPr>
            <p:cNvSpPr>
              <a:spLocks/>
            </p:cNvSpPr>
            <p:nvPr/>
          </p:nvSpPr>
          <p:spPr bwMode="auto">
            <a:xfrm>
              <a:off x="5257800" y="4213225"/>
              <a:ext cx="150813" cy="50800"/>
            </a:xfrm>
            <a:custGeom>
              <a:avLst/>
              <a:gdLst>
                <a:gd name="T0" fmla="*/ 0 w 149"/>
                <a:gd name="T1" fmla="*/ 43 h 48"/>
                <a:gd name="T2" fmla="*/ 4 w 149"/>
                <a:gd name="T3" fmla="*/ 48 h 48"/>
                <a:gd name="T4" fmla="*/ 17 w 149"/>
                <a:gd name="T5" fmla="*/ 48 h 48"/>
                <a:gd name="T6" fmla="*/ 132 w 149"/>
                <a:gd name="T7" fmla="*/ 48 h 48"/>
                <a:gd name="T8" fmla="*/ 144 w 149"/>
                <a:gd name="T9" fmla="*/ 48 h 48"/>
                <a:gd name="T10" fmla="*/ 148 w 149"/>
                <a:gd name="T11" fmla="*/ 43 h 48"/>
                <a:gd name="T12" fmla="*/ 92 w 149"/>
                <a:gd name="T13" fmla="*/ 0 h 48"/>
                <a:gd name="T14" fmla="*/ 56 w 149"/>
                <a:gd name="T15" fmla="*/ 0 h 48"/>
                <a:gd name="T16" fmla="*/ 0 w 149"/>
                <a:gd name="T17"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48">
                  <a:moveTo>
                    <a:pt x="0" y="43"/>
                  </a:moveTo>
                  <a:cubicBezTo>
                    <a:pt x="0" y="46"/>
                    <a:pt x="2" y="48"/>
                    <a:pt x="4" y="48"/>
                  </a:cubicBezTo>
                  <a:cubicBezTo>
                    <a:pt x="17" y="48"/>
                    <a:pt x="17" y="48"/>
                    <a:pt x="17" y="48"/>
                  </a:cubicBezTo>
                  <a:cubicBezTo>
                    <a:pt x="132" y="48"/>
                    <a:pt x="132" y="48"/>
                    <a:pt x="132" y="48"/>
                  </a:cubicBezTo>
                  <a:cubicBezTo>
                    <a:pt x="144" y="48"/>
                    <a:pt x="144" y="48"/>
                    <a:pt x="144" y="48"/>
                  </a:cubicBezTo>
                  <a:cubicBezTo>
                    <a:pt x="147" y="48"/>
                    <a:pt x="149" y="46"/>
                    <a:pt x="148" y="43"/>
                  </a:cubicBezTo>
                  <a:cubicBezTo>
                    <a:pt x="142" y="18"/>
                    <a:pt x="119" y="0"/>
                    <a:pt x="92" y="0"/>
                  </a:cubicBezTo>
                  <a:cubicBezTo>
                    <a:pt x="56" y="0"/>
                    <a:pt x="56" y="0"/>
                    <a:pt x="56" y="0"/>
                  </a:cubicBezTo>
                  <a:cubicBezTo>
                    <a:pt x="29" y="0"/>
                    <a:pt x="6" y="18"/>
                    <a:pt x="0" y="43"/>
                  </a:cubicBezTo>
                  <a:close/>
                </a:path>
              </a:pathLst>
            </a:custGeom>
            <a:grp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grpSp>
      <p:sp>
        <p:nvSpPr>
          <p:cNvPr id="216" name="Oval 821">
            <a:extLst>
              <a:ext uri="{FF2B5EF4-FFF2-40B4-BE49-F238E27FC236}">
                <a16:creationId xmlns:a16="http://schemas.microsoft.com/office/drawing/2014/main" id="{6B560022-1C12-7564-CB0D-95B31F2FB167}"/>
              </a:ext>
            </a:extLst>
          </p:cNvPr>
          <p:cNvSpPr>
            <a:spLocks noChangeArrowheads="1"/>
          </p:cNvSpPr>
          <p:nvPr/>
        </p:nvSpPr>
        <p:spPr bwMode="auto">
          <a:xfrm>
            <a:off x="6953779" y="4244421"/>
            <a:ext cx="198967" cy="198967"/>
          </a:xfrm>
          <a:prstGeom prst="ellipse">
            <a:avLst/>
          </a:prstGeom>
          <a:solidFill>
            <a:schemeClr val="bg1"/>
          </a:solid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sp>
        <p:nvSpPr>
          <p:cNvPr id="217" name="Freeform 822">
            <a:extLst>
              <a:ext uri="{FF2B5EF4-FFF2-40B4-BE49-F238E27FC236}">
                <a16:creationId xmlns:a16="http://schemas.microsoft.com/office/drawing/2014/main" id="{EA98F2A5-5A01-B78B-A5F4-5535377ED352}"/>
              </a:ext>
            </a:extLst>
          </p:cNvPr>
          <p:cNvSpPr>
            <a:spLocks noEditPoints="1"/>
          </p:cNvSpPr>
          <p:nvPr/>
        </p:nvSpPr>
        <p:spPr bwMode="auto">
          <a:xfrm>
            <a:off x="6756929" y="4453972"/>
            <a:ext cx="582084" cy="349249"/>
          </a:xfrm>
          <a:custGeom>
            <a:avLst/>
            <a:gdLst>
              <a:gd name="T0" fmla="*/ 305 w 309"/>
              <a:gd name="T1" fmla="*/ 62 h 182"/>
              <a:gd name="T2" fmla="*/ 297 w 309"/>
              <a:gd name="T3" fmla="*/ 52 h 182"/>
              <a:gd name="T4" fmla="*/ 225 w 309"/>
              <a:gd name="T5" fmla="*/ 4 h 182"/>
              <a:gd name="T6" fmla="*/ 211 w 309"/>
              <a:gd name="T7" fmla="*/ 1 h 182"/>
              <a:gd name="T8" fmla="*/ 209 w 309"/>
              <a:gd name="T9" fmla="*/ 0 h 182"/>
              <a:gd name="T10" fmla="*/ 100 w 309"/>
              <a:gd name="T11" fmla="*/ 0 h 182"/>
              <a:gd name="T12" fmla="*/ 98 w 309"/>
              <a:gd name="T13" fmla="*/ 1 h 182"/>
              <a:gd name="T14" fmla="*/ 84 w 309"/>
              <a:gd name="T15" fmla="*/ 4 h 182"/>
              <a:gd name="T16" fmla="*/ 12 w 309"/>
              <a:gd name="T17" fmla="*/ 52 h 182"/>
              <a:gd name="T18" fmla="*/ 4 w 309"/>
              <a:gd name="T19" fmla="*/ 62 h 182"/>
              <a:gd name="T20" fmla="*/ 6 w 309"/>
              <a:gd name="T21" fmla="*/ 86 h 182"/>
              <a:gd name="T22" fmla="*/ 63 w 309"/>
              <a:gd name="T23" fmla="*/ 152 h 182"/>
              <a:gd name="T24" fmla="*/ 79 w 309"/>
              <a:gd name="T25" fmla="*/ 159 h 182"/>
              <a:gd name="T26" fmla="*/ 79 w 309"/>
              <a:gd name="T27" fmla="*/ 161 h 182"/>
              <a:gd name="T28" fmla="*/ 100 w 309"/>
              <a:gd name="T29" fmla="*/ 182 h 182"/>
              <a:gd name="T30" fmla="*/ 209 w 309"/>
              <a:gd name="T31" fmla="*/ 182 h 182"/>
              <a:gd name="T32" fmla="*/ 230 w 309"/>
              <a:gd name="T33" fmla="*/ 161 h 182"/>
              <a:gd name="T34" fmla="*/ 230 w 309"/>
              <a:gd name="T35" fmla="*/ 159 h 182"/>
              <a:gd name="T36" fmla="*/ 246 w 309"/>
              <a:gd name="T37" fmla="*/ 152 h 182"/>
              <a:gd name="T38" fmla="*/ 302 w 309"/>
              <a:gd name="T39" fmla="*/ 86 h 182"/>
              <a:gd name="T40" fmla="*/ 305 w 309"/>
              <a:gd name="T41" fmla="*/ 62 h 182"/>
              <a:gd name="T42" fmla="*/ 78 w 309"/>
              <a:gd name="T43" fmla="*/ 107 h 182"/>
              <a:gd name="T44" fmla="*/ 52 w 309"/>
              <a:gd name="T45" fmla="*/ 75 h 182"/>
              <a:gd name="T46" fmla="*/ 78 w 309"/>
              <a:gd name="T47" fmla="*/ 58 h 182"/>
              <a:gd name="T48" fmla="*/ 78 w 309"/>
              <a:gd name="T49" fmla="*/ 107 h 182"/>
              <a:gd name="T50" fmla="*/ 133 w 309"/>
              <a:gd name="T51" fmla="*/ 127 h 182"/>
              <a:gd name="T52" fmla="*/ 106 w 309"/>
              <a:gd name="T53" fmla="*/ 100 h 182"/>
              <a:gd name="T54" fmla="*/ 106 w 309"/>
              <a:gd name="T55" fmla="*/ 100 h 182"/>
              <a:gd name="T56" fmla="*/ 120 w 309"/>
              <a:gd name="T57" fmla="*/ 85 h 182"/>
              <a:gd name="T58" fmla="*/ 133 w 309"/>
              <a:gd name="T59" fmla="*/ 99 h 182"/>
              <a:gd name="T60" fmla="*/ 192 w 309"/>
              <a:gd name="T61" fmla="*/ 50 h 182"/>
              <a:gd name="T62" fmla="*/ 202 w 309"/>
              <a:gd name="T63" fmla="*/ 66 h 182"/>
              <a:gd name="T64" fmla="*/ 133 w 309"/>
              <a:gd name="T65" fmla="*/ 127 h 182"/>
              <a:gd name="T66" fmla="*/ 230 w 309"/>
              <a:gd name="T67" fmla="*/ 107 h 182"/>
              <a:gd name="T68" fmla="*/ 230 w 309"/>
              <a:gd name="T69" fmla="*/ 58 h 182"/>
              <a:gd name="T70" fmla="*/ 257 w 309"/>
              <a:gd name="T71" fmla="*/ 75 h 182"/>
              <a:gd name="T72" fmla="*/ 230 w 309"/>
              <a:gd name="T73" fmla="*/ 10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9" h="182">
                <a:moveTo>
                  <a:pt x="305" y="62"/>
                </a:moveTo>
                <a:cubicBezTo>
                  <a:pt x="303" y="58"/>
                  <a:pt x="300" y="55"/>
                  <a:pt x="297" y="52"/>
                </a:cubicBezTo>
                <a:cubicBezTo>
                  <a:pt x="225" y="4"/>
                  <a:pt x="225" y="4"/>
                  <a:pt x="225" y="4"/>
                </a:cubicBezTo>
                <a:cubicBezTo>
                  <a:pt x="220" y="1"/>
                  <a:pt x="216" y="0"/>
                  <a:pt x="211" y="1"/>
                </a:cubicBezTo>
                <a:cubicBezTo>
                  <a:pt x="210" y="1"/>
                  <a:pt x="209" y="0"/>
                  <a:pt x="209" y="0"/>
                </a:cubicBezTo>
                <a:cubicBezTo>
                  <a:pt x="100" y="0"/>
                  <a:pt x="100" y="0"/>
                  <a:pt x="100" y="0"/>
                </a:cubicBezTo>
                <a:cubicBezTo>
                  <a:pt x="99" y="0"/>
                  <a:pt x="98" y="0"/>
                  <a:pt x="98" y="1"/>
                </a:cubicBezTo>
                <a:cubicBezTo>
                  <a:pt x="93" y="0"/>
                  <a:pt x="89" y="1"/>
                  <a:pt x="84" y="4"/>
                </a:cubicBezTo>
                <a:cubicBezTo>
                  <a:pt x="12" y="52"/>
                  <a:pt x="12" y="52"/>
                  <a:pt x="12" y="52"/>
                </a:cubicBezTo>
                <a:cubicBezTo>
                  <a:pt x="8" y="55"/>
                  <a:pt x="6" y="58"/>
                  <a:pt x="4" y="62"/>
                </a:cubicBezTo>
                <a:cubicBezTo>
                  <a:pt x="0" y="70"/>
                  <a:pt x="1" y="79"/>
                  <a:pt x="6" y="86"/>
                </a:cubicBezTo>
                <a:cubicBezTo>
                  <a:pt x="63" y="152"/>
                  <a:pt x="63" y="152"/>
                  <a:pt x="63" y="152"/>
                </a:cubicBezTo>
                <a:cubicBezTo>
                  <a:pt x="67" y="157"/>
                  <a:pt x="73" y="159"/>
                  <a:pt x="79" y="159"/>
                </a:cubicBezTo>
                <a:cubicBezTo>
                  <a:pt x="79" y="161"/>
                  <a:pt x="79" y="161"/>
                  <a:pt x="79" y="161"/>
                </a:cubicBezTo>
                <a:cubicBezTo>
                  <a:pt x="79" y="172"/>
                  <a:pt x="88" y="182"/>
                  <a:pt x="100" y="182"/>
                </a:cubicBezTo>
                <a:cubicBezTo>
                  <a:pt x="209" y="182"/>
                  <a:pt x="209" y="182"/>
                  <a:pt x="209" y="182"/>
                </a:cubicBezTo>
                <a:cubicBezTo>
                  <a:pt x="221" y="182"/>
                  <a:pt x="230" y="172"/>
                  <a:pt x="230" y="161"/>
                </a:cubicBezTo>
                <a:cubicBezTo>
                  <a:pt x="230" y="159"/>
                  <a:pt x="230" y="159"/>
                  <a:pt x="230" y="159"/>
                </a:cubicBezTo>
                <a:cubicBezTo>
                  <a:pt x="236" y="159"/>
                  <a:pt x="242" y="157"/>
                  <a:pt x="246" y="152"/>
                </a:cubicBezTo>
                <a:cubicBezTo>
                  <a:pt x="302" y="86"/>
                  <a:pt x="302" y="86"/>
                  <a:pt x="302" y="86"/>
                </a:cubicBezTo>
                <a:cubicBezTo>
                  <a:pt x="308" y="79"/>
                  <a:pt x="309" y="70"/>
                  <a:pt x="305" y="62"/>
                </a:cubicBezTo>
                <a:close/>
                <a:moveTo>
                  <a:pt x="78" y="107"/>
                </a:moveTo>
                <a:cubicBezTo>
                  <a:pt x="52" y="75"/>
                  <a:pt x="52" y="75"/>
                  <a:pt x="52" y="75"/>
                </a:cubicBezTo>
                <a:cubicBezTo>
                  <a:pt x="78" y="58"/>
                  <a:pt x="78" y="58"/>
                  <a:pt x="78" y="58"/>
                </a:cubicBezTo>
                <a:lnTo>
                  <a:pt x="78" y="107"/>
                </a:lnTo>
                <a:close/>
                <a:moveTo>
                  <a:pt x="133" y="127"/>
                </a:moveTo>
                <a:cubicBezTo>
                  <a:pt x="106" y="100"/>
                  <a:pt x="106" y="100"/>
                  <a:pt x="106" y="100"/>
                </a:cubicBezTo>
                <a:cubicBezTo>
                  <a:pt x="106" y="100"/>
                  <a:pt x="106" y="100"/>
                  <a:pt x="106" y="100"/>
                </a:cubicBezTo>
                <a:cubicBezTo>
                  <a:pt x="120" y="85"/>
                  <a:pt x="120" y="85"/>
                  <a:pt x="120" y="85"/>
                </a:cubicBezTo>
                <a:cubicBezTo>
                  <a:pt x="133" y="99"/>
                  <a:pt x="133" y="99"/>
                  <a:pt x="133" y="99"/>
                </a:cubicBezTo>
                <a:cubicBezTo>
                  <a:pt x="192" y="50"/>
                  <a:pt x="192" y="50"/>
                  <a:pt x="192" y="50"/>
                </a:cubicBezTo>
                <a:cubicBezTo>
                  <a:pt x="202" y="66"/>
                  <a:pt x="202" y="66"/>
                  <a:pt x="202" y="66"/>
                </a:cubicBezTo>
                <a:lnTo>
                  <a:pt x="133" y="127"/>
                </a:lnTo>
                <a:close/>
                <a:moveTo>
                  <a:pt x="230" y="107"/>
                </a:moveTo>
                <a:cubicBezTo>
                  <a:pt x="230" y="58"/>
                  <a:pt x="230" y="58"/>
                  <a:pt x="230" y="58"/>
                </a:cubicBezTo>
                <a:cubicBezTo>
                  <a:pt x="257" y="75"/>
                  <a:pt x="257" y="75"/>
                  <a:pt x="257" y="75"/>
                </a:cubicBezTo>
                <a:lnTo>
                  <a:pt x="230" y="107"/>
                </a:lnTo>
                <a:close/>
              </a:path>
            </a:pathLst>
          </a:custGeom>
          <a:solidFill>
            <a:schemeClr val="bg1"/>
          </a:solidFill>
          <a:ln>
            <a:noFill/>
          </a:ln>
        </p:spPr>
        <p:txBody>
          <a:bodyPr lIns="132080" tIns="66040" rIns="132080" bIns="66040"/>
          <a:lstStyle/>
          <a:p>
            <a:pPr defTabSz="1320735">
              <a:buClr>
                <a:srgbClr val="000000"/>
              </a:buClr>
              <a:defRPr/>
            </a:pPr>
            <a:endParaRPr lang="fr-FR" sz="2696" kern="0">
              <a:solidFill>
                <a:srgbClr val="000000"/>
              </a:solidFill>
              <a:latin typeface="Montserrat" panose="00000500000000000000" pitchFamily="2" charset="0"/>
              <a:cs typeface="Arial"/>
              <a:sym typeface="Arial"/>
            </a:endParaRPr>
          </a:p>
        </p:txBody>
      </p:sp>
      <p:pic>
        <p:nvPicPr>
          <p:cNvPr id="6" name="Picture 2" descr="A propos de Minalea | Equipe, ADN, Histoire">
            <a:extLst>
              <a:ext uri="{FF2B5EF4-FFF2-40B4-BE49-F238E27FC236}">
                <a16:creationId xmlns:a16="http://schemas.microsoft.com/office/drawing/2014/main" id="{DB31FE15-AC81-BF4C-1EFA-629E5BA0847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699239" y="4411169"/>
            <a:ext cx="833967" cy="434854"/>
          </a:xfrm>
          <a:prstGeom prst="rect">
            <a:avLst/>
          </a:prstGeom>
          <a:noFill/>
          <a:extLst>
            <a:ext uri="{909E8E84-426E-40DD-AFC4-6F175D3DCCD1}">
              <a14:hiddenFill xmlns:a14="http://schemas.microsoft.com/office/drawing/2010/main">
                <a:solidFill>
                  <a:srgbClr val="FFFFFF"/>
                </a:solidFill>
              </a14:hiddenFill>
            </a:ext>
          </a:extLst>
        </p:spPr>
      </p:pic>
      <p:sp>
        <p:nvSpPr>
          <p:cNvPr id="4" name="Titre 1">
            <a:extLst>
              <a:ext uri="{FF2B5EF4-FFF2-40B4-BE49-F238E27FC236}">
                <a16:creationId xmlns:a16="http://schemas.microsoft.com/office/drawing/2014/main" id="{47B721E3-26D4-F6C2-2A5B-0CEDBF36876F}"/>
              </a:ext>
            </a:extLst>
          </p:cNvPr>
          <p:cNvSpPr txBox="1">
            <a:spLocks/>
          </p:cNvSpPr>
          <p:nvPr/>
        </p:nvSpPr>
        <p:spPr>
          <a:xfrm>
            <a:off x="396655" y="141709"/>
            <a:ext cx="9907072"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t>NOS ATOUTS : EXPÉRIENCE, EXPERTISE ET MÉTHODOLOGIE POUR UN ACCOMPAGNEMENT PERTINENT ET EFFICACE DE VOTRE PROJET</a:t>
            </a:r>
            <a:endParaRPr lang="fr-FR" sz="1800" kern="0"/>
          </a:p>
        </p:txBody>
      </p:sp>
    </p:spTree>
    <p:extLst>
      <p:ext uri="{BB962C8B-B14F-4D97-AF65-F5344CB8AC3E}">
        <p14:creationId xmlns:p14="http://schemas.microsoft.com/office/powerpoint/2010/main" val="2099106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6400F-0BFF-27B6-37F0-A6648B44C7E5}"/>
            </a:ext>
          </a:extLst>
        </p:cNvPr>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6D02B3A1-4AEF-06E1-F70F-E92696066444}"/>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8D379802-0597-6FB8-3628-AD1A07445D14}"/>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E435A8A-8608-F7A9-42E3-2AB988D9801D}"/>
              </a:ext>
            </a:extLst>
          </p:cNvPr>
          <p:cNvGraphicFramePr/>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1">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1">
                          <a:solidFill>
                            <a:schemeClr val="tx2"/>
                          </a:solidFill>
                          <a:latin typeface="+mj-lt"/>
                          <a:cs typeface="Calibri" panose="020F0502020204030204" pitchFamily="34" charset="0"/>
                          <a:sym typeface="Montserrat"/>
                        </a:rPr>
                        <a:t>Synthèse de notre proposition</a:t>
                      </a:r>
                      <a:endParaRPr lang="fr-FR" sz="1900" b="1">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chemeClr val="bg2">
                        <a:lumMod val="20000"/>
                        <a:lumOff val="80000"/>
                        <a:alpha val="61961"/>
                      </a:schemeClr>
                    </a:solid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0"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0"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402162129"/>
                  </a:ext>
                </a:extLst>
              </a:tr>
              <a:tr h="535332">
                <a:tc>
                  <a:txBody>
                    <a:bodyPr/>
                    <a:lstStyle/>
                    <a:p>
                      <a:pPr algn="ctr"/>
                      <a:r>
                        <a:rPr lang="fr-FR" sz="1600">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1"/>
                  </a:ext>
                </a:extLst>
              </a:tr>
              <a:tr h="484169">
                <a:tc>
                  <a:txBody>
                    <a:bodyPr/>
                    <a:lstStyle/>
                    <a:p>
                      <a:pPr algn="ctr"/>
                      <a:r>
                        <a:rPr lang="fr-FR" sz="1600">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484169">
                <a:tc>
                  <a:txBody>
                    <a:bodyPr/>
                    <a:lstStyle/>
                    <a:p>
                      <a:pPr algn="ctr"/>
                      <a:r>
                        <a:rPr lang="fr-FR" sz="1600">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683504451"/>
                  </a:ext>
                </a:extLst>
              </a:tr>
              <a:tr h="484169">
                <a:tc>
                  <a:txBody>
                    <a:bodyPr/>
                    <a:lstStyle/>
                    <a:p>
                      <a:pPr algn="ctr"/>
                      <a:r>
                        <a:rPr lang="fr-FR" sz="1600">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472287062"/>
                  </a:ext>
                </a:extLst>
              </a:tr>
              <a:tr h="484169">
                <a:tc>
                  <a:txBody>
                    <a:bodyPr/>
                    <a:lstStyle/>
                    <a:p>
                      <a:pPr algn="ctr"/>
                      <a:r>
                        <a:rPr lang="fr-FR" sz="1600">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30678748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ableau 65">
            <a:extLst>
              <a:ext uri="{FF2B5EF4-FFF2-40B4-BE49-F238E27FC236}">
                <a16:creationId xmlns:a16="http://schemas.microsoft.com/office/drawing/2014/main" id="{8B4DDF8D-5451-4B9A-BCF8-057011D0841C}"/>
              </a:ext>
            </a:extLst>
          </p:cNvPr>
          <p:cNvGraphicFramePr>
            <a:graphicFrameLocks noGrp="1"/>
          </p:cNvGraphicFramePr>
          <p:nvPr>
            <p:extLst>
              <p:ext uri="{D42A27DB-BD31-4B8C-83A1-F6EECF244321}">
                <p14:modId xmlns:p14="http://schemas.microsoft.com/office/powerpoint/2010/main" val="2903432084"/>
              </p:ext>
            </p:extLst>
          </p:nvPr>
        </p:nvGraphicFramePr>
        <p:xfrm>
          <a:off x="396655" y="897323"/>
          <a:ext cx="11809044" cy="5902789"/>
        </p:xfrm>
        <a:graphic>
          <a:graphicData uri="http://schemas.openxmlformats.org/drawingml/2006/table">
            <a:tbl>
              <a:tblPr firstRow="1" bandRow="1"/>
              <a:tblGrid>
                <a:gridCol w="1345474">
                  <a:extLst>
                    <a:ext uri="{9D8B030D-6E8A-4147-A177-3AD203B41FA5}">
                      <a16:colId xmlns:a16="http://schemas.microsoft.com/office/drawing/2014/main" val="2505426924"/>
                    </a:ext>
                  </a:extLst>
                </a:gridCol>
                <a:gridCol w="5305374">
                  <a:extLst>
                    <a:ext uri="{9D8B030D-6E8A-4147-A177-3AD203B41FA5}">
                      <a16:colId xmlns:a16="http://schemas.microsoft.com/office/drawing/2014/main" val="1872659120"/>
                    </a:ext>
                  </a:extLst>
                </a:gridCol>
                <a:gridCol w="1761813">
                  <a:extLst>
                    <a:ext uri="{9D8B030D-6E8A-4147-A177-3AD203B41FA5}">
                      <a16:colId xmlns:a16="http://schemas.microsoft.com/office/drawing/2014/main" val="1758442751"/>
                    </a:ext>
                  </a:extLst>
                </a:gridCol>
                <a:gridCol w="3396383">
                  <a:extLst>
                    <a:ext uri="{9D8B030D-6E8A-4147-A177-3AD203B41FA5}">
                      <a16:colId xmlns:a16="http://schemas.microsoft.com/office/drawing/2014/main" val="512341910"/>
                    </a:ext>
                  </a:extLst>
                </a:gridCol>
              </a:tblGrid>
              <a:tr h="284606">
                <a:tc gridSpan="2">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rtl="0" eaLnBrk="1" fontAlgn="auto" latinLnBrk="0" hangingPunct="1">
                        <a:lnSpc>
                          <a:spcPct val="100000"/>
                        </a:lnSpc>
                        <a:spcBef>
                          <a:spcPts val="0"/>
                        </a:spcBef>
                        <a:spcAft>
                          <a:spcPts val="0"/>
                        </a:spcAft>
                        <a:buClrTx/>
                        <a:buSzTx/>
                        <a:buFontTx/>
                        <a:buNone/>
                      </a:pPr>
                      <a:r>
                        <a:rPr lang="fr-FR" sz="1400" b="1">
                          <a:solidFill>
                            <a:schemeClr val="accent4"/>
                          </a:solidFill>
                          <a:latin typeface="+mj-lt"/>
                        </a:rPr>
                        <a:t>Quelques exemples d’interventions </a:t>
                      </a:r>
                    </a:p>
                  </a:txBody>
                  <a:tcPr marL="88110" marR="88110" marT="44055" marB="44055">
                    <a:lnL>
                      <a:noFill/>
                    </a:lnL>
                    <a:lnR>
                      <a:noFill/>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fr-FR" sz="1000" b="0" i="0" u="none" strike="noStrike" cap="none">
                        <a:solidFill>
                          <a:schemeClr val="tx1"/>
                        </a:solidFill>
                        <a:latin typeface="Montserrat" panose="00000500000000000000" pitchFamily="2" charset="0"/>
                        <a:ea typeface="+mn-ea"/>
                        <a:cs typeface="+mn-cs"/>
                        <a:sym typeface="Roboto"/>
                      </a:endParaRPr>
                    </a:p>
                  </a:txBody>
                  <a:tcPr marL="88110" marR="88110" marT="44055" marB="44055" anchor="ctr">
                    <a:lnL>
                      <a:noFill/>
                    </a:lnL>
                    <a:lnR>
                      <a:noFill/>
                    </a:lnR>
                    <a:lnT w="9525"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b="1" i="0" u="none" strike="noStrike" cap="none">
                          <a:solidFill>
                            <a:schemeClr val="accent4"/>
                          </a:solidFill>
                          <a:latin typeface="+mj-lt"/>
                          <a:ea typeface="+mn-ea"/>
                          <a:cs typeface="+mn-cs"/>
                          <a:sym typeface="Roboto"/>
                        </a:rPr>
                        <a:t>Certification / Durée</a:t>
                      </a:r>
                    </a:p>
                  </a:txBody>
                  <a:tcPr marL="88110" marR="36000" marT="44055" marB="44055" anchor="ctr">
                    <a:lnL>
                      <a:noFill/>
                    </a:lnL>
                    <a:lnR>
                      <a:noFill/>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b="1" i="0" u="none" strike="noStrike" cap="none">
                          <a:solidFill>
                            <a:schemeClr val="accent4"/>
                          </a:solidFill>
                          <a:latin typeface="+mj-lt"/>
                          <a:ea typeface="+mn-ea"/>
                          <a:cs typeface="+mn-cs"/>
                          <a:sym typeface="Roboto"/>
                        </a:rPr>
                        <a:t>Gains clients et résultats</a:t>
                      </a:r>
                    </a:p>
                  </a:txBody>
                  <a:tcPr marL="88110" marR="88110" marT="44055" marB="44055" anchor="ctr">
                    <a:lnL>
                      <a:noFill/>
                    </a:lnL>
                    <a:lnR>
                      <a:noFill/>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57852"/>
                  </a:ext>
                </a:extLst>
              </a:tr>
              <a:tr h="1011933">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ontserrat" panose="00000500000000000000" pitchFamily="2" charset="0"/>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i="0" u="none" strike="noStrike" kern="1200" cap="none" noProof="0">
                          <a:solidFill>
                            <a:schemeClr val="bg2">
                              <a:lumMod val="10000"/>
                            </a:schemeClr>
                          </a:solidFill>
                          <a:latin typeface="+mj-lt"/>
                          <a:ea typeface="+mn-ea"/>
                          <a:cs typeface="+mn-cs"/>
                          <a:sym typeface="Arial"/>
                        </a:rPr>
                        <a:t>Cartographie analytique des processus de l’entreprise &amp; s</a:t>
                      </a:r>
                      <a:r>
                        <a:rPr lang="fr-FR" altLang="fr-FR" sz="1000" b="1" i="0" u="none" strike="noStrike" kern="1200" cap="none" noProof="0">
                          <a:solidFill>
                            <a:schemeClr val="bg2">
                              <a:lumMod val="10000"/>
                            </a:schemeClr>
                          </a:solidFill>
                          <a:latin typeface="+mj-lt"/>
                          <a:ea typeface="+mn-ea"/>
                          <a:cs typeface="+mn-cs"/>
                          <a:sym typeface="Arial"/>
                        </a:rPr>
                        <a:t>implification des processus</a:t>
                      </a:r>
                      <a:endParaRPr lang="fr-FR" sz="1000" b="1" i="0" u="none" strike="noStrike" kern="1200" cap="none" noProof="0">
                        <a:solidFill>
                          <a:schemeClr val="bg2">
                            <a:lumMod val="10000"/>
                          </a:schemeClr>
                        </a:solidFill>
                        <a:latin typeface="+mj-lt"/>
                        <a:ea typeface="+mn-ea"/>
                        <a:cs typeface="+mn-cs"/>
                        <a:sym typeface="Arial"/>
                      </a:endParaRP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i="0" u="none" strike="noStrike" kern="1200" cap="none" noProof="0">
                          <a:solidFill>
                            <a:schemeClr val="bg2">
                              <a:lumMod val="10000"/>
                            </a:schemeClr>
                          </a:solidFill>
                          <a:latin typeface="+mj-lt"/>
                          <a:ea typeface="+mn-ea"/>
                          <a:cs typeface="+mn-cs"/>
                          <a:sym typeface="Arial"/>
                        </a:rPr>
                        <a:t>Initialisation du programme de simplification des processus</a:t>
                      </a:r>
                      <a:r>
                        <a:rPr kumimoji="0" lang="fr-FR" sz="900" b="1" i="0" u="none" strike="noStrike" kern="0" cap="none" spc="0" normalizeH="0" baseline="0" noProof="0">
                          <a:ln>
                            <a:noFill/>
                          </a:ln>
                          <a:solidFill>
                            <a:srgbClr val="000000"/>
                          </a:solidFill>
                          <a:effectLst/>
                          <a:uLnTx/>
                          <a:uFillTx/>
                          <a:latin typeface="+mj-lt"/>
                          <a:ea typeface="Open Sans"/>
                          <a:cs typeface="Calibri"/>
                          <a:sym typeface="Arial"/>
                        </a:rPr>
                        <a:t> </a:t>
                      </a: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sur la base d’une </a:t>
                      </a:r>
                      <a:endParaRPr lang="fr-FR" sz="900" b="0" i="0" u="none" strike="noStrike" kern="0" cap="none" spc="0" normalizeH="0" baseline="0" noProof="0">
                        <a:ln>
                          <a:noFill/>
                        </a:ln>
                        <a:solidFill>
                          <a:srgbClr val="000000"/>
                        </a:solidFill>
                        <a:effectLst/>
                        <a:uLnTx/>
                        <a:uFillTx/>
                        <a:latin typeface="+mj-lt"/>
                        <a:ea typeface="Open Sans"/>
                        <a:cs typeface="Calibri"/>
                      </a:endParaRP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lang="fr-FR" sz="900" b="0" i="0" u="none" strike="noStrike" kern="0" cap="none" spc="0" normalizeH="0" baseline="0" noProof="0">
                          <a:ln>
                            <a:noFill/>
                          </a:ln>
                          <a:solidFill>
                            <a:schemeClr val="bg2">
                              <a:lumMod val="10000"/>
                            </a:schemeClr>
                          </a:solidFill>
                          <a:effectLst/>
                          <a:uLnTx/>
                          <a:uFillTx/>
                          <a:latin typeface="+mj-lt"/>
                        </a:rPr>
                        <a:t>A</a:t>
                      </a: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nalyse de l’ensemble des processus métier, pour prioriser ceux éligibles à la</a:t>
                      </a:r>
                      <a:endParaRPr kumimoji="0" lang="fr-FR" sz="900" b="0" i="0" u="none" strike="noStrike" kern="0" cap="none" spc="0" normalizeH="0" baseline="0">
                        <a:ln>
                          <a:noFill/>
                        </a:ln>
                        <a:solidFill>
                          <a:srgbClr val="000000"/>
                        </a:solidFill>
                        <a:effectLst/>
                        <a:uLnTx/>
                        <a:uFillTx/>
                        <a:latin typeface="+mj-lt"/>
                        <a:ea typeface="Open Sans"/>
                        <a:cs typeface="Calibri"/>
                        <a:sym typeface="Arial"/>
                      </a:endParaRP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démarche transverse et participative : le Lean 6-Sigma avec trois processus pilote : </a:t>
                      </a:r>
                      <a:endParaRPr kumimoji="0" lang="fr-FR" sz="900" b="0" i="0" u="none" strike="noStrike" kern="0" cap="none" spc="0" normalizeH="0" baseline="0">
                        <a:ln>
                          <a:noFill/>
                        </a:ln>
                        <a:solidFill>
                          <a:srgbClr val="000000"/>
                        </a:solidFill>
                        <a:effectLst/>
                        <a:uLnTx/>
                        <a:uFillTx/>
                        <a:latin typeface="+mj-lt"/>
                        <a:ea typeface="Open Sans"/>
                        <a:cs typeface="Calibri"/>
                        <a:sym typeface="Arial"/>
                      </a:endParaRP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panose="020B0604020202020204" charset="0"/>
                          <a:cs typeface="Calibri"/>
                          <a:sym typeface="Arial"/>
                        </a:rPr>
                        <a:t>un « simple » : </a:t>
                      </a:r>
                      <a:r>
                        <a:rPr kumimoji="0" lang="fr-FR" sz="900" b="1" i="0" u="none" strike="noStrike" kern="0" cap="none" spc="0" normalizeH="0" baseline="0" noProof="0">
                          <a:ln>
                            <a:noFill/>
                          </a:ln>
                          <a:solidFill>
                            <a:srgbClr val="000000"/>
                          </a:solidFill>
                          <a:effectLst/>
                          <a:uLnTx/>
                          <a:uFillTx/>
                          <a:latin typeface="+mj-lt"/>
                          <a:ea typeface="Open Sans" panose="020B0604020202020204" charset="0"/>
                          <a:cs typeface="Calibri"/>
                          <a:sym typeface="Arial"/>
                        </a:rPr>
                        <a:t>Traitement des Demandes de Clients</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panose="020B0604020202020204" charset="0"/>
                          <a:cs typeface="Calibri"/>
                          <a:sym typeface="Arial"/>
                        </a:rPr>
                        <a:t>deux « complexes » : </a:t>
                      </a:r>
                      <a:r>
                        <a:rPr kumimoji="0" lang="fr-FR" sz="900" b="1" i="0" u="none" strike="noStrike" kern="0" cap="none" spc="0" normalizeH="0" baseline="0" noProof="0">
                          <a:ln>
                            <a:noFill/>
                          </a:ln>
                          <a:solidFill>
                            <a:srgbClr val="000000"/>
                          </a:solidFill>
                          <a:effectLst/>
                          <a:uLnTx/>
                          <a:uFillTx/>
                          <a:latin typeface="+mj-lt"/>
                          <a:ea typeface="Open Sans" panose="020B0604020202020204" charset="0"/>
                          <a:cs typeface="Calibri"/>
                          <a:sym typeface="Arial"/>
                        </a:rPr>
                        <a:t>l’Adhésion collective et l’Adhésion individuelle</a:t>
                      </a: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fr-FR">
                        <a:latin typeface="+mj-l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0170" marR="0" lvl="0" indent="-90170" algn="l" rtl="0" eaLnBrk="1" fontAlgn="auto" latinLnBrk="0" hangingPunct="1">
                        <a:lnSpc>
                          <a:spcPct val="100000"/>
                        </a:lnSpc>
                        <a:spcBef>
                          <a:spcPts val="0"/>
                        </a:spcBef>
                        <a:spcAft>
                          <a:spcPts val="0"/>
                        </a:spcAft>
                        <a:buClr>
                          <a:srgbClr val="000000"/>
                        </a:buClr>
                        <a:buSzTx/>
                        <a:buFont typeface="Montserrat" panose="00000500000000000000" pitchFamily="2" charset="0"/>
                        <a:buChar char="›"/>
                      </a:pPr>
                      <a:r>
                        <a:rPr lang="fr-FR" sz="900" b="0" i="0" u="none" strike="noStrike" cap="none" noProof="0">
                          <a:solidFill>
                            <a:schemeClr val="bg2">
                              <a:lumMod val="10000"/>
                            </a:schemeClr>
                          </a:solidFill>
                          <a:latin typeface="+mj-lt"/>
                        </a:rPr>
                        <a:t>73</a:t>
                      </a:r>
                      <a:r>
                        <a:rPr lang="fr-FR" sz="900" b="0" i="0" u="none" strike="noStrike" cap="none" noProof="0">
                          <a:solidFill>
                            <a:schemeClr val="bg2">
                              <a:lumMod val="10000"/>
                            </a:schemeClr>
                          </a:solidFill>
                          <a:latin typeface="+mj-lt"/>
                          <a:ea typeface="+mn-ea"/>
                          <a:cs typeface="+mn-cs"/>
                          <a:sym typeface="Arial"/>
                        </a:rPr>
                        <a:t> processus métiers cartographiés (intérêt et effort de simplification définis)</a:t>
                      </a:r>
                      <a:endParaRPr lang="fr-FR" sz="900" b="0" i="0" u="none" strike="noStrike" cap="none">
                        <a:solidFill>
                          <a:schemeClr val="bg2">
                            <a:lumMod val="10000"/>
                          </a:schemeClr>
                        </a:solidFill>
                        <a:latin typeface="+mj-lt"/>
                        <a:ea typeface="+mn-ea"/>
                        <a:cs typeface="+mn-cs"/>
                        <a:sym typeface="Arial"/>
                      </a:endParaRPr>
                    </a:p>
                    <a:p>
                      <a:pPr marL="90170" marR="0" lvl="0" indent="-90170" algn="l">
                        <a:lnSpc>
                          <a:spcPct val="100000"/>
                        </a:lnSpc>
                        <a:spcBef>
                          <a:spcPts val="0"/>
                        </a:spcBef>
                        <a:spcAft>
                          <a:spcPts val="0"/>
                        </a:spcAft>
                        <a:buClr>
                          <a:srgbClr val="000000"/>
                        </a:buClr>
                        <a:buSzTx/>
                        <a:buFont typeface="Montserrat" panose="00000500000000000000" pitchFamily="2" charset="0"/>
                        <a:buChar char="›"/>
                      </a:pPr>
                      <a:r>
                        <a:rPr lang="fr-FR" sz="900" b="0" i="0" u="none" strike="noStrike" cap="none">
                          <a:solidFill>
                            <a:schemeClr val="bg2">
                              <a:lumMod val="10000"/>
                            </a:schemeClr>
                          </a:solidFill>
                          <a:latin typeface="+mj-lt"/>
                          <a:ea typeface="+mn-ea"/>
                          <a:cs typeface="+mn-cs"/>
                        </a:rPr>
                        <a:t>5 processus priorisés, analysés,</a:t>
                      </a:r>
                      <a:r>
                        <a:rPr lang="fr-FR" sz="900" b="0" i="0" u="none" strike="noStrike" cap="none">
                          <a:solidFill>
                            <a:schemeClr val="bg2">
                              <a:lumMod val="10000"/>
                            </a:schemeClr>
                          </a:solidFill>
                          <a:latin typeface="+mj-lt"/>
                          <a:ea typeface="+mn-ea"/>
                          <a:cs typeface="+mn-cs"/>
                          <a:sym typeface="Roboto"/>
                        </a:rPr>
                        <a:t> optimisés</a:t>
                      </a:r>
                      <a:r>
                        <a:rPr lang="fr-FR" sz="900" b="0" i="0" u="none" strike="noStrike" cap="none">
                          <a:solidFill>
                            <a:schemeClr val="bg2">
                              <a:lumMod val="10000"/>
                            </a:schemeClr>
                          </a:solidFill>
                          <a:latin typeface="+mj-lt"/>
                          <a:ea typeface="+mn-ea"/>
                          <a:cs typeface="+mn-cs"/>
                        </a:rPr>
                        <a:t> et gains budgétés </a:t>
                      </a:r>
                      <a:endParaRPr lang="fr-FR" sz="900" b="0" i="0" u="none" strike="noStrike" cap="none">
                        <a:solidFill>
                          <a:schemeClr val="bg2">
                            <a:lumMod val="10000"/>
                          </a:schemeClr>
                        </a:solidFill>
                        <a:latin typeface="+mj-lt"/>
                        <a:ea typeface="+mn-ea"/>
                        <a:cs typeface="+mn-cs"/>
                        <a:sym typeface="Roboto"/>
                      </a:endParaRPr>
                    </a:p>
                    <a:p>
                      <a:pPr marL="90488" marR="0" lvl="0" indent="-90488"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20 robots proposés dans la feuille de route 2021</a:t>
                      </a:r>
                    </a:p>
                    <a:p>
                      <a:pPr marL="90170" marR="0" lvl="0" indent="-9017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900" b="0" i="0" u="none" strike="noStrike" cap="none">
                        <a:solidFill>
                          <a:schemeClr val="bg2">
                            <a:lumMod val="10000"/>
                          </a:schemeClr>
                        </a:solidFill>
                        <a:latin typeface="+mj-lt"/>
                        <a:ea typeface="+mn-ea"/>
                        <a:cs typeface="+mn-cs"/>
                        <a:sym typeface="Roboto"/>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2381359"/>
                  </a:ext>
                </a:extLst>
              </a:tr>
              <a:tr h="969769">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ontserrat" panose="00000500000000000000" pitchFamily="2" charset="0"/>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a:solidFill>
                            <a:schemeClr val="bg2">
                              <a:lumMod val="10000"/>
                            </a:schemeClr>
                          </a:solidFill>
                          <a:latin typeface="+mj-lt"/>
                          <a:sym typeface="Arial"/>
                        </a:rPr>
                        <a:t>Refonte du système d’information cadrée et designée sur le reengineering des processus vision client</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lang="fr-FR" sz="900" b="0" i="0" u="none" strike="noStrike" kern="0" cap="none" spc="0" normalizeH="0" baseline="0" noProof="0">
                          <a:ln>
                            <a:noFill/>
                          </a:ln>
                          <a:solidFill>
                            <a:schemeClr val="bg2">
                              <a:lumMod val="10000"/>
                            </a:schemeClr>
                          </a:solidFill>
                          <a:effectLst/>
                          <a:uLnTx/>
                          <a:uFillTx/>
                          <a:latin typeface="+mj-lt"/>
                        </a:rPr>
                        <a:t>Refonte de 100 processus métiers en phase de cadrage puis en phase de design</a:t>
                      </a:r>
                      <a:endParaRPr kumimoji="0" lang="fr-FR" sz="900" b="0" i="0" u="none" strike="noStrike" kern="0" cap="none" spc="0" normalizeH="0" baseline="0">
                        <a:ln>
                          <a:noFill/>
                        </a:ln>
                        <a:solidFill>
                          <a:srgbClr val="000000"/>
                        </a:solidFill>
                        <a:effectLst/>
                        <a:uLnTx/>
                        <a:uFillTx/>
                        <a:latin typeface="+mj-lt"/>
                        <a:ea typeface="Open Sans"/>
                        <a:cs typeface="Calibri"/>
                        <a:sym typeface="Arial"/>
                      </a:endParaRP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Alimentation des référentiels dépendances architectures, communication, contrôle et conduite du changement, gestion de la demande</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panose="020B0604020202020204" charset="0"/>
                          <a:cs typeface="Calibri"/>
                          <a:sym typeface="Arial"/>
                        </a:rPr>
                        <a:t>Architecture fonctionnelle et technique de la gestion de la demande </a:t>
                      </a: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endParaRPr lang="fr-FR" sz="900" b="0" i="0" u="none" strike="noStrike" kern="1200" cap="none">
                        <a:solidFill>
                          <a:schemeClr val="bg2">
                            <a:lumMod val="10000"/>
                          </a:schemeClr>
                        </a:solidFill>
                        <a:latin typeface="+mj-lt"/>
                        <a:ea typeface="+mn-ea"/>
                        <a:cs typeface="+mn-cs"/>
                        <a:sym typeface="Roboto"/>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noProof="0">
                          <a:solidFill>
                            <a:schemeClr val="bg2">
                              <a:lumMod val="10000"/>
                            </a:schemeClr>
                          </a:solidFill>
                          <a:latin typeface="+mj-lt"/>
                          <a:ea typeface="+mn-ea"/>
                          <a:cs typeface="+mn-cs"/>
                          <a:sym typeface="Arial"/>
                        </a:rPr>
                        <a:t>Refonte des processus adhésion, affiliation, cotisation, prestation santé et prévoyance</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noProof="0">
                          <a:solidFill>
                            <a:schemeClr val="bg2">
                              <a:lumMod val="10000"/>
                            </a:schemeClr>
                          </a:solidFill>
                          <a:latin typeface="+mj-lt"/>
                          <a:ea typeface="+mn-ea"/>
                          <a:cs typeface="+mn-cs"/>
                          <a:sym typeface="Arial"/>
                        </a:rPr>
                        <a:t>Refonte et digitalisation complète la communication contractuelle et de gestion (+ de 200 mails/courriers/notices)</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noProof="0">
                          <a:solidFill>
                            <a:schemeClr val="bg2">
                              <a:lumMod val="10000"/>
                            </a:schemeClr>
                          </a:solidFill>
                          <a:latin typeface="+mj-lt"/>
                          <a:ea typeface="+mn-ea"/>
                          <a:cs typeface="+mn-cs"/>
                          <a:sym typeface="Arial"/>
                        </a:rPr>
                        <a:t>Refonte des flux entrants de gestion et du pilotage de l’activité</a:t>
                      </a:r>
                      <a:endParaRPr lang="fr-FR" sz="900" b="0" i="0" u="none" strike="noStrike" kern="1200" cap="none">
                        <a:solidFill>
                          <a:schemeClr val="bg2">
                            <a:lumMod val="10000"/>
                          </a:schemeClr>
                        </a:solidFill>
                        <a:latin typeface="+mj-lt"/>
                        <a:ea typeface="+mn-ea"/>
                        <a:cs typeface="+mn-cs"/>
                        <a:sym typeface="Roboto"/>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099082"/>
                  </a:ext>
                </a:extLst>
              </a:tr>
              <a:tr h="843278">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ontserrat" panose="00000500000000000000" pitchFamily="2" charset="0"/>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10" rtl="0" eaLnBrk="1" fontAlgn="auto" latinLnBrk="0" hangingPunct="1">
                        <a:lnSpc>
                          <a:spcPct val="100000"/>
                        </a:lnSpc>
                        <a:spcBef>
                          <a:spcPts val="0"/>
                        </a:spcBef>
                        <a:spcAft>
                          <a:spcPts val="0"/>
                        </a:spcAft>
                        <a:buClr>
                          <a:schemeClr val="accent6"/>
                        </a:buClr>
                        <a:buSzTx/>
                        <a:buFont typeface="Arial" panose="020B0604020202020204" pitchFamily="34" charset="0"/>
                        <a:buNone/>
                        <a:tabLst/>
                        <a:defRPr/>
                      </a:pPr>
                      <a:r>
                        <a:rPr kumimoji="0" lang="fr-FR" sz="1000" b="1" i="0" u="none" strike="noStrike" kern="0" cap="none" spc="0" normalizeH="0" baseline="0">
                          <a:ln>
                            <a:noFill/>
                          </a:ln>
                          <a:solidFill>
                            <a:schemeClr val="tx1"/>
                          </a:solidFill>
                          <a:effectLst/>
                          <a:uLnTx/>
                          <a:uFillTx/>
                          <a:latin typeface="+mj-lt"/>
                          <a:ea typeface="Open Sans" panose="020B0604020202020204" charset="0"/>
                          <a:cs typeface="Calibri"/>
                          <a:sym typeface="Arial"/>
                        </a:rPr>
                        <a:t>Optimisation de processus métiers</a:t>
                      </a:r>
                    </a:p>
                    <a:p>
                      <a:pPr marL="0" marR="0" lvl="0" indent="0" algn="l" defTabSz="1219110" rtl="0" eaLnBrk="1" fontAlgn="auto" latinLnBrk="0" hangingPunct="1">
                        <a:lnSpc>
                          <a:spcPct val="100000"/>
                        </a:lnSpc>
                        <a:spcBef>
                          <a:spcPts val="0"/>
                        </a:spcBef>
                        <a:spcAft>
                          <a:spcPts val="0"/>
                        </a:spcAft>
                        <a:buClr>
                          <a:schemeClr val="accent6"/>
                        </a:buClr>
                        <a:buSzTx/>
                        <a:buFont typeface="Arial" panose="020B0604020202020204" pitchFamily="34" charset="0"/>
                        <a:buNone/>
                        <a:tabLst/>
                        <a:defRPr/>
                      </a:pPr>
                      <a:r>
                        <a:rPr kumimoji="0" lang="fr-FR" sz="900" b="1" i="0" u="none" strike="noStrike" kern="0" cap="none" spc="0" normalizeH="0" baseline="0">
                          <a:ln>
                            <a:noFill/>
                          </a:ln>
                          <a:solidFill>
                            <a:schemeClr val="tx1"/>
                          </a:solidFill>
                          <a:effectLst/>
                          <a:uLnTx/>
                          <a:uFillTx/>
                          <a:latin typeface="+mj-lt"/>
                          <a:ea typeface="Open Sans" panose="020B0604020202020204" charset="0"/>
                          <a:cs typeface="Calibri"/>
                          <a:sym typeface="Arial"/>
                        </a:rPr>
                        <a:t>Automatisation de processus métier</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a:ln>
                            <a:noFill/>
                          </a:ln>
                          <a:solidFill>
                            <a:schemeClr val="tx1"/>
                          </a:solidFill>
                          <a:effectLst/>
                          <a:uLnTx/>
                          <a:uFillTx/>
                          <a:latin typeface="+mj-lt"/>
                          <a:ea typeface="Open Sans" panose="020B0604020202020204" charset="0"/>
                          <a:cs typeface="Calibri"/>
                          <a:sym typeface="Arial"/>
                        </a:rPr>
                        <a:t>Reprise d’un projet existant</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a:ln>
                            <a:noFill/>
                          </a:ln>
                          <a:solidFill>
                            <a:schemeClr val="tx1"/>
                          </a:solidFill>
                          <a:effectLst/>
                          <a:uLnTx/>
                          <a:uFillTx/>
                          <a:latin typeface="+mj-lt"/>
                          <a:ea typeface="Open Sans" panose="020B0604020202020204" charset="0"/>
                          <a:cs typeface="Calibri"/>
                          <a:sym typeface="Arial"/>
                        </a:rPr>
                        <a:t>Stabilisation de processus et mise en place des bonnes pratiques</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a:ln>
                            <a:noFill/>
                          </a:ln>
                          <a:solidFill>
                            <a:schemeClr val="tx1"/>
                          </a:solidFill>
                          <a:effectLst/>
                          <a:uLnTx/>
                          <a:uFillTx/>
                          <a:latin typeface="+mj-lt"/>
                          <a:ea typeface="Open Sans" panose="020B0604020202020204" charset="0"/>
                          <a:cs typeface="Calibri"/>
                          <a:sym typeface="Arial"/>
                        </a:rPr>
                        <a:t>Conception, développement, pilotage et priorisation</a:t>
                      </a:r>
                    </a:p>
                  </a:txBody>
                  <a:tcPr marL="108000" marR="108000" marT="36000" marB="36000"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Arial"/>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25 processus automatisés</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Demandes de remboursement : ROI sur 3 ans de 170% à 1060%</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Gestion assistée de dossiers (constitution, relances, contrôles) : diminution de la charge de 8% et amélioration de la qualité via contrôles systématiques</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4168472"/>
                  </a:ext>
                </a:extLst>
              </a:tr>
              <a:tr h="778385">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ontserrat" panose="00000500000000000000" pitchFamily="2" charset="0"/>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i="0" u="none" strike="noStrike" kern="1200" cap="none" noProof="0">
                          <a:solidFill>
                            <a:schemeClr val="bg2">
                              <a:lumMod val="10000"/>
                            </a:schemeClr>
                          </a:solidFill>
                          <a:latin typeface="+mj-lt"/>
                          <a:ea typeface="+mn-ea"/>
                          <a:cs typeface="+mn-cs"/>
                          <a:sym typeface="Arial"/>
                        </a:rPr>
                        <a:t>Diagnostic de l’indemnisation pour transformer le métier de gestionnaire</a:t>
                      </a:r>
                    </a:p>
                    <a:p>
                      <a:pPr marL="0" marR="0" lvl="0" indent="0" algn="l" defTabSz="822960" rtl="0" eaLnBrk="1" fontAlgn="auto" latinLnBrk="0" hangingPunct="1">
                        <a:lnSpc>
                          <a:spcPct val="100000"/>
                        </a:lnSpc>
                        <a:spcBef>
                          <a:spcPts val="0"/>
                        </a:spcBef>
                        <a:spcAft>
                          <a:spcPts val="0"/>
                        </a:spcAft>
                        <a:buClr>
                          <a:srgbClr val="366092"/>
                        </a:buClr>
                        <a:buSzPct val="25000"/>
                        <a:buFont typeface="Arial" panose="020B0604020202020204" pitchFamily="34" charset="0"/>
                        <a:buNone/>
                        <a:tabLst/>
                        <a:defRPr/>
                      </a:pPr>
                      <a:r>
                        <a:rPr kumimoji="0" lang="fr-FR" sz="900" b="0" i="0" u="none" strike="noStrike" kern="0" cap="none" spc="0" normalizeH="0" baseline="0" noProof="0">
                          <a:ln>
                            <a:noFill/>
                          </a:ln>
                          <a:solidFill>
                            <a:schemeClr val="tx1"/>
                          </a:solidFill>
                          <a:effectLst/>
                          <a:uLnTx/>
                          <a:uFillTx/>
                          <a:latin typeface="+mj-lt"/>
                          <a:ea typeface="Open Sans"/>
                          <a:cs typeface="Calibri"/>
                          <a:sym typeface="Arial"/>
                        </a:rPr>
                        <a:t>Analyse du fonctionnement de l’indemnisation MMA selon les axes du modèle opérationnel (processus, circuits, rôles et responsabilités, outillage, …), de la performance (objectifs donnés, indicateurs suivis, dispositifs de pilotage) et du collaborateur (culture, management, postures, appartenance, empowerment, …)</a:t>
                      </a:r>
                      <a:endParaRPr kumimoji="0" lang="fr-FR" sz="900" b="0" i="0" u="none" strike="noStrike" kern="0" cap="none" spc="0" normalizeH="0" baseline="0">
                        <a:ln>
                          <a:noFill/>
                        </a:ln>
                        <a:solidFill>
                          <a:schemeClr val="tx1"/>
                        </a:solidFill>
                        <a:effectLst/>
                        <a:uLnTx/>
                        <a:uFillTx/>
                        <a:latin typeface="+mj-lt"/>
                        <a:ea typeface="Open Sans"/>
                        <a:cs typeface="Calibri"/>
                        <a:sym typeface="Roboto"/>
                      </a:endParaRP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Etat des lieux complet (10 domaines, 800 gestionnaires), constats et irritants (transverses et par spécifiques à un domaine)</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Socle pour définir la tactique de déploiement de la transformation métier par domaines</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Plan de recommandations priorisé</a:t>
                      </a:r>
                      <a:endParaRPr lang="fr-FR" sz="90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9634836"/>
                  </a:ext>
                </a:extLst>
              </a:tr>
              <a:tr h="735472">
                <a:tc>
                  <a:txBody>
                    <a:bodyPr/>
                    <a:lstStyle/>
                    <a:p>
                      <a:endParaRPr lang="fr-FR" sz="1100">
                        <a:solidFill>
                          <a:schemeClr val="bg2">
                            <a:lumMod val="10000"/>
                          </a:schemeClr>
                        </a:solidFill>
                        <a:latin typeface="Montserrat" panose="00000500000000000000" pitchFamily="2" charset="0"/>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i="0" u="none" strike="noStrike" kern="1200" cap="none" noProof="0">
                          <a:solidFill>
                            <a:schemeClr val="bg2">
                              <a:lumMod val="10000"/>
                            </a:schemeClr>
                          </a:solidFill>
                          <a:latin typeface="+mj-lt"/>
                          <a:ea typeface="+mn-ea"/>
                          <a:cs typeface="+mn-cs"/>
                          <a:sym typeface="Arial"/>
                        </a:rPr>
                        <a:t>Vague de transformation opérationnelle basée sur le Lean</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kumimoji="0" lang="fr-FR" sz="900" b="0" i="0" u="none" strike="noStrike" kern="0" cap="none" spc="0" normalizeH="0" baseline="0" noProof="0">
                          <a:ln>
                            <a:noFill/>
                          </a:ln>
                          <a:solidFill>
                            <a:schemeClr val="tx1"/>
                          </a:solidFill>
                          <a:effectLst/>
                          <a:uLnTx/>
                          <a:uFillTx/>
                          <a:latin typeface="+mj-lt"/>
                          <a:ea typeface="Open Sans"/>
                          <a:cs typeface="Calibri"/>
                          <a:sym typeface="Arial"/>
                        </a:rPr>
                        <a:t>Accompagnement d’équipes opérationnelles pour appliquer transformer leurs modes de travail (basée sur le lean et la data) et diffuser de bonnes pratiques « d’empowerment » (problem solving, décision basée sur les faits, …) </a:t>
                      </a:r>
                      <a:endParaRPr kumimoji="0" lang="fr-FR" sz="900" b="0" i="0" u="none" strike="noStrike" kern="0" cap="none" spc="0" normalizeH="0" baseline="0">
                        <a:ln>
                          <a:noFill/>
                        </a:ln>
                        <a:solidFill>
                          <a:schemeClr val="tx1"/>
                        </a:solidFill>
                        <a:effectLst/>
                        <a:uLnTx/>
                        <a:uFillTx/>
                        <a:latin typeface="+mj-lt"/>
                        <a:ea typeface="Open Sans"/>
                        <a:cs typeface="Calibri"/>
                        <a:sym typeface="Roboto"/>
                      </a:endParaRP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Réagencement d’étapes du processus, pour mieux anticiper les risques et focaliser l’effort</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Factualisation de la priorisation et l’affection des tâches, et du suivi de la charge de travail</a:t>
                      </a:r>
                    </a:p>
                    <a:p>
                      <a:pPr marL="90170" marR="0" lvl="0" indent="-9017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Désilotage du principal processus en explicitant les conditions de passage de relais</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6043558"/>
                  </a:ext>
                </a:extLst>
              </a:tr>
              <a:tr h="758949">
                <a:tc>
                  <a:txBody>
                    <a:bodyPr/>
                    <a:lstStyle/>
                    <a:p>
                      <a:endParaRPr lang="fr-FR" sz="1100">
                        <a:solidFill>
                          <a:schemeClr val="bg2">
                            <a:lumMod val="10000"/>
                          </a:schemeClr>
                        </a:solidFill>
                        <a:latin typeface="Montserrat" panose="00000500000000000000" pitchFamily="2" charset="0"/>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kumimoji="0" lang="fr-FR" sz="1000" b="1" i="0" u="none" strike="noStrike" kern="0" cap="none" spc="0" normalizeH="0" baseline="0" noProof="0">
                          <a:ln>
                            <a:noFill/>
                          </a:ln>
                          <a:solidFill>
                            <a:schemeClr val="tx1"/>
                          </a:solidFill>
                          <a:effectLst/>
                          <a:uLnTx/>
                          <a:uFillTx/>
                          <a:latin typeface="+mj-lt"/>
                          <a:ea typeface="+mn-ea"/>
                          <a:cs typeface="+mn-cs"/>
                          <a:sym typeface="Arial"/>
                        </a:rPr>
                        <a:t>Amélioration de l’efficience des processus de souscription et de la lutte contre la fraude</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kumimoji="0" lang="fr-FR" sz="900" b="0" i="0" u="none" strike="noStrike" kern="0" cap="none" spc="0" normalizeH="0" baseline="0" noProof="0">
                          <a:ln>
                            <a:noFill/>
                          </a:ln>
                          <a:solidFill>
                            <a:schemeClr val="tx1"/>
                          </a:solidFill>
                          <a:effectLst/>
                          <a:uLnTx/>
                          <a:uFillTx/>
                          <a:latin typeface="+mj-lt"/>
                          <a:ea typeface="+mn-ea"/>
                          <a:cs typeface="+mn-cs"/>
                          <a:sym typeface="Arial"/>
                        </a:rPr>
                        <a:t>Sélection, conception et déploiement d’une solution de dématérialisation (OCR, LAD et RAD), socle de la mise en qualité et de l’automatisation d’une partie des processus de souscription, en intégrant des algorithmes d’IA</a:t>
                      </a:r>
                      <a:endParaRPr lang="fr-FR" sz="900" b="1" kern="1200">
                        <a:solidFill>
                          <a:schemeClr val="tx1"/>
                        </a:solidFill>
                        <a:latin typeface="+mj-lt"/>
                        <a:ea typeface="+mn-ea"/>
                        <a:cs typeface="+mn-cs"/>
                        <a:sym typeface="Arial"/>
                      </a:endParaRP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Hackathon pour confronter les équipes éditeurs</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Analyse fine d’impacts en amont de la formalisation des spécifications</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Automatisation des contrôles de pièces justificatives (notamment relevé de situation)</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666786"/>
                  </a:ext>
                </a:extLst>
              </a:tr>
            </a:tbl>
          </a:graphicData>
        </a:graphic>
      </p:graphicFrame>
      <p:grpSp>
        <p:nvGrpSpPr>
          <p:cNvPr id="14" name="Group 576">
            <a:extLst>
              <a:ext uri="{FF2B5EF4-FFF2-40B4-BE49-F238E27FC236}">
                <a16:creationId xmlns:a16="http://schemas.microsoft.com/office/drawing/2014/main" id="{AC9D9286-76F9-4C86-AE4C-EA5FE66A89E8}"/>
              </a:ext>
            </a:extLst>
          </p:cNvPr>
          <p:cNvGrpSpPr/>
          <p:nvPr/>
        </p:nvGrpSpPr>
        <p:grpSpPr>
          <a:xfrm>
            <a:off x="7028515" y="2873767"/>
            <a:ext cx="284260" cy="287150"/>
            <a:chOff x="6505310" y="5389590"/>
            <a:chExt cx="781050" cy="788988"/>
          </a:xfrm>
          <a:solidFill>
            <a:schemeClr val="accent4"/>
          </a:solidFill>
        </p:grpSpPr>
        <p:sp>
          <p:nvSpPr>
            <p:cNvPr id="15" name="Freeform 314">
              <a:extLst>
                <a:ext uri="{FF2B5EF4-FFF2-40B4-BE49-F238E27FC236}">
                  <a16:creationId xmlns:a16="http://schemas.microsoft.com/office/drawing/2014/main" id="{C943EFC8-669E-4788-988F-16AD9E9C1069}"/>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315">
              <a:extLst>
                <a:ext uri="{FF2B5EF4-FFF2-40B4-BE49-F238E27FC236}">
                  <a16:creationId xmlns:a16="http://schemas.microsoft.com/office/drawing/2014/main" id="{FB6AE47B-A44B-4B81-A567-763482494FD3}"/>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 name="Group 263">
            <a:extLst>
              <a:ext uri="{FF2B5EF4-FFF2-40B4-BE49-F238E27FC236}">
                <a16:creationId xmlns:a16="http://schemas.microsoft.com/office/drawing/2014/main" id="{72ABCABD-816A-4C72-B1E0-14BA4A39FBF4}"/>
              </a:ext>
            </a:extLst>
          </p:cNvPr>
          <p:cNvGrpSpPr/>
          <p:nvPr/>
        </p:nvGrpSpPr>
        <p:grpSpPr>
          <a:xfrm>
            <a:off x="6996476" y="2460202"/>
            <a:ext cx="361541" cy="224632"/>
            <a:chOff x="-5861198" y="8530705"/>
            <a:chExt cx="441325" cy="331788"/>
          </a:xfrm>
          <a:solidFill>
            <a:schemeClr val="accent3"/>
          </a:solidFill>
        </p:grpSpPr>
        <p:sp>
          <p:nvSpPr>
            <p:cNvPr id="18" name="Freeform 181">
              <a:extLst>
                <a:ext uri="{FF2B5EF4-FFF2-40B4-BE49-F238E27FC236}">
                  <a16:creationId xmlns:a16="http://schemas.microsoft.com/office/drawing/2014/main" id="{631DE21D-9110-45C1-860F-D4B0296E8FB2}"/>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82">
              <a:extLst>
                <a:ext uri="{FF2B5EF4-FFF2-40B4-BE49-F238E27FC236}">
                  <a16:creationId xmlns:a16="http://schemas.microsoft.com/office/drawing/2014/main" id="{2D77A245-1F29-48F1-AE4B-55C5F25B488C}"/>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0" name="Google Shape;1732;p23">
            <a:extLst>
              <a:ext uri="{FF2B5EF4-FFF2-40B4-BE49-F238E27FC236}">
                <a16:creationId xmlns:a16="http://schemas.microsoft.com/office/drawing/2014/main" id="{7D1772DF-A8CA-4534-8680-DEFCE6825AF4}"/>
              </a:ext>
            </a:extLst>
          </p:cNvPr>
          <p:cNvSpPr/>
          <p:nvPr/>
        </p:nvSpPr>
        <p:spPr>
          <a:xfrm>
            <a:off x="7384619" y="2890157"/>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3 ans</a:t>
            </a:r>
          </a:p>
        </p:txBody>
      </p:sp>
      <p:sp>
        <p:nvSpPr>
          <p:cNvPr id="21" name="Google Shape;1732;p23">
            <a:extLst>
              <a:ext uri="{FF2B5EF4-FFF2-40B4-BE49-F238E27FC236}">
                <a16:creationId xmlns:a16="http://schemas.microsoft.com/office/drawing/2014/main" id="{4A9712BC-2492-44A1-9479-D0153480674B}"/>
              </a:ext>
            </a:extLst>
          </p:cNvPr>
          <p:cNvSpPr/>
          <p:nvPr/>
        </p:nvSpPr>
        <p:spPr>
          <a:xfrm>
            <a:off x="7443359" y="2402873"/>
            <a:ext cx="117480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Process reingeeniring</a:t>
            </a:r>
          </a:p>
        </p:txBody>
      </p:sp>
      <p:grpSp>
        <p:nvGrpSpPr>
          <p:cNvPr id="22" name="Group 576">
            <a:extLst>
              <a:ext uri="{FF2B5EF4-FFF2-40B4-BE49-F238E27FC236}">
                <a16:creationId xmlns:a16="http://schemas.microsoft.com/office/drawing/2014/main" id="{B5813291-4D3C-43CC-AB78-867697258843}"/>
              </a:ext>
            </a:extLst>
          </p:cNvPr>
          <p:cNvGrpSpPr/>
          <p:nvPr/>
        </p:nvGrpSpPr>
        <p:grpSpPr>
          <a:xfrm>
            <a:off x="7046005" y="3833294"/>
            <a:ext cx="284260" cy="287150"/>
            <a:chOff x="6505310" y="5389590"/>
            <a:chExt cx="781050" cy="788988"/>
          </a:xfrm>
          <a:solidFill>
            <a:schemeClr val="accent4"/>
          </a:solidFill>
        </p:grpSpPr>
        <p:sp>
          <p:nvSpPr>
            <p:cNvPr id="23" name="Freeform 314">
              <a:extLst>
                <a:ext uri="{FF2B5EF4-FFF2-40B4-BE49-F238E27FC236}">
                  <a16:creationId xmlns:a16="http://schemas.microsoft.com/office/drawing/2014/main" id="{F09E0DE6-81EF-415B-B653-B0141CF75103}"/>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315">
              <a:extLst>
                <a:ext uri="{FF2B5EF4-FFF2-40B4-BE49-F238E27FC236}">
                  <a16:creationId xmlns:a16="http://schemas.microsoft.com/office/drawing/2014/main" id="{D50D9C48-0679-4CA0-8CEC-7A243400C1C7}"/>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 name="Group 263">
            <a:extLst>
              <a:ext uri="{FF2B5EF4-FFF2-40B4-BE49-F238E27FC236}">
                <a16:creationId xmlns:a16="http://schemas.microsoft.com/office/drawing/2014/main" id="{E06A0FE7-7E48-4C59-9FB8-E3003903BFC5}"/>
              </a:ext>
            </a:extLst>
          </p:cNvPr>
          <p:cNvGrpSpPr/>
          <p:nvPr/>
        </p:nvGrpSpPr>
        <p:grpSpPr>
          <a:xfrm>
            <a:off x="7013966" y="3456951"/>
            <a:ext cx="361541" cy="224632"/>
            <a:chOff x="-5861198" y="8530705"/>
            <a:chExt cx="441325" cy="331788"/>
          </a:xfrm>
          <a:solidFill>
            <a:schemeClr val="accent3"/>
          </a:solidFill>
        </p:grpSpPr>
        <p:sp>
          <p:nvSpPr>
            <p:cNvPr id="26" name="Freeform 181">
              <a:extLst>
                <a:ext uri="{FF2B5EF4-FFF2-40B4-BE49-F238E27FC236}">
                  <a16:creationId xmlns:a16="http://schemas.microsoft.com/office/drawing/2014/main" id="{222F9681-8AE0-494E-A664-C9ADC4432A64}"/>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182">
              <a:extLst>
                <a:ext uri="{FF2B5EF4-FFF2-40B4-BE49-F238E27FC236}">
                  <a16:creationId xmlns:a16="http://schemas.microsoft.com/office/drawing/2014/main" id="{B12DE2EB-84B0-4EEA-B32C-F0C252E5A92B}"/>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8" name="Google Shape;1732;p23">
            <a:extLst>
              <a:ext uri="{FF2B5EF4-FFF2-40B4-BE49-F238E27FC236}">
                <a16:creationId xmlns:a16="http://schemas.microsoft.com/office/drawing/2014/main" id="{016D43FE-C605-4F5D-B68F-F4D82B931A91}"/>
              </a:ext>
            </a:extLst>
          </p:cNvPr>
          <p:cNvSpPr/>
          <p:nvPr/>
        </p:nvSpPr>
        <p:spPr>
          <a:xfrm>
            <a:off x="7384619" y="3885222"/>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12 mois</a:t>
            </a:r>
          </a:p>
        </p:txBody>
      </p:sp>
      <p:sp>
        <p:nvSpPr>
          <p:cNvPr id="29" name="Google Shape;1732;p23">
            <a:extLst>
              <a:ext uri="{FF2B5EF4-FFF2-40B4-BE49-F238E27FC236}">
                <a16:creationId xmlns:a16="http://schemas.microsoft.com/office/drawing/2014/main" id="{18CB3812-FD95-4F66-9858-A878242AF8F9}"/>
              </a:ext>
            </a:extLst>
          </p:cNvPr>
          <p:cNvSpPr/>
          <p:nvPr/>
        </p:nvSpPr>
        <p:spPr>
          <a:xfrm>
            <a:off x="7384619" y="3354063"/>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Tx/>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Experts RPA, PO Agile</a:t>
            </a:r>
          </a:p>
        </p:txBody>
      </p:sp>
      <p:grpSp>
        <p:nvGrpSpPr>
          <p:cNvPr id="38" name="Group 576">
            <a:extLst>
              <a:ext uri="{FF2B5EF4-FFF2-40B4-BE49-F238E27FC236}">
                <a16:creationId xmlns:a16="http://schemas.microsoft.com/office/drawing/2014/main" id="{0E9E00AC-5841-40A2-B7FB-B52906ADB3F0}"/>
              </a:ext>
            </a:extLst>
          </p:cNvPr>
          <p:cNvGrpSpPr/>
          <p:nvPr/>
        </p:nvGrpSpPr>
        <p:grpSpPr>
          <a:xfrm>
            <a:off x="7051005" y="4431554"/>
            <a:ext cx="284260" cy="287150"/>
            <a:chOff x="6505310" y="5389590"/>
            <a:chExt cx="781050" cy="788988"/>
          </a:xfrm>
          <a:solidFill>
            <a:schemeClr val="accent4"/>
          </a:solidFill>
        </p:grpSpPr>
        <p:sp>
          <p:nvSpPr>
            <p:cNvPr id="39" name="Freeform 314">
              <a:extLst>
                <a:ext uri="{FF2B5EF4-FFF2-40B4-BE49-F238E27FC236}">
                  <a16:creationId xmlns:a16="http://schemas.microsoft.com/office/drawing/2014/main" id="{7762E860-1A9F-48CB-A5CF-2498FB61ABDE}"/>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315">
              <a:extLst>
                <a:ext uri="{FF2B5EF4-FFF2-40B4-BE49-F238E27FC236}">
                  <a16:creationId xmlns:a16="http://schemas.microsoft.com/office/drawing/2014/main" id="{7CB7D3B7-10E6-478E-A69C-308242110A36}"/>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5" name="Google Shape;1732;p23">
            <a:extLst>
              <a:ext uri="{FF2B5EF4-FFF2-40B4-BE49-F238E27FC236}">
                <a16:creationId xmlns:a16="http://schemas.microsoft.com/office/drawing/2014/main" id="{A93F5781-8FE6-4D64-9B71-5AA483F8D0DF}"/>
              </a:ext>
            </a:extLst>
          </p:cNvPr>
          <p:cNvSpPr/>
          <p:nvPr/>
        </p:nvSpPr>
        <p:spPr>
          <a:xfrm>
            <a:off x="7384619" y="4444329"/>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4 mois</a:t>
            </a:r>
          </a:p>
        </p:txBody>
      </p:sp>
      <p:grpSp>
        <p:nvGrpSpPr>
          <p:cNvPr id="47" name="Group 576">
            <a:extLst>
              <a:ext uri="{FF2B5EF4-FFF2-40B4-BE49-F238E27FC236}">
                <a16:creationId xmlns:a16="http://schemas.microsoft.com/office/drawing/2014/main" id="{FD4BA166-2BF1-40AD-A498-392F293675E5}"/>
              </a:ext>
            </a:extLst>
          </p:cNvPr>
          <p:cNvGrpSpPr/>
          <p:nvPr/>
        </p:nvGrpSpPr>
        <p:grpSpPr>
          <a:xfrm>
            <a:off x="7053505" y="6484021"/>
            <a:ext cx="284260" cy="287150"/>
            <a:chOff x="6505310" y="5389590"/>
            <a:chExt cx="781050" cy="788988"/>
          </a:xfrm>
          <a:solidFill>
            <a:schemeClr val="accent4"/>
          </a:solidFill>
        </p:grpSpPr>
        <p:sp>
          <p:nvSpPr>
            <p:cNvPr id="48" name="Freeform 314">
              <a:extLst>
                <a:ext uri="{FF2B5EF4-FFF2-40B4-BE49-F238E27FC236}">
                  <a16:creationId xmlns:a16="http://schemas.microsoft.com/office/drawing/2014/main" id="{F25832E8-8554-4BA7-B99D-E360F1323AA8}"/>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315">
              <a:extLst>
                <a:ext uri="{FF2B5EF4-FFF2-40B4-BE49-F238E27FC236}">
                  <a16:creationId xmlns:a16="http://schemas.microsoft.com/office/drawing/2014/main" id="{65B8D796-3F67-4AA3-B885-1DA4AB0F10AD}"/>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 name="Group 263">
            <a:extLst>
              <a:ext uri="{FF2B5EF4-FFF2-40B4-BE49-F238E27FC236}">
                <a16:creationId xmlns:a16="http://schemas.microsoft.com/office/drawing/2014/main" id="{99DDA5ED-4458-407B-A1C3-341CBD32DA43}"/>
              </a:ext>
            </a:extLst>
          </p:cNvPr>
          <p:cNvGrpSpPr/>
          <p:nvPr/>
        </p:nvGrpSpPr>
        <p:grpSpPr>
          <a:xfrm>
            <a:off x="7021466" y="6100196"/>
            <a:ext cx="361541" cy="224632"/>
            <a:chOff x="-5861198" y="8530705"/>
            <a:chExt cx="441325" cy="331788"/>
          </a:xfrm>
          <a:solidFill>
            <a:schemeClr val="accent3"/>
          </a:solidFill>
        </p:grpSpPr>
        <p:sp>
          <p:nvSpPr>
            <p:cNvPr id="51" name="Freeform 181">
              <a:extLst>
                <a:ext uri="{FF2B5EF4-FFF2-40B4-BE49-F238E27FC236}">
                  <a16:creationId xmlns:a16="http://schemas.microsoft.com/office/drawing/2014/main" id="{58AF4EF7-1A25-474B-A784-FD17D17C9719}"/>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182">
              <a:extLst>
                <a:ext uri="{FF2B5EF4-FFF2-40B4-BE49-F238E27FC236}">
                  <a16:creationId xmlns:a16="http://schemas.microsoft.com/office/drawing/2014/main" id="{1163646E-5274-4240-B57D-D994157E549E}"/>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3" name="Google Shape;1732;p23">
            <a:extLst>
              <a:ext uri="{FF2B5EF4-FFF2-40B4-BE49-F238E27FC236}">
                <a16:creationId xmlns:a16="http://schemas.microsoft.com/office/drawing/2014/main" id="{87C35C41-FAC6-40A9-B3E0-3E6B5A97528D}"/>
              </a:ext>
            </a:extLst>
          </p:cNvPr>
          <p:cNvSpPr/>
          <p:nvPr/>
        </p:nvSpPr>
        <p:spPr>
          <a:xfrm>
            <a:off x="7320005" y="6506634"/>
            <a:ext cx="1421508"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6 mois</a:t>
            </a:r>
          </a:p>
        </p:txBody>
      </p:sp>
      <p:sp>
        <p:nvSpPr>
          <p:cNvPr id="54" name="Google Shape;1732;p23">
            <a:extLst>
              <a:ext uri="{FF2B5EF4-FFF2-40B4-BE49-F238E27FC236}">
                <a16:creationId xmlns:a16="http://schemas.microsoft.com/office/drawing/2014/main" id="{4E3F8DDF-254A-4F72-A8E4-4E94087EAFAF}"/>
              </a:ext>
            </a:extLst>
          </p:cNvPr>
          <p:cNvSpPr/>
          <p:nvPr/>
        </p:nvSpPr>
        <p:spPr>
          <a:xfrm>
            <a:off x="7352312" y="5990472"/>
            <a:ext cx="1356894"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 Expertise Démat’</a:t>
            </a:r>
          </a:p>
        </p:txBody>
      </p:sp>
      <p:grpSp>
        <p:nvGrpSpPr>
          <p:cNvPr id="55" name="Group 576">
            <a:extLst>
              <a:ext uri="{FF2B5EF4-FFF2-40B4-BE49-F238E27FC236}">
                <a16:creationId xmlns:a16="http://schemas.microsoft.com/office/drawing/2014/main" id="{B53C255F-2988-4BD9-BCC8-1C4F1C212635}"/>
              </a:ext>
            </a:extLst>
          </p:cNvPr>
          <p:cNvGrpSpPr/>
          <p:nvPr/>
        </p:nvGrpSpPr>
        <p:grpSpPr>
          <a:xfrm>
            <a:off x="7056005" y="1799429"/>
            <a:ext cx="284260" cy="287150"/>
            <a:chOff x="6505310" y="5389590"/>
            <a:chExt cx="781050" cy="788988"/>
          </a:xfrm>
          <a:solidFill>
            <a:schemeClr val="accent4"/>
          </a:solidFill>
        </p:grpSpPr>
        <p:sp>
          <p:nvSpPr>
            <p:cNvPr id="56" name="Freeform 314">
              <a:extLst>
                <a:ext uri="{FF2B5EF4-FFF2-40B4-BE49-F238E27FC236}">
                  <a16:creationId xmlns:a16="http://schemas.microsoft.com/office/drawing/2014/main" id="{E661A504-6A6A-441F-9CAE-3CCDC31DFA7B}"/>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315">
              <a:extLst>
                <a:ext uri="{FF2B5EF4-FFF2-40B4-BE49-F238E27FC236}">
                  <a16:creationId xmlns:a16="http://schemas.microsoft.com/office/drawing/2014/main" id="{FE77CF8E-6972-495F-9700-8BB04AD4A2AF}"/>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 name="Group 263">
            <a:extLst>
              <a:ext uri="{FF2B5EF4-FFF2-40B4-BE49-F238E27FC236}">
                <a16:creationId xmlns:a16="http://schemas.microsoft.com/office/drawing/2014/main" id="{B1A47BD7-2E39-45D3-B345-1423AEDBB4FA}"/>
              </a:ext>
            </a:extLst>
          </p:cNvPr>
          <p:cNvGrpSpPr/>
          <p:nvPr/>
        </p:nvGrpSpPr>
        <p:grpSpPr>
          <a:xfrm>
            <a:off x="7023966" y="1400988"/>
            <a:ext cx="361541" cy="224632"/>
            <a:chOff x="-5861198" y="8530705"/>
            <a:chExt cx="441325" cy="331788"/>
          </a:xfrm>
          <a:solidFill>
            <a:schemeClr val="accent3"/>
          </a:solidFill>
        </p:grpSpPr>
        <p:sp>
          <p:nvSpPr>
            <p:cNvPr id="59" name="Freeform 181">
              <a:extLst>
                <a:ext uri="{FF2B5EF4-FFF2-40B4-BE49-F238E27FC236}">
                  <a16:creationId xmlns:a16="http://schemas.microsoft.com/office/drawing/2014/main" id="{83EC3B96-04B2-4348-AF2D-4153B842C650}"/>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182">
              <a:extLst>
                <a:ext uri="{FF2B5EF4-FFF2-40B4-BE49-F238E27FC236}">
                  <a16:creationId xmlns:a16="http://schemas.microsoft.com/office/drawing/2014/main" id="{9AD63C82-889D-47F4-A6C2-AFB870FD921D}"/>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61" name="Google Shape;1732;p23">
            <a:extLst>
              <a:ext uri="{FF2B5EF4-FFF2-40B4-BE49-F238E27FC236}">
                <a16:creationId xmlns:a16="http://schemas.microsoft.com/office/drawing/2014/main" id="{DEA8E539-B806-4AE1-8D1B-CFB21142DF77}"/>
              </a:ext>
            </a:extLst>
          </p:cNvPr>
          <p:cNvSpPr/>
          <p:nvPr/>
        </p:nvSpPr>
        <p:spPr>
          <a:xfrm>
            <a:off x="7320005" y="1815819"/>
            <a:ext cx="1421508"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Tx/>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6 mois</a:t>
            </a:r>
          </a:p>
        </p:txBody>
      </p:sp>
      <p:sp>
        <p:nvSpPr>
          <p:cNvPr id="62" name="Google Shape;1732;p23">
            <a:extLst>
              <a:ext uri="{FF2B5EF4-FFF2-40B4-BE49-F238E27FC236}">
                <a16:creationId xmlns:a16="http://schemas.microsoft.com/office/drawing/2014/main" id="{B7FF390A-89B7-41D3-AEDD-FE726B0A0A9B}"/>
              </a:ext>
            </a:extLst>
          </p:cNvPr>
          <p:cNvSpPr/>
          <p:nvPr/>
        </p:nvSpPr>
        <p:spPr>
          <a:xfrm>
            <a:off x="7384619" y="1382504"/>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a:t>
            </a:r>
          </a:p>
        </p:txBody>
      </p:sp>
      <p:pic>
        <p:nvPicPr>
          <p:cNvPr id="3" name="Image 17">
            <a:extLst>
              <a:ext uri="{FF2B5EF4-FFF2-40B4-BE49-F238E27FC236}">
                <a16:creationId xmlns:a16="http://schemas.microsoft.com/office/drawing/2014/main" id="{D8B2B1D0-1367-2DFC-0FEE-8160C143BFBF}"/>
              </a:ext>
            </a:extLst>
          </p:cNvPr>
          <p:cNvPicPr>
            <a:picLocks noChangeAspect="1"/>
          </p:cNvPicPr>
          <p:nvPr/>
        </p:nvPicPr>
        <p:blipFill>
          <a:blip r:embed="rId3"/>
          <a:stretch>
            <a:fillRect/>
          </a:stretch>
        </p:blipFill>
        <p:spPr>
          <a:xfrm>
            <a:off x="755454" y="1334905"/>
            <a:ext cx="563419" cy="678036"/>
          </a:xfrm>
          <a:prstGeom prst="rect">
            <a:avLst/>
          </a:prstGeom>
        </p:spPr>
      </p:pic>
      <p:pic>
        <p:nvPicPr>
          <p:cNvPr id="4" name="Image 3">
            <a:extLst>
              <a:ext uri="{FF2B5EF4-FFF2-40B4-BE49-F238E27FC236}">
                <a16:creationId xmlns:a16="http://schemas.microsoft.com/office/drawing/2014/main" id="{179B3F6D-BB62-F755-1E83-D617F80DEF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8718" y="3495432"/>
            <a:ext cx="540000" cy="540000"/>
          </a:xfrm>
          <a:prstGeom prst="rect">
            <a:avLst/>
          </a:prstGeom>
        </p:spPr>
      </p:pic>
      <p:pic>
        <p:nvPicPr>
          <p:cNvPr id="7" name="Image 6">
            <a:extLst>
              <a:ext uri="{FF2B5EF4-FFF2-40B4-BE49-F238E27FC236}">
                <a16:creationId xmlns:a16="http://schemas.microsoft.com/office/drawing/2014/main" id="{800F937A-4E99-8EFD-1DEE-DFB2F048E9E9}"/>
              </a:ext>
            </a:extLst>
          </p:cNvPr>
          <p:cNvPicPr>
            <a:picLocks noChangeAspect="1"/>
          </p:cNvPicPr>
          <p:nvPr/>
        </p:nvPicPr>
        <p:blipFill>
          <a:blip r:embed="rId5"/>
          <a:stretch>
            <a:fillRect/>
          </a:stretch>
        </p:blipFill>
        <p:spPr>
          <a:xfrm>
            <a:off x="673002" y="4551139"/>
            <a:ext cx="701315" cy="239735"/>
          </a:xfrm>
          <a:prstGeom prst="rect">
            <a:avLst/>
          </a:prstGeom>
        </p:spPr>
      </p:pic>
      <p:pic>
        <p:nvPicPr>
          <p:cNvPr id="8" name="Image 7">
            <a:extLst>
              <a:ext uri="{FF2B5EF4-FFF2-40B4-BE49-F238E27FC236}">
                <a16:creationId xmlns:a16="http://schemas.microsoft.com/office/drawing/2014/main" id="{41CFE187-72C6-29DB-344C-94778A46ECC8}"/>
              </a:ext>
            </a:extLst>
          </p:cNvPr>
          <p:cNvPicPr>
            <a:picLocks noChangeAspect="1"/>
          </p:cNvPicPr>
          <p:nvPr/>
        </p:nvPicPr>
        <p:blipFill>
          <a:blip r:embed="rId6"/>
          <a:stretch>
            <a:fillRect/>
          </a:stretch>
        </p:blipFill>
        <p:spPr>
          <a:xfrm>
            <a:off x="624696" y="6149580"/>
            <a:ext cx="797925" cy="299757"/>
          </a:xfrm>
          <a:prstGeom prst="rect">
            <a:avLst/>
          </a:prstGeom>
        </p:spPr>
      </p:pic>
      <p:pic>
        <p:nvPicPr>
          <p:cNvPr id="1026" name="Picture 2" descr="Contacter IRP Auto | Pension de reversion">
            <a:extLst>
              <a:ext uri="{FF2B5EF4-FFF2-40B4-BE49-F238E27FC236}">
                <a16:creationId xmlns:a16="http://schemas.microsoft.com/office/drawing/2014/main" id="{763822DE-398C-6576-D183-B8508D9621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8718" y="2466588"/>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a:extLst>
              <a:ext uri="{FF2B5EF4-FFF2-40B4-BE49-F238E27FC236}">
                <a16:creationId xmlns:a16="http://schemas.microsoft.com/office/drawing/2014/main" id="{194CE9AE-7378-82A2-73E4-40A21B1C10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8718" y="5249432"/>
            <a:ext cx="540000" cy="5400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576">
            <a:extLst>
              <a:ext uri="{FF2B5EF4-FFF2-40B4-BE49-F238E27FC236}">
                <a16:creationId xmlns:a16="http://schemas.microsoft.com/office/drawing/2014/main" id="{0A9E08F4-24FB-5D2D-AB6C-F2C28DB5B889}"/>
              </a:ext>
            </a:extLst>
          </p:cNvPr>
          <p:cNvGrpSpPr/>
          <p:nvPr/>
        </p:nvGrpSpPr>
        <p:grpSpPr>
          <a:xfrm>
            <a:off x="7043535" y="5573676"/>
            <a:ext cx="284260" cy="287150"/>
            <a:chOff x="6505310" y="5389590"/>
            <a:chExt cx="781050" cy="788988"/>
          </a:xfrm>
          <a:solidFill>
            <a:schemeClr val="accent4"/>
          </a:solidFill>
        </p:grpSpPr>
        <p:sp>
          <p:nvSpPr>
            <p:cNvPr id="30" name="Freeform 314">
              <a:extLst>
                <a:ext uri="{FF2B5EF4-FFF2-40B4-BE49-F238E27FC236}">
                  <a16:creationId xmlns:a16="http://schemas.microsoft.com/office/drawing/2014/main" id="{F86FF486-2CDB-D2FB-944A-0A9424CA9EA7}"/>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315">
              <a:extLst>
                <a:ext uri="{FF2B5EF4-FFF2-40B4-BE49-F238E27FC236}">
                  <a16:creationId xmlns:a16="http://schemas.microsoft.com/office/drawing/2014/main" id="{987C15D3-BB11-1BEA-F655-23301D462541}"/>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2" name="Group 263">
            <a:extLst>
              <a:ext uri="{FF2B5EF4-FFF2-40B4-BE49-F238E27FC236}">
                <a16:creationId xmlns:a16="http://schemas.microsoft.com/office/drawing/2014/main" id="{159CA356-D6F3-6652-2CD1-BAC4D078E996}"/>
              </a:ext>
            </a:extLst>
          </p:cNvPr>
          <p:cNvGrpSpPr/>
          <p:nvPr/>
        </p:nvGrpSpPr>
        <p:grpSpPr>
          <a:xfrm>
            <a:off x="7004854" y="5217097"/>
            <a:ext cx="361541" cy="224632"/>
            <a:chOff x="-5861198" y="8530705"/>
            <a:chExt cx="441325" cy="331788"/>
          </a:xfrm>
          <a:solidFill>
            <a:schemeClr val="accent3"/>
          </a:solidFill>
        </p:grpSpPr>
        <p:sp>
          <p:nvSpPr>
            <p:cNvPr id="33" name="Freeform 181">
              <a:extLst>
                <a:ext uri="{FF2B5EF4-FFF2-40B4-BE49-F238E27FC236}">
                  <a16:creationId xmlns:a16="http://schemas.microsoft.com/office/drawing/2014/main" id="{AEBAC970-7995-3DE0-8E1F-BF85891B057F}"/>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182">
              <a:extLst>
                <a:ext uri="{FF2B5EF4-FFF2-40B4-BE49-F238E27FC236}">
                  <a16:creationId xmlns:a16="http://schemas.microsoft.com/office/drawing/2014/main" id="{9CBB6656-1768-B22E-0824-4D3D7ED882C8}"/>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5" name="Google Shape;1732;p23">
            <a:extLst>
              <a:ext uri="{FF2B5EF4-FFF2-40B4-BE49-F238E27FC236}">
                <a16:creationId xmlns:a16="http://schemas.microsoft.com/office/drawing/2014/main" id="{7977B2A6-01AC-06B4-61D1-84ACE6B1F1A7}"/>
              </a:ext>
            </a:extLst>
          </p:cNvPr>
          <p:cNvSpPr/>
          <p:nvPr/>
        </p:nvSpPr>
        <p:spPr>
          <a:xfrm>
            <a:off x="7375507" y="5575032"/>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3 mois</a:t>
            </a:r>
          </a:p>
        </p:txBody>
      </p:sp>
      <p:sp>
        <p:nvSpPr>
          <p:cNvPr id="36" name="Google Shape;1732;p23">
            <a:extLst>
              <a:ext uri="{FF2B5EF4-FFF2-40B4-BE49-F238E27FC236}">
                <a16:creationId xmlns:a16="http://schemas.microsoft.com/office/drawing/2014/main" id="{33AD694E-5A99-1CE7-9B6E-918F4CF4E568}"/>
              </a:ext>
            </a:extLst>
          </p:cNvPr>
          <p:cNvSpPr/>
          <p:nvPr/>
        </p:nvSpPr>
        <p:spPr>
          <a:xfrm>
            <a:off x="7375507" y="5164449"/>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Tx/>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a:t>
            </a:r>
          </a:p>
        </p:txBody>
      </p:sp>
      <p:sp>
        <p:nvSpPr>
          <p:cNvPr id="2" name="Titre 1">
            <a:extLst>
              <a:ext uri="{FF2B5EF4-FFF2-40B4-BE49-F238E27FC236}">
                <a16:creationId xmlns:a16="http://schemas.microsoft.com/office/drawing/2014/main" id="{72944CEC-F57A-3FFE-2593-74DA173ACB5F}"/>
              </a:ext>
            </a:extLst>
          </p:cNvPr>
          <p:cNvSpPr txBox="1">
            <a:spLocks/>
          </p:cNvSpPr>
          <p:nvPr/>
        </p:nvSpPr>
        <p:spPr>
          <a:xfrm>
            <a:off x="396654" y="141709"/>
            <a:ext cx="10235903"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solidFill>
                  <a:schemeClr val="bg2"/>
                </a:solidFill>
                <a:latin typeface="Arial Black" panose="020B0A04020102020204" pitchFamily="34" charset="0"/>
              </a:rPr>
              <a:t>EXTRAIT DE NOS RÉFÉRENCES LES PLUS RÉCENTES AUTOUR DE L’EFFICACITÉ OPÉRATIONNELLE ET LA REFONTE D’ORGANISATION – ASSURANCE </a:t>
            </a:r>
            <a:endParaRPr lang="fr-FR" sz="1800" kern="0"/>
          </a:p>
        </p:txBody>
      </p:sp>
    </p:spTree>
    <p:extLst>
      <p:ext uri="{BB962C8B-B14F-4D97-AF65-F5344CB8AC3E}">
        <p14:creationId xmlns:p14="http://schemas.microsoft.com/office/powerpoint/2010/main" val="4212703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ableau 65">
            <a:extLst>
              <a:ext uri="{FF2B5EF4-FFF2-40B4-BE49-F238E27FC236}">
                <a16:creationId xmlns:a16="http://schemas.microsoft.com/office/drawing/2014/main" id="{8B4DDF8D-5451-4B9A-BCF8-057011D0841C}"/>
              </a:ext>
            </a:extLst>
          </p:cNvPr>
          <p:cNvGraphicFramePr>
            <a:graphicFrameLocks noGrp="1"/>
          </p:cNvGraphicFramePr>
          <p:nvPr>
            <p:extLst>
              <p:ext uri="{D42A27DB-BD31-4B8C-83A1-F6EECF244321}">
                <p14:modId xmlns:p14="http://schemas.microsoft.com/office/powerpoint/2010/main" val="3633920758"/>
              </p:ext>
            </p:extLst>
          </p:nvPr>
        </p:nvGraphicFramePr>
        <p:xfrm>
          <a:off x="382953" y="1054769"/>
          <a:ext cx="11809044" cy="5513308"/>
        </p:xfrm>
        <a:graphic>
          <a:graphicData uri="http://schemas.openxmlformats.org/drawingml/2006/table">
            <a:tbl>
              <a:tblPr firstRow="1" bandRow="1"/>
              <a:tblGrid>
                <a:gridCol w="1345474">
                  <a:extLst>
                    <a:ext uri="{9D8B030D-6E8A-4147-A177-3AD203B41FA5}">
                      <a16:colId xmlns:a16="http://schemas.microsoft.com/office/drawing/2014/main" val="2505426924"/>
                    </a:ext>
                  </a:extLst>
                </a:gridCol>
                <a:gridCol w="5305374">
                  <a:extLst>
                    <a:ext uri="{9D8B030D-6E8A-4147-A177-3AD203B41FA5}">
                      <a16:colId xmlns:a16="http://schemas.microsoft.com/office/drawing/2014/main" val="1872659120"/>
                    </a:ext>
                  </a:extLst>
                </a:gridCol>
                <a:gridCol w="1761813">
                  <a:extLst>
                    <a:ext uri="{9D8B030D-6E8A-4147-A177-3AD203B41FA5}">
                      <a16:colId xmlns:a16="http://schemas.microsoft.com/office/drawing/2014/main" val="1758442751"/>
                    </a:ext>
                  </a:extLst>
                </a:gridCol>
                <a:gridCol w="3396383">
                  <a:extLst>
                    <a:ext uri="{9D8B030D-6E8A-4147-A177-3AD203B41FA5}">
                      <a16:colId xmlns:a16="http://schemas.microsoft.com/office/drawing/2014/main" val="512341910"/>
                    </a:ext>
                  </a:extLst>
                </a:gridCol>
              </a:tblGrid>
              <a:tr h="264614">
                <a:tc gridSpan="2">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1219110" rtl="0" eaLnBrk="1" fontAlgn="auto" latinLnBrk="0" hangingPunct="1">
                        <a:lnSpc>
                          <a:spcPct val="100000"/>
                        </a:lnSpc>
                        <a:spcBef>
                          <a:spcPts val="0"/>
                        </a:spcBef>
                        <a:spcAft>
                          <a:spcPts val="0"/>
                        </a:spcAft>
                        <a:buClrTx/>
                        <a:buSzTx/>
                        <a:buFontTx/>
                        <a:buNone/>
                        <a:tabLst/>
                        <a:defRPr/>
                      </a:pPr>
                      <a:r>
                        <a:rPr lang="fr-FR" sz="1400" b="1">
                          <a:solidFill>
                            <a:schemeClr val="accent4"/>
                          </a:solidFill>
                          <a:latin typeface="+mj-lt"/>
                        </a:rPr>
                        <a:t>Quelques exemples d’interventions </a:t>
                      </a:r>
                    </a:p>
                  </a:txBody>
                  <a:tcPr marL="88110" marR="88110" marT="44055" marB="44055">
                    <a:lnL>
                      <a:noFill/>
                    </a:lnL>
                    <a:lnR>
                      <a:noFill/>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fr-FR" sz="1000" b="0" i="0" u="none" strike="noStrike" cap="none">
                        <a:solidFill>
                          <a:schemeClr val="tx1"/>
                        </a:solidFill>
                        <a:latin typeface="Montserrat" panose="00000500000000000000" pitchFamily="2" charset="0"/>
                        <a:ea typeface="+mn-ea"/>
                        <a:cs typeface="+mn-cs"/>
                        <a:sym typeface="Roboto"/>
                      </a:endParaRPr>
                    </a:p>
                  </a:txBody>
                  <a:tcPr marL="88110" marR="88110" marT="44055" marB="44055" anchor="ctr">
                    <a:lnL>
                      <a:noFill/>
                    </a:lnL>
                    <a:lnR>
                      <a:noFill/>
                    </a:lnR>
                    <a:lnT w="9525"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b="1" i="0" u="none" strike="noStrike" cap="none">
                          <a:solidFill>
                            <a:schemeClr val="accent4"/>
                          </a:solidFill>
                          <a:latin typeface="+mj-lt"/>
                          <a:ea typeface="+mn-ea"/>
                          <a:cs typeface="+mn-cs"/>
                          <a:sym typeface="Roboto"/>
                        </a:rPr>
                        <a:t>Certification / Durée</a:t>
                      </a:r>
                    </a:p>
                  </a:txBody>
                  <a:tcPr marL="88110" marR="36000" marT="44055" marB="44055" anchor="ctr">
                    <a:lnL>
                      <a:noFill/>
                    </a:lnL>
                    <a:lnR>
                      <a:noFill/>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b="1" i="0" u="none" strike="noStrike" cap="none">
                          <a:solidFill>
                            <a:schemeClr val="accent4"/>
                          </a:solidFill>
                          <a:latin typeface="+mj-lt"/>
                          <a:ea typeface="+mn-ea"/>
                          <a:cs typeface="+mn-cs"/>
                          <a:sym typeface="Roboto"/>
                        </a:rPr>
                        <a:t>Gains clients et résultats</a:t>
                      </a:r>
                    </a:p>
                  </a:txBody>
                  <a:tcPr marL="88110" marR="88110" marT="44055" marB="44055" anchor="ctr">
                    <a:lnL>
                      <a:noFill/>
                    </a:lnL>
                    <a:lnR>
                      <a:noFill/>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57852"/>
                  </a:ext>
                </a:extLst>
              </a:tr>
              <a:tr h="902400">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j-lt"/>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altLang="fr-FR" sz="1000" b="1" i="0" u="none" strike="noStrike" kern="1200" cap="none" noProof="0">
                          <a:solidFill>
                            <a:schemeClr val="bg2">
                              <a:lumMod val="10000"/>
                            </a:schemeClr>
                          </a:solidFill>
                          <a:latin typeface="+mj-lt"/>
                          <a:ea typeface="+mn-ea"/>
                          <a:cs typeface="+mn-cs"/>
                          <a:sym typeface="Arial"/>
                        </a:rPr>
                        <a:t>Harmonisation et simplification de processus</a:t>
                      </a:r>
                      <a:endParaRPr lang="fr-FR" sz="1000" b="1" i="0" u="none" strike="noStrike" kern="1200" cap="none" noProof="0">
                        <a:solidFill>
                          <a:schemeClr val="bg2">
                            <a:lumMod val="10000"/>
                          </a:schemeClr>
                        </a:solidFill>
                        <a:latin typeface="+mj-lt"/>
                        <a:ea typeface="+mn-ea"/>
                        <a:cs typeface="+mn-cs"/>
                        <a:sym typeface="Arial"/>
                      </a:endParaRP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lang="fr-FR" sz="900" b="0" i="0" u="none" strike="noStrike" kern="0" cap="none" spc="0" normalizeH="0" baseline="0" noProof="0">
                          <a:ln>
                            <a:noFill/>
                          </a:ln>
                          <a:solidFill>
                            <a:schemeClr val="bg2">
                              <a:lumMod val="10000"/>
                            </a:schemeClr>
                          </a:solidFill>
                          <a:effectLst/>
                          <a:uLnTx/>
                          <a:uFillTx/>
                          <a:latin typeface="+mj-lt"/>
                        </a:rPr>
                        <a:t>A</a:t>
                      </a: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nalyse et simplification des processus de gestion entre les différents services et les différents sites</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Redéfinition des rôles et responsabilités des services</a:t>
                      </a:r>
                    </a:p>
                    <a:p>
                      <a:pPr marL="171450" marR="0" lvl="0" indent="-171450" algn="l" defTabSz="1219110" rtl="0" eaLnBrk="1" fontAlgn="auto" latinLnBrk="0" hangingPunct="1">
                        <a:lnSpc>
                          <a:spcPct val="100000"/>
                        </a:lnSpc>
                        <a:spcBef>
                          <a:spcPts val="0"/>
                        </a:spcBef>
                        <a:spcAft>
                          <a:spcPts val="0"/>
                        </a:spcAft>
                        <a:buClr>
                          <a:srgbClr val="0029CC"/>
                        </a:buClr>
                        <a:buSzTx/>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j-lt"/>
                          <a:ea typeface="Open Sans"/>
                          <a:cs typeface="Calibri"/>
                          <a:sym typeface="Arial"/>
                        </a:rPr>
                        <a:t>Formalisation d’un plan d’action</a:t>
                      </a: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fr-FR">
                        <a:latin typeface="+mj-l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0170" marR="0" lvl="0" indent="-9017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7 processus modélisés et analysés</a:t>
                      </a:r>
                    </a:p>
                    <a:p>
                      <a:pPr marL="90170" marR="0" lvl="0" indent="-9017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64 plans d’actions identifiés autour de sujets liés aux : </a:t>
                      </a:r>
                    </a:p>
                    <a:p>
                      <a:pPr marL="90170" marR="0" lvl="0" indent="-9017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Processus (méthode, savoir-faire, gouvernance, rôles et responsabilités)</a:t>
                      </a:r>
                    </a:p>
                    <a:p>
                      <a:pPr marL="90170" marR="0" lvl="0" indent="-9017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Outils</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2381359"/>
                  </a:ext>
                </a:extLst>
              </a:tr>
              <a:tr h="749509">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j-lt"/>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a:solidFill>
                            <a:schemeClr val="bg2">
                              <a:lumMod val="10000"/>
                            </a:schemeClr>
                          </a:solidFill>
                          <a:latin typeface="+mj-lt"/>
                        </a:rPr>
                        <a:t>OPC – Améliorer la performance opérationnelle des processus et de l’organisation Crédits aux Collectivités Publiques</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900">
                          <a:solidFill>
                            <a:schemeClr val="bg2">
                              <a:lumMod val="10000"/>
                            </a:schemeClr>
                          </a:solidFill>
                          <a:latin typeface="+mj-lt"/>
                        </a:rPr>
                        <a:t>Reengineering des processus, analyse des organisations sur le périmètre MO et BO, proposition de solutions sur les 2 dimensions (processus et structures) permettant d’atteindre les gains d’efficacité et réaliser des économies de coûts</a:t>
                      </a: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1050" b="0" i="0" u="none" strike="noStrike" cap="none">
                        <a:solidFill>
                          <a:schemeClr val="bg2">
                            <a:lumMod val="10000"/>
                          </a:schemeClr>
                        </a:solidFill>
                        <a:latin typeface="+mj-lt"/>
                        <a:ea typeface="+mn-ea"/>
                        <a:cs typeface="+mn-cs"/>
                        <a:sym typeface="Roboto"/>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488" marR="0" lvl="0" indent="-90488"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5 processus FO to BO optimisés et 4 robots déployés</a:t>
                      </a:r>
                    </a:p>
                    <a:p>
                      <a:pPr marL="90488" marR="0" lvl="0" indent="-90488"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Un Target Operating Model MO BO </a:t>
                      </a:r>
                    </a:p>
                    <a:p>
                      <a:pPr marL="90488" marR="0" lvl="0" indent="-90488"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lang="fr-FR" sz="900" b="0" i="0" u="none" strike="noStrike" cap="none">
                          <a:solidFill>
                            <a:schemeClr val="bg2">
                              <a:lumMod val="10000"/>
                            </a:schemeClr>
                          </a:solidFill>
                          <a:latin typeface="+mj-lt"/>
                          <a:ea typeface="+mn-ea"/>
                          <a:cs typeface="+mn-cs"/>
                          <a:sym typeface="Roboto"/>
                        </a:rPr>
                        <a:t>Des gains de productivité de 11% à fin 2020 et ≈ 30% à horizons 2022 (en ETP budgétaires)</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099082"/>
                  </a:ext>
                </a:extLst>
              </a:tr>
              <a:tr h="795799">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j-lt"/>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kern="1200">
                          <a:solidFill>
                            <a:schemeClr val="bg2">
                              <a:lumMod val="10000"/>
                            </a:schemeClr>
                          </a:solidFill>
                          <a:latin typeface="+mj-lt"/>
                          <a:ea typeface="+mn-ea"/>
                          <a:cs typeface="+mn-cs"/>
                        </a:rPr>
                        <a:t>BDDF Opérations – Programme #2020 : Transformer le modèle opérationnel des Back-offices Financements &amp; Tenue de Compte </a:t>
                      </a:r>
                      <a:r>
                        <a:rPr lang="fr-FR" sz="900" b="0">
                          <a:solidFill>
                            <a:schemeClr val="bg2">
                              <a:lumMod val="10000"/>
                            </a:schemeClr>
                          </a:solidFill>
                          <a:latin typeface="+mj-lt"/>
                        </a:rPr>
                        <a:t>(27 back offices Particuliers, Professionnels et Entreprises </a:t>
                      </a:r>
                      <a:r>
                        <a:rPr lang="fr-FR" sz="900" b="0">
                          <a:solidFill>
                            <a:schemeClr val="bg2">
                              <a:lumMod val="10000"/>
                            </a:schemeClr>
                          </a:solidFill>
                          <a:latin typeface="+mj-lt"/>
                          <a:sym typeface="Wingdings" panose="05000000000000000000" pitchFamily="2" charset="2"/>
                        </a:rPr>
                        <a:t></a:t>
                      </a:r>
                      <a:r>
                        <a:rPr lang="fr-FR" sz="900" b="0">
                          <a:solidFill>
                            <a:schemeClr val="bg2">
                              <a:lumMod val="10000"/>
                            </a:schemeClr>
                          </a:solidFill>
                          <a:latin typeface="+mj-lt"/>
                        </a:rPr>
                        <a:t> 2 000 collaborateurs) </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900">
                          <a:solidFill>
                            <a:schemeClr val="bg2">
                              <a:lumMod val="10000"/>
                            </a:schemeClr>
                          </a:solidFill>
                          <a:latin typeface="+mj-lt"/>
                        </a:rPr>
                        <a:t>Diagnostic de l’existant, benchmark performance inter-sites, définition du TOM des back-offices, réalisation du parcours social et accompagnement de la mise en œuvre de l’organisation cible, B-Case et ROI projet (gains ETP sur 3 ans)</a:t>
                      </a: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Arial"/>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Sécurisation des compétences (création de pôle de compétences mutualisés)</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rPr>
                        <a:t>Reconversion de 30% des assistants et gains de productivité de 8% à 10% (ETP)</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Baisse des coûts </a:t>
                      </a:r>
                      <a:r>
                        <a:rPr lang="fr-FR" sz="900" b="0" i="0" u="none" strike="noStrike" kern="1200" cap="none">
                          <a:solidFill>
                            <a:schemeClr val="bg2">
                              <a:lumMod val="10000"/>
                            </a:schemeClr>
                          </a:solidFill>
                          <a:latin typeface="+mj-lt"/>
                          <a:ea typeface="+mn-ea"/>
                          <a:cs typeface="+mn-cs"/>
                          <a:sym typeface="Montserrat"/>
                        </a:rPr>
                        <a:t>des ressources non pérennes </a:t>
                      </a:r>
                      <a:r>
                        <a:rPr lang="fr-FR" sz="900" b="0" i="0" u="none" strike="noStrike" kern="1200" cap="none">
                          <a:solidFill>
                            <a:schemeClr val="bg2">
                              <a:lumMod val="10000"/>
                            </a:schemeClr>
                          </a:solidFill>
                          <a:latin typeface="+mj-lt"/>
                          <a:ea typeface="+mn-ea"/>
                          <a:cs typeface="+mn-cs"/>
                          <a:sym typeface="Arial"/>
                        </a:rPr>
                        <a:t>de 8% </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4168472"/>
                  </a:ext>
                </a:extLst>
              </a:tr>
              <a:tr h="583739">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j-lt"/>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kern="1200">
                          <a:solidFill>
                            <a:schemeClr val="bg2">
                              <a:lumMod val="10000"/>
                            </a:schemeClr>
                          </a:solidFill>
                          <a:latin typeface="+mj-lt"/>
                          <a:ea typeface="+mn-ea"/>
                          <a:cs typeface="+mn-cs"/>
                        </a:rPr>
                        <a:t>Réinventer le modèle organisationnel des activités M.O dans une logique d’efficacité, de qualité de service et d’optimisation des coûts</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900" kern="1200">
                          <a:solidFill>
                            <a:schemeClr val="bg2">
                              <a:lumMod val="10000"/>
                            </a:schemeClr>
                          </a:solidFill>
                          <a:latin typeface="+mj-lt"/>
                          <a:ea typeface="+mn-ea"/>
                          <a:cs typeface="+mn-cs"/>
                          <a:sym typeface="Montserrat"/>
                        </a:rPr>
                        <a:t>Diagnostic 360° des structures MO et BO, définition des principes de transformation du dispositif et conception du TOM, pilotage de la transformation et accompagnement de la réorganisation de sites</a:t>
                      </a:r>
                      <a:endParaRPr lang="fr-FR" sz="1050" b="1" kern="1200">
                        <a:solidFill>
                          <a:schemeClr val="bg2">
                            <a:lumMod val="10000"/>
                          </a:schemeClr>
                        </a:solidFill>
                        <a:latin typeface="+mj-lt"/>
                        <a:ea typeface="+mn-ea"/>
                        <a:cs typeface="+mn-cs"/>
                        <a:sym typeface="Roboto"/>
                      </a:endParaRP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Allègement des intervenants sur des processus / parcours du client (MO et BO)</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Amélioration de la lisibilité des points de contacts pour le client en fonction des types de demandes</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Gains de productivité de ≈ 10%  (en ETP)</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237951"/>
                  </a:ext>
                </a:extLst>
              </a:tr>
              <a:tr h="848038">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endParaRPr lang="fr-FR" sz="1100">
                        <a:solidFill>
                          <a:schemeClr val="bg2">
                            <a:lumMod val="10000"/>
                          </a:schemeClr>
                        </a:solidFill>
                        <a:latin typeface="+mj-lt"/>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kern="1200">
                          <a:solidFill>
                            <a:schemeClr val="bg2">
                              <a:lumMod val="10000"/>
                            </a:schemeClr>
                          </a:solidFill>
                          <a:latin typeface="+mj-lt"/>
                          <a:ea typeface="+mn-ea"/>
                          <a:cs typeface="+mn-cs"/>
                        </a:rPr>
                        <a:t>Améliorer la performance de la filière Crédit Immobilier en termes de processus, d’organisation et de pilotage</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900" kern="1200">
                          <a:solidFill>
                            <a:schemeClr val="bg2">
                              <a:lumMod val="10000"/>
                            </a:schemeClr>
                          </a:solidFill>
                          <a:latin typeface="+mj-lt"/>
                          <a:ea typeface="+mn-ea"/>
                          <a:cs typeface="+mn-cs"/>
                          <a:sym typeface="Montserrat"/>
                        </a:rPr>
                        <a:t>Reengineering des processus EtoE FO to BO par une approche participative, diagnostic flash de l’organisation Crédit Immobilier, identification des leviers d’optimisation, lotissement de 8 chantiers et pilotage de la phase préparatoire de mise en œuvre sur l’ensemble des chantiers</a:t>
                      </a:r>
                      <a:endParaRPr lang="fr-FR" sz="1050" b="1" kern="1200">
                        <a:solidFill>
                          <a:schemeClr val="bg2">
                            <a:lumMod val="10000"/>
                          </a:schemeClr>
                        </a:solidFill>
                        <a:latin typeface="+mj-lt"/>
                        <a:ea typeface="+mn-ea"/>
                        <a:cs typeface="+mn-cs"/>
                        <a:sym typeface="Roboto"/>
                      </a:endParaRP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Vision claire et complète sur les chantiers à mener avec les actions prioritaires à lancer (dont quick wins) </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Roboto"/>
                        </a:rPr>
                        <a:t>Des chantiers cadrés (objectifs, actions &amp; KPI, plannings, livrables attendus)</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Gains de productivité de ≈ 10%  (en ETP)</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9634836"/>
                  </a:ext>
                </a:extLst>
              </a:tr>
              <a:tr h="848038">
                <a:tc>
                  <a:txBody>
                    <a:bodyPr/>
                    <a:lstStyle/>
                    <a:p>
                      <a:endParaRPr lang="fr-FR" sz="1100">
                        <a:solidFill>
                          <a:schemeClr val="bg2">
                            <a:lumMod val="10000"/>
                          </a:schemeClr>
                        </a:solidFill>
                        <a:latin typeface="+mj-lt"/>
                      </a:endParaRPr>
                    </a:p>
                  </a:txBody>
                  <a:tcPr marL="88110" marR="88110"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1000" b="1" kern="1200">
                          <a:solidFill>
                            <a:schemeClr val="bg2">
                              <a:lumMod val="10000"/>
                            </a:schemeClr>
                          </a:solidFill>
                          <a:latin typeface="+mj-lt"/>
                          <a:ea typeface="+mn-ea"/>
                          <a:cs typeface="+mn-cs"/>
                          <a:sym typeface="Arial"/>
                        </a:rPr>
                        <a:t>BDDF Retail – Pôle Marketing Digital : Transformer le modèle opérationnel dans une optique d’a</a:t>
                      </a:r>
                      <a:r>
                        <a:rPr lang="fr-FR" sz="1000" b="1" kern="1200">
                          <a:solidFill>
                            <a:schemeClr val="bg2">
                              <a:lumMod val="10000"/>
                            </a:schemeClr>
                          </a:solidFill>
                          <a:latin typeface="+mj-lt"/>
                          <a:ea typeface="+mn-ea"/>
                          <a:cs typeface="+mn-cs"/>
                        </a:rPr>
                        <a:t>mélioration de la chaîne de valeur digitale </a:t>
                      </a:r>
                    </a:p>
                    <a:p>
                      <a:pPr marL="0" marR="0" lvl="0" indent="0" algn="l" defTabSz="822960" rtl="0" eaLnBrk="1" fontAlgn="auto" latinLnBrk="0" hangingPunct="1">
                        <a:lnSpc>
                          <a:spcPct val="100000"/>
                        </a:lnSpc>
                        <a:spcBef>
                          <a:spcPts val="0"/>
                        </a:spcBef>
                        <a:spcAft>
                          <a:spcPts val="0"/>
                        </a:spcAft>
                        <a:buClr>
                          <a:srgbClr val="366092"/>
                        </a:buClr>
                        <a:buSzPct val="25000"/>
                        <a:buFont typeface="Arial"/>
                        <a:buNone/>
                        <a:tabLst/>
                        <a:defRPr/>
                      </a:pPr>
                      <a:r>
                        <a:rPr lang="fr-FR" sz="900" b="0" kern="1200">
                          <a:solidFill>
                            <a:schemeClr val="bg2">
                              <a:lumMod val="10000"/>
                            </a:schemeClr>
                          </a:solidFill>
                          <a:latin typeface="+mj-lt"/>
                          <a:ea typeface="+mn-ea"/>
                          <a:cs typeface="+mn-cs"/>
                        </a:rPr>
                        <a:t>Définition de la chaîne de valeur de référence d’un projet digital et gap analysis avec la CdV  existante, identification des axes d’évolution et projection des processus cibles, redéfinition des missions et des fonctions des acteurs, </a:t>
                      </a:r>
                      <a:r>
                        <a:rPr lang="fr-FR" sz="900" kern="1200">
                          <a:solidFill>
                            <a:schemeClr val="bg2">
                              <a:lumMod val="10000"/>
                            </a:schemeClr>
                          </a:solidFill>
                          <a:latin typeface="+mj-lt"/>
                          <a:ea typeface="+mn-ea"/>
                          <a:cs typeface="+mn-cs"/>
                        </a:rPr>
                        <a:t>proposition d’une organisation cible en lien avec ces évolutions</a:t>
                      </a:r>
                      <a:endParaRPr lang="fr-FR" sz="900" b="1" kern="1200">
                        <a:solidFill>
                          <a:schemeClr val="bg2">
                            <a:lumMod val="10000"/>
                          </a:schemeClr>
                        </a:solidFill>
                        <a:latin typeface="+mj-lt"/>
                        <a:ea typeface="+mn-ea"/>
                        <a:cs typeface="+mn-cs"/>
                        <a:sym typeface="Arial"/>
                      </a:endParaRPr>
                    </a:p>
                  </a:txBody>
                  <a:tcPr marL="88110" marR="88110" marT="44055" marB="44055" anchor="ctr">
                    <a:lnL>
                      <a:noFill/>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endParaRPr lang="fr-FR" sz="1050" b="0" i="0" u="none" strike="noStrike" kern="1200" cap="none">
                        <a:solidFill>
                          <a:schemeClr val="bg2">
                            <a:lumMod val="10000"/>
                          </a:schemeClr>
                        </a:solidFill>
                        <a:latin typeface="+mj-lt"/>
                        <a:ea typeface="+mn-ea"/>
                        <a:cs typeface="+mn-cs"/>
                        <a:sym typeface="Montserrat"/>
                      </a:endParaRP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219110" rtl="0" eaLnBrk="1" latinLnBrk="0" hangingPunct="1">
                        <a:defRPr sz="2400" kern="1200">
                          <a:solidFill>
                            <a:schemeClr val="tx1"/>
                          </a:solidFill>
                          <a:latin typeface="Arial"/>
                        </a:defRPr>
                      </a:lvl1pPr>
                      <a:lvl2pPr marL="609555" algn="l" defTabSz="1219110" rtl="0" eaLnBrk="1" latinLnBrk="0" hangingPunct="1">
                        <a:defRPr sz="2400" kern="1200">
                          <a:solidFill>
                            <a:schemeClr val="tx1"/>
                          </a:solidFill>
                          <a:latin typeface="Arial"/>
                        </a:defRPr>
                      </a:lvl2pPr>
                      <a:lvl3pPr marL="1219110" algn="l" defTabSz="1219110" rtl="0" eaLnBrk="1" latinLnBrk="0" hangingPunct="1">
                        <a:defRPr sz="2400" kern="1200">
                          <a:solidFill>
                            <a:schemeClr val="tx1"/>
                          </a:solidFill>
                          <a:latin typeface="Arial"/>
                        </a:defRPr>
                      </a:lvl3pPr>
                      <a:lvl4pPr marL="1828664" algn="l" defTabSz="1219110" rtl="0" eaLnBrk="1" latinLnBrk="0" hangingPunct="1">
                        <a:defRPr sz="2400" kern="1200">
                          <a:solidFill>
                            <a:schemeClr val="tx1"/>
                          </a:solidFill>
                          <a:latin typeface="Arial"/>
                        </a:defRPr>
                      </a:lvl4pPr>
                      <a:lvl5pPr marL="2438218" algn="l" defTabSz="1219110" rtl="0" eaLnBrk="1" latinLnBrk="0" hangingPunct="1">
                        <a:defRPr sz="2400" kern="1200">
                          <a:solidFill>
                            <a:schemeClr val="tx1"/>
                          </a:solidFill>
                          <a:latin typeface="Arial"/>
                        </a:defRPr>
                      </a:lvl5pPr>
                      <a:lvl6pPr marL="3047772" algn="l" defTabSz="1219110" rtl="0" eaLnBrk="1" latinLnBrk="0" hangingPunct="1">
                        <a:defRPr sz="2400" kern="1200">
                          <a:solidFill>
                            <a:schemeClr val="tx1"/>
                          </a:solidFill>
                          <a:latin typeface="Arial"/>
                        </a:defRPr>
                      </a:lvl6pPr>
                      <a:lvl7pPr marL="3657327" algn="l" defTabSz="1219110" rtl="0" eaLnBrk="1" latinLnBrk="0" hangingPunct="1">
                        <a:defRPr sz="2400" kern="1200">
                          <a:solidFill>
                            <a:schemeClr val="tx1"/>
                          </a:solidFill>
                          <a:latin typeface="Arial"/>
                        </a:defRPr>
                      </a:lvl7pPr>
                      <a:lvl8pPr marL="4266880" algn="l" defTabSz="1219110" rtl="0" eaLnBrk="1" latinLnBrk="0" hangingPunct="1">
                        <a:defRPr sz="2400" kern="1200">
                          <a:solidFill>
                            <a:schemeClr val="tx1"/>
                          </a:solidFill>
                          <a:latin typeface="Arial"/>
                        </a:defRPr>
                      </a:lvl8pPr>
                      <a:lvl9pPr marL="4876435" algn="l" defTabSz="1219110" rtl="0" eaLnBrk="1" latinLnBrk="0" hangingPunct="1">
                        <a:defRPr sz="2400" kern="1200">
                          <a:solidFill>
                            <a:schemeClr val="tx1"/>
                          </a:solidFill>
                          <a:latin typeface="Arial"/>
                        </a:defRPr>
                      </a:lvl9pPr>
                    </a:lstStyle>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Refonte des processus conception digitale</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Identification des compétences  incontournables des étapes de la CdV</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Arial"/>
                        </a:rPr>
                        <a:t>Une organisation cible et des nouvelles missions et fonctions Marketing Digital</a:t>
                      </a:r>
                    </a:p>
                    <a:p>
                      <a:pPr marL="90488" marR="0" lvl="0" indent="-90488" algn="l" defTabSz="822960" rtl="0" eaLnBrk="1" fontAlgn="auto" latinLnBrk="0" hangingPunct="1">
                        <a:lnSpc>
                          <a:spcPct val="100000"/>
                        </a:lnSpc>
                        <a:spcBef>
                          <a:spcPts val="0"/>
                        </a:spcBef>
                        <a:spcAft>
                          <a:spcPts val="0"/>
                        </a:spcAft>
                        <a:buClrTx/>
                        <a:buSzPct val="100000"/>
                        <a:buFont typeface="Montserrat" panose="00000500000000000000" pitchFamily="2" charset="0"/>
                        <a:buChar char="›"/>
                        <a:tabLst/>
                        <a:defRPr/>
                      </a:pPr>
                      <a:r>
                        <a:rPr lang="fr-FR" sz="900" b="0" i="0" u="none" strike="noStrike" kern="1200" cap="none">
                          <a:solidFill>
                            <a:schemeClr val="bg2">
                              <a:lumMod val="10000"/>
                            </a:schemeClr>
                          </a:solidFill>
                          <a:latin typeface="+mj-lt"/>
                          <a:ea typeface="+mn-ea"/>
                          <a:cs typeface="+mn-cs"/>
                          <a:sym typeface="Montserrat"/>
                        </a:rPr>
                        <a:t>Gains de productivité de 8%  (en ETP)</a:t>
                      </a:r>
                    </a:p>
                  </a:txBody>
                  <a:tcPr marL="88110" marR="88110" marT="44055" marB="44055" anchor="ctr">
                    <a:lnL>
                      <a:noFill/>
                    </a:lnL>
                    <a:lnR w="9525" cap="flat" cmpd="sng" algn="ctr">
                      <a:noFill/>
                      <a:prstDash val="solid"/>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666786"/>
                  </a:ext>
                </a:extLst>
              </a:tr>
            </a:tbl>
          </a:graphicData>
        </a:graphic>
      </p:graphicFrame>
      <p:pic>
        <p:nvPicPr>
          <p:cNvPr id="73" name="Picture 4" descr="RÃ©sultat de recherche d'images pour &quot;cacib logo png&quot;">
            <a:extLst>
              <a:ext uri="{FF2B5EF4-FFF2-40B4-BE49-F238E27FC236}">
                <a16:creationId xmlns:a16="http://schemas.microsoft.com/office/drawing/2014/main" id="{1F8D81BA-EBF5-4D09-BCC9-B0174B6CEC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082" y="2638607"/>
            <a:ext cx="1355142" cy="148220"/>
          </a:xfrm>
          <a:prstGeom prst="rect">
            <a:avLst/>
          </a:prstGeom>
          <a:noFill/>
          <a:extLst>
            <a:ext uri="{909E8E84-426E-40DD-AFC4-6F175D3DCCD1}">
              <a14:hiddenFill xmlns:a14="http://schemas.microsoft.com/office/drawing/2010/main">
                <a:solidFill>
                  <a:srgbClr val="FFFFFF"/>
                </a:solidFill>
              </a14:hiddenFill>
            </a:ext>
          </a:extLst>
        </p:spPr>
      </p:pic>
      <p:pic>
        <p:nvPicPr>
          <p:cNvPr id="74" name="Image 73">
            <a:extLst>
              <a:ext uri="{FF2B5EF4-FFF2-40B4-BE49-F238E27FC236}">
                <a16:creationId xmlns:a16="http://schemas.microsoft.com/office/drawing/2014/main" id="{694703C2-CC00-4981-8F0A-7D8936FC30A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60153" y="3431346"/>
            <a:ext cx="1311000" cy="368156"/>
          </a:xfrm>
          <a:prstGeom prst="rect">
            <a:avLst/>
          </a:prstGeom>
        </p:spPr>
      </p:pic>
      <p:pic>
        <p:nvPicPr>
          <p:cNvPr id="75" name="Image 74">
            <a:extLst>
              <a:ext uri="{FF2B5EF4-FFF2-40B4-BE49-F238E27FC236}">
                <a16:creationId xmlns:a16="http://schemas.microsoft.com/office/drawing/2014/main" id="{01A07623-E424-4BDE-BDB2-8AA11915889C}"/>
              </a:ext>
            </a:extLst>
          </p:cNvPr>
          <p:cNvPicPr>
            <a:picLocks noChangeAspect="1"/>
          </p:cNvPicPr>
          <p:nvPr/>
        </p:nvPicPr>
        <p:blipFill>
          <a:blip r:embed="rId5">
            <a:clrChange>
              <a:clrFrom>
                <a:srgbClr val="FEFEFE"/>
              </a:clrFrom>
              <a:clrTo>
                <a:srgbClr val="FEFEFE">
                  <a:alpha val="0"/>
                </a:srgbClr>
              </a:clrTo>
            </a:clrChange>
          </a:blip>
          <a:stretch>
            <a:fillRect/>
          </a:stretch>
        </p:blipFill>
        <p:spPr>
          <a:xfrm rot="335343">
            <a:off x="673086" y="4417953"/>
            <a:ext cx="885135" cy="281917"/>
          </a:xfrm>
          <a:prstGeom prst="rect">
            <a:avLst/>
          </a:prstGeom>
        </p:spPr>
      </p:pic>
      <p:pic>
        <p:nvPicPr>
          <p:cNvPr id="76" name="Image 75">
            <a:extLst>
              <a:ext uri="{FF2B5EF4-FFF2-40B4-BE49-F238E27FC236}">
                <a16:creationId xmlns:a16="http://schemas.microsoft.com/office/drawing/2014/main" id="{A3B1D5EA-C9C8-422A-9385-DE8DF22B732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47275" y="4123190"/>
            <a:ext cx="936756" cy="338492"/>
          </a:xfrm>
          <a:prstGeom prst="rect">
            <a:avLst/>
          </a:prstGeom>
        </p:spPr>
      </p:pic>
      <p:pic>
        <p:nvPicPr>
          <p:cNvPr id="77" name="Picture 19" descr="RÃ©sultat de recherche d'images pour &quot;bpaca&quot;">
            <a:extLst>
              <a:ext uri="{FF2B5EF4-FFF2-40B4-BE49-F238E27FC236}">
                <a16:creationId xmlns:a16="http://schemas.microsoft.com/office/drawing/2014/main" id="{D8EB3924-06D4-451A-8808-A7F2D30C36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8848" y="5085465"/>
            <a:ext cx="1513610" cy="426368"/>
          </a:xfrm>
          <a:prstGeom prst="rect">
            <a:avLst/>
          </a:prstGeom>
          <a:noFill/>
          <a:extLst>
            <a:ext uri="{909E8E84-426E-40DD-AFC4-6F175D3DCCD1}">
              <a14:hiddenFill xmlns:a14="http://schemas.microsoft.com/office/drawing/2010/main">
                <a:solidFill>
                  <a:srgbClr val="FFFFFF"/>
                </a:solidFill>
              </a14:hiddenFill>
            </a:ext>
          </a:extLst>
        </p:spPr>
      </p:pic>
      <p:pic>
        <p:nvPicPr>
          <p:cNvPr id="78" name="Image 77">
            <a:extLst>
              <a:ext uri="{FF2B5EF4-FFF2-40B4-BE49-F238E27FC236}">
                <a16:creationId xmlns:a16="http://schemas.microsoft.com/office/drawing/2014/main" id="{CE50FA31-CA5D-4595-8C40-BCE7B0E21BC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60153" y="6062858"/>
            <a:ext cx="1311000" cy="368156"/>
          </a:xfrm>
          <a:prstGeom prst="rect">
            <a:avLst/>
          </a:prstGeom>
        </p:spPr>
      </p:pic>
      <p:grpSp>
        <p:nvGrpSpPr>
          <p:cNvPr id="14" name="Group 576">
            <a:extLst>
              <a:ext uri="{FF2B5EF4-FFF2-40B4-BE49-F238E27FC236}">
                <a16:creationId xmlns:a16="http://schemas.microsoft.com/office/drawing/2014/main" id="{AC9D9286-76F9-4C86-AE4C-EA5FE66A89E8}"/>
              </a:ext>
            </a:extLst>
          </p:cNvPr>
          <p:cNvGrpSpPr/>
          <p:nvPr/>
        </p:nvGrpSpPr>
        <p:grpSpPr>
          <a:xfrm>
            <a:off x="7028515" y="2728774"/>
            <a:ext cx="284260" cy="287150"/>
            <a:chOff x="6505310" y="5389590"/>
            <a:chExt cx="781050" cy="788988"/>
          </a:xfrm>
          <a:solidFill>
            <a:schemeClr val="accent4"/>
          </a:solidFill>
        </p:grpSpPr>
        <p:sp>
          <p:nvSpPr>
            <p:cNvPr id="15" name="Freeform 314">
              <a:extLst>
                <a:ext uri="{FF2B5EF4-FFF2-40B4-BE49-F238E27FC236}">
                  <a16:creationId xmlns:a16="http://schemas.microsoft.com/office/drawing/2014/main" id="{C943EFC8-669E-4788-988F-16AD9E9C1069}"/>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315">
              <a:extLst>
                <a:ext uri="{FF2B5EF4-FFF2-40B4-BE49-F238E27FC236}">
                  <a16:creationId xmlns:a16="http://schemas.microsoft.com/office/drawing/2014/main" id="{FB6AE47B-A44B-4B81-A567-763482494FD3}"/>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 name="Group 263">
            <a:extLst>
              <a:ext uri="{FF2B5EF4-FFF2-40B4-BE49-F238E27FC236}">
                <a16:creationId xmlns:a16="http://schemas.microsoft.com/office/drawing/2014/main" id="{72ABCABD-816A-4C72-B1E0-14BA4A39FBF4}"/>
              </a:ext>
            </a:extLst>
          </p:cNvPr>
          <p:cNvGrpSpPr/>
          <p:nvPr/>
        </p:nvGrpSpPr>
        <p:grpSpPr>
          <a:xfrm>
            <a:off x="6996476" y="2407675"/>
            <a:ext cx="361541" cy="224632"/>
            <a:chOff x="-5861198" y="8530705"/>
            <a:chExt cx="441325" cy="331788"/>
          </a:xfrm>
          <a:solidFill>
            <a:schemeClr val="accent3"/>
          </a:solidFill>
        </p:grpSpPr>
        <p:sp>
          <p:nvSpPr>
            <p:cNvPr id="18" name="Freeform 181">
              <a:extLst>
                <a:ext uri="{FF2B5EF4-FFF2-40B4-BE49-F238E27FC236}">
                  <a16:creationId xmlns:a16="http://schemas.microsoft.com/office/drawing/2014/main" id="{631DE21D-9110-45C1-860F-D4B0296E8FB2}"/>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82">
              <a:extLst>
                <a:ext uri="{FF2B5EF4-FFF2-40B4-BE49-F238E27FC236}">
                  <a16:creationId xmlns:a16="http://schemas.microsoft.com/office/drawing/2014/main" id="{2D77A245-1F29-48F1-AE4B-55C5F25B488C}"/>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0" name="Google Shape;1732;p23">
            <a:extLst>
              <a:ext uri="{FF2B5EF4-FFF2-40B4-BE49-F238E27FC236}">
                <a16:creationId xmlns:a16="http://schemas.microsoft.com/office/drawing/2014/main" id="{7D1772DF-A8CA-4534-8680-DEFCE6825AF4}"/>
              </a:ext>
            </a:extLst>
          </p:cNvPr>
          <p:cNvSpPr/>
          <p:nvPr/>
        </p:nvSpPr>
        <p:spPr>
          <a:xfrm>
            <a:off x="7327383" y="2754495"/>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3 mois + 2 mois</a:t>
            </a:r>
          </a:p>
        </p:txBody>
      </p:sp>
      <p:sp>
        <p:nvSpPr>
          <p:cNvPr id="21" name="Google Shape;1732;p23">
            <a:extLst>
              <a:ext uri="{FF2B5EF4-FFF2-40B4-BE49-F238E27FC236}">
                <a16:creationId xmlns:a16="http://schemas.microsoft.com/office/drawing/2014/main" id="{4A9712BC-2492-44A1-9479-D0153480674B}"/>
              </a:ext>
            </a:extLst>
          </p:cNvPr>
          <p:cNvSpPr/>
          <p:nvPr/>
        </p:nvSpPr>
        <p:spPr>
          <a:xfrm>
            <a:off x="7386123" y="2427213"/>
            <a:ext cx="117480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a:t>
            </a:r>
          </a:p>
        </p:txBody>
      </p:sp>
      <p:grpSp>
        <p:nvGrpSpPr>
          <p:cNvPr id="22" name="Group 576">
            <a:extLst>
              <a:ext uri="{FF2B5EF4-FFF2-40B4-BE49-F238E27FC236}">
                <a16:creationId xmlns:a16="http://schemas.microsoft.com/office/drawing/2014/main" id="{B5813291-4D3C-43CC-AB78-867697258843}"/>
              </a:ext>
            </a:extLst>
          </p:cNvPr>
          <p:cNvGrpSpPr/>
          <p:nvPr/>
        </p:nvGrpSpPr>
        <p:grpSpPr>
          <a:xfrm>
            <a:off x="7046005" y="3615695"/>
            <a:ext cx="284260" cy="287150"/>
            <a:chOff x="6505310" y="5389590"/>
            <a:chExt cx="781050" cy="788988"/>
          </a:xfrm>
          <a:solidFill>
            <a:schemeClr val="accent4"/>
          </a:solidFill>
        </p:grpSpPr>
        <p:sp>
          <p:nvSpPr>
            <p:cNvPr id="23" name="Freeform 314">
              <a:extLst>
                <a:ext uri="{FF2B5EF4-FFF2-40B4-BE49-F238E27FC236}">
                  <a16:creationId xmlns:a16="http://schemas.microsoft.com/office/drawing/2014/main" id="{F09E0DE6-81EF-415B-B653-B0141CF75103}"/>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315">
              <a:extLst>
                <a:ext uri="{FF2B5EF4-FFF2-40B4-BE49-F238E27FC236}">
                  <a16:creationId xmlns:a16="http://schemas.microsoft.com/office/drawing/2014/main" id="{D50D9C48-0679-4CA0-8CEC-7A243400C1C7}"/>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 name="Group 263">
            <a:extLst>
              <a:ext uri="{FF2B5EF4-FFF2-40B4-BE49-F238E27FC236}">
                <a16:creationId xmlns:a16="http://schemas.microsoft.com/office/drawing/2014/main" id="{E06A0FE7-7E48-4C59-9FB8-E3003903BFC5}"/>
              </a:ext>
            </a:extLst>
          </p:cNvPr>
          <p:cNvGrpSpPr/>
          <p:nvPr/>
        </p:nvGrpSpPr>
        <p:grpSpPr>
          <a:xfrm>
            <a:off x="7013966" y="3249626"/>
            <a:ext cx="361541" cy="224632"/>
            <a:chOff x="-5861198" y="8530705"/>
            <a:chExt cx="441325" cy="331788"/>
          </a:xfrm>
          <a:solidFill>
            <a:schemeClr val="accent3"/>
          </a:solidFill>
        </p:grpSpPr>
        <p:sp>
          <p:nvSpPr>
            <p:cNvPr id="26" name="Freeform 181">
              <a:extLst>
                <a:ext uri="{FF2B5EF4-FFF2-40B4-BE49-F238E27FC236}">
                  <a16:creationId xmlns:a16="http://schemas.microsoft.com/office/drawing/2014/main" id="{222F9681-8AE0-494E-A664-C9ADC4432A64}"/>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182">
              <a:extLst>
                <a:ext uri="{FF2B5EF4-FFF2-40B4-BE49-F238E27FC236}">
                  <a16:creationId xmlns:a16="http://schemas.microsoft.com/office/drawing/2014/main" id="{B12DE2EB-84B0-4EEA-B32C-F0C252E5A92B}"/>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8" name="Google Shape;1732;p23">
            <a:extLst>
              <a:ext uri="{FF2B5EF4-FFF2-40B4-BE49-F238E27FC236}">
                <a16:creationId xmlns:a16="http://schemas.microsoft.com/office/drawing/2014/main" id="{016D43FE-C605-4F5D-B68F-F4D82B931A91}"/>
              </a:ext>
            </a:extLst>
          </p:cNvPr>
          <p:cNvSpPr/>
          <p:nvPr/>
        </p:nvSpPr>
        <p:spPr>
          <a:xfrm>
            <a:off x="7327383" y="3656406"/>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18 mois</a:t>
            </a:r>
          </a:p>
        </p:txBody>
      </p:sp>
      <p:sp>
        <p:nvSpPr>
          <p:cNvPr id="29" name="Google Shape;1732;p23">
            <a:extLst>
              <a:ext uri="{FF2B5EF4-FFF2-40B4-BE49-F238E27FC236}">
                <a16:creationId xmlns:a16="http://schemas.microsoft.com/office/drawing/2014/main" id="{18CB3812-FD95-4F66-9858-A878242AF8F9}"/>
              </a:ext>
            </a:extLst>
          </p:cNvPr>
          <p:cNvSpPr/>
          <p:nvPr/>
        </p:nvSpPr>
        <p:spPr>
          <a:xfrm>
            <a:off x="7327383" y="3194214"/>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it-IT"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 AMF, PO Agile</a:t>
            </a:r>
          </a:p>
        </p:txBody>
      </p:sp>
      <p:grpSp>
        <p:nvGrpSpPr>
          <p:cNvPr id="30" name="Group 576">
            <a:extLst>
              <a:ext uri="{FF2B5EF4-FFF2-40B4-BE49-F238E27FC236}">
                <a16:creationId xmlns:a16="http://schemas.microsoft.com/office/drawing/2014/main" id="{5929075F-8509-4E0E-AD6B-C68777E2AF61}"/>
              </a:ext>
            </a:extLst>
          </p:cNvPr>
          <p:cNvGrpSpPr/>
          <p:nvPr/>
        </p:nvGrpSpPr>
        <p:grpSpPr>
          <a:xfrm>
            <a:off x="7048505" y="4483745"/>
            <a:ext cx="284260" cy="287150"/>
            <a:chOff x="6505310" y="5389590"/>
            <a:chExt cx="781050" cy="788988"/>
          </a:xfrm>
          <a:solidFill>
            <a:schemeClr val="accent4"/>
          </a:solidFill>
        </p:grpSpPr>
        <p:sp>
          <p:nvSpPr>
            <p:cNvPr id="31" name="Freeform 314">
              <a:extLst>
                <a:ext uri="{FF2B5EF4-FFF2-40B4-BE49-F238E27FC236}">
                  <a16:creationId xmlns:a16="http://schemas.microsoft.com/office/drawing/2014/main" id="{1E725034-2429-4519-916B-7AB286A04C34}"/>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315">
              <a:extLst>
                <a:ext uri="{FF2B5EF4-FFF2-40B4-BE49-F238E27FC236}">
                  <a16:creationId xmlns:a16="http://schemas.microsoft.com/office/drawing/2014/main" id="{06753A17-C3CA-467A-8693-0A00FBBC2D2A}"/>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 name="Group 263">
            <a:extLst>
              <a:ext uri="{FF2B5EF4-FFF2-40B4-BE49-F238E27FC236}">
                <a16:creationId xmlns:a16="http://schemas.microsoft.com/office/drawing/2014/main" id="{8C06E34F-5D0A-473D-BC03-AF776E63737C}"/>
              </a:ext>
            </a:extLst>
          </p:cNvPr>
          <p:cNvGrpSpPr/>
          <p:nvPr/>
        </p:nvGrpSpPr>
        <p:grpSpPr>
          <a:xfrm>
            <a:off x="7016466" y="4117676"/>
            <a:ext cx="361541" cy="224632"/>
            <a:chOff x="-5861198" y="8530705"/>
            <a:chExt cx="441325" cy="331788"/>
          </a:xfrm>
          <a:solidFill>
            <a:schemeClr val="accent3"/>
          </a:solidFill>
        </p:grpSpPr>
        <p:sp>
          <p:nvSpPr>
            <p:cNvPr id="34" name="Freeform 181">
              <a:extLst>
                <a:ext uri="{FF2B5EF4-FFF2-40B4-BE49-F238E27FC236}">
                  <a16:creationId xmlns:a16="http://schemas.microsoft.com/office/drawing/2014/main" id="{3FBFE048-FFA6-4021-A39D-859DACFBD073}"/>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182">
              <a:extLst>
                <a:ext uri="{FF2B5EF4-FFF2-40B4-BE49-F238E27FC236}">
                  <a16:creationId xmlns:a16="http://schemas.microsoft.com/office/drawing/2014/main" id="{E81F8920-CEE4-4C2D-8D6B-C7789E955F53}"/>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6" name="Google Shape;1732;p23">
            <a:extLst>
              <a:ext uri="{FF2B5EF4-FFF2-40B4-BE49-F238E27FC236}">
                <a16:creationId xmlns:a16="http://schemas.microsoft.com/office/drawing/2014/main" id="{CB6C19FB-BB7C-479D-96E1-BCDA386CED87}"/>
              </a:ext>
            </a:extLst>
          </p:cNvPr>
          <p:cNvSpPr/>
          <p:nvPr/>
        </p:nvSpPr>
        <p:spPr>
          <a:xfrm>
            <a:off x="7262769" y="4524456"/>
            <a:ext cx="1421508"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12 mois (en cours)</a:t>
            </a:r>
          </a:p>
        </p:txBody>
      </p:sp>
      <p:sp>
        <p:nvSpPr>
          <p:cNvPr id="37" name="Google Shape;1732;p23">
            <a:extLst>
              <a:ext uri="{FF2B5EF4-FFF2-40B4-BE49-F238E27FC236}">
                <a16:creationId xmlns:a16="http://schemas.microsoft.com/office/drawing/2014/main" id="{766E072B-347D-4D37-A2CF-742E56C6BF53}"/>
              </a:ext>
            </a:extLst>
          </p:cNvPr>
          <p:cNvSpPr/>
          <p:nvPr/>
        </p:nvSpPr>
        <p:spPr>
          <a:xfrm>
            <a:off x="7327383" y="4062264"/>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 AMF</a:t>
            </a:r>
          </a:p>
        </p:txBody>
      </p:sp>
      <p:grpSp>
        <p:nvGrpSpPr>
          <p:cNvPr id="38" name="Group 576">
            <a:extLst>
              <a:ext uri="{FF2B5EF4-FFF2-40B4-BE49-F238E27FC236}">
                <a16:creationId xmlns:a16="http://schemas.microsoft.com/office/drawing/2014/main" id="{0E9E00AC-5841-40A2-B7FB-B52906ADB3F0}"/>
              </a:ext>
            </a:extLst>
          </p:cNvPr>
          <p:cNvGrpSpPr/>
          <p:nvPr/>
        </p:nvGrpSpPr>
        <p:grpSpPr>
          <a:xfrm>
            <a:off x="7051005" y="5270238"/>
            <a:ext cx="284260" cy="287150"/>
            <a:chOff x="6505310" y="5389590"/>
            <a:chExt cx="781050" cy="788988"/>
          </a:xfrm>
          <a:solidFill>
            <a:schemeClr val="accent4"/>
          </a:solidFill>
        </p:grpSpPr>
        <p:sp>
          <p:nvSpPr>
            <p:cNvPr id="39" name="Freeform 314">
              <a:extLst>
                <a:ext uri="{FF2B5EF4-FFF2-40B4-BE49-F238E27FC236}">
                  <a16:creationId xmlns:a16="http://schemas.microsoft.com/office/drawing/2014/main" id="{7762E860-1A9F-48CB-A5CF-2498FB61ABDE}"/>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315">
              <a:extLst>
                <a:ext uri="{FF2B5EF4-FFF2-40B4-BE49-F238E27FC236}">
                  <a16:creationId xmlns:a16="http://schemas.microsoft.com/office/drawing/2014/main" id="{7CB7D3B7-10E6-478E-A69C-308242110A36}"/>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 name="Group 263">
            <a:extLst>
              <a:ext uri="{FF2B5EF4-FFF2-40B4-BE49-F238E27FC236}">
                <a16:creationId xmlns:a16="http://schemas.microsoft.com/office/drawing/2014/main" id="{00478A8D-A2F0-49F8-8C35-C2DC8D1E3A3F}"/>
              </a:ext>
            </a:extLst>
          </p:cNvPr>
          <p:cNvGrpSpPr/>
          <p:nvPr/>
        </p:nvGrpSpPr>
        <p:grpSpPr>
          <a:xfrm>
            <a:off x="7018966" y="4904169"/>
            <a:ext cx="361541" cy="224632"/>
            <a:chOff x="-5861198" y="8530705"/>
            <a:chExt cx="441325" cy="331788"/>
          </a:xfrm>
          <a:solidFill>
            <a:schemeClr val="accent3"/>
          </a:solidFill>
        </p:grpSpPr>
        <p:sp>
          <p:nvSpPr>
            <p:cNvPr id="43" name="Freeform 181">
              <a:extLst>
                <a:ext uri="{FF2B5EF4-FFF2-40B4-BE49-F238E27FC236}">
                  <a16:creationId xmlns:a16="http://schemas.microsoft.com/office/drawing/2014/main" id="{CBD72BFA-0BF3-4810-964D-75B16A13C4B8}"/>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182">
              <a:extLst>
                <a:ext uri="{FF2B5EF4-FFF2-40B4-BE49-F238E27FC236}">
                  <a16:creationId xmlns:a16="http://schemas.microsoft.com/office/drawing/2014/main" id="{B26E64F0-5718-4A75-B749-9EAD2449574A}"/>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5" name="Google Shape;1732;p23">
            <a:extLst>
              <a:ext uri="{FF2B5EF4-FFF2-40B4-BE49-F238E27FC236}">
                <a16:creationId xmlns:a16="http://schemas.microsoft.com/office/drawing/2014/main" id="{A93F5781-8FE6-4D64-9B71-5AA483F8D0DF}"/>
              </a:ext>
            </a:extLst>
          </p:cNvPr>
          <p:cNvSpPr/>
          <p:nvPr/>
        </p:nvSpPr>
        <p:spPr>
          <a:xfrm>
            <a:off x="7327383" y="5295959"/>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2 mois + 4 mois</a:t>
            </a:r>
          </a:p>
        </p:txBody>
      </p:sp>
      <p:sp>
        <p:nvSpPr>
          <p:cNvPr id="46" name="Google Shape;1732;p23">
            <a:extLst>
              <a:ext uri="{FF2B5EF4-FFF2-40B4-BE49-F238E27FC236}">
                <a16:creationId xmlns:a16="http://schemas.microsoft.com/office/drawing/2014/main" id="{01EE19DC-96DE-42EA-8334-7CED2C560D6A}"/>
              </a:ext>
            </a:extLst>
          </p:cNvPr>
          <p:cNvSpPr/>
          <p:nvPr/>
        </p:nvSpPr>
        <p:spPr>
          <a:xfrm>
            <a:off x="7327383" y="4893727"/>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a:t>
            </a:r>
          </a:p>
        </p:txBody>
      </p:sp>
      <p:grpSp>
        <p:nvGrpSpPr>
          <p:cNvPr id="47" name="Group 576">
            <a:extLst>
              <a:ext uri="{FF2B5EF4-FFF2-40B4-BE49-F238E27FC236}">
                <a16:creationId xmlns:a16="http://schemas.microsoft.com/office/drawing/2014/main" id="{FD4BA166-2BF1-40AD-A498-392F293675E5}"/>
              </a:ext>
            </a:extLst>
          </p:cNvPr>
          <p:cNvGrpSpPr/>
          <p:nvPr/>
        </p:nvGrpSpPr>
        <p:grpSpPr>
          <a:xfrm>
            <a:off x="7053505" y="6202128"/>
            <a:ext cx="284260" cy="287150"/>
            <a:chOff x="6505310" y="5389590"/>
            <a:chExt cx="781050" cy="788988"/>
          </a:xfrm>
          <a:solidFill>
            <a:schemeClr val="accent4"/>
          </a:solidFill>
        </p:grpSpPr>
        <p:sp>
          <p:nvSpPr>
            <p:cNvPr id="48" name="Freeform 314">
              <a:extLst>
                <a:ext uri="{FF2B5EF4-FFF2-40B4-BE49-F238E27FC236}">
                  <a16:creationId xmlns:a16="http://schemas.microsoft.com/office/drawing/2014/main" id="{F25832E8-8554-4BA7-B99D-E360F1323AA8}"/>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315">
              <a:extLst>
                <a:ext uri="{FF2B5EF4-FFF2-40B4-BE49-F238E27FC236}">
                  <a16:creationId xmlns:a16="http://schemas.microsoft.com/office/drawing/2014/main" id="{65B8D796-3F67-4AA3-B885-1DA4AB0F10AD}"/>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 name="Group 263">
            <a:extLst>
              <a:ext uri="{FF2B5EF4-FFF2-40B4-BE49-F238E27FC236}">
                <a16:creationId xmlns:a16="http://schemas.microsoft.com/office/drawing/2014/main" id="{99DDA5ED-4458-407B-A1C3-341CBD32DA43}"/>
              </a:ext>
            </a:extLst>
          </p:cNvPr>
          <p:cNvGrpSpPr/>
          <p:nvPr/>
        </p:nvGrpSpPr>
        <p:grpSpPr>
          <a:xfrm>
            <a:off x="7021466" y="5836059"/>
            <a:ext cx="361541" cy="224632"/>
            <a:chOff x="-5861198" y="8530705"/>
            <a:chExt cx="441325" cy="331788"/>
          </a:xfrm>
          <a:solidFill>
            <a:schemeClr val="accent3"/>
          </a:solidFill>
        </p:grpSpPr>
        <p:sp>
          <p:nvSpPr>
            <p:cNvPr id="51" name="Freeform 181">
              <a:extLst>
                <a:ext uri="{FF2B5EF4-FFF2-40B4-BE49-F238E27FC236}">
                  <a16:creationId xmlns:a16="http://schemas.microsoft.com/office/drawing/2014/main" id="{58AF4EF7-1A25-474B-A784-FD17D17C9719}"/>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182">
              <a:extLst>
                <a:ext uri="{FF2B5EF4-FFF2-40B4-BE49-F238E27FC236}">
                  <a16:creationId xmlns:a16="http://schemas.microsoft.com/office/drawing/2014/main" id="{1163646E-5274-4240-B57D-D994157E549E}"/>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3" name="Google Shape;1732;p23">
            <a:extLst>
              <a:ext uri="{FF2B5EF4-FFF2-40B4-BE49-F238E27FC236}">
                <a16:creationId xmlns:a16="http://schemas.microsoft.com/office/drawing/2014/main" id="{87C35C41-FAC6-40A9-B3E0-3E6B5A97528D}"/>
              </a:ext>
            </a:extLst>
          </p:cNvPr>
          <p:cNvSpPr/>
          <p:nvPr/>
        </p:nvSpPr>
        <p:spPr>
          <a:xfrm>
            <a:off x="7262769" y="6227849"/>
            <a:ext cx="1421508"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4 mois (en cours)</a:t>
            </a:r>
          </a:p>
        </p:txBody>
      </p:sp>
      <p:sp>
        <p:nvSpPr>
          <p:cNvPr id="54" name="Google Shape;1732;p23">
            <a:extLst>
              <a:ext uri="{FF2B5EF4-FFF2-40B4-BE49-F238E27FC236}">
                <a16:creationId xmlns:a16="http://schemas.microsoft.com/office/drawing/2014/main" id="{4E3F8DDF-254A-4F72-A8E4-4E94087EAFAF}"/>
              </a:ext>
            </a:extLst>
          </p:cNvPr>
          <p:cNvSpPr/>
          <p:nvPr/>
        </p:nvSpPr>
        <p:spPr>
          <a:xfrm>
            <a:off x="7327383" y="5780647"/>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 Coach Agile </a:t>
            </a:r>
          </a:p>
        </p:txBody>
      </p:sp>
      <p:grpSp>
        <p:nvGrpSpPr>
          <p:cNvPr id="4" name="Group 576">
            <a:extLst>
              <a:ext uri="{FF2B5EF4-FFF2-40B4-BE49-F238E27FC236}">
                <a16:creationId xmlns:a16="http://schemas.microsoft.com/office/drawing/2014/main" id="{0BB16660-AA8E-3699-BBFD-10AD17716D61}"/>
              </a:ext>
            </a:extLst>
          </p:cNvPr>
          <p:cNvGrpSpPr/>
          <p:nvPr/>
        </p:nvGrpSpPr>
        <p:grpSpPr>
          <a:xfrm>
            <a:off x="7049295" y="1826775"/>
            <a:ext cx="284260" cy="287150"/>
            <a:chOff x="6505310" y="5389590"/>
            <a:chExt cx="781050" cy="788988"/>
          </a:xfrm>
          <a:solidFill>
            <a:schemeClr val="accent4"/>
          </a:solidFill>
        </p:grpSpPr>
        <p:sp>
          <p:nvSpPr>
            <p:cNvPr id="5" name="Freeform 314">
              <a:extLst>
                <a:ext uri="{FF2B5EF4-FFF2-40B4-BE49-F238E27FC236}">
                  <a16:creationId xmlns:a16="http://schemas.microsoft.com/office/drawing/2014/main" id="{FE4B25A6-0E19-E941-7B29-A12EC47947D0}"/>
                </a:ext>
              </a:extLst>
            </p:cNvPr>
            <p:cNvSpPr>
              <a:spLocks noEditPoints="1"/>
            </p:cNvSpPr>
            <p:nvPr/>
          </p:nvSpPr>
          <p:spPr bwMode="auto">
            <a:xfrm>
              <a:off x="6505310" y="5389590"/>
              <a:ext cx="781050" cy="788988"/>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21 w 242"/>
                <a:gd name="T11" fmla="*/ 218 h 242"/>
                <a:gd name="T12" fmla="*/ 24 w 242"/>
                <a:gd name="T13" fmla="*/ 121 h 242"/>
                <a:gd name="T14" fmla="*/ 121 w 242"/>
                <a:gd name="T15" fmla="*/ 24 h 242"/>
                <a:gd name="T16" fmla="*/ 218 w 242"/>
                <a:gd name="T17" fmla="*/ 121 h 242"/>
                <a:gd name="T18" fmla="*/ 121 w 242"/>
                <a:gd name="T19" fmla="*/ 2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21" y="218"/>
                  </a:moveTo>
                  <a:cubicBezTo>
                    <a:pt x="68" y="218"/>
                    <a:pt x="24" y="175"/>
                    <a:pt x="24" y="121"/>
                  </a:cubicBezTo>
                  <a:cubicBezTo>
                    <a:pt x="24" y="67"/>
                    <a:pt x="68" y="24"/>
                    <a:pt x="121" y="24"/>
                  </a:cubicBezTo>
                  <a:cubicBezTo>
                    <a:pt x="175" y="24"/>
                    <a:pt x="218" y="67"/>
                    <a:pt x="218" y="121"/>
                  </a:cubicBezTo>
                  <a:cubicBezTo>
                    <a:pt x="218" y="175"/>
                    <a:pt x="175" y="218"/>
                    <a:pt x="121"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315">
              <a:extLst>
                <a:ext uri="{FF2B5EF4-FFF2-40B4-BE49-F238E27FC236}">
                  <a16:creationId xmlns:a16="http://schemas.microsoft.com/office/drawing/2014/main" id="{7EABBF27-A745-DDF7-92BF-783BDD6E3CF4}"/>
                </a:ext>
              </a:extLst>
            </p:cNvPr>
            <p:cNvSpPr>
              <a:spLocks/>
            </p:cNvSpPr>
            <p:nvPr/>
          </p:nvSpPr>
          <p:spPr bwMode="auto">
            <a:xfrm>
              <a:off x="6876785" y="5591203"/>
              <a:ext cx="209550" cy="244475"/>
            </a:xfrm>
            <a:custGeom>
              <a:avLst/>
              <a:gdLst>
                <a:gd name="T0" fmla="*/ 65 w 65"/>
                <a:gd name="T1" fmla="*/ 69 h 75"/>
                <a:gd name="T2" fmla="*/ 59 w 65"/>
                <a:gd name="T3" fmla="*/ 75 h 75"/>
                <a:gd name="T4" fmla="*/ 6 w 65"/>
                <a:gd name="T5" fmla="*/ 75 h 75"/>
                <a:gd name="T6" fmla="*/ 0 w 65"/>
                <a:gd name="T7" fmla="*/ 69 h 75"/>
                <a:gd name="T8" fmla="*/ 0 w 65"/>
                <a:gd name="T9" fmla="*/ 6 h 75"/>
                <a:gd name="T10" fmla="*/ 6 w 65"/>
                <a:gd name="T11" fmla="*/ 0 h 75"/>
                <a:gd name="T12" fmla="*/ 12 w 65"/>
                <a:gd name="T13" fmla="*/ 6 h 75"/>
                <a:gd name="T14" fmla="*/ 12 w 65"/>
                <a:gd name="T15" fmla="*/ 63 h 75"/>
                <a:gd name="T16" fmla="*/ 59 w 65"/>
                <a:gd name="T17" fmla="*/ 63 h 75"/>
                <a:gd name="T18" fmla="*/ 65 w 65"/>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65" y="69"/>
                  </a:moveTo>
                  <a:cubicBezTo>
                    <a:pt x="65" y="73"/>
                    <a:pt x="62" y="75"/>
                    <a:pt x="59" y="75"/>
                  </a:cubicBezTo>
                  <a:cubicBezTo>
                    <a:pt x="6" y="75"/>
                    <a:pt x="6" y="75"/>
                    <a:pt x="6" y="75"/>
                  </a:cubicBezTo>
                  <a:cubicBezTo>
                    <a:pt x="3" y="75"/>
                    <a:pt x="0" y="73"/>
                    <a:pt x="0" y="69"/>
                  </a:cubicBezTo>
                  <a:cubicBezTo>
                    <a:pt x="0" y="6"/>
                    <a:pt x="0" y="6"/>
                    <a:pt x="0" y="6"/>
                  </a:cubicBezTo>
                  <a:cubicBezTo>
                    <a:pt x="0" y="3"/>
                    <a:pt x="3" y="0"/>
                    <a:pt x="6" y="0"/>
                  </a:cubicBezTo>
                  <a:cubicBezTo>
                    <a:pt x="9" y="0"/>
                    <a:pt x="12" y="3"/>
                    <a:pt x="12" y="6"/>
                  </a:cubicBezTo>
                  <a:cubicBezTo>
                    <a:pt x="12" y="63"/>
                    <a:pt x="12" y="63"/>
                    <a:pt x="12" y="63"/>
                  </a:cubicBezTo>
                  <a:cubicBezTo>
                    <a:pt x="59" y="63"/>
                    <a:pt x="59" y="63"/>
                    <a:pt x="59" y="63"/>
                  </a:cubicBezTo>
                  <a:cubicBezTo>
                    <a:pt x="62" y="63"/>
                    <a:pt x="65" y="66"/>
                    <a:pt x="6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 name="Google Shape;1732;p23">
            <a:extLst>
              <a:ext uri="{FF2B5EF4-FFF2-40B4-BE49-F238E27FC236}">
                <a16:creationId xmlns:a16="http://schemas.microsoft.com/office/drawing/2014/main" id="{57A288DB-80E7-978F-4896-306A8CD7B875}"/>
              </a:ext>
            </a:extLst>
          </p:cNvPr>
          <p:cNvSpPr/>
          <p:nvPr/>
        </p:nvSpPr>
        <p:spPr>
          <a:xfrm>
            <a:off x="7382909" y="1839550"/>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lang="fr-FR" sz="1050">
                <a:solidFill>
                  <a:srgbClr val="44398A">
                    <a:lumMod val="10000"/>
                  </a:srgbClr>
                </a:solidFill>
                <a:latin typeface="+mj-lt"/>
                <a:ea typeface="Montserrat"/>
                <a:cs typeface="Montserrat"/>
                <a:sym typeface="Montserrat"/>
              </a:rPr>
              <a:t>2</a:t>
            </a:r>
            <a:r>
              <a:rPr kumimoji="0" lang="fr-FR" sz="1050" b="0"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 mois</a:t>
            </a:r>
          </a:p>
        </p:txBody>
      </p:sp>
      <p:grpSp>
        <p:nvGrpSpPr>
          <p:cNvPr id="8" name="Group 263">
            <a:extLst>
              <a:ext uri="{FF2B5EF4-FFF2-40B4-BE49-F238E27FC236}">
                <a16:creationId xmlns:a16="http://schemas.microsoft.com/office/drawing/2014/main" id="{44DB6C15-8725-F921-BB0D-D4BCC270D86E}"/>
              </a:ext>
            </a:extLst>
          </p:cNvPr>
          <p:cNvGrpSpPr/>
          <p:nvPr/>
        </p:nvGrpSpPr>
        <p:grpSpPr>
          <a:xfrm>
            <a:off x="7023966" y="1499358"/>
            <a:ext cx="361541" cy="224632"/>
            <a:chOff x="-5861198" y="8530705"/>
            <a:chExt cx="441325" cy="331788"/>
          </a:xfrm>
          <a:solidFill>
            <a:schemeClr val="accent3"/>
          </a:solidFill>
        </p:grpSpPr>
        <p:sp>
          <p:nvSpPr>
            <p:cNvPr id="9" name="Freeform 181">
              <a:extLst>
                <a:ext uri="{FF2B5EF4-FFF2-40B4-BE49-F238E27FC236}">
                  <a16:creationId xmlns:a16="http://schemas.microsoft.com/office/drawing/2014/main" id="{5F9BB760-43AE-759D-616D-2AEE9B991B41}"/>
                </a:ext>
              </a:extLst>
            </p:cNvPr>
            <p:cNvSpPr>
              <a:spLocks/>
            </p:cNvSpPr>
            <p:nvPr/>
          </p:nvSpPr>
          <p:spPr bwMode="auto">
            <a:xfrm>
              <a:off x="-5845323" y="8530705"/>
              <a:ext cx="388938" cy="177800"/>
            </a:xfrm>
            <a:custGeom>
              <a:avLst/>
              <a:gdLst>
                <a:gd name="T0" fmla="*/ 122 w 122"/>
                <a:gd name="T1" fmla="*/ 28 h 55"/>
                <a:gd name="T2" fmla="*/ 61 w 122"/>
                <a:gd name="T3" fmla="*/ 55 h 55"/>
                <a:gd name="T4" fmla="*/ 1 w 122"/>
                <a:gd name="T5" fmla="*/ 28 h 55"/>
                <a:gd name="T6" fmla="*/ 1 w 122"/>
                <a:gd name="T7" fmla="*/ 27 h 55"/>
                <a:gd name="T8" fmla="*/ 57 w 122"/>
                <a:gd name="T9" fmla="*/ 1 h 55"/>
                <a:gd name="T10" fmla="*/ 65 w 122"/>
                <a:gd name="T11" fmla="*/ 1 h 55"/>
                <a:gd name="T12" fmla="*/ 122 w 122"/>
                <a:gd name="T13" fmla="*/ 27 h 55"/>
                <a:gd name="T14" fmla="*/ 122 w 122"/>
                <a:gd name="T15" fmla="*/ 2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5">
                  <a:moveTo>
                    <a:pt x="122" y="28"/>
                  </a:moveTo>
                  <a:cubicBezTo>
                    <a:pt x="61" y="55"/>
                    <a:pt x="61" y="55"/>
                    <a:pt x="61" y="55"/>
                  </a:cubicBezTo>
                  <a:cubicBezTo>
                    <a:pt x="1" y="28"/>
                    <a:pt x="1" y="28"/>
                    <a:pt x="1" y="28"/>
                  </a:cubicBezTo>
                  <a:cubicBezTo>
                    <a:pt x="0" y="28"/>
                    <a:pt x="0" y="27"/>
                    <a:pt x="1" y="27"/>
                  </a:cubicBezTo>
                  <a:cubicBezTo>
                    <a:pt x="57" y="1"/>
                    <a:pt x="57" y="1"/>
                    <a:pt x="57" y="1"/>
                  </a:cubicBezTo>
                  <a:cubicBezTo>
                    <a:pt x="60" y="0"/>
                    <a:pt x="63" y="0"/>
                    <a:pt x="65" y="1"/>
                  </a:cubicBezTo>
                  <a:cubicBezTo>
                    <a:pt x="122" y="27"/>
                    <a:pt x="122" y="27"/>
                    <a:pt x="122" y="27"/>
                  </a:cubicBezTo>
                  <a:cubicBezTo>
                    <a:pt x="122" y="27"/>
                    <a:pt x="122" y="28"/>
                    <a:pt x="122" y="2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182">
              <a:extLst>
                <a:ext uri="{FF2B5EF4-FFF2-40B4-BE49-F238E27FC236}">
                  <a16:creationId xmlns:a16="http://schemas.microsoft.com/office/drawing/2014/main" id="{D03E37C9-169D-6FA6-AD25-E1873A28F8A1}"/>
                </a:ext>
              </a:extLst>
            </p:cNvPr>
            <p:cNvSpPr>
              <a:spLocks noEditPoints="1"/>
            </p:cNvSpPr>
            <p:nvPr/>
          </p:nvSpPr>
          <p:spPr bwMode="auto">
            <a:xfrm>
              <a:off x="-5861198" y="8633893"/>
              <a:ext cx="441325" cy="228600"/>
            </a:xfrm>
            <a:custGeom>
              <a:avLst/>
              <a:gdLst>
                <a:gd name="T0" fmla="*/ 131 w 138"/>
                <a:gd name="T1" fmla="*/ 51 h 71"/>
                <a:gd name="T2" fmla="*/ 131 w 138"/>
                <a:gd name="T3" fmla="*/ 3 h 71"/>
                <a:gd name="T4" fmla="*/ 131 w 138"/>
                <a:gd name="T5" fmla="*/ 3 h 71"/>
                <a:gd name="T6" fmla="*/ 131 w 138"/>
                <a:gd name="T7" fmla="*/ 3 h 71"/>
                <a:gd name="T8" fmla="*/ 130 w 138"/>
                <a:gd name="T9" fmla="*/ 2 h 71"/>
                <a:gd name="T10" fmla="*/ 130 w 138"/>
                <a:gd name="T11" fmla="*/ 2 h 71"/>
                <a:gd name="T12" fmla="*/ 130 w 138"/>
                <a:gd name="T13" fmla="*/ 2 h 71"/>
                <a:gd name="T14" fmla="*/ 130 w 138"/>
                <a:gd name="T15" fmla="*/ 1 h 71"/>
                <a:gd name="T16" fmla="*/ 129 w 138"/>
                <a:gd name="T17" fmla="*/ 1 h 71"/>
                <a:gd name="T18" fmla="*/ 129 w 138"/>
                <a:gd name="T19" fmla="*/ 1 h 71"/>
                <a:gd name="T20" fmla="*/ 128 w 138"/>
                <a:gd name="T21" fmla="*/ 0 h 71"/>
                <a:gd name="T22" fmla="*/ 128 w 138"/>
                <a:gd name="T23" fmla="*/ 0 h 71"/>
                <a:gd name="T24" fmla="*/ 128 w 138"/>
                <a:gd name="T25" fmla="*/ 0 h 71"/>
                <a:gd name="T26" fmla="*/ 127 w 138"/>
                <a:gd name="T27" fmla="*/ 0 h 71"/>
                <a:gd name="T28" fmla="*/ 127 w 138"/>
                <a:gd name="T29" fmla="*/ 1 h 71"/>
                <a:gd name="T30" fmla="*/ 127 w 138"/>
                <a:gd name="T31" fmla="*/ 1 h 71"/>
                <a:gd name="T32" fmla="*/ 65 w 138"/>
                <a:gd name="T33" fmla="*/ 28 h 71"/>
                <a:gd name="T34" fmla="*/ 4 w 138"/>
                <a:gd name="T35" fmla="*/ 1 h 71"/>
                <a:gd name="T36" fmla="*/ 0 w 138"/>
                <a:gd name="T37" fmla="*/ 2 h 71"/>
                <a:gd name="T38" fmla="*/ 2 w 138"/>
                <a:gd name="T39" fmla="*/ 6 h 71"/>
                <a:gd name="T40" fmla="*/ 23 w 138"/>
                <a:gd name="T41" fmla="*/ 15 h 71"/>
                <a:gd name="T42" fmla="*/ 23 w 138"/>
                <a:gd name="T43" fmla="*/ 55 h 71"/>
                <a:gd name="T44" fmla="*/ 24 w 138"/>
                <a:gd name="T45" fmla="*/ 57 h 71"/>
                <a:gd name="T46" fmla="*/ 65 w 138"/>
                <a:gd name="T47" fmla="*/ 68 h 71"/>
                <a:gd name="T48" fmla="*/ 106 w 138"/>
                <a:gd name="T49" fmla="*/ 58 h 71"/>
                <a:gd name="T50" fmla="*/ 108 w 138"/>
                <a:gd name="T51" fmla="*/ 55 h 71"/>
                <a:gd name="T52" fmla="*/ 108 w 138"/>
                <a:gd name="T53" fmla="*/ 15 h 71"/>
                <a:gd name="T54" fmla="*/ 125 w 138"/>
                <a:gd name="T55" fmla="*/ 8 h 71"/>
                <a:gd name="T56" fmla="*/ 125 w 138"/>
                <a:gd name="T57" fmla="*/ 51 h 71"/>
                <a:gd name="T58" fmla="*/ 118 w 138"/>
                <a:gd name="T59" fmla="*/ 61 h 71"/>
                <a:gd name="T60" fmla="*/ 128 w 138"/>
                <a:gd name="T61" fmla="*/ 71 h 71"/>
                <a:gd name="T62" fmla="*/ 138 w 138"/>
                <a:gd name="T63" fmla="*/ 61 h 71"/>
                <a:gd name="T64" fmla="*/ 131 w 138"/>
                <a:gd name="T65" fmla="*/ 51 h 71"/>
                <a:gd name="T66" fmla="*/ 102 w 138"/>
                <a:gd name="T67" fmla="*/ 53 h 71"/>
                <a:gd name="T68" fmla="*/ 29 w 138"/>
                <a:gd name="T69" fmla="*/ 53 h 71"/>
                <a:gd name="T70" fmla="*/ 29 w 138"/>
                <a:gd name="T71" fmla="*/ 18 h 71"/>
                <a:gd name="T72" fmla="*/ 64 w 138"/>
                <a:gd name="T73" fmla="*/ 34 h 71"/>
                <a:gd name="T74" fmla="*/ 65 w 138"/>
                <a:gd name="T75" fmla="*/ 34 h 71"/>
                <a:gd name="T76" fmla="*/ 67 w 138"/>
                <a:gd name="T77" fmla="*/ 34 h 71"/>
                <a:gd name="T78" fmla="*/ 102 w 138"/>
                <a:gd name="T79" fmla="*/ 18 h 71"/>
                <a:gd name="T80" fmla="*/ 102 w 138"/>
                <a:gd name="T81" fmla="*/ 53 h 71"/>
                <a:gd name="T82" fmla="*/ 128 w 138"/>
                <a:gd name="T83" fmla="*/ 65 h 71"/>
                <a:gd name="T84" fmla="*/ 124 w 138"/>
                <a:gd name="T85" fmla="*/ 61 h 71"/>
                <a:gd name="T86" fmla="*/ 128 w 138"/>
                <a:gd name="T87" fmla="*/ 57 h 71"/>
                <a:gd name="T88" fmla="*/ 132 w 138"/>
                <a:gd name="T89" fmla="*/ 61 h 71"/>
                <a:gd name="T90" fmla="*/ 128 w 138"/>
                <a:gd name="T91"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71">
                  <a:moveTo>
                    <a:pt x="131" y="51"/>
                  </a:moveTo>
                  <a:cubicBezTo>
                    <a:pt x="131" y="3"/>
                    <a:pt x="131" y="3"/>
                    <a:pt x="131" y="3"/>
                  </a:cubicBezTo>
                  <a:cubicBezTo>
                    <a:pt x="131" y="3"/>
                    <a:pt x="131" y="3"/>
                    <a:pt x="131" y="3"/>
                  </a:cubicBezTo>
                  <a:cubicBezTo>
                    <a:pt x="131" y="3"/>
                    <a:pt x="131" y="3"/>
                    <a:pt x="131" y="3"/>
                  </a:cubicBezTo>
                  <a:cubicBezTo>
                    <a:pt x="131" y="2"/>
                    <a:pt x="131" y="2"/>
                    <a:pt x="130" y="2"/>
                  </a:cubicBezTo>
                  <a:cubicBezTo>
                    <a:pt x="130" y="2"/>
                    <a:pt x="130" y="2"/>
                    <a:pt x="130" y="2"/>
                  </a:cubicBezTo>
                  <a:cubicBezTo>
                    <a:pt x="130" y="2"/>
                    <a:pt x="130" y="2"/>
                    <a:pt x="130" y="2"/>
                  </a:cubicBezTo>
                  <a:cubicBezTo>
                    <a:pt x="130" y="2"/>
                    <a:pt x="130" y="1"/>
                    <a:pt x="130" y="1"/>
                  </a:cubicBezTo>
                  <a:cubicBezTo>
                    <a:pt x="130" y="1"/>
                    <a:pt x="130" y="1"/>
                    <a:pt x="129" y="1"/>
                  </a:cubicBezTo>
                  <a:cubicBezTo>
                    <a:pt x="129" y="1"/>
                    <a:pt x="129" y="1"/>
                    <a:pt x="129" y="1"/>
                  </a:cubicBezTo>
                  <a:cubicBezTo>
                    <a:pt x="129" y="0"/>
                    <a:pt x="128" y="0"/>
                    <a:pt x="128" y="0"/>
                  </a:cubicBezTo>
                  <a:cubicBezTo>
                    <a:pt x="128" y="0"/>
                    <a:pt x="128" y="0"/>
                    <a:pt x="128" y="0"/>
                  </a:cubicBezTo>
                  <a:cubicBezTo>
                    <a:pt x="128" y="0"/>
                    <a:pt x="128" y="0"/>
                    <a:pt x="128" y="0"/>
                  </a:cubicBezTo>
                  <a:cubicBezTo>
                    <a:pt x="128" y="0"/>
                    <a:pt x="127" y="0"/>
                    <a:pt x="127" y="0"/>
                  </a:cubicBezTo>
                  <a:cubicBezTo>
                    <a:pt x="127" y="0"/>
                    <a:pt x="127" y="0"/>
                    <a:pt x="127" y="1"/>
                  </a:cubicBezTo>
                  <a:cubicBezTo>
                    <a:pt x="127" y="1"/>
                    <a:pt x="127" y="1"/>
                    <a:pt x="127" y="1"/>
                  </a:cubicBezTo>
                  <a:cubicBezTo>
                    <a:pt x="65" y="28"/>
                    <a:pt x="65" y="28"/>
                    <a:pt x="65" y="28"/>
                  </a:cubicBezTo>
                  <a:cubicBezTo>
                    <a:pt x="4" y="1"/>
                    <a:pt x="4" y="1"/>
                    <a:pt x="4" y="1"/>
                  </a:cubicBezTo>
                  <a:cubicBezTo>
                    <a:pt x="3" y="0"/>
                    <a:pt x="1" y="1"/>
                    <a:pt x="0" y="2"/>
                  </a:cubicBezTo>
                  <a:cubicBezTo>
                    <a:pt x="0" y="4"/>
                    <a:pt x="0" y="5"/>
                    <a:pt x="2" y="6"/>
                  </a:cubicBezTo>
                  <a:cubicBezTo>
                    <a:pt x="23" y="15"/>
                    <a:pt x="23" y="15"/>
                    <a:pt x="23" y="15"/>
                  </a:cubicBezTo>
                  <a:cubicBezTo>
                    <a:pt x="23" y="55"/>
                    <a:pt x="23" y="55"/>
                    <a:pt x="23" y="55"/>
                  </a:cubicBezTo>
                  <a:cubicBezTo>
                    <a:pt x="23" y="56"/>
                    <a:pt x="23" y="57"/>
                    <a:pt x="24" y="57"/>
                  </a:cubicBezTo>
                  <a:cubicBezTo>
                    <a:pt x="38" y="64"/>
                    <a:pt x="51" y="68"/>
                    <a:pt x="65" y="68"/>
                  </a:cubicBezTo>
                  <a:cubicBezTo>
                    <a:pt x="78" y="68"/>
                    <a:pt x="92" y="64"/>
                    <a:pt x="106" y="58"/>
                  </a:cubicBezTo>
                  <a:cubicBezTo>
                    <a:pt x="107" y="57"/>
                    <a:pt x="108" y="56"/>
                    <a:pt x="108" y="55"/>
                  </a:cubicBezTo>
                  <a:cubicBezTo>
                    <a:pt x="108" y="15"/>
                    <a:pt x="108" y="15"/>
                    <a:pt x="108" y="15"/>
                  </a:cubicBezTo>
                  <a:cubicBezTo>
                    <a:pt x="125" y="8"/>
                    <a:pt x="125" y="8"/>
                    <a:pt x="125" y="8"/>
                  </a:cubicBezTo>
                  <a:cubicBezTo>
                    <a:pt x="125" y="51"/>
                    <a:pt x="125" y="51"/>
                    <a:pt x="125" y="51"/>
                  </a:cubicBezTo>
                  <a:cubicBezTo>
                    <a:pt x="121" y="53"/>
                    <a:pt x="118" y="56"/>
                    <a:pt x="118" y="61"/>
                  </a:cubicBezTo>
                  <a:cubicBezTo>
                    <a:pt x="118" y="66"/>
                    <a:pt x="122" y="71"/>
                    <a:pt x="128" y="71"/>
                  </a:cubicBezTo>
                  <a:cubicBezTo>
                    <a:pt x="133" y="71"/>
                    <a:pt x="138" y="66"/>
                    <a:pt x="138" y="61"/>
                  </a:cubicBezTo>
                  <a:cubicBezTo>
                    <a:pt x="138" y="56"/>
                    <a:pt x="135" y="53"/>
                    <a:pt x="131" y="51"/>
                  </a:cubicBezTo>
                  <a:close/>
                  <a:moveTo>
                    <a:pt x="102" y="53"/>
                  </a:moveTo>
                  <a:cubicBezTo>
                    <a:pt x="77" y="65"/>
                    <a:pt x="52" y="65"/>
                    <a:pt x="29" y="53"/>
                  </a:cubicBezTo>
                  <a:cubicBezTo>
                    <a:pt x="29" y="18"/>
                    <a:pt x="29" y="18"/>
                    <a:pt x="29" y="18"/>
                  </a:cubicBezTo>
                  <a:cubicBezTo>
                    <a:pt x="64" y="34"/>
                    <a:pt x="64" y="34"/>
                    <a:pt x="64" y="34"/>
                  </a:cubicBezTo>
                  <a:cubicBezTo>
                    <a:pt x="65" y="34"/>
                    <a:pt x="65" y="34"/>
                    <a:pt x="65" y="34"/>
                  </a:cubicBezTo>
                  <a:cubicBezTo>
                    <a:pt x="66" y="34"/>
                    <a:pt x="66" y="34"/>
                    <a:pt x="67" y="34"/>
                  </a:cubicBezTo>
                  <a:cubicBezTo>
                    <a:pt x="102" y="18"/>
                    <a:pt x="102" y="18"/>
                    <a:pt x="102" y="18"/>
                  </a:cubicBezTo>
                  <a:lnTo>
                    <a:pt x="102" y="53"/>
                  </a:lnTo>
                  <a:close/>
                  <a:moveTo>
                    <a:pt x="128" y="65"/>
                  </a:moveTo>
                  <a:cubicBezTo>
                    <a:pt x="125" y="65"/>
                    <a:pt x="124" y="63"/>
                    <a:pt x="124" y="61"/>
                  </a:cubicBezTo>
                  <a:cubicBezTo>
                    <a:pt x="124" y="59"/>
                    <a:pt x="125" y="57"/>
                    <a:pt x="128" y="57"/>
                  </a:cubicBezTo>
                  <a:cubicBezTo>
                    <a:pt x="130" y="57"/>
                    <a:pt x="132" y="59"/>
                    <a:pt x="132" y="61"/>
                  </a:cubicBezTo>
                  <a:cubicBezTo>
                    <a:pt x="132" y="63"/>
                    <a:pt x="130" y="65"/>
                    <a:pt x="1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1" name="Google Shape;1732;p23">
            <a:extLst>
              <a:ext uri="{FF2B5EF4-FFF2-40B4-BE49-F238E27FC236}">
                <a16:creationId xmlns:a16="http://schemas.microsoft.com/office/drawing/2014/main" id="{7D3E72B2-7C2E-A0EE-72D1-B3E8926BF504}"/>
              </a:ext>
            </a:extLst>
          </p:cNvPr>
          <p:cNvSpPr/>
          <p:nvPr/>
        </p:nvSpPr>
        <p:spPr>
          <a:xfrm>
            <a:off x="7384619" y="1480874"/>
            <a:ext cx="129228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1" i="0" u="none" strike="noStrike" kern="1200" cap="none" spc="0" normalizeH="0" baseline="0" noProof="0">
                <a:ln>
                  <a:noFill/>
                </a:ln>
                <a:solidFill>
                  <a:srgbClr val="44398A">
                    <a:lumMod val="10000"/>
                  </a:srgbClr>
                </a:solidFill>
                <a:effectLst/>
                <a:uLnTx/>
                <a:uFillTx/>
                <a:latin typeface="+mj-lt"/>
                <a:ea typeface="Montserrat"/>
                <a:cs typeface="Montserrat"/>
                <a:sym typeface="Montserrat"/>
              </a:rPr>
              <a:t>Lean 6 Sigma</a:t>
            </a:r>
          </a:p>
        </p:txBody>
      </p:sp>
      <p:pic>
        <p:nvPicPr>
          <p:cNvPr id="12" name="Picture 8">
            <a:extLst>
              <a:ext uri="{FF2B5EF4-FFF2-40B4-BE49-F238E27FC236}">
                <a16:creationId xmlns:a16="http://schemas.microsoft.com/office/drawing/2014/main" id="{622A7716-7A93-62CF-2033-E0890A0020B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9094" y="1695923"/>
            <a:ext cx="884937" cy="201017"/>
          </a:xfrm>
          <a:prstGeom prst="rect">
            <a:avLst/>
          </a:prstGeom>
        </p:spPr>
      </p:pic>
      <p:sp>
        <p:nvSpPr>
          <p:cNvPr id="2" name="Titre 1">
            <a:extLst>
              <a:ext uri="{FF2B5EF4-FFF2-40B4-BE49-F238E27FC236}">
                <a16:creationId xmlns:a16="http://schemas.microsoft.com/office/drawing/2014/main" id="{1BC5D54B-6630-B482-C375-5EB93D386680}"/>
              </a:ext>
            </a:extLst>
          </p:cNvPr>
          <p:cNvSpPr txBox="1">
            <a:spLocks/>
          </p:cNvSpPr>
          <p:nvPr/>
        </p:nvSpPr>
        <p:spPr>
          <a:xfrm>
            <a:off x="396654" y="141709"/>
            <a:ext cx="10320965"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solidFill>
                  <a:schemeClr val="bg2"/>
                </a:solidFill>
                <a:latin typeface="Arial Black" panose="020B0A04020102020204" pitchFamily="34" charset="0"/>
              </a:rPr>
              <a:t>EXTRAIT DE NOS RÉFÉRENCES LES PLUS RÉCENTES AUTOUR DE L’EFFICACITÉ OPÉRATIONNELLE ET LA REFONTE D’ORGANISATION – SERVICES FINANCIERS</a:t>
            </a:r>
            <a:endParaRPr lang="fr-FR" sz="1800" kern="0"/>
          </a:p>
        </p:txBody>
      </p:sp>
    </p:spTree>
    <p:extLst>
      <p:ext uri="{BB962C8B-B14F-4D97-AF65-F5344CB8AC3E}">
        <p14:creationId xmlns:p14="http://schemas.microsoft.com/office/powerpoint/2010/main" val="40282950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F010E3A-9898-4967-8E0E-189A53740B55}"/>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130FE673-0678-95B6-C3B9-B1E6E8BF77E1}"/>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49AD9D9-8EB9-40C8-817E-797AEF95B20C}"/>
              </a:ext>
            </a:extLst>
          </p:cNvPr>
          <p:cNvGraphicFramePr/>
          <p:nvPr>
            <p:extLst>
              <p:ext uri="{D42A27DB-BD31-4B8C-83A1-F6EECF244321}">
                <p14:modId xmlns:p14="http://schemas.microsoft.com/office/powerpoint/2010/main" val="4117474030"/>
              </p:ext>
            </p:extLst>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0">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a:solidFill>
                            <a:schemeClr val="tx2"/>
                          </a:solidFill>
                          <a:latin typeface="+mj-lt"/>
                          <a:cs typeface="Calibri" panose="020F0502020204030204" pitchFamily="34" charset="0"/>
                          <a:sym typeface="Montserrat"/>
                        </a:rPr>
                        <a:t>Synthèse de notre proposition</a:t>
                      </a:r>
                      <a:endParaRPr lang="fr-FR" sz="1900" b="0">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0"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0"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402162129"/>
                  </a:ext>
                </a:extLst>
              </a:tr>
              <a:tr h="535332">
                <a:tc>
                  <a:txBody>
                    <a:bodyPr/>
                    <a:lstStyle/>
                    <a:p>
                      <a:pPr algn="ctr"/>
                      <a:r>
                        <a:rPr lang="fr-FR" sz="1600" b="0">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1"/>
                  </a:ext>
                </a:extLst>
              </a:tr>
              <a:tr h="484169">
                <a:tc>
                  <a:txBody>
                    <a:bodyPr/>
                    <a:lstStyle/>
                    <a:p>
                      <a:pPr algn="ctr"/>
                      <a:r>
                        <a:rPr lang="fr-FR" sz="1600" b="0">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2"/>
                  </a:ext>
                </a:extLst>
              </a:tr>
              <a:tr h="484169">
                <a:tc>
                  <a:txBody>
                    <a:bodyPr/>
                    <a:lstStyle/>
                    <a:p>
                      <a:pPr algn="ctr"/>
                      <a:r>
                        <a:rPr lang="fr-FR" sz="1600" b="0">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683504451"/>
                  </a:ext>
                </a:extLst>
              </a:tr>
              <a:tr h="484169">
                <a:tc>
                  <a:txBody>
                    <a:bodyPr/>
                    <a:lstStyle/>
                    <a:p>
                      <a:pPr algn="ctr"/>
                      <a:r>
                        <a:rPr lang="fr-FR" sz="1600" b="1">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1">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extLst>
                  <a:ext uri="{0D108BD9-81ED-4DB2-BD59-A6C34878D82A}">
                    <a16:rowId xmlns:a16="http://schemas.microsoft.com/office/drawing/2014/main" val="1472287062"/>
                  </a:ext>
                </a:extLst>
              </a:tr>
              <a:tr h="484169">
                <a:tc>
                  <a:txBody>
                    <a:bodyPr/>
                    <a:lstStyle/>
                    <a:p>
                      <a:pPr algn="ctr"/>
                      <a:r>
                        <a:rPr lang="fr-FR" sz="1600">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39761864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1" name="Rectangle 3170">
            <a:extLst>
              <a:ext uri="{FF2B5EF4-FFF2-40B4-BE49-F238E27FC236}">
                <a16:creationId xmlns:a16="http://schemas.microsoft.com/office/drawing/2014/main" id="{A4BA1264-0F81-A114-474C-9A3FF08531A1}"/>
              </a:ext>
            </a:extLst>
          </p:cNvPr>
          <p:cNvSpPr/>
          <p:nvPr/>
        </p:nvSpPr>
        <p:spPr>
          <a:xfrm>
            <a:off x="8613395" y="3013608"/>
            <a:ext cx="3411880" cy="3844392"/>
          </a:xfrm>
          <a:prstGeom prst="rect">
            <a:avLst/>
          </a:prstGeom>
          <a:solidFill>
            <a:srgbClr val="DAF6F7">
              <a:alpha val="5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72" name="Rectangle 3171">
            <a:extLst>
              <a:ext uri="{FF2B5EF4-FFF2-40B4-BE49-F238E27FC236}">
                <a16:creationId xmlns:a16="http://schemas.microsoft.com/office/drawing/2014/main" id="{E97278C1-7D88-3DF1-FE62-17867B50A8B1}"/>
              </a:ext>
            </a:extLst>
          </p:cNvPr>
          <p:cNvSpPr/>
          <p:nvPr/>
        </p:nvSpPr>
        <p:spPr>
          <a:xfrm>
            <a:off x="6781221" y="3013608"/>
            <a:ext cx="1730121" cy="3844392"/>
          </a:xfrm>
          <a:prstGeom prst="rect">
            <a:avLst/>
          </a:prstGeom>
          <a:solidFill>
            <a:srgbClr val="E3E9F9">
              <a:alpha val="7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B45A4892-FF4B-57AE-B1BE-8B25B579B799}"/>
              </a:ext>
            </a:extLst>
          </p:cNvPr>
          <p:cNvSpPr txBox="1"/>
          <p:nvPr/>
        </p:nvSpPr>
        <p:spPr>
          <a:xfrm>
            <a:off x="531138" y="799744"/>
            <a:ext cx="11129724" cy="830997"/>
          </a:xfrm>
          <a:prstGeom prst="rect">
            <a:avLst/>
          </a:prstGeom>
          <a:noFill/>
        </p:spPr>
        <p:txBody>
          <a:bodyPr wrap="square" rtlCol="0">
            <a:spAutoFit/>
          </a:bodyPr>
          <a:lstStyle/>
          <a:p>
            <a:pPr marL="380990" indent="-380990" algn="just" defTabSz="1219170">
              <a:buClr>
                <a:srgbClr val="0029CC"/>
              </a:buClr>
              <a:buFont typeface="Wingdings" panose="05000000000000000000" pitchFamily="2" charset="2"/>
              <a:buChar char="§"/>
            </a:pPr>
            <a:r>
              <a:rPr lang="fr-FR" sz="1200">
                <a:solidFill>
                  <a:srgbClr val="242852">
                    <a:lumMod val="10000"/>
                  </a:srgbClr>
                </a:solidFill>
                <a:latin typeface="+mj-lt"/>
                <a:cs typeface="Arial"/>
                <a:sym typeface="Arial"/>
              </a:rPr>
              <a:t>Sous la houlette des deux directeurs de mission, nous vous proposons l'intervention parallélisée de 2 équipes expérimentées :</a:t>
            </a:r>
          </a:p>
          <a:p>
            <a:pPr marL="838190" lvl="1" indent="-380990" algn="just" defTabSz="1219170">
              <a:buClr>
                <a:srgbClr val="0029CC"/>
              </a:buClr>
              <a:buFont typeface="Wingdings" panose="05000000000000000000" pitchFamily="2" charset="2"/>
              <a:buChar char="§"/>
            </a:pPr>
            <a:r>
              <a:rPr lang="fr-FR" sz="1200">
                <a:solidFill>
                  <a:srgbClr val="242852">
                    <a:lumMod val="10000"/>
                  </a:srgbClr>
                </a:solidFill>
                <a:latin typeface="+mj-lt"/>
                <a:cs typeface="Arial"/>
                <a:sym typeface="Arial"/>
              </a:rPr>
              <a:t>Une première équipe qui se chargera de couvrir le diagnostic des activités de BO des sites français et servira de relai avec la Direction Générale</a:t>
            </a:r>
          </a:p>
          <a:p>
            <a:pPr marL="838190" lvl="1" indent="-380990" algn="just" defTabSz="1219170">
              <a:buClr>
                <a:srgbClr val="0029CC"/>
              </a:buClr>
              <a:buFont typeface="Wingdings" panose="05000000000000000000" pitchFamily="2" charset="2"/>
              <a:buChar char="§"/>
            </a:pPr>
            <a:r>
              <a:rPr lang="fr-FR" sz="1200">
                <a:solidFill>
                  <a:srgbClr val="242852">
                    <a:lumMod val="10000"/>
                  </a:srgbClr>
                </a:solidFill>
                <a:latin typeface="+mj-lt"/>
                <a:cs typeface="Arial"/>
                <a:sym typeface="Arial"/>
              </a:rPr>
              <a:t>Une seconde équipe mixte intervenant simultanément sur les centres de gestion espagnol et italien, comprenant des profils anglophones, italophones et hispanophones</a:t>
            </a:r>
          </a:p>
        </p:txBody>
      </p:sp>
      <p:sp>
        <p:nvSpPr>
          <p:cNvPr id="5" name="ZoneTexte 4">
            <a:extLst>
              <a:ext uri="{FF2B5EF4-FFF2-40B4-BE49-F238E27FC236}">
                <a16:creationId xmlns:a16="http://schemas.microsoft.com/office/drawing/2014/main" id="{FCA95897-6CE9-A167-8E89-B5A0CE4CF57B}"/>
              </a:ext>
            </a:extLst>
          </p:cNvPr>
          <p:cNvSpPr txBox="1"/>
          <p:nvPr/>
        </p:nvSpPr>
        <p:spPr>
          <a:xfrm>
            <a:off x="1049265" y="1643657"/>
            <a:ext cx="712328" cy="261610"/>
          </a:xfrm>
          <a:prstGeom prst="rect">
            <a:avLst/>
          </a:prstGeom>
          <a:noFill/>
        </p:spPr>
        <p:txBody>
          <a:bodyPr wrap="square" rtlCol="0">
            <a:spAutoFit/>
          </a:bodyPr>
          <a:lstStyle/>
          <a:p>
            <a:pPr algn="ctr" defTabSz="914377"/>
            <a:r>
              <a:rPr lang="fr-FR" sz="1100" b="1" i="1">
                <a:solidFill>
                  <a:prstClr val="black"/>
                </a:solidFill>
                <a:latin typeface="+mj-lt"/>
                <a:cs typeface="Arial"/>
                <a:sym typeface="Arial"/>
              </a:rPr>
              <a:t>Profil</a:t>
            </a:r>
          </a:p>
        </p:txBody>
      </p:sp>
      <p:sp>
        <p:nvSpPr>
          <p:cNvPr id="13" name="Rectangle : coins arrondis 12">
            <a:extLst>
              <a:ext uri="{FF2B5EF4-FFF2-40B4-BE49-F238E27FC236}">
                <a16:creationId xmlns:a16="http://schemas.microsoft.com/office/drawing/2014/main" id="{1F7EB1BB-5FBF-8724-7084-47FDF55BB8DD}"/>
              </a:ext>
            </a:extLst>
          </p:cNvPr>
          <p:cNvSpPr/>
          <p:nvPr/>
        </p:nvSpPr>
        <p:spPr>
          <a:xfrm>
            <a:off x="649429" y="2211463"/>
            <a:ext cx="1512000" cy="73037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a:t>Directeur de mission</a:t>
            </a:r>
          </a:p>
        </p:txBody>
      </p:sp>
      <p:sp>
        <p:nvSpPr>
          <p:cNvPr id="14" name="Rectangle : coins arrondis 13">
            <a:extLst>
              <a:ext uri="{FF2B5EF4-FFF2-40B4-BE49-F238E27FC236}">
                <a16:creationId xmlns:a16="http://schemas.microsoft.com/office/drawing/2014/main" id="{6BAFD97C-7AFC-2921-A957-8393BBBD0DC4}"/>
              </a:ext>
            </a:extLst>
          </p:cNvPr>
          <p:cNvSpPr/>
          <p:nvPr/>
        </p:nvSpPr>
        <p:spPr>
          <a:xfrm>
            <a:off x="649429" y="3625025"/>
            <a:ext cx="1512000" cy="73037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a:t>Pilote opérationnel</a:t>
            </a:r>
          </a:p>
        </p:txBody>
      </p:sp>
      <p:sp>
        <p:nvSpPr>
          <p:cNvPr id="18" name="Rectangle : coins arrondis 17">
            <a:extLst>
              <a:ext uri="{FF2B5EF4-FFF2-40B4-BE49-F238E27FC236}">
                <a16:creationId xmlns:a16="http://schemas.microsoft.com/office/drawing/2014/main" id="{FC4E0B0A-F307-E8C8-8FB4-0EBD2D9ACBD9}"/>
              </a:ext>
            </a:extLst>
          </p:cNvPr>
          <p:cNvSpPr/>
          <p:nvPr/>
        </p:nvSpPr>
        <p:spPr>
          <a:xfrm>
            <a:off x="649429" y="4810832"/>
            <a:ext cx="1512000" cy="73037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a:solidFill>
                  <a:schemeClr val="bg1"/>
                </a:solidFill>
              </a:rPr>
              <a:t>Consultant opérationnel</a:t>
            </a:r>
          </a:p>
        </p:txBody>
      </p:sp>
      <p:sp>
        <p:nvSpPr>
          <p:cNvPr id="21" name="ZoneTexte 20">
            <a:extLst>
              <a:ext uri="{FF2B5EF4-FFF2-40B4-BE49-F238E27FC236}">
                <a16:creationId xmlns:a16="http://schemas.microsoft.com/office/drawing/2014/main" id="{ADB9489A-92BA-57BE-DE75-645BD3DA04C5}"/>
              </a:ext>
            </a:extLst>
          </p:cNvPr>
          <p:cNvSpPr txBox="1"/>
          <p:nvPr/>
        </p:nvSpPr>
        <p:spPr>
          <a:xfrm>
            <a:off x="3627899" y="1643657"/>
            <a:ext cx="1652235" cy="261610"/>
          </a:xfrm>
          <a:prstGeom prst="rect">
            <a:avLst/>
          </a:prstGeom>
          <a:noFill/>
        </p:spPr>
        <p:txBody>
          <a:bodyPr wrap="square" rtlCol="0">
            <a:spAutoFit/>
          </a:bodyPr>
          <a:lstStyle/>
          <a:p>
            <a:pPr algn="ctr" defTabSz="914377"/>
            <a:r>
              <a:rPr lang="fr-FR" sz="1100" b="1" i="1">
                <a:solidFill>
                  <a:prstClr val="black"/>
                </a:solidFill>
                <a:latin typeface="+mj-lt"/>
                <a:cs typeface="Arial"/>
                <a:sym typeface="Arial"/>
              </a:rPr>
              <a:t>Rôle sur la mission</a:t>
            </a:r>
          </a:p>
        </p:txBody>
      </p:sp>
      <p:sp>
        <p:nvSpPr>
          <p:cNvPr id="22" name="ZoneTexte 21">
            <a:extLst>
              <a:ext uri="{FF2B5EF4-FFF2-40B4-BE49-F238E27FC236}">
                <a16:creationId xmlns:a16="http://schemas.microsoft.com/office/drawing/2014/main" id="{87631BB5-32CA-F4DA-FA44-B931DC0647A2}"/>
              </a:ext>
            </a:extLst>
          </p:cNvPr>
          <p:cNvSpPr txBox="1"/>
          <p:nvPr/>
        </p:nvSpPr>
        <p:spPr>
          <a:xfrm>
            <a:off x="2217575" y="2088202"/>
            <a:ext cx="4384505" cy="969496"/>
          </a:xfrm>
          <a:prstGeom prst="rect">
            <a:avLst/>
          </a:prstGeom>
          <a:noFill/>
        </p:spPr>
        <p:txBody>
          <a:bodyPr wrap="square" lIns="72000" rIns="36000" rtlCol="0">
            <a:spAutoFit/>
          </a:bodyPr>
          <a:lstStyle/>
          <a:p>
            <a:pPr marL="285744" indent="-285744" defTabSz="914377">
              <a:buClr>
                <a:srgbClr val="4A66AC"/>
              </a:buClr>
              <a:buFont typeface="Wingdings" panose="05000000000000000000" pitchFamily="2" charset="2"/>
              <a:buChar char="§"/>
              <a:defRPr/>
            </a:pPr>
            <a:r>
              <a:rPr lang="fr-FR" sz="950">
                <a:solidFill>
                  <a:srgbClr val="242852">
                    <a:lumMod val="10000"/>
                  </a:srgbClr>
                </a:solidFill>
                <a:latin typeface="+mj-lt"/>
                <a:cs typeface="Arial"/>
                <a:sym typeface="Arial"/>
              </a:rPr>
              <a:t>Supervise l’organisation des travaux et apporte la méthodologie</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cs typeface="Arial"/>
                <a:sym typeface="Arial"/>
              </a:rPr>
              <a:t>Apporte son expertise sur la réalisation de diagnostics organisationnels et opérationnels</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cs typeface="Arial"/>
                <a:sym typeface="Arial"/>
              </a:rPr>
              <a:t>Réalise des entretiens pour le diagnostic France</a:t>
            </a:r>
          </a:p>
          <a:p>
            <a:pPr marL="285744" indent="-285744" defTabSz="914377">
              <a:buClr>
                <a:srgbClr val="4A66AC"/>
              </a:buClr>
              <a:buFont typeface="Wingdings" panose="05000000000000000000" pitchFamily="2" charset="2"/>
              <a:buChar char="§"/>
              <a:defRPr/>
            </a:pPr>
            <a:r>
              <a:rPr lang="fr-FR" sz="950">
                <a:solidFill>
                  <a:srgbClr val="242852">
                    <a:lumMod val="10000"/>
                  </a:srgbClr>
                </a:solidFill>
                <a:latin typeface="+mj-lt"/>
                <a:cs typeface="Arial"/>
                <a:sym typeface="Arial"/>
              </a:rPr>
              <a:t>Participe à la production des livrables (synthèses et restitutions)</a:t>
            </a:r>
          </a:p>
          <a:p>
            <a:pPr marL="285744" indent="-285744" defTabSz="914377">
              <a:buClr>
                <a:srgbClr val="4A66AC"/>
              </a:buClr>
              <a:buFont typeface="Wingdings" panose="05000000000000000000" pitchFamily="2" charset="2"/>
              <a:buChar char="§"/>
              <a:defRPr/>
            </a:pPr>
            <a:r>
              <a:rPr lang="fr-FR" sz="950">
                <a:solidFill>
                  <a:srgbClr val="242852">
                    <a:lumMod val="10000"/>
                  </a:srgbClr>
                </a:solidFill>
                <a:latin typeface="+mj-lt"/>
                <a:cs typeface="Arial"/>
                <a:sym typeface="Arial"/>
              </a:rPr>
              <a:t>Anime les points projet et points d’étape</a:t>
            </a:r>
          </a:p>
        </p:txBody>
      </p:sp>
      <p:sp>
        <p:nvSpPr>
          <p:cNvPr id="23" name="ZoneTexte 22">
            <a:extLst>
              <a:ext uri="{FF2B5EF4-FFF2-40B4-BE49-F238E27FC236}">
                <a16:creationId xmlns:a16="http://schemas.microsoft.com/office/drawing/2014/main" id="{B2B31008-6898-CEAF-D4D6-FCFFC276B9F2}"/>
              </a:ext>
            </a:extLst>
          </p:cNvPr>
          <p:cNvSpPr txBox="1"/>
          <p:nvPr/>
        </p:nvSpPr>
        <p:spPr>
          <a:xfrm>
            <a:off x="2217576" y="3455213"/>
            <a:ext cx="4379232" cy="1146468"/>
          </a:xfrm>
          <a:prstGeom prst="rect">
            <a:avLst/>
          </a:prstGeom>
          <a:noFill/>
        </p:spPr>
        <p:txBody>
          <a:bodyPr wrap="square" lIns="72000" tIns="60960" rIns="36000" bIns="60960" rtlCol="0" anchor="t">
            <a:spAutoFit/>
          </a:bodyPr>
          <a:lstStyle/>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Apporte son expertise en matière de diagnostic</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Réalise des entretiens, anime des ateliers</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rend en charge la réalisation de l’ensemble des livrables : note de cadrage, questionnaires, matrices d’analyse </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répare les points projet et d’étape</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articipe au chiffrage des bénéfices, coûts et efforts</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roduit la synthèse de l’existant et des préconisations</a:t>
            </a:r>
          </a:p>
        </p:txBody>
      </p:sp>
      <p:sp>
        <p:nvSpPr>
          <p:cNvPr id="24" name="ZoneTexte 23">
            <a:extLst>
              <a:ext uri="{FF2B5EF4-FFF2-40B4-BE49-F238E27FC236}">
                <a16:creationId xmlns:a16="http://schemas.microsoft.com/office/drawing/2014/main" id="{2DF0DCAF-8C62-8D04-2345-245A9B7AE8A9}"/>
              </a:ext>
            </a:extLst>
          </p:cNvPr>
          <p:cNvSpPr txBox="1"/>
          <p:nvPr/>
        </p:nvSpPr>
        <p:spPr>
          <a:xfrm>
            <a:off x="2217575" y="5799897"/>
            <a:ext cx="4392833" cy="1000274"/>
          </a:xfrm>
          <a:prstGeom prst="rect">
            <a:avLst/>
          </a:prstGeom>
          <a:noFill/>
        </p:spPr>
        <p:txBody>
          <a:bodyPr wrap="square" lIns="72000" tIns="60960" rIns="36000" bIns="60960" rtlCol="0" anchor="t">
            <a:spAutoFit/>
          </a:bodyPr>
          <a:lstStyle/>
          <a:p>
            <a:pPr marL="285320" indent="-285320" defTabSz="914377">
              <a:buClr>
                <a:srgbClr val="4A66AC"/>
              </a:buClr>
              <a:buFont typeface="Wingdings" panose="05000000000000000000" pitchFamily="2" charset="2"/>
              <a:buChar char="§"/>
            </a:pPr>
            <a:r>
              <a:rPr lang="fr-FR" sz="950">
                <a:solidFill>
                  <a:srgbClr val="242852"/>
                </a:solidFill>
                <a:latin typeface="+mj-lt"/>
                <a:cs typeface="Arial"/>
                <a:sym typeface="Arial"/>
              </a:rPr>
              <a:t>Planifie les entretiens et les ateliers</a:t>
            </a:r>
            <a:endParaRPr lang="fr-FR" sz="950" kern="0">
              <a:solidFill>
                <a:srgbClr val="242852"/>
              </a:solidFill>
              <a:latin typeface="+mj-lt"/>
              <a:cs typeface="Arial"/>
              <a:sym typeface="Arial"/>
            </a:endParaRPr>
          </a:p>
          <a:p>
            <a:pPr marL="285744"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articipe aux entretiens et aux ateliers en complément des consultants opérationnels</a:t>
            </a:r>
          </a:p>
          <a:p>
            <a:pPr marL="285744"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répare les supports et rédige les CR des entretiens et ateliers</a:t>
            </a:r>
          </a:p>
          <a:p>
            <a:pPr marL="285320" indent="-285320" defTabSz="914377">
              <a:buClr>
                <a:srgbClr val="4A66AC"/>
              </a:buClr>
              <a:buFont typeface="Wingdings" panose="05000000000000000000" pitchFamily="2" charset="2"/>
              <a:buChar char="§"/>
            </a:pPr>
            <a:r>
              <a:rPr lang="fr-FR" sz="950">
                <a:solidFill>
                  <a:srgbClr val="242852"/>
                </a:solidFill>
                <a:latin typeface="+mj-lt"/>
                <a:cs typeface="Arial"/>
                <a:sym typeface="Arial"/>
              </a:rPr>
              <a:t>Prend en charge la formalisation de tous les supports </a:t>
            </a:r>
            <a:endParaRPr lang="fr-FR" sz="950" kern="0">
              <a:solidFill>
                <a:srgbClr val="242852"/>
              </a:solidFill>
              <a:latin typeface="+mj-lt"/>
              <a:cs typeface="Arial"/>
              <a:sym typeface="Arial"/>
            </a:endParaRPr>
          </a:p>
          <a:p>
            <a:pPr marL="285320" indent="-285320" defTabSz="914377">
              <a:buClr>
                <a:srgbClr val="4A66AC"/>
              </a:buClr>
              <a:buFont typeface="Wingdings" panose="05000000000000000000" pitchFamily="2" charset="2"/>
              <a:buChar char="§"/>
            </a:pPr>
            <a:endParaRPr lang="fr-FR" sz="950">
              <a:solidFill>
                <a:srgbClr val="C8CBE7">
                  <a:lumMod val="10000"/>
                </a:srgbClr>
              </a:solidFill>
              <a:latin typeface="Calibri" panose="020F0502020204030204" pitchFamily="34" charset="0"/>
              <a:cs typeface="Calibri" panose="020F0502020204030204" pitchFamily="34" charset="0"/>
              <a:sym typeface="Arial"/>
            </a:endParaRPr>
          </a:p>
        </p:txBody>
      </p:sp>
      <p:sp>
        <p:nvSpPr>
          <p:cNvPr id="54" name="Rectangle : coins arrondis 53">
            <a:extLst>
              <a:ext uri="{FF2B5EF4-FFF2-40B4-BE49-F238E27FC236}">
                <a16:creationId xmlns:a16="http://schemas.microsoft.com/office/drawing/2014/main" id="{10233639-A07F-E177-A3FC-84EB92FF0023}"/>
              </a:ext>
            </a:extLst>
          </p:cNvPr>
          <p:cNvSpPr/>
          <p:nvPr/>
        </p:nvSpPr>
        <p:spPr>
          <a:xfrm>
            <a:off x="649429" y="5876694"/>
            <a:ext cx="1512000" cy="73037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a:solidFill>
                  <a:schemeClr val="bg1"/>
                </a:solidFill>
              </a:rPr>
              <a:t>PMO</a:t>
            </a:r>
          </a:p>
        </p:txBody>
      </p:sp>
      <p:sp>
        <p:nvSpPr>
          <p:cNvPr id="56" name="ZoneTexte 55">
            <a:extLst>
              <a:ext uri="{FF2B5EF4-FFF2-40B4-BE49-F238E27FC236}">
                <a16:creationId xmlns:a16="http://schemas.microsoft.com/office/drawing/2014/main" id="{916FDAE2-2B27-60EB-6062-73DF5B644833}"/>
              </a:ext>
            </a:extLst>
          </p:cNvPr>
          <p:cNvSpPr txBox="1"/>
          <p:nvPr/>
        </p:nvSpPr>
        <p:spPr>
          <a:xfrm>
            <a:off x="2220586" y="4846092"/>
            <a:ext cx="4389822" cy="707886"/>
          </a:xfrm>
          <a:prstGeom prst="rect">
            <a:avLst/>
          </a:prstGeom>
          <a:noFill/>
        </p:spPr>
        <p:txBody>
          <a:bodyPr wrap="square" lIns="72000" tIns="60960" rIns="36000" bIns="60960" rtlCol="0" anchor="t">
            <a:spAutoFit/>
          </a:bodyPr>
          <a:lstStyle/>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Apporte son expertise en matière de diagnostic</a:t>
            </a:r>
          </a:p>
          <a:p>
            <a:pPr marL="285744" lvl="2"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Réalise des entretiens et participe à l’animation des ateliers</a:t>
            </a:r>
          </a:p>
          <a:p>
            <a:pPr marL="285744" indent="-285744" defTabSz="914377">
              <a:buClr>
                <a:srgbClr val="4A66AC"/>
              </a:buClr>
              <a:buFont typeface="Wingdings" panose="05000000000000000000" pitchFamily="2" charset="2"/>
              <a:buChar char="§"/>
              <a:defRPr/>
            </a:pPr>
            <a:r>
              <a:rPr lang="fr-FR" sz="950">
                <a:solidFill>
                  <a:srgbClr val="242852">
                    <a:lumMod val="10000"/>
                  </a:srgbClr>
                </a:solidFill>
                <a:latin typeface="+mj-lt"/>
              </a:rPr>
              <a:t>Prépare les supports et rédige les CR des entretiens et ateliers</a:t>
            </a:r>
          </a:p>
          <a:p>
            <a:pPr marL="285320" indent="-285320" defTabSz="914377">
              <a:buClr>
                <a:srgbClr val="4A66AC"/>
              </a:buClr>
              <a:buFont typeface="Wingdings" panose="05000000000000000000" pitchFamily="2" charset="2"/>
              <a:buChar char="§"/>
            </a:pPr>
            <a:r>
              <a:rPr lang="fr-FR" sz="950">
                <a:solidFill>
                  <a:srgbClr val="242852"/>
                </a:solidFill>
                <a:latin typeface="+mj-lt"/>
                <a:cs typeface="Arial"/>
                <a:sym typeface="Arial"/>
              </a:rPr>
              <a:t>Participe à la rédaction des synthèses et des restitutions</a:t>
            </a:r>
            <a:endParaRPr lang="fr-FR" sz="950" kern="0">
              <a:solidFill>
                <a:srgbClr val="242852"/>
              </a:solidFill>
              <a:latin typeface="+mj-lt"/>
              <a:cs typeface="Arial"/>
              <a:sym typeface="Arial"/>
            </a:endParaRPr>
          </a:p>
        </p:txBody>
      </p:sp>
      <p:cxnSp>
        <p:nvCxnSpPr>
          <p:cNvPr id="3138" name="Connecteur droit 3137">
            <a:extLst>
              <a:ext uri="{FF2B5EF4-FFF2-40B4-BE49-F238E27FC236}">
                <a16:creationId xmlns:a16="http://schemas.microsoft.com/office/drawing/2014/main" id="{29C282E9-E9AB-EE22-0E6F-5F89AE03F2DD}"/>
              </a:ext>
            </a:extLst>
          </p:cNvPr>
          <p:cNvCxnSpPr/>
          <p:nvPr/>
        </p:nvCxnSpPr>
        <p:spPr>
          <a:xfrm>
            <a:off x="630902" y="3313103"/>
            <a:ext cx="604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39" name="Connecteur droit 3138">
            <a:extLst>
              <a:ext uri="{FF2B5EF4-FFF2-40B4-BE49-F238E27FC236}">
                <a16:creationId xmlns:a16="http://schemas.microsoft.com/office/drawing/2014/main" id="{1127FBA1-A6AB-3CE3-93BE-F865F8E8C373}"/>
              </a:ext>
            </a:extLst>
          </p:cNvPr>
          <p:cNvCxnSpPr/>
          <p:nvPr/>
        </p:nvCxnSpPr>
        <p:spPr>
          <a:xfrm>
            <a:off x="570000" y="4622055"/>
            <a:ext cx="604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40" name="Connecteur droit 3139">
            <a:extLst>
              <a:ext uri="{FF2B5EF4-FFF2-40B4-BE49-F238E27FC236}">
                <a16:creationId xmlns:a16="http://schemas.microsoft.com/office/drawing/2014/main" id="{347A4031-348F-8878-9B9A-2392ED682CF4}"/>
              </a:ext>
            </a:extLst>
          </p:cNvPr>
          <p:cNvCxnSpPr/>
          <p:nvPr/>
        </p:nvCxnSpPr>
        <p:spPr>
          <a:xfrm>
            <a:off x="562408" y="5778014"/>
            <a:ext cx="604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tangle : coins arrondis 5">
            <a:extLst>
              <a:ext uri="{FF2B5EF4-FFF2-40B4-BE49-F238E27FC236}">
                <a16:creationId xmlns:a16="http://schemas.microsoft.com/office/drawing/2014/main" id="{67C6F395-AF0F-40C7-9BF4-34BE01AAA099}"/>
              </a:ext>
            </a:extLst>
          </p:cNvPr>
          <p:cNvSpPr/>
          <p:nvPr/>
        </p:nvSpPr>
        <p:spPr>
          <a:xfrm>
            <a:off x="6781221" y="1943413"/>
            <a:ext cx="5228543" cy="360000"/>
          </a:xfrm>
          <a:prstGeom prst="roundRect">
            <a:avLst/>
          </a:prstGeom>
          <a:solidFill>
            <a:srgbClr val="3366FF"/>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fontAlgn="base">
              <a:spcBef>
                <a:spcPct val="0"/>
              </a:spcBef>
              <a:spcAft>
                <a:spcPct val="0"/>
              </a:spcAft>
              <a:defRPr/>
            </a:pPr>
            <a:r>
              <a:rPr lang="fr-FR" sz="1200" b="1">
                <a:solidFill>
                  <a:prstClr val="white"/>
                </a:solidFill>
                <a:latin typeface="Calibri" panose="020F0502020204030204"/>
              </a:rPr>
              <a:t>        </a:t>
            </a:r>
            <a:r>
              <a:rPr lang="fr-FR" sz="1100" b="1">
                <a:solidFill>
                  <a:prstClr val="white"/>
                </a:solidFill>
                <a:latin typeface="+mj-lt"/>
              </a:rPr>
              <a:t>Laurence ANGILBERT    /        Vincent MESLIN</a:t>
            </a:r>
            <a:endParaRPr lang="fr-FR" sz="1200" b="1">
              <a:solidFill>
                <a:prstClr val="white"/>
              </a:solidFill>
              <a:latin typeface="+mj-lt"/>
            </a:endParaRPr>
          </a:p>
          <a:p>
            <a:pPr algn="ctr" fontAlgn="base">
              <a:spcBef>
                <a:spcPct val="0"/>
              </a:spcBef>
              <a:spcAft>
                <a:spcPct val="0"/>
              </a:spcAft>
              <a:defRPr/>
            </a:pPr>
            <a:r>
              <a:rPr lang="fr-FR" sz="1100" b="1">
                <a:solidFill>
                  <a:prstClr val="white"/>
                </a:solidFill>
                <a:latin typeface="Calibri" panose="020F0502020204030204"/>
              </a:rPr>
              <a:t>            </a:t>
            </a:r>
            <a:endParaRPr lang="fr-FR" sz="1100" b="1">
              <a:solidFill>
                <a:prstClr val="white"/>
              </a:solidFill>
              <a:latin typeface="Calibri" panose="020F0502020204030204"/>
              <a:sym typeface="Arial"/>
            </a:endParaRPr>
          </a:p>
        </p:txBody>
      </p:sp>
      <p:pic>
        <p:nvPicPr>
          <p:cNvPr id="7" name="Picture 2" descr="C:\Users\langilbert\Pictures\Images Laurence\Photos moi\162 N et B.jpg">
            <a:extLst>
              <a:ext uri="{FF2B5EF4-FFF2-40B4-BE49-F238E27FC236}">
                <a16:creationId xmlns:a16="http://schemas.microsoft.com/office/drawing/2014/main" id="{6E64AAC8-2A8E-9C54-D4FE-49A5E2BF6DC3}"/>
              </a:ext>
            </a:extLst>
          </p:cNvPr>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73275" y="2319938"/>
            <a:ext cx="468000" cy="61200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cteur droit 10">
            <a:extLst>
              <a:ext uri="{FF2B5EF4-FFF2-40B4-BE49-F238E27FC236}">
                <a16:creationId xmlns:a16="http://schemas.microsoft.com/office/drawing/2014/main" id="{6F8DEDF9-BA50-6DCA-460A-2C7082FB7949}"/>
              </a:ext>
            </a:extLst>
          </p:cNvPr>
          <p:cNvCxnSpPr>
            <a:cxnSpLocks/>
          </p:cNvCxnSpPr>
          <p:nvPr/>
        </p:nvCxnSpPr>
        <p:spPr>
          <a:xfrm>
            <a:off x="6733275" y="1895709"/>
            <a:ext cx="52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 coins arrondis 11">
            <a:extLst>
              <a:ext uri="{FF2B5EF4-FFF2-40B4-BE49-F238E27FC236}">
                <a16:creationId xmlns:a16="http://schemas.microsoft.com/office/drawing/2014/main" id="{3F117BDD-C39E-2C8D-19B4-D77EB3FA4402}"/>
              </a:ext>
            </a:extLst>
          </p:cNvPr>
          <p:cNvSpPr/>
          <p:nvPr/>
        </p:nvSpPr>
        <p:spPr>
          <a:xfrm>
            <a:off x="8728444" y="3395718"/>
            <a:ext cx="1547999" cy="360000"/>
          </a:xfrm>
          <a:prstGeom prst="roundRect">
            <a:avLst/>
          </a:prstGeom>
          <a:solidFill>
            <a:srgbClr val="1C5C7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defTabSz="914377" fontAlgn="base">
              <a:spcBef>
                <a:spcPct val="0"/>
              </a:spcBef>
              <a:spcAft>
                <a:spcPct val="0"/>
              </a:spcAft>
              <a:defRPr/>
            </a:pPr>
            <a:r>
              <a:rPr lang="fr-FR" sz="900" b="1">
                <a:solidFill>
                  <a:prstClr val="white"/>
                </a:solidFill>
                <a:latin typeface="+mj-lt"/>
                <a:sym typeface="Arial"/>
              </a:rPr>
              <a:t>Jean-Jacques SCEMAMA</a:t>
            </a:r>
          </a:p>
          <a:p>
            <a:pPr algn="ctr" defTabSz="914377" fontAlgn="base">
              <a:spcBef>
                <a:spcPct val="0"/>
              </a:spcBef>
              <a:spcAft>
                <a:spcPct val="0"/>
              </a:spcAft>
              <a:defRPr/>
            </a:pPr>
            <a:r>
              <a:rPr lang="fr-FR" sz="1000" b="1">
                <a:solidFill>
                  <a:prstClr val="white"/>
                </a:solidFill>
                <a:latin typeface="+mj-lt"/>
                <a:sym typeface="Arial"/>
              </a:rPr>
              <a:t>Manager Senior</a:t>
            </a:r>
          </a:p>
        </p:txBody>
      </p:sp>
      <p:pic>
        <p:nvPicPr>
          <p:cNvPr id="20" name="Image 19" descr="Une image contenant personne, Visage humain, portrait, habits&#10;&#10;Description générée automatiquement">
            <a:extLst>
              <a:ext uri="{FF2B5EF4-FFF2-40B4-BE49-F238E27FC236}">
                <a16:creationId xmlns:a16="http://schemas.microsoft.com/office/drawing/2014/main" id="{C1328683-4381-7CF7-5A0F-451F29C4E843}"/>
              </a:ext>
            </a:extLst>
          </p:cNvPr>
          <p:cNvPicPr>
            <a:picLocks/>
          </p:cNvPicPr>
          <p:nvPr/>
        </p:nvPicPr>
        <p:blipFill rotWithShape="1">
          <a:blip r:embed="rId3">
            <a:extLst>
              <a:ext uri="{28A0092B-C50C-407E-A947-70E740481C1C}">
                <a14:useLocalDpi xmlns:a14="http://schemas.microsoft.com/office/drawing/2010/main" val="0"/>
              </a:ext>
            </a:extLst>
          </a:blip>
          <a:srcRect b="-1356"/>
          <a:stretch/>
        </p:blipFill>
        <p:spPr>
          <a:xfrm>
            <a:off x="9250443" y="3878027"/>
            <a:ext cx="504000" cy="504000"/>
          </a:xfrm>
          <a:prstGeom prst="rect">
            <a:avLst/>
          </a:prstGeom>
        </p:spPr>
      </p:pic>
      <p:sp>
        <p:nvSpPr>
          <p:cNvPr id="25" name="Rectangle : coins arrondis 24">
            <a:extLst>
              <a:ext uri="{FF2B5EF4-FFF2-40B4-BE49-F238E27FC236}">
                <a16:creationId xmlns:a16="http://schemas.microsoft.com/office/drawing/2014/main" id="{04851978-B325-438F-8D1D-2BA9528D0B6E}"/>
              </a:ext>
            </a:extLst>
          </p:cNvPr>
          <p:cNvSpPr/>
          <p:nvPr/>
        </p:nvSpPr>
        <p:spPr>
          <a:xfrm>
            <a:off x="6883275" y="3395718"/>
            <a:ext cx="1512000" cy="396000"/>
          </a:xfrm>
          <a:prstGeom prst="roundRect">
            <a:avLst/>
          </a:prstGeom>
          <a:solidFill>
            <a:srgbClr val="526FB8"/>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David CASTELNAU</a:t>
            </a:r>
          </a:p>
          <a:p>
            <a:pPr algn="ctr" defTabSz="914377" fontAlgn="base">
              <a:spcBef>
                <a:spcPct val="0"/>
              </a:spcBef>
              <a:spcAft>
                <a:spcPct val="0"/>
              </a:spcAft>
              <a:defRPr/>
            </a:pPr>
            <a:r>
              <a:rPr lang="fr-FR" sz="1000" b="1">
                <a:solidFill>
                  <a:prstClr val="white"/>
                </a:solidFill>
                <a:latin typeface="+mj-lt"/>
                <a:sym typeface="Arial"/>
              </a:rPr>
              <a:t>Manager Senior</a:t>
            </a:r>
          </a:p>
        </p:txBody>
      </p:sp>
      <p:pic>
        <p:nvPicPr>
          <p:cNvPr id="28" name="Image 27">
            <a:extLst>
              <a:ext uri="{FF2B5EF4-FFF2-40B4-BE49-F238E27FC236}">
                <a16:creationId xmlns:a16="http://schemas.microsoft.com/office/drawing/2014/main" id="{264AE094-9A5F-331F-862D-8C16F000906E}"/>
              </a:ext>
            </a:extLst>
          </p:cNvPr>
          <p:cNvPicPr>
            <a:picLocks/>
          </p:cNvPicPr>
          <p:nvPr/>
        </p:nvPicPr>
        <p:blipFill rotWithShape="1">
          <a:blip r:embed="rId4"/>
          <a:srcRect l="13142" b="13565"/>
          <a:stretch/>
        </p:blipFill>
        <p:spPr>
          <a:xfrm>
            <a:off x="7405275" y="3853572"/>
            <a:ext cx="468000" cy="612000"/>
          </a:xfrm>
          <a:prstGeom prst="rect">
            <a:avLst/>
          </a:prstGeom>
        </p:spPr>
      </p:pic>
      <p:sp>
        <p:nvSpPr>
          <p:cNvPr id="29" name="Rectangle : coins arrondis 28">
            <a:extLst>
              <a:ext uri="{FF2B5EF4-FFF2-40B4-BE49-F238E27FC236}">
                <a16:creationId xmlns:a16="http://schemas.microsoft.com/office/drawing/2014/main" id="{1B7A27FE-BF97-B4CE-C978-83FC3307D569}"/>
              </a:ext>
            </a:extLst>
          </p:cNvPr>
          <p:cNvSpPr/>
          <p:nvPr/>
        </p:nvSpPr>
        <p:spPr>
          <a:xfrm>
            <a:off x="8728443" y="4655548"/>
            <a:ext cx="1548000" cy="396000"/>
          </a:xfrm>
          <a:prstGeom prst="roundRect">
            <a:avLst/>
          </a:prstGeom>
          <a:solidFill>
            <a:srgbClr val="239BA1"/>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Marine GILANTON</a:t>
            </a:r>
          </a:p>
          <a:p>
            <a:pPr algn="ctr" defTabSz="914377" fontAlgn="base">
              <a:spcBef>
                <a:spcPct val="0"/>
              </a:spcBef>
              <a:spcAft>
                <a:spcPct val="0"/>
              </a:spcAft>
              <a:defRPr/>
            </a:pPr>
            <a:r>
              <a:rPr lang="fr-FR" sz="1000" b="1">
                <a:solidFill>
                  <a:prstClr val="white"/>
                </a:solidFill>
                <a:latin typeface="+mj-lt"/>
                <a:sym typeface="Arial"/>
              </a:rPr>
              <a:t>Consultante Senior</a:t>
            </a:r>
          </a:p>
        </p:txBody>
      </p:sp>
      <p:sp>
        <p:nvSpPr>
          <p:cNvPr id="30" name="Rectangle : coins arrondis 29">
            <a:extLst>
              <a:ext uri="{FF2B5EF4-FFF2-40B4-BE49-F238E27FC236}">
                <a16:creationId xmlns:a16="http://schemas.microsoft.com/office/drawing/2014/main" id="{EA71B3C8-818D-25C4-5EA4-982EA87646E3}"/>
              </a:ext>
            </a:extLst>
          </p:cNvPr>
          <p:cNvSpPr/>
          <p:nvPr/>
        </p:nvSpPr>
        <p:spPr>
          <a:xfrm>
            <a:off x="8723190" y="5772734"/>
            <a:ext cx="1558507" cy="396000"/>
          </a:xfrm>
          <a:prstGeom prst="roundRect">
            <a:avLst/>
          </a:prstGeom>
          <a:solidFill>
            <a:srgbClr val="4BD2D9"/>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Julia PONT</a:t>
            </a:r>
          </a:p>
          <a:p>
            <a:pPr algn="ctr" defTabSz="914377" fontAlgn="base">
              <a:spcBef>
                <a:spcPct val="0"/>
              </a:spcBef>
              <a:spcAft>
                <a:spcPct val="0"/>
              </a:spcAft>
              <a:defRPr/>
            </a:pPr>
            <a:r>
              <a:rPr lang="fr-FR" sz="1000" b="1">
                <a:solidFill>
                  <a:prstClr val="white"/>
                </a:solidFill>
                <a:latin typeface="+mj-lt"/>
                <a:sym typeface="Arial"/>
              </a:rPr>
              <a:t>Consultante</a:t>
            </a:r>
          </a:p>
        </p:txBody>
      </p:sp>
      <p:pic>
        <p:nvPicPr>
          <p:cNvPr id="32" name="Image 31">
            <a:extLst>
              <a:ext uri="{FF2B5EF4-FFF2-40B4-BE49-F238E27FC236}">
                <a16:creationId xmlns:a16="http://schemas.microsoft.com/office/drawing/2014/main" id="{9012407F-3D40-0B09-C64C-37E364704C6A}"/>
              </a:ext>
            </a:extLst>
          </p:cNvPr>
          <p:cNvPicPr>
            <a:picLocks/>
          </p:cNvPicPr>
          <p:nvPr/>
        </p:nvPicPr>
        <p:blipFill>
          <a:blip r:embed="rId5"/>
          <a:stretch>
            <a:fillRect/>
          </a:stretch>
        </p:blipFill>
        <p:spPr>
          <a:xfrm>
            <a:off x="9268443" y="5079941"/>
            <a:ext cx="468000" cy="612000"/>
          </a:xfrm>
          <a:prstGeom prst="rect">
            <a:avLst/>
          </a:prstGeom>
        </p:spPr>
      </p:pic>
      <p:pic>
        <p:nvPicPr>
          <p:cNvPr id="33" name="Image 32">
            <a:extLst>
              <a:ext uri="{FF2B5EF4-FFF2-40B4-BE49-F238E27FC236}">
                <a16:creationId xmlns:a16="http://schemas.microsoft.com/office/drawing/2014/main" id="{106B1BA6-44FA-E08E-088E-711FA4ADD58C}"/>
              </a:ext>
            </a:extLst>
          </p:cNvPr>
          <p:cNvPicPr>
            <a:picLocks/>
          </p:cNvPicPr>
          <p:nvPr/>
        </p:nvPicPr>
        <p:blipFill>
          <a:blip r:embed="rId6"/>
          <a:stretch>
            <a:fillRect/>
          </a:stretch>
        </p:blipFill>
        <p:spPr>
          <a:xfrm>
            <a:off x="9268443" y="6198601"/>
            <a:ext cx="468000" cy="612000"/>
          </a:xfrm>
          <a:prstGeom prst="rect">
            <a:avLst/>
          </a:prstGeom>
        </p:spPr>
      </p:pic>
      <p:sp>
        <p:nvSpPr>
          <p:cNvPr id="34" name="Rectangle : coins arrondis 33">
            <a:extLst>
              <a:ext uri="{FF2B5EF4-FFF2-40B4-BE49-F238E27FC236}">
                <a16:creationId xmlns:a16="http://schemas.microsoft.com/office/drawing/2014/main" id="{C26CB84A-71A5-62BF-AB7D-17DE4EA1E775}"/>
              </a:ext>
            </a:extLst>
          </p:cNvPr>
          <p:cNvSpPr/>
          <p:nvPr/>
        </p:nvSpPr>
        <p:spPr>
          <a:xfrm>
            <a:off x="10388227" y="3377718"/>
            <a:ext cx="1548000" cy="3960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Philippe LERIQUE</a:t>
            </a:r>
          </a:p>
          <a:p>
            <a:pPr algn="ctr" defTabSz="914377" fontAlgn="base">
              <a:spcBef>
                <a:spcPct val="0"/>
              </a:spcBef>
              <a:spcAft>
                <a:spcPct val="0"/>
              </a:spcAft>
              <a:defRPr/>
            </a:pPr>
            <a:r>
              <a:rPr lang="fr-FR" sz="1000" b="1">
                <a:solidFill>
                  <a:prstClr val="white"/>
                </a:solidFill>
                <a:latin typeface="+mj-lt"/>
                <a:sym typeface="Arial"/>
              </a:rPr>
              <a:t>Partner</a:t>
            </a:r>
          </a:p>
        </p:txBody>
      </p:sp>
      <p:sp>
        <p:nvSpPr>
          <p:cNvPr id="35" name="Rectangle : coins arrondis 34">
            <a:extLst>
              <a:ext uri="{FF2B5EF4-FFF2-40B4-BE49-F238E27FC236}">
                <a16:creationId xmlns:a16="http://schemas.microsoft.com/office/drawing/2014/main" id="{CB50978B-62D0-A695-F87C-A8AC48933E2C}"/>
              </a:ext>
            </a:extLst>
          </p:cNvPr>
          <p:cNvSpPr/>
          <p:nvPr/>
        </p:nvSpPr>
        <p:spPr>
          <a:xfrm>
            <a:off x="6860022" y="5772734"/>
            <a:ext cx="1558506" cy="396000"/>
          </a:xfrm>
          <a:prstGeom prst="roundRect">
            <a:avLst/>
          </a:prstGeom>
          <a:solidFill>
            <a:srgbClr val="66B9DB"/>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Cyprien ARETHUSE</a:t>
            </a:r>
          </a:p>
          <a:p>
            <a:pPr algn="ctr" defTabSz="914377" fontAlgn="base">
              <a:spcBef>
                <a:spcPct val="0"/>
              </a:spcBef>
              <a:spcAft>
                <a:spcPct val="0"/>
              </a:spcAft>
              <a:defRPr/>
            </a:pPr>
            <a:r>
              <a:rPr lang="fr-FR" sz="1000" b="1">
                <a:solidFill>
                  <a:prstClr val="white"/>
                </a:solidFill>
                <a:latin typeface="+mj-lt"/>
                <a:sym typeface="Arial"/>
              </a:rPr>
              <a:t>Consultant </a:t>
            </a:r>
          </a:p>
        </p:txBody>
      </p:sp>
      <p:sp>
        <p:nvSpPr>
          <p:cNvPr id="36" name="Rectangle : coins arrondis 35">
            <a:extLst>
              <a:ext uri="{FF2B5EF4-FFF2-40B4-BE49-F238E27FC236}">
                <a16:creationId xmlns:a16="http://schemas.microsoft.com/office/drawing/2014/main" id="{D60B7B8D-2595-89E0-47E8-654F4AD07519}"/>
              </a:ext>
            </a:extLst>
          </p:cNvPr>
          <p:cNvSpPr/>
          <p:nvPr/>
        </p:nvSpPr>
        <p:spPr>
          <a:xfrm>
            <a:off x="6883275" y="4663548"/>
            <a:ext cx="1512000" cy="396000"/>
          </a:xfrm>
          <a:prstGeom prst="roundRect">
            <a:avLst/>
          </a:prstGeom>
          <a:solidFill>
            <a:srgbClr val="91A9E6"/>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Soumaya ZERHOUNI</a:t>
            </a:r>
          </a:p>
          <a:p>
            <a:pPr algn="ctr" defTabSz="914377" fontAlgn="base">
              <a:spcBef>
                <a:spcPct val="0"/>
              </a:spcBef>
              <a:spcAft>
                <a:spcPct val="0"/>
              </a:spcAft>
              <a:defRPr/>
            </a:pPr>
            <a:r>
              <a:rPr lang="fr-FR" sz="1000" b="1">
                <a:solidFill>
                  <a:prstClr val="white"/>
                </a:solidFill>
                <a:latin typeface="+mj-lt"/>
                <a:sym typeface="Arial"/>
              </a:rPr>
              <a:t>Consultante Senior</a:t>
            </a:r>
          </a:p>
        </p:txBody>
      </p:sp>
      <p:pic>
        <p:nvPicPr>
          <p:cNvPr id="37" name="Image 36">
            <a:extLst>
              <a:ext uri="{FF2B5EF4-FFF2-40B4-BE49-F238E27FC236}">
                <a16:creationId xmlns:a16="http://schemas.microsoft.com/office/drawing/2014/main" id="{6105143F-65FC-0676-4607-F22DC87946DD}"/>
              </a:ext>
            </a:extLst>
          </p:cNvPr>
          <p:cNvPicPr>
            <a:picLocks/>
          </p:cNvPicPr>
          <p:nvPr/>
        </p:nvPicPr>
        <p:blipFill>
          <a:blip r:embed="rId7">
            <a:extLst>
              <a:ext uri="{28A0092B-C50C-407E-A947-70E740481C1C}">
                <a14:useLocalDpi xmlns:a14="http://schemas.microsoft.com/office/drawing/2010/main" val="0"/>
              </a:ext>
            </a:extLst>
          </a:blip>
          <a:srcRect l="13670" r="13670"/>
          <a:stretch/>
        </p:blipFill>
        <p:spPr>
          <a:xfrm>
            <a:off x="7405275" y="5115981"/>
            <a:ext cx="468000" cy="612000"/>
          </a:xfrm>
          <a:prstGeom prst="rect">
            <a:avLst/>
          </a:prstGeom>
        </p:spPr>
      </p:pic>
      <p:sp>
        <p:nvSpPr>
          <p:cNvPr id="38" name="Rectangle : coins arrondis 37">
            <a:extLst>
              <a:ext uri="{FF2B5EF4-FFF2-40B4-BE49-F238E27FC236}">
                <a16:creationId xmlns:a16="http://schemas.microsoft.com/office/drawing/2014/main" id="{2DADD31F-CE97-1B20-0C7D-5AC3727E1652}"/>
              </a:ext>
            </a:extLst>
          </p:cNvPr>
          <p:cNvSpPr/>
          <p:nvPr/>
        </p:nvSpPr>
        <p:spPr>
          <a:xfrm>
            <a:off x="10388227" y="4661860"/>
            <a:ext cx="1548000" cy="396000"/>
          </a:xfrm>
          <a:prstGeom prst="round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377" fontAlgn="base">
              <a:spcBef>
                <a:spcPct val="0"/>
              </a:spcBef>
              <a:spcAft>
                <a:spcPct val="0"/>
              </a:spcAft>
              <a:defRPr/>
            </a:pPr>
            <a:r>
              <a:rPr lang="fr-FR" sz="1050" b="1">
                <a:solidFill>
                  <a:prstClr val="white"/>
                </a:solidFill>
                <a:latin typeface="+mj-lt"/>
                <a:sym typeface="Arial"/>
              </a:rPr>
              <a:t>Simone NERI</a:t>
            </a:r>
          </a:p>
          <a:p>
            <a:pPr algn="ctr" defTabSz="914377" fontAlgn="base">
              <a:spcBef>
                <a:spcPct val="0"/>
              </a:spcBef>
              <a:spcAft>
                <a:spcPct val="0"/>
              </a:spcAft>
              <a:defRPr/>
            </a:pPr>
            <a:r>
              <a:rPr lang="fr-FR" sz="1000" b="1">
                <a:solidFill>
                  <a:prstClr val="white"/>
                </a:solidFill>
                <a:latin typeface="+mj-lt"/>
                <a:sym typeface="Arial"/>
              </a:rPr>
              <a:t>Manager Senior</a:t>
            </a:r>
          </a:p>
        </p:txBody>
      </p:sp>
      <p:pic>
        <p:nvPicPr>
          <p:cNvPr id="39" name="Image 38">
            <a:extLst>
              <a:ext uri="{FF2B5EF4-FFF2-40B4-BE49-F238E27FC236}">
                <a16:creationId xmlns:a16="http://schemas.microsoft.com/office/drawing/2014/main" id="{B2C3E833-A66E-6D6B-C231-F826ABED39F7}"/>
              </a:ext>
            </a:extLst>
          </p:cNvPr>
          <p:cNvPicPr>
            <a:picLocks/>
          </p:cNvPicPr>
          <p:nvPr/>
        </p:nvPicPr>
        <p:blipFill>
          <a:blip r:embed="rId8"/>
          <a:stretch>
            <a:fillRect/>
          </a:stretch>
        </p:blipFill>
        <p:spPr>
          <a:xfrm>
            <a:off x="10928227" y="5101167"/>
            <a:ext cx="468000" cy="612000"/>
          </a:xfrm>
          <a:prstGeom prst="rect">
            <a:avLst/>
          </a:prstGeom>
        </p:spPr>
      </p:pic>
      <p:sp>
        <p:nvSpPr>
          <p:cNvPr id="44" name="ZoneTexte 43">
            <a:extLst>
              <a:ext uri="{FF2B5EF4-FFF2-40B4-BE49-F238E27FC236}">
                <a16:creationId xmlns:a16="http://schemas.microsoft.com/office/drawing/2014/main" id="{24B2E04C-02B6-E0BB-28CD-46E238C100DF}"/>
              </a:ext>
            </a:extLst>
          </p:cNvPr>
          <p:cNvSpPr txBox="1"/>
          <p:nvPr/>
        </p:nvSpPr>
        <p:spPr>
          <a:xfrm>
            <a:off x="8520938" y="1643657"/>
            <a:ext cx="2147061" cy="261610"/>
          </a:xfrm>
          <a:prstGeom prst="rect">
            <a:avLst/>
          </a:prstGeom>
          <a:noFill/>
        </p:spPr>
        <p:txBody>
          <a:bodyPr wrap="square" rtlCol="0">
            <a:spAutoFit/>
          </a:bodyPr>
          <a:lstStyle/>
          <a:p>
            <a:pPr algn="ctr" defTabSz="914377"/>
            <a:r>
              <a:rPr lang="fr-FR" sz="1100" b="1" i="1">
                <a:solidFill>
                  <a:prstClr val="black"/>
                </a:solidFill>
                <a:latin typeface="+mj-lt"/>
                <a:cs typeface="Arial"/>
                <a:sym typeface="Arial"/>
              </a:rPr>
              <a:t>Missions et intervenants</a:t>
            </a:r>
          </a:p>
        </p:txBody>
      </p:sp>
      <p:pic>
        <p:nvPicPr>
          <p:cNvPr id="45" name="Image 44" descr="Une image contenant personne, Visage humain, sourire, homme&#10;&#10;Description générée automatiquement">
            <a:extLst>
              <a:ext uri="{FF2B5EF4-FFF2-40B4-BE49-F238E27FC236}">
                <a16:creationId xmlns:a16="http://schemas.microsoft.com/office/drawing/2014/main" id="{682FE177-E881-B02F-B827-FB67DD7D23CB}"/>
              </a:ext>
            </a:extLst>
          </p:cNvPr>
          <p:cNvPicPr>
            <a:picLocks/>
          </p:cNvPicPr>
          <p:nvPr/>
        </p:nvPicPr>
        <p:blipFill>
          <a:blip r:embed="rId9">
            <a:extLst>
              <a:ext uri="{28A0092B-C50C-407E-A947-70E740481C1C}">
                <a14:useLocalDpi xmlns:a14="http://schemas.microsoft.com/office/drawing/2010/main" val="0"/>
              </a:ext>
            </a:extLst>
          </a:blip>
          <a:stretch>
            <a:fillRect/>
          </a:stretch>
        </p:blipFill>
        <p:spPr>
          <a:xfrm>
            <a:off x="7405275" y="6198601"/>
            <a:ext cx="468000" cy="612000"/>
          </a:xfrm>
          <a:prstGeom prst="rect">
            <a:avLst/>
          </a:prstGeom>
        </p:spPr>
      </p:pic>
      <p:cxnSp>
        <p:nvCxnSpPr>
          <p:cNvPr id="47" name="Connecteur droit 46">
            <a:extLst>
              <a:ext uri="{FF2B5EF4-FFF2-40B4-BE49-F238E27FC236}">
                <a16:creationId xmlns:a16="http://schemas.microsoft.com/office/drawing/2014/main" id="{2F252450-8C69-8916-A173-7181E3832C56}"/>
              </a:ext>
            </a:extLst>
          </p:cNvPr>
          <p:cNvCxnSpPr>
            <a:cxnSpLocks/>
          </p:cNvCxnSpPr>
          <p:nvPr/>
        </p:nvCxnSpPr>
        <p:spPr>
          <a:xfrm>
            <a:off x="2294016" y="1895709"/>
            <a:ext cx="43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2EF13003-8513-B02D-07C1-43F62BDDB7CF}"/>
              </a:ext>
            </a:extLst>
          </p:cNvPr>
          <p:cNvCxnSpPr>
            <a:cxnSpLocks/>
          </p:cNvCxnSpPr>
          <p:nvPr/>
        </p:nvCxnSpPr>
        <p:spPr>
          <a:xfrm>
            <a:off x="649429" y="1895709"/>
            <a:ext cx="151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49" name="Picture 2" descr="Italy ">
            <a:extLst>
              <a:ext uri="{FF2B5EF4-FFF2-40B4-BE49-F238E27FC236}">
                <a16:creationId xmlns:a16="http://schemas.microsoft.com/office/drawing/2014/main" id="{65822E50-F78B-50A4-79B4-D95E34C304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00227" y="3036475"/>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Spain ">
            <a:extLst>
              <a:ext uri="{FF2B5EF4-FFF2-40B4-BE49-F238E27FC236}">
                <a16:creationId xmlns:a16="http://schemas.microsoft.com/office/drawing/2014/main" id="{96AEEA87-3DA4-911F-0E00-00AA661DD8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40443" y="3027427"/>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France ">
            <a:extLst>
              <a:ext uri="{FF2B5EF4-FFF2-40B4-BE49-F238E27FC236}">
                <a16:creationId xmlns:a16="http://schemas.microsoft.com/office/drawing/2014/main" id="{F478A456-8669-0CD2-84A9-702B56C5E10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77275" y="3013608"/>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46" name="Image 45">
            <a:extLst>
              <a:ext uri="{FF2B5EF4-FFF2-40B4-BE49-F238E27FC236}">
                <a16:creationId xmlns:a16="http://schemas.microsoft.com/office/drawing/2014/main" id="{F6A6ABF9-E349-58FC-4E7B-E96973F6A1AE}"/>
              </a:ext>
            </a:extLst>
          </p:cNvPr>
          <p:cNvPicPr>
            <a:picLocks/>
          </p:cNvPicPr>
          <p:nvPr/>
        </p:nvPicPr>
        <p:blipFill>
          <a:blip r:embed="rId13">
            <a:extLst>
              <a:ext uri="{28A0092B-C50C-407E-A947-70E740481C1C}">
                <a14:useLocalDpi xmlns:a14="http://schemas.microsoft.com/office/drawing/2010/main" val="0"/>
              </a:ext>
            </a:extLst>
          </a:blip>
          <a:srcRect t="962" b="962"/>
          <a:stretch/>
        </p:blipFill>
        <p:spPr>
          <a:xfrm>
            <a:off x="10928227" y="3853572"/>
            <a:ext cx="468000" cy="612000"/>
          </a:xfrm>
          <a:prstGeom prst="rect">
            <a:avLst/>
          </a:prstGeom>
        </p:spPr>
      </p:pic>
      <p:pic>
        <p:nvPicPr>
          <p:cNvPr id="1026" name="Picture 2" descr="Flag ">
            <a:extLst>
              <a:ext uri="{FF2B5EF4-FFF2-40B4-BE49-F238E27FC236}">
                <a16:creationId xmlns:a16="http://schemas.microsoft.com/office/drawing/2014/main" id="{6773D3C6-1156-CADE-A3A6-0DEC5DC6646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47838" y="5498783"/>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taly ">
            <a:extLst>
              <a:ext uri="{FF2B5EF4-FFF2-40B4-BE49-F238E27FC236}">
                <a16:creationId xmlns:a16="http://schemas.microsoft.com/office/drawing/2014/main" id="{36E2A3E5-8701-5B3F-A001-4045FAFCE51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660862" y="4269642"/>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nited Kingdom ">
            <a:extLst>
              <a:ext uri="{FF2B5EF4-FFF2-40B4-BE49-F238E27FC236}">
                <a16:creationId xmlns:a16="http://schemas.microsoft.com/office/drawing/2014/main" id="{A6CECA1F-640C-4C9E-6E7B-DB4ACABF997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841381" y="4283548"/>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United Kingdom ">
            <a:extLst>
              <a:ext uri="{FF2B5EF4-FFF2-40B4-BE49-F238E27FC236}">
                <a16:creationId xmlns:a16="http://schemas.microsoft.com/office/drawing/2014/main" id="{93A0D59B-4E15-A867-594D-DD31A0C0E31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838496" y="5498783"/>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United Kingdom ">
            <a:extLst>
              <a:ext uri="{FF2B5EF4-FFF2-40B4-BE49-F238E27FC236}">
                <a16:creationId xmlns:a16="http://schemas.microsoft.com/office/drawing/2014/main" id="{605523DD-C5B0-4764-16D8-9901211C23E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54811" y="5534815"/>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United Kingdom ">
            <a:extLst>
              <a:ext uri="{FF2B5EF4-FFF2-40B4-BE49-F238E27FC236}">
                <a16:creationId xmlns:a16="http://schemas.microsoft.com/office/drawing/2014/main" id="{DC5F8752-AABC-BBA9-0DC7-337F4CF88BA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54811" y="4265396"/>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taly ">
            <a:extLst>
              <a:ext uri="{FF2B5EF4-FFF2-40B4-BE49-F238E27FC236}">
                <a16:creationId xmlns:a16="http://schemas.microsoft.com/office/drawing/2014/main" id="{9DBB7292-A6CC-F24C-9DA3-9945C9174FC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646864" y="5529023"/>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United Kingdom ">
            <a:extLst>
              <a:ext uri="{FF2B5EF4-FFF2-40B4-BE49-F238E27FC236}">
                <a16:creationId xmlns:a16="http://schemas.microsoft.com/office/drawing/2014/main" id="{D29E4AC6-AE2A-EFBB-FA08-C1A879D2AA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826544" y="6612650"/>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United Kingdom ">
            <a:extLst>
              <a:ext uri="{FF2B5EF4-FFF2-40B4-BE49-F238E27FC236}">
                <a16:creationId xmlns:a16="http://schemas.microsoft.com/office/drawing/2014/main" id="{BC25BBB3-4AB8-45C9-7E27-6B1E17633C2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412816" y="2751113"/>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Flag ">
            <a:extLst>
              <a:ext uri="{FF2B5EF4-FFF2-40B4-BE49-F238E27FC236}">
                <a16:creationId xmlns:a16="http://schemas.microsoft.com/office/drawing/2014/main" id="{F32D145D-D990-A551-06AD-48657605A42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13387" y="2749479"/>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a:extLst>
              <a:ext uri="{FF2B5EF4-FFF2-40B4-BE49-F238E27FC236}">
                <a16:creationId xmlns:a16="http://schemas.microsoft.com/office/drawing/2014/main" id="{A1C8F869-56C7-1403-1D1C-BA4B98A6C756}"/>
              </a:ext>
            </a:extLst>
          </p:cNvPr>
          <p:cNvPicPr>
            <a:picLocks/>
          </p:cNvPicPr>
          <p:nvPr/>
        </p:nvPicPr>
        <p:blipFill rotWithShape="1">
          <a:blip r:embed="rId17"/>
          <a:srcRect l="8245" t="10798" r="24884" b="34817"/>
          <a:stretch/>
        </p:blipFill>
        <p:spPr>
          <a:xfrm>
            <a:off x="9838496" y="2319938"/>
            <a:ext cx="504000" cy="612000"/>
          </a:xfrm>
          <a:prstGeom prst="rect">
            <a:avLst/>
          </a:prstGeom>
        </p:spPr>
      </p:pic>
      <p:pic>
        <p:nvPicPr>
          <p:cNvPr id="10" name="Picture 6" descr="United Kingdom ">
            <a:extLst>
              <a:ext uri="{FF2B5EF4-FFF2-40B4-BE49-F238E27FC236}">
                <a16:creationId xmlns:a16="http://schemas.microsoft.com/office/drawing/2014/main" id="{7C8EA320-C122-C3B0-D133-E66B9CF52E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88227" y="2749479"/>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39">
            <a:extLst>
              <a:ext uri="{FF2B5EF4-FFF2-40B4-BE49-F238E27FC236}">
                <a16:creationId xmlns:a16="http://schemas.microsoft.com/office/drawing/2014/main" id="{61917F85-7081-109C-10C0-0AA555A07327}"/>
              </a:ext>
            </a:extLst>
          </p:cNvPr>
          <p:cNvSpPr txBox="1"/>
          <p:nvPr/>
        </p:nvSpPr>
        <p:spPr>
          <a:xfrm>
            <a:off x="9910195" y="2068085"/>
            <a:ext cx="1502841" cy="230832"/>
          </a:xfrm>
          <a:prstGeom prst="rect">
            <a:avLst/>
          </a:prstGeom>
          <a:noFill/>
        </p:spPr>
        <p:txBody>
          <a:bodyPr wrap="square" rtlCol="0">
            <a:spAutoFit/>
          </a:bodyPr>
          <a:lstStyle/>
          <a:p>
            <a:r>
              <a:rPr lang="fr-FR" sz="900" b="1">
                <a:solidFill>
                  <a:prstClr val="white"/>
                </a:solidFill>
                <a:latin typeface="+mj-lt"/>
              </a:rPr>
              <a:t>Engagement Manager</a:t>
            </a:r>
            <a:endParaRPr lang="fr-FR" sz="700">
              <a:latin typeface="+mj-lt"/>
            </a:endParaRPr>
          </a:p>
        </p:txBody>
      </p:sp>
      <p:sp>
        <p:nvSpPr>
          <p:cNvPr id="41" name="ZoneTexte 40">
            <a:extLst>
              <a:ext uri="{FF2B5EF4-FFF2-40B4-BE49-F238E27FC236}">
                <a16:creationId xmlns:a16="http://schemas.microsoft.com/office/drawing/2014/main" id="{4E450545-C395-9ED5-1E5F-BA57EDB4F63E}"/>
              </a:ext>
            </a:extLst>
          </p:cNvPr>
          <p:cNvSpPr txBox="1"/>
          <p:nvPr/>
        </p:nvSpPr>
        <p:spPr>
          <a:xfrm>
            <a:off x="8083747" y="2070256"/>
            <a:ext cx="1315476" cy="230832"/>
          </a:xfrm>
          <a:prstGeom prst="rect">
            <a:avLst/>
          </a:prstGeom>
          <a:noFill/>
        </p:spPr>
        <p:txBody>
          <a:bodyPr wrap="square" rtlCol="0">
            <a:spAutoFit/>
          </a:bodyPr>
          <a:lstStyle/>
          <a:p>
            <a:pPr algn="ctr"/>
            <a:r>
              <a:rPr lang="fr-FR" sz="900" b="1">
                <a:solidFill>
                  <a:prstClr val="white"/>
                </a:solidFill>
                <a:latin typeface="+mj-lt"/>
              </a:rPr>
              <a:t>Directrice</a:t>
            </a:r>
            <a:endParaRPr lang="fr-FR" sz="700">
              <a:latin typeface="+mj-lt"/>
            </a:endParaRPr>
          </a:p>
        </p:txBody>
      </p:sp>
      <p:sp>
        <p:nvSpPr>
          <p:cNvPr id="2" name="Titre 1">
            <a:extLst>
              <a:ext uri="{FF2B5EF4-FFF2-40B4-BE49-F238E27FC236}">
                <a16:creationId xmlns:a16="http://schemas.microsoft.com/office/drawing/2014/main" id="{BEA38F67-F385-2BE4-9892-47FB3402A942}"/>
              </a:ext>
            </a:extLst>
          </p:cNvPr>
          <p:cNvSpPr txBox="1">
            <a:spLocks/>
          </p:cNvSpPr>
          <p:nvPr/>
        </p:nvSpPr>
        <p:spPr>
          <a:xfrm>
            <a:off x="396654" y="141709"/>
            <a:ext cx="10320965"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kern="0">
                <a:solidFill>
                  <a:schemeClr val="bg2"/>
                </a:solidFill>
                <a:latin typeface="Arial Black" panose="020B0A04020102020204" pitchFamily="34" charset="0"/>
                <a:cs typeface="Calibri" panose="020F0502020204030204" pitchFamily="34" charset="0"/>
              </a:rPr>
              <a:t>UN DISPOSITIF COMPOSÉ DE 2 ÉQUIPES PERMETTANT LA COUVERTURE TOTALE DU PÉRIMÈTRE DE LA MISSION</a:t>
            </a:r>
          </a:p>
        </p:txBody>
      </p:sp>
      <p:sp>
        <p:nvSpPr>
          <p:cNvPr id="42" name="ZoneTexte 41">
            <a:extLst>
              <a:ext uri="{FF2B5EF4-FFF2-40B4-BE49-F238E27FC236}">
                <a16:creationId xmlns:a16="http://schemas.microsoft.com/office/drawing/2014/main" id="{8C97FA8F-9BFB-295C-23C2-75B588072413}"/>
              </a:ext>
            </a:extLst>
          </p:cNvPr>
          <p:cNvSpPr txBox="1"/>
          <p:nvPr/>
        </p:nvSpPr>
        <p:spPr>
          <a:xfrm>
            <a:off x="8347591" y="2344508"/>
            <a:ext cx="950981" cy="369332"/>
          </a:xfrm>
          <a:prstGeom prst="rect">
            <a:avLst/>
          </a:prstGeom>
          <a:noFill/>
        </p:spPr>
        <p:txBody>
          <a:bodyPr wrap="square" rtlCol="0">
            <a:spAutoFit/>
          </a:bodyPr>
          <a:lstStyle/>
          <a:p>
            <a:r>
              <a:rPr lang="fr-FR" sz="900" i="1"/>
              <a:t>Direction opérationnelle</a:t>
            </a:r>
          </a:p>
        </p:txBody>
      </p:sp>
      <p:sp>
        <p:nvSpPr>
          <p:cNvPr id="43" name="ZoneTexte 42">
            <a:extLst>
              <a:ext uri="{FF2B5EF4-FFF2-40B4-BE49-F238E27FC236}">
                <a16:creationId xmlns:a16="http://schemas.microsoft.com/office/drawing/2014/main" id="{F1B5E320-C397-AFB0-80DC-B93B9D711F3F}"/>
              </a:ext>
            </a:extLst>
          </p:cNvPr>
          <p:cNvSpPr txBox="1"/>
          <p:nvPr/>
        </p:nvSpPr>
        <p:spPr>
          <a:xfrm>
            <a:off x="10342496" y="2339407"/>
            <a:ext cx="950981" cy="369332"/>
          </a:xfrm>
          <a:prstGeom prst="rect">
            <a:avLst/>
          </a:prstGeom>
          <a:noFill/>
        </p:spPr>
        <p:txBody>
          <a:bodyPr wrap="square" rtlCol="0">
            <a:spAutoFit/>
          </a:bodyPr>
          <a:lstStyle/>
          <a:p>
            <a:r>
              <a:rPr lang="fr-FR" sz="900" i="1"/>
              <a:t>Garant de l’engagement</a:t>
            </a:r>
          </a:p>
        </p:txBody>
      </p:sp>
      <p:sp>
        <p:nvSpPr>
          <p:cNvPr id="8" name="ZoneTexte 7">
            <a:extLst>
              <a:ext uri="{FF2B5EF4-FFF2-40B4-BE49-F238E27FC236}">
                <a16:creationId xmlns:a16="http://schemas.microsoft.com/office/drawing/2014/main" id="{33CE7D01-12F6-9445-EC07-9D41C73955BB}"/>
              </a:ext>
            </a:extLst>
          </p:cNvPr>
          <p:cNvSpPr txBox="1"/>
          <p:nvPr/>
        </p:nvSpPr>
        <p:spPr>
          <a:xfrm>
            <a:off x="8736526" y="2716369"/>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80%</a:t>
            </a:r>
          </a:p>
        </p:txBody>
      </p:sp>
      <p:sp>
        <p:nvSpPr>
          <p:cNvPr id="52" name="ZoneTexte 51">
            <a:extLst>
              <a:ext uri="{FF2B5EF4-FFF2-40B4-BE49-F238E27FC236}">
                <a16:creationId xmlns:a16="http://schemas.microsoft.com/office/drawing/2014/main" id="{E60EFE31-8487-0530-9AAF-9E670DB121E9}"/>
              </a:ext>
            </a:extLst>
          </p:cNvPr>
          <p:cNvSpPr txBox="1"/>
          <p:nvPr/>
        </p:nvSpPr>
        <p:spPr>
          <a:xfrm>
            <a:off x="7899326" y="4050717"/>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100%</a:t>
            </a:r>
          </a:p>
        </p:txBody>
      </p:sp>
      <p:sp>
        <p:nvSpPr>
          <p:cNvPr id="53" name="ZoneTexte 52">
            <a:extLst>
              <a:ext uri="{FF2B5EF4-FFF2-40B4-BE49-F238E27FC236}">
                <a16:creationId xmlns:a16="http://schemas.microsoft.com/office/drawing/2014/main" id="{47632487-D404-0784-859F-EE11C8FA631A}"/>
              </a:ext>
            </a:extLst>
          </p:cNvPr>
          <p:cNvSpPr txBox="1"/>
          <p:nvPr/>
        </p:nvSpPr>
        <p:spPr>
          <a:xfrm>
            <a:off x="7899326" y="5281070"/>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100%</a:t>
            </a:r>
          </a:p>
        </p:txBody>
      </p:sp>
      <p:sp>
        <p:nvSpPr>
          <p:cNvPr id="55" name="ZoneTexte 54">
            <a:extLst>
              <a:ext uri="{FF2B5EF4-FFF2-40B4-BE49-F238E27FC236}">
                <a16:creationId xmlns:a16="http://schemas.microsoft.com/office/drawing/2014/main" id="{BED148EE-E868-B887-0230-77E096B4435F}"/>
              </a:ext>
            </a:extLst>
          </p:cNvPr>
          <p:cNvSpPr txBox="1"/>
          <p:nvPr/>
        </p:nvSpPr>
        <p:spPr>
          <a:xfrm>
            <a:off x="7878265" y="6371849"/>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100%</a:t>
            </a:r>
          </a:p>
        </p:txBody>
      </p:sp>
      <p:sp>
        <p:nvSpPr>
          <p:cNvPr id="57" name="ZoneTexte 56">
            <a:extLst>
              <a:ext uri="{FF2B5EF4-FFF2-40B4-BE49-F238E27FC236}">
                <a16:creationId xmlns:a16="http://schemas.microsoft.com/office/drawing/2014/main" id="{1AB2E4EA-C2D9-CAB8-5F60-668D0F7C1405}"/>
              </a:ext>
            </a:extLst>
          </p:cNvPr>
          <p:cNvSpPr txBox="1"/>
          <p:nvPr/>
        </p:nvSpPr>
        <p:spPr>
          <a:xfrm>
            <a:off x="9706833" y="6350492"/>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100%</a:t>
            </a:r>
          </a:p>
        </p:txBody>
      </p:sp>
      <p:sp>
        <p:nvSpPr>
          <p:cNvPr id="58" name="ZoneTexte 57">
            <a:extLst>
              <a:ext uri="{FF2B5EF4-FFF2-40B4-BE49-F238E27FC236}">
                <a16:creationId xmlns:a16="http://schemas.microsoft.com/office/drawing/2014/main" id="{6A0F70AB-9801-F4EF-246A-7171F0B2A35D}"/>
              </a:ext>
            </a:extLst>
          </p:cNvPr>
          <p:cNvSpPr txBox="1"/>
          <p:nvPr/>
        </p:nvSpPr>
        <p:spPr>
          <a:xfrm>
            <a:off x="9754443" y="4050717"/>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75%</a:t>
            </a:r>
          </a:p>
        </p:txBody>
      </p:sp>
      <p:sp>
        <p:nvSpPr>
          <p:cNvPr id="59" name="ZoneTexte 58">
            <a:extLst>
              <a:ext uri="{FF2B5EF4-FFF2-40B4-BE49-F238E27FC236}">
                <a16:creationId xmlns:a16="http://schemas.microsoft.com/office/drawing/2014/main" id="{63B996AA-53B9-BFB6-AF09-AAF54A63606C}"/>
              </a:ext>
            </a:extLst>
          </p:cNvPr>
          <p:cNvSpPr txBox="1"/>
          <p:nvPr/>
        </p:nvSpPr>
        <p:spPr>
          <a:xfrm>
            <a:off x="9741260" y="5265388"/>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75%</a:t>
            </a:r>
          </a:p>
        </p:txBody>
      </p:sp>
      <p:sp>
        <p:nvSpPr>
          <p:cNvPr id="60" name="ZoneTexte 59">
            <a:extLst>
              <a:ext uri="{FF2B5EF4-FFF2-40B4-BE49-F238E27FC236}">
                <a16:creationId xmlns:a16="http://schemas.microsoft.com/office/drawing/2014/main" id="{22924D4C-0286-2025-6116-F3B2FCB92C1B}"/>
              </a:ext>
            </a:extLst>
          </p:cNvPr>
          <p:cNvSpPr txBox="1"/>
          <p:nvPr/>
        </p:nvSpPr>
        <p:spPr>
          <a:xfrm>
            <a:off x="11305679" y="5265387"/>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50%</a:t>
            </a:r>
          </a:p>
        </p:txBody>
      </p:sp>
      <p:sp>
        <p:nvSpPr>
          <p:cNvPr id="61" name="ZoneTexte 60">
            <a:extLst>
              <a:ext uri="{FF2B5EF4-FFF2-40B4-BE49-F238E27FC236}">
                <a16:creationId xmlns:a16="http://schemas.microsoft.com/office/drawing/2014/main" id="{AB7D8BCE-EEE5-39F9-C4C4-A588C7719097}"/>
              </a:ext>
            </a:extLst>
          </p:cNvPr>
          <p:cNvSpPr txBox="1"/>
          <p:nvPr/>
        </p:nvSpPr>
        <p:spPr>
          <a:xfrm>
            <a:off x="11379272" y="4026622"/>
            <a:ext cx="535183" cy="246221"/>
          </a:xfrm>
          <a:prstGeom prst="rect">
            <a:avLst/>
          </a:prstGeom>
          <a:noFill/>
        </p:spPr>
        <p:txBody>
          <a:bodyPr wrap="square" rtlCol="0">
            <a:spAutoFit/>
          </a:bodyPr>
          <a:lstStyle/>
          <a:p>
            <a:pPr defTabSz="914377"/>
            <a:r>
              <a:rPr lang="fr-FR" sz="1000" i="1">
                <a:solidFill>
                  <a:prstClr val="black"/>
                </a:solidFill>
                <a:latin typeface="+mj-lt"/>
                <a:cs typeface="Arial"/>
                <a:sym typeface="Arial"/>
              </a:rPr>
              <a:t>50%</a:t>
            </a:r>
          </a:p>
        </p:txBody>
      </p:sp>
    </p:spTree>
    <p:extLst>
      <p:ext uri="{BB962C8B-B14F-4D97-AF65-F5344CB8AC3E}">
        <p14:creationId xmlns:p14="http://schemas.microsoft.com/office/powerpoint/2010/main" val="3263934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 coins arrondis 18">
            <a:extLst>
              <a:ext uri="{FF2B5EF4-FFF2-40B4-BE49-F238E27FC236}">
                <a16:creationId xmlns:a16="http://schemas.microsoft.com/office/drawing/2014/main" id="{7E15F808-6529-4F31-E135-73ED1499BD30}"/>
              </a:ext>
            </a:extLst>
          </p:cNvPr>
          <p:cNvSpPr/>
          <p:nvPr/>
        </p:nvSpPr>
        <p:spPr>
          <a:xfrm>
            <a:off x="1038617" y="2319287"/>
            <a:ext cx="4860000" cy="360212"/>
          </a:xfrm>
          <a:prstGeom prst="roundRect">
            <a:avLst>
              <a:gd name="adj" fmla="val 50000"/>
            </a:avLst>
          </a:prstGeom>
          <a:solidFill>
            <a:srgbClr val="BFC9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rPr>
              <a:t>Engagement manager</a:t>
            </a:r>
          </a:p>
        </p:txBody>
      </p:sp>
      <p:sp>
        <p:nvSpPr>
          <p:cNvPr id="20" name="Rectangle : coins arrondis 19">
            <a:extLst>
              <a:ext uri="{FF2B5EF4-FFF2-40B4-BE49-F238E27FC236}">
                <a16:creationId xmlns:a16="http://schemas.microsoft.com/office/drawing/2014/main" id="{BE3FA3AA-B7AE-FFF5-4A62-B0C527944FBB}"/>
              </a:ext>
            </a:extLst>
          </p:cNvPr>
          <p:cNvSpPr/>
          <p:nvPr/>
        </p:nvSpPr>
        <p:spPr>
          <a:xfrm>
            <a:off x="1039678" y="3226487"/>
            <a:ext cx="4860000" cy="360000"/>
          </a:xfrm>
          <a:prstGeom prst="roundRect">
            <a:avLst>
              <a:gd name="adj" fmla="val 50000"/>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rPr>
              <a:t>Pilotes opérationnels</a:t>
            </a:r>
          </a:p>
        </p:txBody>
      </p:sp>
      <p:sp>
        <p:nvSpPr>
          <p:cNvPr id="21" name="Ellipse 20">
            <a:extLst>
              <a:ext uri="{FF2B5EF4-FFF2-40B4-BE49-F238E27FC236}">
                <a16:creationId xmlns:a16="http://schemas.microsoft.com/office/drawing/2014/main" id="{344A8829-7390-AEDF-8946-FF9FE1D406AF}"/>
              </a:ext>
            </a:extLst>
          </p:cNvPr>
          <p:cNvSpPr/>
          <p:nvPr/>
        </p:nvSpPr>
        <p:spPr>
          <a:xfrm>
            <a:off x="1043026" y="3226487"/>
            <a:ext cx="360000"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FFFFFF"/>
              </a:solidFill>
              <a:effectLst/>
              <a:uLnTx/>
              <a:uFillTx/>
              <a:latin typeface="+mj-lt"/>
              <a:cs typeface="Calibri" panose="020F0502020204030204" pitchFamily="34" charset="0"/>
              <a:sym typeface="Arial"/>
            </a:endParaRPr>
          </a:p>
        </p:txBody>
      </p:sp>
      <p:sp>
        <p:nvSpPr>
          <p:cNvPr id="23" name="Rectangle : coins arrondis 22">
            <a:extLst>
              <a:ext uri="{FF2B5EF4-FFF2-40B4-BE49-F238E27FC236}">
                <a16:creationId xmlns:a16="http://schemas.microsoft.com/office/drawing/2014/main" id="{3E67951F-645C-75D5-4C00-0501D91507E4}"/>
              </a:ext>
            </a:extLst>
          </p:cNvPr>
          <p:cNvSpPr/>
          <p:nvPr/>
        </p:nvSpPr>
        <p:spPr>
          <a:xfrm>
            <a:off x="1038617" y="2769004"/>
            <a:ext cx="4860000" cy="360212"/>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rPr>
              <a:t>Directrice de mission</a:t>
            </a:r>
          </a:p>
        </p:txBody>
      </p:sp>
      <p:sp>
        <p:nvSpPr>
          <p:cNvPr id="33" name="Ellipse 32">
            <a:extLst>
              <a:ext uri="{FF2B5EF4-FFF2-40B4-BE49-F238E27FC236}">
                <a16:creationId xmlns:a16="http://schemas.microsoft.com/office/drawing/2014/main" id="{BAD2694A-3BF3-E8A4-BB49-5393ACA8F317}"/>
              </a:ext>
            </a:extLst>
          </p:cNvPr>
          <p:cNvSpPr/>
          <p:nvPr/>
        </p:nvSpPr>
        <p:spPr>
          <a:xfrm>
            <a:off x="1043698" y="2769004"/>
            <a:ext cx="358656" cy="3602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FFFFFF"/>
              </a:solidFill>
              <a:effectLst/>
              <a:uLnTx/>
              <a:uFillTx/>
              <a:latin typeface="+mj-lt"/>
              <a:cs typeface="Calibri" panose="020F0502020204030204" pitchFamily="34" charset="0"/>
              <a:sym typeface="Arial"/>
            </a:endParaRPr>
          </a:p>
        </p:txBody>
      </p:sp>
      <p:pic>
        <p:nvPicPr>
          <p:cNvPr id="34" name="Graphique 33" descr="Femme ouvrière du bâtiment avec un remplissage uni">
            <a:extLst>
              <a:ext uri="{FF2B5EF4-FFF2-40B4-BE49-F238E27FC236}">
                <a16:creationId xmlns:a16="http://schemas.microsoft.com/office/drawing/2014/main" id="{D69D86BB-B15E-C613-D4C6-E71CAD92D26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5659" y="2811743"/>
            <a:ext cx="274734" cy="274735"/>
          </a:xfrm>
          <a:prstGeom prst="rect">
            <a:avLst/>
          </a:prstGeom>
        </p:spPr>
      </p:pic>
      <p:sp>
        <p:nvSpPr>
          <p:cNvPr id="28" name="Rectangle : coins arrondis 27">
            <a:extLst>
              <a:ext uri="{FF2B5EF4-FFF2-40B4-BE49-F238E27FC236}">
                <a16:creationId xmlns:a16="http://schemas.microsoft.com/office/drawing/2014/main" id="{5223089B-F7C4-1DFD-01E9-F99B6115C18C}"/>
              </a:ext>
            </a:extLst>
          </p:cNvPr>
          <p:cNvSpPr/>
          <p:nvPr/>
        </p:nvSpPr>
        <p:spPr>
          <a:xfrm>
            <a:off x="1046993" y="4571463"/>
            <a:ext cx="4860000" cy="360098"/>
          </a:xfrm>
          <a:prstGeom prst="roundRect">
            <a:avLst>
              <a:gd name="adj" fmla="val 50000"/>
            </a:avLst>
          </a:prstGeom>
          <a:solidFill>
            <a:srgbClr val="BFBFB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noProof="0">
                <a:ln>
                  <a:noFill/>
                </a:ln>
                <a:solidFill>
                  <a:srgbClr val="000000"/>
                </a:solidFill>
                <a:effectLst/>
                <a:uLnTx/>
                <a:uFillTx/>
                <a:latin typeface="+mj-lt"/>
                <a:cs typeface="Calibri" panose="020F0502020204030204" pitchFamily="34" charset="0"/>
                <a:sym typeface="Arial"/>
              </a:rPr>
              <a:t>Total</a:t>
            </a:r>
          </a:p>
        </p:txBody>
      </p:sp>
      <p:sp>
        <p:nvSpPr>
          <p:cNvPr id="30" name="Rectangle 29">
            <a:extLst>
              <a:ext uri="{FF2B5EF4-FFF2-40B4-BE49-F238E27FC236}">
                <a16:creationId xmlns:a16="http://schemas.microsoft.com/office/drawing/2014/main" id="{0E880AF1-20A2-6A42-D025-78354F94021D}"/>
              </a:ext>
            </a:extLst>
          </p:cNvPr>
          <p:cNvSpPr/>
          <p:nvPr/>
        </p:nvSpPr>
        <p:spPr>
          <a:xfrm>
            <a:off x="3172219" y="2065403"/>
            <a:ext cx="1260000" cy="2989488"/>
          </a:xfrm>
          <a:prstGeom prst="rect">
            <a:avLst/>
          </a:prstGeom>
          <a:solidFill>
            <a:schemeClr val="tx2">
              <a:lumMod val="40000"/>
              <a:lumOff val="60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Charge estimée </a:t>
            </a:r>
            <a:r>
              <a:rPr kumimoji="0" lang="fr-FR" sz="1000" b="0" i="0" u="none" strike="noStrike" kern="0" cap="none" spc="0" normalizeH="0" baseline="0" noProof="0">
                <a:ln>
                  <a:noFill/>
                </a:ln>
                <a:solidFill>
                  <a:srgbClr val="203F8D"/>
                </a:solidFill>
                <a:effectLst/>
                <a:uLnTx/>
                <a:uFillTx/>
                <a:latin typeface="+mj-lt"/>
                <a:cs typeface="Calibri" panose="020F0502020204030204" pitchFamily="34" charset="0"/>
                <a:sym typeface="Arial"/>
              </a:rPr>
              <a:t>(jh)</a:t>
            </a:r>
            <a:endParaRPr kumimoji="0" lang="fr-FR" sz="1100" b="1" i="0" u="none" strike="noStrike" kern="0" cap="none" spc="0" normalizeH="0" baseline="0" noProof="0">
              <a:ln>
                <a:noFill/>
              </a:ln>
              <a:solidFill>
                <a:srgbClr val="000000"/>
              </a:solidFill>
              <a:effectLst/>
              <a:uLnTx/>
              <a:uFillTx/>
              <a:latin typeface="+mj-lt"/>
              <a:cs typeface="Calibri" panose="020F0502020204030204" pitchFamily="34" charset="0"/>
              <a:sym typeface="Arial"/>
            </a:endParaRPr>
          </a:p>
        </p:txBody>
      </p:sp>
      <p:sp>
        <p:nvSpPr>
          <p:cNvPr id="32" name="Rectangle 31">
            <a:extLst>
              <a:ext uri="{FF2B5EF4-FFF2-40B4-BE49-F238E27FC236}">
                <a16:creationId xmlns:a16="http://schemas.microsoft.com/office/drawing/2014/main" id="{32E8FA62-1181-B645-3B13-BA0E061ECCE4}"/>
              </a:ext>
            </a:extLst>
          </p:cNvPr>
          <p:cNvSpPr/>
          <p:nvPr/>
        </p:nvSpPr>
        <p:spPr>
          <a:xfrm>
            <a:off x="3172219" y="5208302"/>
            <a:ext cx="1260000" cy="543725"/>
          </a:xfrm>
          <a:prstGeom prst="rect">
            <a:avLst/>
          </a:prstGeom>
          <a:solidFill>
            <a:schemeClr val="tx2">
              <a:lumMod val="40000"/>
              <a:lumOff val="60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Montant</a:t>
            </a:r>
            <a:endParaRPr lang="fr-FR" sz="1100" kern="0">
              <a:solidFill>
                <a:srgbClr val="000000"/>
              </a:solidFill>
              <a:latin typeface="+mj-lt"/>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fr-FR" sz="1000" kern="0">
              <a:solidFill>
                <a:srgbClr val="203F8D"/>
              </a:solidFill>
              <a:latin typeface="+mj-lt"/>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endParaRPr>
          </a:p>
        </p:txBody>
      </p:sp>
      <p:sp>
        <p:nvSpPr>
          <p:cNvPr id="4" name="Rectangle 3">
            <a:extLst>
              <a:ext uri="{FF2B5EF4-FFF2-40B4-BE49-F238E27FC236}">
                <a16:creationId xmlns:a16="http://schemas.microsoft.com/office/drawing/2014/main" id="{5381FEBF-3C80-5699-0A9A-F97C84152F5D}"/>
              </a:ext>
            </a:extLst>
          </p:cNvPr>
          <p:cNvSpPr/>
          <p:nvPr/>
        </p:nvSpPr>
        <p:spPr>
          <a:xfrm>
            <a:off x="4529871" y="2065401"/>
            <a:ext cx="1260000" cy="2989488"/>
          </a:xfrm>
          <a:prstGeom prst="rect">
            <a:avLst/>
          </a:prstGeom>
          <a:solidFill>
            <a:schemeClr val="tx2">
              <a:lumMod val="40000"/>
              <a:lumOff val="60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Charge estimée </a:t>
            </a:r>
            <a:r>
              <a:rPr kumimoji="0" lang="fr-FR" sz="1000" b="0" i="0" u="none" strike="noStrike" kern="0" cap="none" spc="0" normalizeH="0" baseline="0" noProof="0">
                <a:ln>
                  <a:noFill/>
                </a:ln>
                <a:solidFill>
                  <a:srgbClr val="203F8D"/>
                </a:solidFill>
                <a:effectLst/>
                <a:uLnTx/>
                <a:uFillTx/>
                <a:latin typeface="+mj-lt"/>
                <a:cs typeface="Calibri" panose="020F0502020204030204" pitchFamily="34" charset="0"/>
                <a:sym typeface="Arial"/>
              </a:rPr>
              <a:t>(jh)</a:t>
            </a:r>
            <a:endParaRPr kumimoji="0" lang="fr-FR" sz="1000" b="0" i="0" u="none" strike="noStrike" kern="0" cap="none" spc="0" normalizeH="0" baseline="0" noProof="0">
              <a:ln>
                <a:noFill/>
              </a:ln>
              <a:solidFill>
                <a:srgbClr val="000000"/>
              </a:solidFill>
              <a:effectLst/>
              <a:uLnTx/>
              <a:uFillTx/>
              <a:latin typeface="+mj-lt"/>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noProof="0">
              <a:ln>
                <a:noFill/>
              </a:ln>
              <a:solidFill>
                <a:srgbClr val="000000"/>
              </a:solidFill>
              <a:effectLst/>
              <a:uLnTx/>
              <a:uFillTx/>
              <a:latin typeface="+mj-lt"/>
              <a:cs typeface="Calibri" panose="020F0502020204030204" pitchFamily="34" charset="0"/>
              <a:sym typeface="Arial"/>
            </a:endParaRPr>
          </a:p>
        </p:txBody>
      </p:sp>
      <p:sp>
        <p:nvSpPr>
          <p:cNvPr id="9" name="Rectangle 8">
            <a:extLst>
              <a:ext uri="{FF2B5EF4-FFF2-40B4-BE49-F238E27FC236}">
                <a16:creationId xmlns:a16="http://schemas.microsoft.com/office/drawing/2014/main" id="{9CB97F7C-3D2B-40CE-E773-E9E99BADC38E}"/>
              </a:ext>
            </a:extLst>
          </p:cNvPr>
          <p:cNvSpPr/>
          <p:nvPr/>
        </p:nvSpPr>
        <p:spPr>
          <a:xfrm>
            <a:off x="3172219" y="3226487"/>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40</a:t>
            </a:r>
            <a:endParaRPr lang="fr-FR" sz="1200" kern="0">
              <a:solidFill>
                <a:srgbClr val="203F8D"/>
              </a:solidFill>
              <a:latin typeface="+mj-lt"/>
              <a:cs typeface="Calibri" panose="020F0502020204030204" pitchFamily="34" charset="0"/>
              <a:sym typeface="Arial"/>
            </a:endParaRPr>
          </a:p>
        </p:txBody>
      </p:sp>
      <p:sp>
        <p:nvSpPr>
          <p:cNvPr id="10" name="Rectangle 9">
            <a:extLst>
              <a:ext uri="{FF2B5EF4-FFF2-40B4-BE49-F238E27FC236}">
                <a16:creationId xmlns:a16="http://schemas.microsoft.com/office/drawing/2014/main" id="{754E2880-C41C-9F70-6F61-C0402C893717}"/>
              </a:ext>
            </a:extLst>
          </p:cNvPr>
          <p:cNvSpPr/>
          <p:nvPr/>
        </p:nvSpPr>
        <p:spPr>
          <a:xfrm>
            <a:off x="3172219" y="2769110"/>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16</a:t>
            </a:r>
            <a:endParaRPr lang="fr-FR" sz="1200" kern="0">
              <a:solidFill>
                <a:srgbClr val="203F8D"/>
              </a:solidFill>
              <a:latin typeface="+mj-lt"/>
              <a:cs typeface="Calibri" panose="020F0502020204030204" pitchFamily="34" charset="0"/>
              <a:sym typeface="Arial"/>
            </a:endParaRPr>
          </a:p>
        </p:txBody>
      </p:sp>
      <p:sp>
        <p:nvSpPr>
          <p:cNvPr id="13" name="Rectangle 12">
            <a:extLst>
              <a:ext uri="{FF2B5EF4-FFF2-40B4-BE49-F238E27FC236}">
                <a16:creationId xmlns:a16="http://schemas.microsoft.com/office/drawing/2014/main" id="{F2A40830-5E2B-300E-FBFF-D98AA4B4EB25}"/>
              </a:ext>
            </a:extLst>
          </p:cNvPr>
          <p:cNvSpPr/>
          <p:nvPr/>
        </p:nvSpPr>
        <p:spPr>
          <a:xfrm>
            <a:off x="3172219" y="2319393"/>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a:t>
            </a:r>
            <a:endParaRPr lang="fr-FR" sz="1200" kern="0">
              <a:solidFill>
                <a:srgbClr val="203F8D"/>
              </a:solidFill>
              <a:latin typeface="+mj-lt"/>
              <a:cs typeface="Calibri" panose="020F0502020204030204" pitchFamily="34" charset="0"/>
              <a:sym typeface="Arial"/>
            </a:endParaRPr>
          </a:p>
        </p:txBody>
      </p:sp>
      <p:sp>
        <p:nvSpPr>
          <p:cNvPr id="14" name="Rectangle 13">
            <a:extLst>
              <a:ext uri="{FF2B5EF4-FFF2-40B4-BE49-F238E27FC236}">
                <a16:creationId xmlns:a16="http://schemas.microsoft.com/office/drawing/2014/main" id="{D4D5B11C-BD2B-0081-C82C-FB033E7DD87C}"/>
              </a:ext>
            </a:extLst>
          </p:cNvPr>
          <p:cNvSpPr/>
          <p:nvPr/>
        </p:nvSpPr>
        <p:spPr>
          <a:xfrm>
            <a:off x="4529871" y="2319393"/>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a:t>
            </a:r>
            <a:endParaRPr lang="fr-FR" sz="1200" kern="0">
              <a:solidFill>
                <a:srgbClr val="203F8D"/>
              </a:solidFill>
              <a:latin typeface="+mj-lt"/>
              <a:cs typeface="Calibri" panose="020F0502020204030204" pitchFamily="34" charset="0"/>
              <a:sym typeface="Arial"/>
            </a:endParaRPr>
          </a:p>
        </p:txBody>
      </p:sp>
      <p:sp>
        <p:nvSpPr>
          <p:cNvPr id="15" name="Rectangle 14">
            <a:extLst>
              <a:ext uri="{FF2B5EF4-FFF2-40B4-BE49-F238E27FC236}">
                <a16:creationId xmlns:a16="http://schemas.microsoft.com/office/drawing/2014/main" id="{6EBD593D-FC4F-6133-5BFD-5C255F32C105}"/>
              </a:ext>
            </a:extLst>
          </p:cNvPr>
          <p:cNvSpPr/>
          <p:nvPr/>
        </p:nvSpPr>
        <p:spPr>
          <a:xfrm>
            <a:off x="4529871" y="3226487"/>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kern="0">
                <a:solidFill>
                  <a:srgbClr val="203F8D"/>
                </a:solidFill>
                <a:latin typeface="+mj-lt"/>
                <a:cs typeface="Calibri" panose="020F0502020204030204" pitchFamily="34" charset="0"/>
                <a:sym typeface="Arial"/>
              </a:rPr>
              <a:t>50</a:t>
            </a:r>
          </a:p>
        </p:txBody>
      </p:sp>
      <p:sp>
        <p:nvSpPr>
          <p:cNvPr id="16" name="Rectangle 15">
            <a:extLst>
              <a:ext uri="{FF2B5EF4-FFF2-40B4-BE49-F238E27FC236}">
                <a16:creationId xmlns:a16="http://schemas.microsoft.com/office/drawing/2014/main" id="{EE250E88-4BEF-B8D2-53F3-F353654D9BB0}"/>
              </a:ext>
            </a:extLst>
          </p:cNvPr>
          <p:cNvSpPr/>
          <p:nvPr/>
        </p:nvSpPr>
        <p:spPr>
          <a:xfrm>
            <a:off x="4529871" y="2769110"/>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16</a:t>
            </a:r>
            <a:endParaRPr lang="fr-FR" sz="1200" kern="0">
              <a:solidFill>
                <a:srgbClr val="203F8D"/>
              </a:solidFill>
              <a:latin typeface="+mj-lt"/>
              <a:cs typeface="Calibri" panose="020F0502020204030204" pitchFamily="34" charset="0"/>
              <a:sym typeface="Arial"/>
            </a:endParaRPr>
          </a:p>
        </p:txBody>
      </p:sp>
      <p:sp>
        <p:nvSpPr>
          <p:cNvPr id="17" name="Rectangle : coins arrondis 16">
            <a:extLst>
              <a:ext uri="{FF2B5EF4-FFF2-40B4-BE49-F238E27FC236}">
                <a16:creationId xmlns:a16="http://schemas.microsoft.com/office/drawing/2014/main" id="{61F75F00-94F5-AC6D-31E8-30709D5674C7}"/>
              </a:ext>
            </a:extLst>
          </p:cNvPr>
          <p:cNvSpPr/>
          <p:nvPr/>
        </p:nvSpPr>
        <p:spPr>
          <a:xfrm>
            <a:off x="1038617" y="3674834"/>
            <a:ext cx="4860000" cy="360212"/>
          </a:xfrm>
          <a:prstGeom prst="roundRect">
            <a:avLst>
              <a:gd name="adj" fmla="val 50000"/>
            </a:avLst>
          </a:prstGeom>
          <a:solidFill>
            <a:srgbClr val="BFC9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rPr>
              <a:t>Consultants opérationnels</a:t>
            </a:r>
          </a:p>
        </p:txBody>
      </p:sp>
      <p:sp>
        <p:nvSpPr>
          <p:cNvPr id="24" name="Rectangle : coins arrondis 23">
            <a:extLst>
              <a:ext uri="{FF2B5EF4-FFF2-40B4-BE49-F238E27FC236}">
                <a16:creationId xmlns:a16="http://schemas.microsoft.com/office/drawing/2014/main" id="{90790667-63D2-80E3-D1C2-EAD188274D8D}"/>
              </a:ext>
            </a:extLst>
          </p:cNvPr>
          <p:cNvSpPr/>
          <p:nvPr/>
        </p:nvSpPr>
        <p:spPr>
          <a:xfrm>
            <a:off x="1038617" y="4127855"/>
            <a:ext cx="4860000" cy="360212"/>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rPr>
              <a:t>PMO</a:t>
            </a:r>
          </a:p>
        </p:txBody>
      </p:sp>
      <p:sp>
        <p:nvSpPr>
          <p:cNvPr id="11" name="Ellipse 10">
            <a:extLst>
              <a:ext uri="{FF2B5EF4-FFF2-40B4-BE49-F238E27FC236}">
                <a16:creationId xmlns:a16="http://schemas.microsoft.com/office/drawing/2014/main" id="{7C7FC928-0011-CD41-7E30-DB58002CE647}"/>
              </a:ext>
            </a:extLst>
          </p:cNvPr>
          <p:cNvSpPr/>
          <p:nvPr/>
        </p:nvSpPr>
        <p:spPr>
          <a:xfrm>
            <a:off x="1043698" y="2319287"/>
            <a:ext cx="358656" cy="3602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FFFFFF"/>
              </a:solidFill>
              <a:effectLst/>
              <a:uLnTx/>
              <a:uFillTx/>
              <a:latin typeface="+mj-lt"/>
              <a:cs typeface="Calibri" panose="020F0502020204030204" pitchFamily="34" charset="0"/>
              <a:sym typeface="Arial"/>
            </a:endParaRPr>
          </a:p>
        </p:txBody>
      </p:sp>
      <p:pic>
        <p:nvPicPr>
          <p:cNvPr id="12" name="Graphique 11" descr="Femme ouvrière du bâtiment avec un remplissage uni">
            <a:extLst>
              <a:ext uri="{FF2B5EF4-FFF2-40B4-BE49-F238E27FC236}">
                <a16:creationId xmlns:a16="http://schemas.microsoft.com/office/drawing/2014/main" id="{F6FC4EDC-8E79-0393-D090-F45DBA85247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5659" y="2362026"/>
            <a:ext cx="274734" cy="274735"/>
          </a:xfrm>
          <a:prstGeom prst="rect">
            <a:avLst/>
          </a:prstGeom>
        </p:spPr>
      </p:pic>
      <p:pic>
        <p:nvPicPr>
          <p:cNvPr id="7" name="Graphique 6" descr="Femme ouvrière du bâtiment avec un remplissage uni">
            <a:extLst>
              <a:ext uri="{FF2B5EF4-FFF2-40B4-BE49-F238E27FC236}">
                <a16:creationId xmlns:a16="http://schemas.microsoft.com/office/drawing/2014/main" id="{B289B514-1A36-9099-550B-B66D7BDE0D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5659" y="3269120"/>
            <a:ext cx="274734" cy="274735"/>
          </a:xfrm>
          <a:prstGeom prst="rect">
            <a:avLst/>
          </a:prstGeom>
        </p:spPr>
      </p:pic>
      <p:sp>
        <p:nvSpPr>
          <p:cNvPr id="25" name="Rectangle 24">
            <a:extLst>
              <a:ext uri="{FF2B5EF4-FFF2-40B4-BE49-F238E27FC236}">
                <a16:creationId xmlns:a16="http://schemas.microsoft.com/office/drawing/2014/main" id="{DF9822B8-69EB-519D-0152-935445B09742}"/>
              </a:ext>
            </a:extLst>
          </p:cNvPr>
          <p:cNvSpPr/>
          <p:nvPr/>
        </p:nvSpPr>
        <p:spPr>
          <a:xfrm>
            <a:off x="3172219" y="3703009"/>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40</a:t>
            </a:r>
            <a:endParaRPr lang="fr-FR" sz="1200" kern="0">
              <a:solidFill>
                <a:srgbClr val="203F8D"/>
              </a:solidFill>
              <a:latin typeface="+mj-lt"/>
              <a:cs typeface="Calibri" panose="020F0502020204030204" pitchFamily="34" charset="0"/>
              <a:sym typeface="Arial"/>
            </a:endParaRPr>
          </a:p>
        </p:txBody>
      </p:sp>
      <p:sp>
        <p:nvSpPr>
          <p:cNvPr id="27" name="Rectangle 26">
            <a:extLst>
              <a:ext uri="{FF2B5EF4-FFF2-40B4-BE49-F238E27FC236}">
                <a16:creationId xmlns:a16="http://schemas.microsoft.com/office/drawing/2014/main" id="{186DAC6B-A561-E451-05A7-D71E8B71D1EB}"/>
              </a:ext>
            </a:extLst>
          </p:cNvPr>
          <p:cNvSpPr/>
          <p:nvPr/>
        </p:nvSpPr>
        <p:spPr>
          <a:xfrm>
            <a:off x="4529871" y="3694832"/>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kern="0">
                <a:solidFill>
                  <a:srgbClr val="203F8D"/>
                </a:solidFill>
                <a:latin typeface="+mj-lt"/>
                <a:cs typeface="Calibri" panose="020F0502020204030204" pitchFamily="34" charset="0"/>
                <a:sym typeface="Arial"/>
              </a:rPr>
              <a:t>5</a:t>
            </a: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0</a:t>
            </a:r>
            <a:endParaRPr lang="fr-FR" sz="1200" kern="0">
              <a:solidFill>
                <a:srgbClr val="203F8D"/>
              </a:solidFill>
              <a:latin typeface="+mj-lt"/>
              <a:cs typeface="Calibri" panose="020F0502020204030204" pitchFamily="34" charset="0"/>
              <a:sym typeface="Arial"/>
            </a:endParaRPr>
          </a:p>
        </p:txBody>
      </p:sp>
      <p:sp>
        <p:nvSpPr>
          <p:cNvPr id="35" name="Rectangle 34">
            <a:extLst>
              <a:ext uri="{FF2B5EF4-FFF2-40B4-BE49-F238E27FC236}">
                <a16:creationId xmlns:a16="http://schemas.microsoft.com/office/drawing/2014/main" id="{0913B8B4-2A79-879B-34E8-DE8A61E5D7A0}"/>
              </a:ext>
            </a:extLst>
          </p:cNvPr>
          <p:cNvSpPr/>
          <p:nvPr/>
        </p:nvSpPr>
        <p:spPr>
          <a:xfrm>
            <a:off x="3172219" y="4127855"/>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40</a:t>
            </a:r>
            <a:endParaRPr lang="fr-FR" sz="1200" kern="0">
              <a:solidFill>
                <a:srgbClr val="203F8D"/>
              </a:solidFill>
              <a:latin typeface="+mj-lt"/>
              <a:cs typeface="Calibri" panose="020F0502020204030204" pitchFamily="34" charset="0"/>
              <a:sym typeface="Arial"/>
            </a:endParaRPr>
          </a:p>
        </p:txBody>
      </p:sp>
      <p:sp>
        <p:nvSpPr>
          <p:cNvPr id="36" name="Rectangle 35">
            <a:extLst>
              <a:ext uri="{FF2B5EF4-FFF2-40B4-BE49-F238E27FC236}">
                <a16:creationId xmlns:a16="http://schemas.microsoft.com/office/drawing/2014/main" id="{E8958357-AD83-5D10-90D9-3C04BEDF75AD}"/>
              </a:ext>
            </a:extLst>
          </p:cNvPr>
          <p:cNvSpPr/>
          <p:nvPr/>
        </p:nvSpPr>
        <p:spPr>
          <a:xfrm>
            <a:off x="4529871" y="4127855"/>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kern="0">
                <a:solidFill>
                  <a:srgbClr val="203F8D"/>
                </a:solidFill>
                <a:latin typeface="+mj-lt"/>
                <a:cs typeface="Calibri" panose="020F0502020204030204" pitchFamily="34" charset="0"/>
                <a:sym typeface="Arial"/>
              </a:rPr>
              <a:t>4</a:t>
            </a:r>
            <a:r>
              <a:rPr kumimoji="0" lang="fr-FR" sz="1200" i="0" u="none" strike="noStrike" kern="0" cap="none" spc="0" normalizeH="0" baseline="0" noProof="0">
                <a:ln>
                  <a:noFill/>
                </a:ln>
                <a:solidFill>
                  <a:srgbClr val="203F8D"/>
                </a:solidFill>
                <a:effectLst/>
                <a:uLnTx/>
                <a:uFillTx/>
                <a:latin typeface="+mj-lt"/>
                <a:cs typeface="Calibri" panose="020F0502020204030204" pitchFamily="34" charset="0"/>
                <a:sym typeface="Arial"/>
              </a:rPr>
              <a:t>0</a:t>
            </a:r>
            <a:endParaRPr lang="fr-FR" sz="1200" kern="0">
              <a:solidFill>
                <a:srgbClr val="203F8D"/>
              </a:solidFill>
              <a:latin typeface="+mj-lt"/>
              <a:cs typeface="Calibri" panose="020F0502020204030204" pitchFamily="34" charset="0"/>
              <a:sym typeface="Arial"/>
            </a:endParaRPr>
          </a:p>
        </p:txBody>
      </p:sp>
      <p:sp>
        <p:nvSpPr>
          <p:cNvPr id="37" name="Ellipse 36">
            <a:extLst>
              <a:ext uri="{FF2B5EF4-FFF2-40B4-BE49-F238E27FC236}">
                <a16:creationId xmlns:a16="http://schemas.microsoft.com/office/drawing/2014/main" id="{0B05B942-D3DC-F621-FDD7-5BDE197FF265}"/>
              </a:ext>
            </a:extLst>
          </p:cNvPr>
          <p:cNvSpPr/>
          <p:nvPr/>
        </p:nvSpPr>
        <p:spPr>
          <a:xfrm>
            <a:off x="1043698" y="3674834"/>
            <a:ext cx="358656" cy="3602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FFFFFF"/>
              </a:solidFill>
              <a:effectLst/>
              <a:uLnTx/>
              <a:uFillTx/>
              <a:latin typeface="+mj-lt"/>
              <a:cs typeface="Calibri" panose="020F0502020204030204" pitchFamily="34" charset="0"/>
              <a:sym typeface="Arial"/>
            </a:endParaRPr>
          </a:p>
        </p:txBody>
      </p:sp>
      <p:pic>
        <p:nvPicPr>
          <p:cNvPr id="38" name="Graphique 37" descr="Femme ouvrière du bâtiment avec un remplissage uni">
            <a:extLst>
              <a:ext uri="{FF2B5EF4-FFF2-40B4-BE49-F238E27FC236}">
                <a16:creationId xmlns:a16="http://schemas.microsoft.com/office/drawing/2014/main" id="{BB3F1275-33A4-E2F6-AB2F-4B443C6761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5659" y="3717573"/>
            <a:ext cx="274734" cy="274735"/>
          </a:xfrm>
          <a:prstGeom prst="rect">
            <a:avLst/>
          </a:prstGeom>
        </p:spPr>
      </p:pic>
      <p:sp>
        <p:nvSpPr>
          <p:cNvPr id="39" name="Ellipse 38">
            <a:extLst>
              <a:ext uri="{FF2B5EF4-FFF2-40B4-BE49-F238E27FC236}">
                <a16:creationId xmlns:a16="http://schemas.microsoft.com/office/drawing/2014/main" id="{57771D25-A50D-1001-B455-12F5ACF9E486}"/>
              </a:ext>
            </a:extLst>
          </p:cNvPr>
          <p:cNvSpPr/>
          <p:nvPr/>
        </p:nvSpPr>
        <p:spPr>
          <a:xfrm>
            <a:off x="1043698" y="4125445"/>
            <a:ext cx="358656" cy="3602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FFFFFF"/>
              </a:solidFill>
              <a:effectLst/>
              <a:uLnTx/>
              <a:uFillTx/>
              <a:latin typeface="+mj-lt"/>
              <a:cs typeface="Calibri" panose="020F0502020204030204" pitchFamily="34" charset="0"/>
              <a:sym typeface="Arial"/>
            </a:endParaRPr>
          </a:p>
        </p:txBody>
      </p:sp>
      <p:pic>
        <p:nvPicPr>
          <p:cNvPr id="40" name="Graphique 39" descr="Femme ouvrière du bâtiment avec un remplissage uni">
            <a:extLst>
              <a:ext uri="{FF2B5EF4-FFF2-40B4-BE49-F238E27FC236}">
                <a16:creationId xmlns:a16="http://schemas.microsoft.com/office/drawing/2014/main" id="{283230D3-A7EB-9AD1-C191-34863C618C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5659" y="4168184"/>
            <a:ext cx="274734" cy="274735"/>
          </a:xfrm>
          <a:prstGeom prst="rect">
            <a:avLst/>
          </a:prstGeom>
        </p:spPr>
      </p:pic>
      <p:sp>
        <p:nvSpPr>
          <p:cNvPr id="43" name="Rectangle 42">
            <a:extLst>
              <a:ext uri="{FF2B5EF4-FFF2-40B4-BE49-F238E27FC236}">
                <a16:creationId xmlns:a16="http://schemas.microsoft.com/office/drawing/2014/main" id="{8C825C28-75D3-6556-FD24-8953C607E082}"/>
              </a:ext>
            </a:extLst>
          </p:cNvPr>
          <p:cNvSpPr/>
          <p:nvPr/>
        </p:nvSpPr>
        <p:spPr>
          <a:xfrm>
            <a:off x="4519033" y="5208302"/>
            <a:ext cx="1260000" cy="543725"/>
          </a:xfrm>
          <a:prstGeom prst="rect">
            <a:avLst/>
          </a:prstGeom>
          <a:solidFill>
            <a:schemeClr val="tx2">
              <a:lumMod val="40000"/>
              <a:lumOff val="60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Montant</a:t>
            </a:r>
            <a:endParaRPr lang="fr-FR" sz="1000" kern="0">
              <a:solidFill>
                <a:srgbClr val="203F8D"/>
              </a:solidFill>
              <a:latin typeface="+mj-lt"/>
              <a:cs typeface="Calibri" panose="020F0502020204030204" pitchFamily="34" charset="0"/>
              <a:sym typeface="Arial"/>
            </a:endParaRPr>
          </a:p>
        </p:txBody>
      </p:sp>
      <p:sp>
        <p:nvSpPr>
          <p:cNvPr id="44" name="Rectangle 43">
            <a:extLst>
              <a:ext uri="{FF2B5EF4-FFF2-40B4-BE49-F238E27FC236}">
                <a16:creationId xmlns:a16="http://schemas.microsoft.com/office/drawing/2014/main" id="{B2B6C052-F431-497F-9079-EAE19115C2E1}"/>
              </a:ext>
            </a:extLst>
          </p:cNvPr>
          <p:cNvSpPr/>
          <p:nvPr/>
        </p:nvSpPr>
        <p:spPr>
          <a:xfrm>
            <a:off x="3172219" y="4571251"/>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136</a:t>
            </a:r>
            <a:endParaRPr lang="fr-FR" sz="1200" kern="0">
              <a:solidFill>
                <a:srgbClr val="203F8D"/>
              </a:solidFill>
              <a:latin typeface="+mj-lt"/>
              <a:cs typeface="Calibri" panose="020F0502020204030204" pitchFamily="34" charset="0"/>
              <a:sym typeface="Arial"/>
            </a:endParaRPr>
          </a:p>
        </p:txBody>
      </p:sp>
      <p:sp>
        <p:nvSpPr>
          <p:cNvPr id="45" name="Rectangle 44">
            <a:extLst>
              <a:ext uri="{FF2B5EF4-FFF2-40B4-BE49-F238E27FC236}">
                <a16:creationId xmlns:a16="http://schemas.microsoft.com/office/drawing/2014/main" id="{6498D411-E9B7-2BE8-16D2-E26811AC50F4}"/>
              </a:ext>
            </a:extLst>
          </p:cNvPr>
          <p:cNvSpPr/>
          <p:nvPr/>
        </p:nvSpPr>
        <p:spPr>
          <a:xfrm>
            <a:off x="4529871" y="4571251"/>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b="1" kern="0">
                <a:solidFill>
                  <a:srgbClr val="203F8D"/>
                </a:solidFill>
                <a:latin typeface="+mj-lt"/>
                <a:cs typeface="Calibri" panose="020F0502020204030204" pitchFamily="34" charset="0"/>
                <a:sym typeface="Arial"/>
              </a:rPr>
              <a:t>156</a:t>
            </a:r>
            <a:endParaRPr lang="fr-FR" sz="1200" kern="0">
              <a:solidFill>
                <a:srgbClr val="203F8D"/>
              </a:solidFill>
              <a:latin typeface="+mj-lt"/>
              <a:cs typeface="Calibri" panose="020F0502020204030204" pitchFamily="34" charset="0"/>
              <a:sym typeface="Arial"/>
            </a:endParaRPr>
          </a:p>
        </p:txBody>
      </p:sp>
      <p:sp>
        <p:nvSpPr>
          <p:cNvPr id="46" name="Rectangle 45">
            <a:extLst>
              <a:ext uri="{FF2B5EF4-FFF2-40B4-BE49-F238E27FC236}">
                <a16:creationId xmlns:a16="http://schemas.microsoft.com/office/drawing/2014/main" id="{6BFFAAF6-3D40-12D4-C55F-BB42D99E1C20}"/>
              </a:ext>
            </a:extLst>
          </p:cNvPr>
          <p:cNvSpPr/>
          <p:nvPr/>
        </p:nvSpPr>
        <p:spPr>
          <a:xfrm>
            <a:off x="3172219" y="5392027"/>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000000"/>
                </a:solidFill>
                <a:effectLst/>
                <a:uLnTx/>
                <a:uFillTx/>
                <a:latin typeface="+mj-lt"/>
                <a:cs typeface="Calibri" panose="020F0502020204030204" pitchFamily="34" charset="0"/>
                <a:sym typeface="Arial"/>
              </a:rPr>
              <a:t>160 000 € HT</a:t>
            </a:r>
          </a:p>
        </p:txBody>
      </p:sp>
      <p:sp>
        <p:nvSpPr>
          <p:cNvPr id="47" name="Rectangle 46">
            <a:extLst>
              <a:ext uri="{FF2B5EF4-FFF2-40B4-BE49-F238E27FC236}">
                <a16:creationId xmlns:a16="http://schemas.microsoft.com/office/drawing/2014/main" id="{CB2754CF-97E8-A191-FCE5-A087795C224F}"/>
              </a:ext>
            </a:extLst>
          </p:cNvPr>
          <p:cNvSpPr/>
          <p:nvPr/>
        </p:nvSpPr>
        <p:spPr>
          <a:xfrm>
            <a:off x="4529871" y="5393017"/>
            <a:ext cx="126000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000000"/>
                </a:solidFill>
                <a:effectLst/>
                <a:uLnTx/>
                <a:uFillTx/>
                <a:latin typeface="+mj-lt"/>
                <a:cs typeface="Calibri" panose="020F0502020204030204" pitchFamily="34" charset="0"/>
                <a:sym typeface="Arial"/>
              </a:rPr>
              <a:t>180 000 € HT</a:t>
            </a:r>
          </a:p>
        </p:txBody>
      </p:sp>
      <p:sp>
        <p:nvSpPr>
          <p:cNvPr id="49" name="object 4">
            <a:extLst>
              <a:ext uri="{FF2B5EF4-FFF2-40B4-BE49-F238E27FC236}">
                <a16:creationId xmlns:a16="http://schemas.microsoft.com/office/drawing/2014/main" id="{3C2CB9FD-E0F5-C0DC-27DF-1A4AA45DA099}"/>
              </a:ext>
            </a:extLst>
          </p:cNvPr>
          <p:cNvSpPr txBox="1"/>
          <p:nvPr/>
        </p:nvSpPr>
        <p:spPr>
          <a:xfrm>
            <a:off x="679516" y="753293"/>
            <a:ext cx="10640526" cy="871208"/>
          </a:xfrm>
          <a:prstGeom prst="rect">
            <a:avLst/>
          </a:prstGeom>
          <a:noFill/>
        </p:spPr>
        <p:txBody>
          <a:bodyPr vert="horz" wrap="square" lIns="0" tIns="83185" rIns="0" bIns="0" rtlCol="0">
            <a:noAutofit/>
          </a:bodyPr>
          <a:lstStyle>
            <a:defPPr>
              <a:defRPr lang="fr-FR"/>
            </a:defPPr>
            <a:lvl1pPr marL="285750" marR="436880" lvl="0" indent="-193675" fontAlgn="auto">
              <a:lnSpc>
                <a:spcPct val="110000"/>
              </a:lnSpc>
              <a:spcBef>
                <a:spcPts val="655"/>
              </a:spcBef>
              <a:spcAft>
                <a:spcPts val="0"/>
              </a:spcAft>
              <a:buClrTx/>
              <a:buSzTx/>
              <a:buFontTx/>
              <a:buChar char="•"/>
              <a:tabLst>
                <a:tab pos="286385" algn="l"/>
                <a:tab pos="287020" algn="l"/>
              </a:tabLst>
              <a:defRPr kumimoji="0" sz="1600" b="1" i="0" u="none" strike="noStrike" cap="none" spc="-5" normalizeH="0" baseline="0">
                <a:ln>
                  <a:noFill/>
                </a:ln>
                <a:solidFill>
                  <a:srgbClr val="0029CC"/>
                </a:solidFill>
                <a:effectLst/>
                <a:uLnTx/>
                <a:uFillTx/>
                <a:latin typeface="Montserrat" panose="00000500000000000000"/>
                <a:cs typeface="Arial"/>
              </a:defRPr>
            </a:lvl1pPr>
          </a:lstStyle>
          <a:p>
            <a:pPr marR="5080" lvl="0" indent="-285750" algn="l" defTabSz="914400" rtl="0" eaLnBrk="1" fontAlgn="auto" latinLnBrk="0" hangingPunct="1">
              <a:lnSpc>
                <a:spcPct val="110100"/>
              </a:lnSpc>
              <a:spcBef>
                <a:spcPts val="95"/>
              </a:spcBef>
              <a:spcAft>
                <a:spcPts val="600"/>
              </a:spcAft>
              <a:buClr>
                <a:srgbClr val="0070C0"/>
              </a:buClr>
              <a:buSzTx/>
              <a:buFont typeface="Wingdings" panose="05000000000000000000" pitchFamily="2" charset="2"/>
              <a:buChar char="§"/>
              <a:tabLst>
                <a:tab pos="286385" algn="l"/>
                <a:tab pos="287020" algn="l"/>
              </a:tabLst>
              <a:defRPr/>
            </a:pPr>
            <a:r>
              <a:rPr kumimoji="0" lang="fr-FR" b="0" i="0" u="none" strike="noStrike" kern="1200" cap="none" spc="-5" normalizeH="0" baseline="0" noProof="0">
                <a:ln>
                  <a:noFill/>
                </a:ln>
                <a:solidFill>
                  <a:srgbClr val="242852">
                    <a:lumMod val="10000"/>
                  </a:srgbClr>
                </a:solidFill>
                <a:effectLst/>
                <a:uLnTx/>
                <a:uFillTx/>
                <a:latin typeface="+mj-lt"/>
                <a:cs typeface="Calibri" panose="020F0502020204030204" pitchFamily="34" charset="0"/>
                <a:sym typeface="Arial"/>
              </a:rPr>
              <a:t>Pour vous accompagner, nous vous proposons </a:t>
            </a:r>
            <a:r>
              <a:rPr kumimoji="0" lang="fr-FR" i="0" u="none" strike="noStrike" kern="1200" cap="none" spc="-5" normalizeH="0" baseline="0" noProof="0">
                <a:ln>
                  <a:noFill/>
                </a:ln>
                <a:solidFill>
                  <a:srgbClr val="242852">
                    <a:lumMod val="10000"/>
                  </a:srgbClr>
                </a:solidFill>
                <a:effectLst/>
                <a:uLnTx/>
                <a:uFillTx/>
                <a:latin typeface="+mj-lt"/>
                <a:cs typeface="Calibri" panose="020F0502020204030204" pitchFamily="34" charset="0"/>
                <a:sym typeface="Arial"/>
              </a:rPr>
              <a:t>un dispositif expert sur une période de </a:t>
            </a:r>
            <a:r>
              <a:rPr lang="fr-FR">
                <a:solidFill>
                  <a:srgbClr val="242852">
                    <a:lumMod val="10000"/>
                  </a:srgbClr>
                </a:solidFill>
                <a:latin typeface="+mj-lt"/>
                <a:cs typeface="Calibri" panose="020F0502020204030204" pitchFamily="34" charset="0"/>
                <a:sym typeface="Arial"/>
              </a:rPr>
              <a:t>8</a:t>
            </a:r>
            <a:r>
              <a:rPr kumimoji="0" lang="fr-FR" i="0" u="none" strike="noStrike" kern="1200" cap="none" spc="-5" normalizeH="0" baseline="0" noProof="0">
                <a:ln>
                  <a:noFill/>
                </a:ln>
                <a:solidFill>
                  <a:srgbClr val="242852">
                    <a:lumMod val="10000"/>
                  </a:srgbClr>
                </a:solidFill>
                <a:effectLst/>
                <a:uLnTx/>
                <a:uFillTx/>
                <a:latin typeface="+mj-lt"/>
                <a:cs typeface="Calibri" panose="020F0502020204030204" pitchFamily="34" charset="0"/>
                <a:sym typeface="Arial"/>
              </a:rPr>
              <a:t> semaines à partir du 1</a:t>
            </a:r>
            <a:r>
              <a:rPr lang="fr-FR">
                <a:solidFill>
                  <a:srgbClr val="242852">
                    <a:lumMod val="10000"/>
                  </a:srgbClr>
                </a:solidFill>
                <a:latin typeface="+mj-lt"/>
                <a:cs typeface="Calibri" panose="020F0502020204030204" pitchFamily="34" charset="0"/>
                <a:sym typeface="Arial"/>
              </a:rPr>
              <a:t>9</a:t>
            </a:r>
            <a:r>
              <a:rPr kumimoji="0" lang="fr-FR" i="0" u="none" strike="noStrike" kern="1200" cap="none" spc="-5" normalizeH="0" baseline="0" noProof="0">
                <a:ln>
                  <a:noFill/>
                </a:ln>
                <a:solidFill>
                  <a:srgbClr val="242852">
                    <a:lumMod val="10000"/>
                  </a:srgbClr>
                </a:solidFill>
                <a:effectLst/>
                <a:uLnTx/>
                <a:uFillTx/>
                <a:latin typeface="+mj-lt"/>
                <a:cs typeface="Calibri" panose="020F0502020204030204" pitchFamily="34" charset="0"/>
                <a:sym typeface="Arial"/>
              </a:rPr>
              <a:t> février </a:t>
            </a:r>
            <a:r>
              <a:rPr lang="fr-FR">
                <a:solidFill>
                  <a:srgbClr val="242852">
                    <a:lumMod val="10000"/>
                  </a:srgbClr>
                </a:solidFill>
                <a:latin typeface="+mj-lt"/>
                <a:cs typeface="Calibri" panose="020F0502020204030204" pitchFamily="34" charset="0"/>
                <a:sym typeface="Arial"/>
              </a:rPr>
              <a:t>jusqu’au 12 avril.</a:t>
            </a:r>
          </a:p>
          <a:p>
            <a:pPr marR="5080" lvl="0" indent="-285750" algn="l" defTabSz="914400" rtl="0" eaLnBrk="1" fontAlgn="auto" latinLnBrk="0" hangingPunct="1">
              <a:lnSpc>
                <a:spcPct val="110100"/>
              </a:lnSpc>
              <a:spcBef>
                <a:spcPts val="95"/>
              </a:spcBef>
              <a:spcAft>
                <a:spcPts val="600"/>
              </a:spcAft>
              <a:buClr>
                <a:srgbClr val="0070C0"/>
              </a:buClr>
              <a:buSzTx/>
              <a:buFont typeface="Wingdings" panose="05000000000000000000" pitchFamily="2" charset="2"/>
              <a:buChar char="§"/>
              <a:tabLst>
                <a:tab pos="286385" algn="l"/>
                <a:tab pos="287020" algn="l"/>
              </a:tabLst>
              <a:defRPr/>
            </a:pPr>
            <a:r>
              <a:rPr kumimoji="0" lang="fr-FR" b="0" i="0" u="none" strike="noStrike" kern="1200" cap="none" spc="-5" normalizeH="0" baseline="0" noProof="0">
                <a:ln>
                  <a:noFill/>
                </a:ln>
                <a:solidFill>
                  <a:srgbClr val="242852">
                    <a:lumMod val="10000"/>
                  </a:srgbClr>
                </a:solidFill>
                <a:effectLst/>
                <a:uLnTx/>
                <a:uFillTx/>
                <a:latin typeface="+mj-lt"/>
                <a:cs typeface="Calibri" panose="020F0502020204030204" pitchFamily="34" charset="0"/>
                <a:sym typeface="Arial"/>
              </a:rPr>
              <a:t>Sur la base des niveaux d’intervention précisés précédemment, le budget prévisionnel de la prestation s’établit comme suit </a:t>
            </a:r>
          </a:p>
        </p:txBody>
      </p:sp>
      <p:sp>
        <p:nvSpPr>
          <p:cNvPr id="50" name="Rectangle 49">
            <a:extLst>
              <a:ext uri="{FF2B5EF4-FFF2-40B4-BE49-F238E27FC236}">
                <a16:creationId xmlns:a16="http://schemas.microsoft.com/office/drawing/2014/main" id="{FEB7122C-56BC-5D7F-3D65-6BC276CBA021}"/>
              </a:ext>
            </a:extLst>
          </p:cNvPr>
          <p:cNvSpPr/>
          <p:nvPr/>
        </p:nvSpPr>
        <p:spPr>
          <a:xfrm>
            <a:off x="3172219" y="5895390"/>
            <a:ext cx="2606814" cy="543725"/>
          </a:xfrm>
          <a:prstGeom prst="rect">
            <a:avLst/>
          </a:prstGeom>
          <a:solidFill>
            <a:schemeClr val="tx2">
              <a:lumMod val="40000"/>
              <a:lumOff val="60000"/>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none" spc="0" normalizeH="0" baseline="0" noProof="0">
                <a:ln>
                  <a:noFill/>
                </a:ln>
                <a:solidFill>
                  <a:srgbClr val="203F8D"/>
                </a:solidFill>
                <a:effectLst/>
                <a:uLnTx/>
                <a:uFillTx/>
                <a:latin typeface="+mj-lt"/>
                <a:cs typeface="Calibri" panose="020F0502020204030204" pitchFamily="34" charset="0"/>
                <a:sym typeface="Arial"/>
              </a:rPr>
              <a:t>Montant total</a:t>
            </a:r>
            <a:endParaRPr lang="fr-FR" sz="1100" kern="0">
              <a:solidFill>
                <a:srgbClr val="000000"/>
              </a:solidFill>
              <a:latin typeface="+mj-lt"/>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fr-FR" sz="1000" kern="0">
              <a:solidFill>
                <a:srgbClr val="203F8D"/>
              </a:solidFill>
              <a:latin typeface="+mj-lt"/>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000000"/>
              </a:solidFill>
              <a:effectLst/>
              <a:uLnTx/>
              <a:uFillTx/>
              <a:latin typeface="+mj-lt"/>
              <a:cs typeface="Calibri" panose="020F0502020204030204" pitchFamily="34" charset="0"/>
              <a:sym typeface="Arial"/>
            </a:endParaRPr>
          </a:p>
        </p:txBody>
      </p:sp>
      <p:pic>
        <p:nvPicPr>
          <p:cNvPr id="51" name="Picture 2" descr="Italy ">
            <a:extLst>
              <a:ext uri="{FF2B5EF4-FFF2-40B4-BE49-F238E27FC236}">
                <a16:creationId xmlns:a16="http://schemas.microsoft.com/office/drawing/2014/main" id="{9E8B8053-23BB-156E-A0E5-B7A14BC7C6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3216" y="1848881"/>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Spain ">
            <a:extLst>
              <a:ext uri="{FF2B5EF4-FFF2-40B4-BE49-F238E27FC236}">
                <a16:creationId xmlns:a16="http://schemas.microsoft.com/office/drawing/2014/main" id="{C513184B-A144-CB17-D8AF-995D1B7F95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38784" y="1848881"/>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France ">
            <a:extLst>
              <a:ext uri="{FF2B5EF4-FFF2-40B4-BE49-F238E27FC236}">
                <a16:creationId xmlns:a16="http://schemas.microsoft.com/office/drawing/2014/main" id="{465B8E59-06A8-C45F-F567-D77F94E867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19190" y="1848881"/>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0632809A-3CF4-825F-76A4-D988414A2E59}"/>
              </a:ext>
            </a:extLst>
          </p:cNvPr>
          <p:cNvSpPr/>
          <p:nvPr/>
        </p:nvSpPr>
        <p:spPr>
          <a:xfrm>
            <a:off x="3172218" y="6079115"/>
            <a:ext cx="2606813"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000" b="1" kern="0">
                <a:solidFill>
                  <a:srgbClr val="000000"/>
                </a:solidFill>
                <a:latin typeface="+mj-lt"/>
                <a:cs typeface="Calibri" panose="020F0502020204030204" pitchFamily="34" charset="0"/>
                <a:sym typeface="Arial"/>
              </a:rPr>
              <a:t>34</a:t>
            </a:r>
            <a:r>
              <a:rPr kumimoji="0" lang="fr-FR" sz="1000" b="1" i="0" u="none" strike="noStrike" kern="0" cap="none" spc="0" normalizeH="0" baseline="0" noProof="0">
                <a:ln>
                  <a:noFill/>
                </a:ln>
                <a:solidFill>
                  <a:srgbClr val="000000"/>
                </a:solidFill>
                <a:effectLst/>
                <a:uLnTx/>
                <a:uFillTx/>
                <a:latin typeface="+mj-lt"/>
                <a:cs typeface="Calibri" panose="020F0502020204030204" pitchFamily="34" charset="0"/>
                <a:sym typeface="Arial"/>
              </a:rPr>
              <a:t>0 000 € HT</a:t>
            </a:r>
          </a:p>
        </p:txBody>
      </p:sp>
      <p:sp>
        <p:nvSpPr>
          <p:cNvPr id="56" name="object 4">
            <a:extLst>
              <a:ext uri="{FF2B5EF4-FFF2-40B4-BE49-F238E27FC236}">
                <a16:creationId xmlns:a16="http://schemas.microsoft.com/office/drawing/2014/main" id="{4E2D8219-6AFB-26A0-8ACE-F94FB841B886}"/>
              </a:ext>
            </a:extLst>
          </p:cNvPr>
          <p:cNvSpPr txBox="1"/>
          <p:nvPr/>
        </p:nvSpPr>
        <p:spPr>
          <a:xfrm>
            <a:off x="6382824" y="2065401"/>
            <a:ext cx="5552538" cy="4233351"/>
          </a:xfrm>
          <a:prstGeom prst="rect">
            <a:avLst/>
          </a:prstGeom>
          <a:noFill/>
        </p:spPr>
        <p:txBody>
          <a:bodyPr vert="horz" wrap="square" lIns="0" tIns="83185" rIns="0" bIns="0" rtlCol="0">
            <a:noAutofit/>
          </a:bodyPr>
          <a:lstStyle>
            <a:defPPr>
              <a:defRPr lang="fr-FR"/>
            </a:defPPr>
            <a:lvl1pPr marL="285750" marR="436880" lvl="0" indent="-193675" fontAlgn="auto">
              <a:lnSpc>
                <a:spcPct val="110000"/>
              </a:lnSpc>
              <a:spcBef>
                <a:spcPts val="655"/>
              </a:spcBef>
              <a:spcAft>
                <a:spcPts val="0"/>
              </a:spcAft>
              <a:buClrTx/>
              <a:buSzTx/>
              <a:buFontTx/>
              <a:buChar char="•"/>
              <a:tabLst>
                <a:tab pos="286385" algn="l"/>
                <a:tab pos="287020" algn="l"/>
              </a:tabLst>
              <a:defRPr kumimoji="0" sz="1600" b="1" i="0" u="none" strike="noStrike" cap="none" spc="-5" normalizeH="0" baseline="0">
                <a:ln>
                  <a:noFill/>
                </a:ln>
                <a:solidFill>
                  <a:srgbClr val="0029CC"/>
                </a:solidFill>
                <a:effectLst/>
                <a:uLnTx/>
                <a:uFillTx/>
                <a:latin typeface="Montserrat" panose="00000500000000000000"/>
                <a:cs typeface="Arial"/>
              </a:defRPr>
            </a:lvl1pPr>
          </a:lstStyle>
          <a:p>
            <a:pPr marR="5080" indent="-285750">
              <a:lnSpc>
                <a:spcPct val="110100"/>
              </a:lnSpc>
              <a:spcBef>
                <a:spcPts val="95"/>
              </a:spcBef>
              <a:buClr>
                <a:schemeClr val="bg2"/>
              </a:buClr>
              <a:buFont typeface="Arial" panose="020B0604020202020204" pitchFamily="34" charset="0"/>
              <a:buChar char="›"/>
              <a:defRPr/>
            </a:pPr>
            <a:r>
              <a:rPr lang="fr-FR" b="0">
                <a:solidFill>
                  <a:srgbClr val="242852">
                    <a:lumMod val="10000"/>
                  </a:srgbClr>
                </a:solidFill>
                <a:latin typeface="+mj-lt"/>
                <a:cs typeface="Calibri" panose="020F0502020204030204" pitchFamily="34" charset="0"/>
                <a:sym typeface="Arial"/>
              </a:rPr>
              <a:t>Nous vous proposons une </a:t>
            </a:r>
            <a:r>
              <a:rPr lang="fr-FR">
                <a:solidFill>
                  <a:srgbClr val="242852">
                    <a:lumMod val="10000"/>
                  </a:srgbClr>
                </a:solidFill>
                <a:latin typeface="+mj-lt"/>
                <a:cs typeface="Calibri" panose="020F0502020204030204" pitchFamily="34" charset="0"/>
                <a:sym typeface="Arial"/>
              </a:rPr>
              <a:t>intervention au forfait </a:t>
            </a:r>
            <a:r>
              <a:rPr lang="fr-FR" b="0">
                <a:solidFill>
                  <a:srgbClr val="242852">
                    <a:lumMod val="10000"/>
                  </a:srgbClr>
                </a:solidFill>
                <a:latin typeface="+mj-lt"/>
                <a:cs typeface="Calibri" panose="020F0502020204030204" pitchFamily="34" charset="0"/>
                <a:sym typeface="Arial"/>
              </a:rPr>
              <a:t>sur la période du </a:t>
            </a:r>
            <a:r>
              <a:rPr lang="fr-FR">
                <a:solidFill>
                  <a:srgbClr val="242852">
                    <a:lumMod val="10000"/>
                  </a:srgbClr>
                </a:solidFill>
                <a:latin typeface="+mj-lt"/>
                <a:cs typeface="Calibri" panose="020F0502020204030204" pitchFamily="34" charset="0"/>
                <a:sym typeface="Arial"/>
              </a:rPr>
              <a:t>19/02 au 12/04/2024</a:t>
            </a:r>
            <a:r>
              <a:rPr lang="fr-FR" b="0">
                <a:solidFill>
                  <a:srgbClr val="242852">
                    <a:lumMod val="10000"/>
                  </a:srgbClr>
                </a:solidFill>
                <a:latin typeface="+mj-lt"/>
                <a:cs typeface="Calibri" panose="020F0502020204030204" pitchFamily="34" charset="0"/>
                <a:sym typeface="Arial"/>
              </a:rPr>
              <a:t>, pour un montant de :</a:t>
            </a:r>
          </a:p>
          <a:p>
            <a:pPr marL="571500" marR="5080" indent="-285750">
              <a:lnSpc>
                <a:spcPct val="110100"/>
              </a:lnSpc>
              <a:spcBef>
                <a:spcPts val="95"/>
              </a:spcBef>
              <a:buClr>
                <a:schemeClr val="bg2"/>
              </a:buClr>
              <a:buSzPct val="80000"/>
              <a:buFont typeface="Wingdings" panose="05000000000000000000" pitchFamily="2" charset="2"/>
              <a:buChar char="§"/>
              <a:tabLst>
                <a:tab pos="285750" algn="l"/>
              </a:tabLst>
              <a:defRPr/>
            </a:pPr>
            <a:r>
              <a:rPr lang="fr-FR" sz="1400" kern="0">
                <a:solidFill>
                  <a:srgbClr val="242852">
                    <a:lumMod val="10000"/>
                  </a:srgbClr>
                </a:solidFill>
                <a:latin typeface="+mj-lt"/>
                <a:cs typeface="Calibri" panose="020F0502020204030204" pitchFamily="34" charset="0"/>
                <a:sym typeface="Arial"/>
              </a:rPr>
              <a:t>160 000 € HT </a:t>
            </a:r>
            <a:r>
              <a:rPr lang="fr-FR" sz="1400" b="0" kern="0">
                <a:solidFill>
                  <a:srgbClr val="242852">
                    <a:lumMod val="10000"/>
                  </a:srgbClr>
                </a:solidFill>
                <a:latin typeface="+mj-lt"/>
                <a:cs typeface="Calibri" panose="020F0502020204030204" pitchFamily="34" charset="0"/>
                <a:sym typeface="Arial"/>
              </a:rPr>
              <a:t>(192 000 € TTC) pour le </a:t>
            </a:r>
            <a:r>
              <a:rPr lang="fr-FR" sz="1400" b="0" kern="0" err="1">
                <a:solidFill>
                  <a:srgbClr val="242852">
                    <a:lumMod val="10000"/>
                  </a:srgbClr>
                </a:solidFill>
                <a:latin typeface="+mj-lt"/>
                <a:cs typeface="Calibri" panose="020F0502020204030204" pitchFamily="34" charset="0"/>
                <a:sym typeface="Arial"/>
              </a:rPr>
              <a:t>stream</a:t>
            </a:r>
            <a:r>
              <a:rPr lang="fr-FR" sz="1400" b="0" kern="0">
                <a:solidFill>
                  <a:srgbClr val="242852">
                    <a:lumMod val="10000"/>
                  </a:srgbClr>
                </a:solidFill>
                <a:latin typeface="+mj-lt"/>
                <a:cs typeface="Calibri" panose="020F0502020204030204" pitchFamily="34" charset="0"/>
                <a:sym typeface="Arial"/>
              </a:rPr>
              <a:t> – </a:t>
            </a:r>
            <a:r>
              <a:rPr lang="fr-FR" sz="1400" kern="0">
                <a:solidFill>
                  <a:srgbClr val="242852">
                    <a:lumMod val="10000"/>
                  </a:srgbClr>
                </a:solidFill>
                <a:latin typeface="+mj-lt"/>
                <a:cs typeface="Calibri" panose="020F0502020204030204" pitchFamily="34" charset="0"/>
                <a:sym typeface="Arial"/>
              </a:rPr>
              <a:t>France</a:t>
            </a:r>
          </a:p>
          <a:p>
            <a:pPr marL="571500" marR="5080" indent="-285750">
              <a:lnSpc>
                <a:spcPct val="110100"/>
              </a:lnSpc>
              <a:spcBef>
                <a:spcPts val="95"/>
              </a:spcBef>
              <a:buClr>
                <a:schemeClr val="bg2"/>
              </a:buClr>
              <a:buSzPct val="80000"/>
              <a:buFont typeface="Wingdings" panose="05000000000000000000" pitchFamily="2" charset="2"/>
              <a:buChar char="§"/>
              <a:tabLst>
                <a:tab pos="285750" algn="l"/>
              </a:tabLst>
              <a:defRPr/>
            </a:pPr>
            <a:r>
              <a:rPr lang="fr-FR" sz="1400" kern="0">
                <a:solidFill>
                  <a:srgbClr val="242852">
                    <a:lumMod val="10000"/>
                  </a:srgbClr>
                </a:solidFill>
                <a:latin typeface="+mj-lt"/>
                <a:cs typeface="Calibri" panose="020F0502020204030204" pitchFamily="34" charset="0"/>
                <a:sym typeface="Arial"/>
              </a:rPr>
              <a:t>180 000 € HT </a:t>
            </a:r>
            <a:r>
              <a:rPr lang="fr-FR" sz="1400" b="0" kern="0">
                <a:solidFill>
                  <a:srgbClr val="242852">
                    <a:lumMod val="10000"/>
                  </a:srgbClr>
                </a:solidFill>
                <a:latin typeface="+mj-lt"/>
                <a:cs typeface="Calibri" panose="020F0502020204030204" pitchFamily="34" charset="0"/>
                <a:sym typeface="Arial"/>
              </a:rPr>
              <a:t>(216 000 € TTC) pour le </a:t>
            </a:r>
            <a:r>
              <a:rPr lang="fr-FR" sz="1400" b="0" kern="0" err="1">
                <a:solidFill>
                  <a:srgbClr val="242852">
                    <a:lumMod val="10000"/>
                  </a:srgbClr>
                </a:solidFill>
                <a:latin typeface="+mj-lt"/>
                <a:cs typeface="Calibri" panose="020F0502020204030204" pitchFamily="34" charset="0"/>
                <a:sym typeface="Arial"/>
              </a:rPr>
              <a:t>stream</a:t>
            </a:r>
            <a:r>
              <a:rPr lang="fr-FR" sz="1400" b="0" kern="0">
                <a:solidFill>
                  <a:srgbClr val="242852">
                    <a:lumMod val="10000"/>
                  </a:srgbClr>
                </a:solidFill>
                <a:latin typeface="+mj-lt"/>
                <a:cs typeface="Calibri" panose="020F0502020204030204" pitchFamily="34" charset="0"/>
                <a:sym typeface="Arial"/>
              </a:rPr>
              <a:t> – </a:t>
            </a:r>
            <a:r>
              <a:rPr lang="fr-FR" sz="1400" kern="0">
                <a:solidFill>
                  <a:srgbClr val="242852">
                    <a:lumMod val="10000"/>
                  </a:srgbClr>
                </a:solidFill>
                <a:latin typeface="+mj-lt"/>
                <a:cs typeface="Calibri" panose="020F0502020204030204" pitchFamily="34" charset="0"/>
                <a:sym typeface="Arial"/>
              </a:rPr>
              <a:t>Espagne et Italie</a:t>
            </a:r>
          </a:p>
          <a:p>
            <a:pPr marL="571500" marR="5080" indent="-285750">
              <a:lnSpc>
                <a:spcPct val="110100"/>
              </a:lnSpc>
              <a:spcBef>
                <a:spcPts val="95"/>
              </a:spcBef>
              <a:buClr>
                <a:schemeClr val="bg2"/>
              </a:buClr>
              <a:buSzPct val="80000"/>
              <a:buFont typeface="Wingdings" panose="05000000000000000000" pitchFamily="2" charset="2"/>
              <a:buChar char="§"/>
              <a:tabLst>
                <a:tab pos="285750" algn="l"/>
              </a:tabLst>
              <a:defRPr/>
            </a:pPr>
            <a:endParaRPr lang="fr-FR" sz="1400" kern="0">
              <a:solidFill>
                <a:srgbClr val="242852">
                  <a:lumMod val="10000"/>
                </a:srgbClr>
              </a:solidFill>
              <a:latin typeface="+mj-lt"/>
              <a:cs typeface="Calibri" panose="020F0502020204030204" pitchFamily="34" charset="0"/>
              <a:sym typeface="Arial"/>
            </a:endParaRPr>
          </a:p>
          <a:p>
            <a:pPr marL="571500" marR="5080" indent="-285750">
              <a:lnSpc>
                <a:spcPct val="110100"/>
              </a:lnSpc>
              <a:spcBef>
                <a:spcPts val="95"/>
              </a:spcBef>
              <a:buClr>
                <a:schemeClr val="bg2"/>
              </a:buClr>
              <a:buSzPct val="80000"/>
              <a:buFont typeface="Wingdings" panose="05000000000000000000" pitchFamily="2" charset="2"/>
              <a:buChar char="§"/>
              <a:tabLst>
                <a:tab pos="285750" algn="l"/>
              </a:tabLst>
              <a:defRPr/>
            </a:pPr>
            <a:r>
              <a:rPr lang="fr-FR" sz="1400" kern="0">
                <a:solidFill>
                  <a:srgbClr val="242852">
                    <a:lumMod val="10000"/>
                  </a:srgbClr>
                </a:solidFill>
                <a:latin typeface="+mj-lt"/>
                <a:cs typeface="Calibri" panose="020F0502020204030204" pitchFamily="34" charset="0"/>
                <a:sym typeface="Arial"/>
              </a:rPr>
              <a:t>Le montant pour les deux </a:t>
            </a:r>
            <a:r>
              <a:rPr lang="fr-FR" sz="1400" kern="0" err="1">
                <a:solidFill>
                  <a:srgbClr val="242852">
                    <a:lumMod val="10000"/>
                  </a:srgbClr>
                </a:solidFill>
                <a:latin typeface="+mj-lt"/>
                <a:cs typeface="Calibri" panose="020F0502020204030204" pitchFamily="34" charset="0"/>
                <a:sym typeface="Arial"/>
              </a:rPr>
              <a:t>streams</a:t>
            </a:r>
            <a:r>
              <a:rPr lang="fr-FR" sz="1400" kern="0">
                <a:solidFill>
                  <a:srgbClr val="242852">
                    <a:lumMod val="10000"/>
                  </a:srgbClr>
                </a:solidFill>
                <a:latin typeface="+mj-lt"/>
                <a:cs typeface="Calibri" panose="020F0502020204030204" pitchFamily="34" charset="0"/>
                <a:sym typeface="Arial"/>
              </a:rPr>
              <a:t> </a:t>
            </a:r>
            <a:r>
              <a:rPr lang="fr-FR" sz="1400" b="0" kern="0">
                <a:solidFill>
                  <a:srgbClr val="242852">
                    <a:lumMod val="10000"/>
                  </a:srgbClr>
                </a:solidFill>
                <a:latin typeface="+mj-lt"/>
                <a:cs typeface="Calibri" panose="020F0502020204030204" pitchFamily="34" charset="0"/>
                <a:sym typeface="Arial"/>
              </a:rPr>
              <a:t>s’élève à</a:t>
            </a:r>
            <a:r>
              <a:rPr lang="fr-FR" sz="1400" kern="0">
                <a:solidFill>
                  <a:srgbClr val="242852">
                    <a:lumMod val="10000"/>
                  </a:srgbClr>
                </a:solidFill>
                <a:latin typeface="+mj-lt"/>
                <a:cs typeface="Calibri" panose="020F0502020204030204" pitchFamily="34" charset="0"/>
                <a:sym typeface="Arial"/>
              </a:rPr>
              <a:t> 340 000 € HT </a:t>
            </a:r>
            <a:r>
              <a:rPr lang="fr-FR" sz="1400" b="0" kern="0">
                <a:solidFill>
                  <a:srgbClr val="242852">
                    <a:lumMod val="10000"/>
                  </a:srgbClr>
                </a:solidFill>
                <a:latin typeface="+mj-lt"/>
                <a:cs typeface="Calibri" panose="020F0502020204030204" pitchFamily="34" charset="0"/>
                <a:sym typeface="Arial"/>
              </a:rPr>
              <a:t>(408 000 € TTC)</a:t>
            </a:r>
          </a:p>
          <a:p>
            <a:pPr marR="5080" indent="-285750">
              <a:lnSpc>
                <a:spcPct val="110100"/>
              </a:lnSpc>
              <a:spcBef>
                <a:spcPts val="95"/>
              </a:spcBef>
              <a:buClr>
                <a:schemeClr val="bg2"/>
              </a:buClr>
              <a:buFont typeface="Arial" panose="020B0604020202020204" pitchFamily="34" charset="0"/>
              <a:buChar char="›"/>
              <a:defRPr/>
            </a:pPr>
            <a:endParaRPr lang="fr-FR" b="0">
              <a:solidFill>
                <a:srgbClr val="242852">
                  <a:lumMod val="10000"/>
                </a:srgbClr>
              </a:solidFill>
              <a:latin typeface="+mj-lt"/>
              <a:cs typeface="Calibri" panose="020F0502020204030204" pitchFamily="34" charset="0"/>
              <a:sym typeface="Arial"/>
            </a:endParaRPr>
          </a:p>
          <a:p>
            <a:pPr marR="5080" indent="-285750">
              <a:lnSpc>
                <a:spcPct val="110100"/>
              </a:lnSpc>
              <a:spcBef>
                <a:spcPts val="95"/>
              </a:spcBef>
              <a:buClr>
                <a:schemeClr val="bg2"/>
              </a:buClr>
              <a:buFont typeface="Arial" panose="020B0604020202020204" pitchFamily="34" charset="0"/>
              <a:buChar char="›"/>
              <a:defRPr/>
            </a:pPr>
            <a:r>
              <a:rPr lang="fr-FR" b="0">
                <a:solidFill>
                  <a:srgbClr val="242852">
                    <a:lumMod val="10000"/>
                  </a:srgbClr>
                </a:solidFill>
                <a:latin typeface="+mj-lt"/>
                <a:cs typeface="Calibri" panose="020F0502020204030204" pitchFamily="34" charset="0"/>
                <a:sym typeface="Arial"/>
              </a:rPr>
              <a:t>Ces montants s’entendent hors frais de déplacement éventuels, facturés au débours et en sus.</a:t>
            </a:r>
          </a:p>
          <a:p>
            <a:pPr marL="285750" marR="5080" lvl="0" indent="-285750" algn="l" defTabSz="914400" rtl="0" eaLnBrk="1" fontAlgn="auto" latinLnBrk="0" hangingPunct="1">
              <a:lnSpc>
                <a:spcPct val="110100"/>
              </a:lnSpc>
              <a:spcBef>
                <a:spcPts val="95"/>
              </a:spcBef>
              <a:spcAft>
                <a:spcPts val="0"/>
              </a:spcAft>
              <a:buClr>
                <a:schemeClr val="bg2"/>
              </a:buClr>
              <a:buSzTx/>
              <a:buFont typeface="Arial" panose="020B0604020202020204" pitchFamily="34" charset="0"/>
              <a:buChar char="›"/>
              <a:tabLst>
                <a:tab pos="286385" algn="l"/>
                <a:tab pos="287020" algn="l"/>
              </a:tabLst>
              <a:defRPr/>
            </a:pPr>
            <a:endParaRPr kumimoji="0" lang="fr-FR" b="0" i="0" u="none" strike="noStrike" kern="0" cap="none" spc="-5" normalizeH="0" baseline="0" noProof="0">
              <a:ln>
                <a:noFill/>
              </a:ln>
              <a:solidFill>
                <a:srgbClr val="242852">
                  <a:lumMod val="10000"/>
                </a:srgbClr>
              </a:solidFill>
              <a:effectLst/>
              <a:uLnTx/>
              <a:uFillTx/>
              <a:latin typeface="+mj-lt"/>
              <a:cs typeface="Calibri" panose="020F0502020204030204" pitchFamily="34" charset="0"/>
              <a:sym typeface="Arial"/>
            </a:endParaRPr>
          </a:p>
          <a:p>
            <a:pPr marL="285750" marR="5080" lvl="0" indent="-285750" algn="l" defTabSz="914400" rtl="0" eaLnBrk="1" fontAlgn="auto" latinLnBrk="0" hangingPunct="1">
              <a:lnSpc>
                <a:spcPct val="110100"/>
              </a:lnSpc>
              <a:spcBef>
                <a:spcPts val="95"/>
              </a:spcBef>
              <a:spcAft>
                <a:spcPts val="0"/>
              </a:spcAft>
              <a:buClr>
                <a:schemeClr val="bg2"/>
              </a:buClr>
              <a:buSzTx/>
              <a:buFont typeface="Arial" panose="020B0604020202020204" pitchFamily="34" charset="0"/>
              <a:buChar char="›"/>
              <a:tabLst>
                <a:tab pos="286385" algn="l"/>
                <a:tab pos="287020" algn="l"/>
              </a:tabLst>
              <a:defRPr/>
            </a:pPr>
            <a:r>
              <a:rPr kumimoji="0" lang="fr-FR" b="0" i="0" u="none" strike="noStrike" kern="0" cap="none" spc="-5" normalizeH="0" baseline="0" noProof="0">
                <a:ln>
                  <a:noFill/>
                </a:ln>
                <a:solidFill>
                  <a:srgbClr val="242852">
                    <a:lumMod val="10000"/>
                  </a:srgbClr>
                </a:solidFill>
                <a:effectLst/>
                <a:uLnTx/>
                <a:uFillTx/>
                <a:latin typeface="+mj-lt"/>
                <a:cs typeface="Calibri" panose="020F0502020204030204" pitchFamily="34" charset="0"/>
                <a:sym typeface="Arial"/>
              </a:rPr>
              <a:t>Le calendrier de facturation des honoraires est le suivant :</a:t>
            </a:r>
          </a:p>
          <a:p>
            <a:pPr marL="571500" marR="5080" lvl="0" indent="-285750" algn="l" defTabSz="914400" rtl="0" eaLnBrk="1" fontAlgn="auto" latinLnBrk="0" hangingPunct="1">
              <a:lnSpc>
                <a:spcPct val="110100"/>
              </a:lnSpc>
              <a:spcBef>
                <a:spcPts val="95"/>
              </a:spcBef>
              <a:spcAft>
                <a:spcPts val="0"/>
              </a:spcAft>
              <a:buClr>
                <a:schemeClr val="bg2"/>
              </a:buClr>
              <a:buSzPct val="80000"/>
              <a:buFont typeface="Wingdings" panose="05000000000000000000" pitchFamily="2" charset="2"/>
              <a:buChar char="§"/>
              <a:tabLst>
                <a:tab pos="285750" algn="l"/>
              </a:tabLst>
              <a:defRPr/>
            </a:pPr>
            <a:r>
              <a:rPr kumimoji="0" lang="fr-FR" b="0" i="0" u="none" strike="noStrike" kern="0" cap="none" spc="-5" normalizeH="0" baseline="0" noProof="0">
                <a:ln>
                  <a:noFill/>
                </a:ln>
                <a:solidFill>
                  <a:srgbClr val="242852">
                    <a:lumMod val="10000"/>
                  </a:srgbClr>
                </a:solidFill>
                <a:effectLst/>
                <a:uLnTx/>
                <a:uFillTx/>
                <a:latin typeface="+mj-lt"/>
                <a:cs typeface="Calibri" panose="020F0502020204030204" pitchFamily="34" charset="0"/>
                <a:sym typeface="Arial"/>
              </a:rPr>
              <a:t>À réception de votre accord : </a:t>
            </a:r>
            <a:r>
              <a:rPr lang="fr-FR" b="0" kern="0">
                <a:solidFill>
                  <a:srgbClr val="242852">
                    <a:lumMod val="10000"/>
                  </a:srgbClr>
                </a:solidFill>
                <a:latin typeface="+mj-lt"/>
                <a:cs typeface="Calibri" panose="020F0502020204030204" pitchFamily="34" charset="0"/>
                <a:sym typeface="Arial"/>
              </a:rPr>
              <a:t>30</a:t>
            </a:r>
            <a:r>
              <a:rPr kumimoji="0" lang="fr-FR" b="0" i="0" u="none" strike="noStrike" kern="0" cap="none" spc="-5" normalizeH="0" baseline="0" noProof="0">
                <a:ln>
                  <a:noFill/>
                </a:ln>
                <a:solidFill>
                  <a:srgbClr val="242852">
                    <a:lumMod val="10000"/>
                  </a:srgbClr>
                </a:solidFill>
                <a:effectLst/>
                <a:uLnTx/>
                <a:uFillTx/>
                <a:latin typeface="+mj-lt"/>
                <a:cs typeface="Calibri" panose="020F0502020204030204" pitchFamily="34" charset="0"/>
                <a:sym typeface="Arial"/>
              </a:rPr>
              <a:t>%</a:t>
            </a:r>
          </a:p>
          <a:p>
            <a:pPr marL="571500" marR="5080" lvl="0" indent="-285750" algn="l" defTabSz="914400" rtl="0" eaLnBrk="1" fontAlgn="auto" latinLnBrk="0" hangingPunct="1">
              <a:lnSpc>
                <a:spcPct val="110100"/>
              </a:lnSpc>
              <a:spcBef>
                <a:spcPts val="95"/>
              </a:spcBef>
              <a:spcAft>
                <a:spcPts val="0"/>
              </a:spcAft>
              <a:buClr>
                <a:schemeClr val="bg2"/>
              </a:buClr>
              <a:buSzPct val="80000"/>
              <a:buFont typeface="Wingdings" panose="05000000000000000000" pitchFamily="2" charset="2"/>
              <a:buChar char="§"/>
              <a:tabLst>
                <a:tab pos="285750" algn="l"/>
              </a:tabLst>
              <a:defRPr/>
            </a:pPr>
            <a:r>
              <a:rPr kumimoji="0" lang="fr-FR" b="0" i="0" u="none" strike="noStrike" kern="0" cap="none" spc="-5" normalizeH="0" baseline="0" noProof="0">
                <a:ln>
                  <a:noFill/>
                </a:ln>
                <a:solidFill>
                  <a:srgbClr val="242852">
                    <a:lumMod val="10000"/>
                  </a:srgbClr>
                </a:solidFill>
                <a:effectLst/>
                <a:uLnTx/>
                <a:uFillTx/>
                <a:latin typeface="+mj-lt"/>
                <a:cs typeface="Calibri" panose="020F0502020204030204" pitchFamily="34" charset="0"/>
                <a:sym typeface="Arial"/>
              </a:rPr>
              <a:t>À la fin du diagnostic : 35%</a:t>
            </a:r>
          </a:p>
          <a:p>
            <a:pPr marL="571500" marR="5080" lvl="0" indent="-285750" algn="l" defTabSz="914400" rtl="0" eaLnBrk="1" fontAlgn="auto" latinLnBrk="0" hangingPunct="1">
              <a:lnSpc>
                <a:spcPct val="110100"/>
              </a:lnSpc>
              <a:spcBef>
                <a:spcPts val="95"/>
              </a:spcBef>
              <a:spcAft>
                <a:spcPts val="0"/>
              </a:spcAft>
              <a:buClr>
                <a:schemeClr val="bg2"/>
              </a:buClr>
              <a:buSzPct val="80000"/>
              <a:buFont typeface="Wingdings" panose="05000000000000000000" pitchFamily="2" charset="2"/>
              <a:buChar char="§"/>
              <a:tabLst>
                <a:tab pos="285750" algn="l"/>
              </a:tabLst>
              <a:defRPr/>
            </a:pPr>
            <a:r>
              <a:rPr kumimoji="0" lang="fr-FR" b="0" i="0" u="none" strike="noStrike" kern="0" cap="none" spc="-5" normalizeH="0" baseline="0" noProof="0">
                <a:ln>
                  <a:noFill/>
                </a:ln>
                <a:solidFill>
                  <a:srgbClr val="242852">
                    <a:lumMod val="10000"/>
                  </a:srgbClr>
                </a:solidFill>
                <a:effectLst/>
                <a:uLnTx/>
                <a:uFillTx/>
                <a:latin typeface="+mj-lt"/>
                <a:cs typeface="Calibri" panose="020F0502020204030204" pitchFamily="34" charset="0"/>
                <a:sym typeface="Arial"/>
              </a:rPr>
              <a:t>À la livraison des livrables finaux : 35%</a:t>
            </a:r>
          </a:p>
        </p:txBody>
      </p:sp>
      <p:sp>
        <p:nvSpPr>
          <p:cNvPr id="57" name="Titre 1">
            <a:extLst>
              <a:ext uri="{FF2B5EF4-FFF2-40B4-BE49-F238E27FC236}">
                <a16:creationId xmlns:a16="http://schemas.microsoft.com/office/drawing/2014/main" id="{BFBDA8B8-6701-0727-76F4-7E5CEBEC955A}"/>
              </a:ext>
            </a:extLst>
          </p:cNvPr>
          <p:cNvSpPr txBox="1">
            <a:spLocks/>
          </p:cNvSpPr>
          <p:nvPr/>
        </p:nvSpPr>
        <p:spPr>
          <a:xfrm>
            <a:off x="396654" y="141709"/>
            <a:ext cx="10320965"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kern="0">
                <a:solidFill>
                  <a:schemeClr val="bg2"/>
                </a:solidFill>
                <a:latin typeface="Arial Black" panose="020B0A04020102020204" pitchFamily="34" charset="0"/>
                <a:cs typeface="Calibri" panose="020F0502020204030204" pitchFamily="34" charset="0"/>
              </a:rPr>
              <a:t>NOTRE PROPOSITION FINANCIÈRE</a:t>
            </a:r>
          </a:p>
        </p:txBody>
      </p:sp>
    </p:spTree>
    <p:extLst>
      <p:ext uri="{BB962C8B-B14F-4D97-AF65-F5344CB8AC3E}">
        <p14:creationId xmlns:p14="http://schemas.microsoft.com/office/powerpoint/2010/main" val="25667877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F010E3A-9898-4967-8E0E-189A53740B55}"/>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130FE673-0678-95B6-C3B9-B1E6E8BF77E1}"/>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49AD9D9-8EB9-40C8-817E-797AEF95B20C}"/>
              </a:ext>
            </a:extLst>
          </p:cNvPr>
          <p:cNvGraphicFramePr/>
          <p:nvPr>
            <p:extLst>
              <p:ext uri="{D42A27DB-BD31-4B8C-83A1-F6EECF244321}">
                <p14:modId xmlns:p14="http://schemas.microsoft.com/office/powerpoint/2010/main" val="968629372"/>
              </p:ext>
            </p:extLst>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0">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a:solidFill>
                            <a:schemeClr val="tx2"/>
                          </a:solidFill>
                          <a:latin typeface="+mj-lt"/>
                          <a:cs typeface="Calibri" panose="020F0502020204030204" pitchFamily="34" charset="0"/>
                          <a:sym typeface="Montserrat"/>
                        </a:rPr>
                        <a:t>Synthèse de notre proposition</a:t>
                      </a:r>
                      <a:endParaRPr lang="fr-FR" sz="1900" b="0">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0"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0"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402162129"/>
                  </a:ext>
                </a:extLst>
              </a:tr>
              <a:tr h="535332">
                <a:tc>
                  <a:txBody>
                    <a:bodyPr/>
                    <a:lstStyle/>
                    <a:p>
                      <a:pPr algn="ctr"/>
                      <a:r>
                        <a:rPr lang="fr-FR" sz="1600" b="0">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1"/>
                  </a:ext>
                </a:extLst>
              </a:tr>
              <a:tr h="484169">
                <a:tc>
                  <a:txBody>
                    <a:bodyPr/>
                    <a:lstStyle/>
                    <a:p>
                      <a:pPr algn="ctr"/>
                      <a:r>
                        <a:rPr lang="fr-FR" sz="1600" b="0">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2"/>
                  </a:ext>
                </a:extLst>
              </a:tr>
              <a:tr h="484169">
                <a:tc>
                  <a:txBody>
                    <a:bodyPr/>
                    <a:lstStyle/>
                    <a:p>
                      <a:pPr algn="ctr"/>
                      <a:r>
                        <a:rPr lang="fr-FR" sz="1600" b="0">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683504451"/>
                  </a:ext>
                </a:extLst>
              </a:tr>
              <a:tr h="484169">
                <a:tc>
                  <a:txBody>
                    <a:bodyPr/>
                    <a:lstStyle/>
                    <a:p>
                      <a:pPr algn="ctr"/>
                      <a:r>
                        <a:rPr lang="fr-FR" sz="1600" b="0">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472287062"/>
                  </a:ext>
                </a:extLst>
              </a:tr>
              <a:tr h="484169">
                <a:tc>
                  <a:txBody>
                    <a:bodyPr/>
                    <a:lstStyle/>
                    <a:p>
                      <a:pPr algn="ctr"/>
                      <a:r>
                        <a:rPr lang="fr-FR" sz="1600" b="1">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1">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24139429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a:extLst>
              <a:ext uri="{FF2B5EF4-FFF2-40B4-BE49-F238E27FC236}">
                <a16:creationId xmlns:a16="http://schemas.microsoft.com/office/drawing/2014/main" id="{E55B44E2-27DF-DA6A-53FD-6FD0202BC1ED}"/>
              </a:ext>
            </a:extLst>
          </p:cNvPr>
          <p:cNvGraphicFramePr>
            <a:graphicFrameLocks noGrp="1"/>
          </p:cNvGraphicFramePr>
          <p:nvPr>
            <p:extLst>
              <p:ext uri="{D42A27DB-BD31-4B8C-83A1-F6EECF244321}">
                <p14:modId xmlns:p14="http://schemas.microsoft.com/office/powerpoint/2010/main" val="19820591"/>
              </p:ext>
            </p:extLst>
          </p:nvPr>
        </p:nvGraphicFramePr>
        <p:xfrm>
          <a:off x="4275077" y="1745187"/>
          <a:ext cx="7783887" cy="4915032"/>
        </p:xfrm>
        <a:graphic>
          <a:graphicData uri="http://schemas.openxmlformats.org/drawingml/2006/table">
            <a:tbl>
              <a:tblPr firstRow="1" bandRow="1"/>
              <a:tblGrid>
                <a:gridCol w="843417">
                  <a:extLst>
                    <a:ext uri="{9D8B030D-6E8A-4147-A177-3AD203B41FA5}">
                      <a16:colId xmlns:a16="http://schemas.microsoft.com/office/drawing/2014/main" val="3696629346"/>
                    </a:ext>
                  </a:extLst>
                </a:gridCol>
                <a:gridCol w="5140659">
                  <a:extLst>
                    <a:ext uri="{9D8B030D-6E8A-4147-A177-3AD203B41FA5}">
                      <a16:colId xmlns:a16="http://schemas.microsoft.com/office/drawing/2014/main" val="1537716266"/>
                    </a:ext>
                  </a:extLst>
                </a:gridCol>
                <a:gridCol w="888040">
                  <a:extLst>
                    <a:ext uri="{9D8B030D-6E8A-4147-A177-3AD203B41FA5}">
                      <a16:colId xmlns:a16="http://schemas.microsoft.com/office/drawing/2014/main" val="3742444051"/>
                    </a:ext>
                  </a:extLst>
                </a:gridCol>
                <a:gridCol w="911771">
                  <a:extLst>
                    <a:ext uri="{9D8B030D-6E8A-4147-A177-3AD203B41FA5}">
                      <a16:colId xmlns:a16="http://schemas.microsoft.com/office/drawing/2014/main" val="2028938264"/>
                    </a:ext>
                  </a:extLst>
                </a:gridCol>
              </a:tblGrid>
              <a:tr h="330603">
                <a:tc gridSpan="4">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a:t>
                      </a: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428455178"/>
                  </a:ext>
                </a:extLst>
              </a:tr>
              <a:tr h="439118">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100" b="0" i="1">
                        <a:solidFill>
                          <a:srgbClr val="002060"/>
                        </a:solidFill>
                        <a:latin typeface="+mj-lt"/>
                      </a:endParaRP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200" b="1">
                          <a:solidFill>
                            <a:schemeClr val="tx1"/>
                          </a:solidFill>
                          <a:latin typeface="+mj-lt"/>
                        </a:rPr>
                        <a:t>Supervision de nos missions auprès des acteurs de l’assurance – Tous marchés/Toutes gouvernances</a:t>
                      </a: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rPr>
                        <a:t>  France</a:t>
                      </a:r>
                      <a:endParaRPr lang="fr-FR" sz="1100" b="0" i="1">
                        <a:solidFill>
                          <a:schemeClr val="tx1"/>
                        </a:solidFill>
                        <a:latin typeface="+mj-lt"/>
                      </a:endParaRP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92075" marR="0" lvl="0" indent="0" algn="l" defTabSz="514321"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rPr>
                        <a:t>15 ans</a:t>
                      </a: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80561566"/>
                  </a:ext>
                </a:extLst>
              </a:tr>
              <a:tr h="1132569">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360000" indent="-360000">
                        <a:spcBef>
                          <a:spcPts val="600"/>
                        </a:spcBef>
                        <a:buClr>
                          <a:schemeClr val="accent1"/>
                        </a:buClr>
                        <a:buFont typeface="Wingdings" panose="05000000000000000000" pitchFamily="2" charset="2"/>
                        <a:buChar char="§"/>
                      </a:pPr>
                      <a:endParaRPr lang="fr-FR" sz="1100">
                        <a:solidFill>
                          <a:srgbClr val="002060"/>
                        </a:solidFill>
                        <a:latin typeface="+mj-lt"/>
                      </a:endParaRPr>
                    </a:p>
                  </a:txBody>
                  <a:tcPr>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solidFill>
                            <a:schemeClr val="tx1"/>
                          </a:solidFill>
                          <a:latin typeface="+mj-lt"/>
                        </a:rPr>
                        <a:t>Santé, Prévoyance, IARD, AD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solidFill>
                            <a:schemeClr val="tx1"/>
                          </a:solidFill>
                          <a:latin typeface="+mj-lt"/>
                        </a:rPr>
                        <a:t>Réalisation de diagnostic, plan de préconisation, élaboration de trajectoir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solidFill>
                            <a:schemeClr val="tx1"/>
                          </a:solidFill>
                          <a:latin typeface="+mj-lt"/>
                        </a:rPr>
                        <a:t>Réengineering de processus, transformation des organisations, transformation digita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solidFill>
                            <a:schemeClr val="tx1"/>
                          </a:solidFill>
                          <a:latin typeface="+mj-lt"/>
                        </a:rPr>
                        <a:t>Accompagnement de Directions Générale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solidFill>
                            <a:schemeClr val="tx1"/>
                          </a:solidFill>
                          <a:latin typeface="+mj-lt"/>
                        </a:rPr>
                        <a:t>Mise en place de partenariats stratégiques</a:t>
                      </a: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834542377"/>
                  </a:ext>
                </a:extLst>
              </a:tr>
              <a:tr h="266607">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100" b="0" i="1">
                        <a:solidFill>
                          <a:srgbClr val="002060"/>
                        </a:solidFill>
                        <a:latin typeface="+mj-lt"/>
                      </a:endParaRPr>
                    </a:p>
                  </a:txBody>
                  <a:tcPr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200" b="1" i="0" u="none" strike="noStrike" kern="1200" cap="none">
                          <a:solidFill>
                            <a:schemeClr val="tx1"/>
                          </a:solidFill>
                          <a:latin typeface="+mj-lt"/>
                          <a:ea typeface="+mn-ea"/>
                          <a:cs typeface="+mn-cs"/>
                          <a:sym typeface="Arial"/>
                        </a:rPr>
                        <a:t>Pilotage du projet de transformation</a:t>
                      </a: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r>
                        <a:rPr lang="fr-FR" sz="1100" b="0" i="0" u="none" strike="noStrike" kern="1200" cap="none">
                          <a:solidFill>
                            <a:schemeClr val="tx1"/>
                          </a:solidFill>
                          <a:latin typeface="+mj-lt"/>
                          <a:ea typeface="+mn-ea"/>
                          <a:cs typeface="+mn-cs"/>
                          <a:sym typeface="Arial"/>
                        </a:rPr>
                        <a:t>Paris</a:t>
                      </a: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r>
                        <a:rPr lang="fr-FR">
                          <a:solidFill>
                            <a:schemeClr val="tx1"/>
                          </a:solidFill>
                          <a:latin typeface="+mj-lt"/>
                        </a:rPr>
                        <a:t>  </a:t>
                      </a:r>
                      <a:r>
                        <a:rPr lang="fr-FR" sz="1100" b="0" i="0" u="none" strike="noStrike" kern="1200" cap="none">
                          <a:solidFill>
                            <a:schemeClr val="tx1"/>
                          </a:solidFill>
                          <a:latin typeface="+mj-lt"/>
                          <a:ea typeface="+mn-ea"/>
                          <a:cs typeface="+mn-cs"/>
                          <a:sym typeface="Arial"/>
                        </a:rPr>
                        <a:t>2 ans</a:t>
                      </a:r>
                    </a:p>
                  </a:txBody>
                  <a:tcPr anchor="ct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19299905"/>
                  </a:ext>
                </a:extLst>
              </a:tr>
              <a:tr h="606229">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360000" indent="-360000">
                        <a:spcBef>
                          <a:spcPts val="600"/>
                        </a:spcBef>
                        <a:buClr>
                          <a:schemeClr val="accent1"/>
                        </a:buClr>
                        <a:buFont typeface="Wingdings" panose="05000000000000000000" pitchFamily="2" charset="2"/>
                        <a:buChar char="§"/>
                      </a:pPr>
                      <a:endParaRPr lang="fr-FR" sz="1100">
                        <a:solidFill>
                          <a:srgbClr val="002060"/>
                        </a:solidFill>
                        <a:latin typeface="+mj-lt"/>
                      </a:endParaRPr>
                    </a:p>
                  </a:txBody>
                  <a:tcP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Benchmark des solutions du marché et sélection d’une solution de gestion de                                                   l’activité Santé-Prévoyance individuelle et collectiv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Pilotage du programme pluriannuel de transformation globale de l’activité :                                                          refonte des processus métier et de l’organisation, ainsi que du SI dans son ensemb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Accompagnement de la Direction Générale dans la sortie de l’organisation SI</a:t>
                      </a:r>
                    </a:p>
                    <a:p>
                      <a:pPr marL="360000" marR="0" indent="-360000" algn="l" defTabSz="914333" rtl="0" eaLnBrk="1" latinLnBrk="0" hangingPunct="1">
                        <a:lnSpc>
                          <a:spcPct val="100000"/>
                        </a:lnSpc>
                        <a:spcBef>
                          <a:spcPts val="0"/>
                        </a:spcBef>
                        <a:spcAft>
                          <a:spcPts val="0"/>
                        </a:spcAft>
                        <a:buClr>
                          <a:schemeClr val="accent1"/>
                        </a:buClr>
                        <a:buFont typeface="Wingdings" panose="05000000000000000000" pitchFamily="2" charset="2"/>
                        <a:buChar char="§"/>
                      </a:pPr>
                      <a:endParaRPr lang="fr-FR" sz="1100" b="0" i="0" u="none" strike="noStrike" kern="1200" cap="none">
                        <a:solidFill>
                          <a:srgbClr val="002060"/>
                        </a:solidFill>
                        <a:latin typeface="+mj-lt"/>
                        <a:ea typeface="+mn-ea"/>
                        <a:cs typeface="+mn-cs"/>
                        <a:sym typeface="Arial"/>
                      </a:endParaRP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199218895"/>
                  </a:ext>
                </a:extLst>
              </a:tr>
              <a:tr h="266607">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360000" indent="-360000">
                        <a:spcBef>
                          <a:spcPts val="600"/>
                        </a:spcBef>
                        <a:buClr>
                          <a:schemeClr val="accent1"/>
                        </a:buClr>
                        <a:buFont typeface="Wingdings" panose="05000000000000000000" pitchFamily="2" charset="2"/>
                        <a:buChar char="§"/>
                      </a:pPr>
                      <a:endParaRPr lang="fr-FR" sz="1100">
                        <a:solidFill>
                          <a:srgbClr val="002060"/>
                        </a:solidFill>
                        <a:latin typeface="+mj-lt"/>
                      </a:endParaRPr>
                    </a:p>
                  </a:txBody>
                  <a:tcPr>
                    <a:lnL>
                      <a:noFill/>
                    </a:lnL>
                    <a:lnR>
                      <a:noFill/>
                    </a:lnR>
                    <a:lnT w="12700" cap="flat" cmpd="sng" algn="ctr">
                      <a:solidFill>
                        <a:schemeClr val="bg1"/>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200" b="1" i="0" u="none" strike="noStrike" kern="1200" cap="none">
                          <a:solidFill>
                            <a:schemeClr val="tx1"/>
                          </a:solidFill>
                          <a:latin typeface="+mj-lt"/>
                          <a:ea typeface="+mn-ea"/>
                          <a:cs typeface="+mn-cs"/>
                          <a:sym typeface="Arial"/>
                        </a:rPr>
                        <a:t>Direction du programme GAIAC </a:t>
                      </a:r>
                    </a:p>
                    <a:p>
                      <a:pPr marL="0" marR="0" lvl="0" indent="0" algn="l">
                        <a:lnSpc>
                          <a:spcPct val="100000"/>
                        </a:lnSpc>
                        <a:spcBef>
                          <a:spcPts val="0"/>
                        </a:spcBef>
                        <a:spcAft>
                          <a:spcPts val="0"/>
                        </a:spcAft>
                        <a:buNone/>
                      </a:pPr>
                      <a:r>
                        <a:rPr lang="fr-FR" sz="1050" b="0" i="1">
                          <a:latin typeface="+mj-lt"/>
                        </a:rPr>
                        <a:t>Programme de transformation de l'activité Prévoyance er Assurance Emprunteur</a:t>
                      </a:r>
                      <a:endParaRPr lang="fr-FR">
                        <a:latin typeface="+mj-lt"/>
                      </a:endParaRPr>
                    </a:p>
                  </a:txBody>
                  <a:tcPr anchor="ctr">
                    <a:lnL>
                      <a:noFill/>
                    </a:lnL>
                    <a:lnR>
                      <a:noFill/>
                    </a:lnR>
                    <a:lnT w="12700" cap="flat" cmpd="sng" algn="ctr">
                      <a:solidFill>
                        <a:schemeClr val="bg2"/>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rPr>
                        <a:t>  </a:t>
                      </a:r>
                      <a:r>
                        <a:rPr lang="fr-FR" sz="1100" b="0" i="0" u="none" strike="noStrike" kern="1200" cap="none">
                          <a:solidFill>
                            <a:schemeClr val="tx1"/>
                          </a:solidFill>
                          <a:latin typeface="+mj-lt"/>
                          <a:ea typeface="+mn-ea"/>
                          <a:cs typeface="+mn-cs"/>
                          <a:sym typeface="Arial"/>
                        </a:rPr>
                        <a:t>Pari</a:t>
                      </a:r>
                      <a:r>
                        <a:rPr lang="fr-FR" sz="1100">
                          <a:solidFill>
                            <a:schemeClr val="tx1"/>
                          </a:solidFill>
                          <a:latin typeface="+mj-lt"/>
                        </a:rPr>
                        <a:t>s</a:t>
                      </a:r>
                      <a:endParaRPr lang="fr-FR" sz="1100" b="0" i="1">
                        <a:solidFill>
                          <a:schemeClr val="tx1"/>
                        </a:solidFill>
                        <a:latin typeface="+mj-lt"/>
                      </a:endParaRPr>
                    </a:p>
                  </a:txBody>
                  <a:tcPr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92075" marR="0" lvl="0" indent="0" algn="l" defTabSz="514321"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rPr>
                        <a:t>2 ans</a:t>
                      </a:r>
                    </a:p>
                  </a:txBody>
                  <a:tcPr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5883051"/>
                  </a:ext>
                </a:extLst>
              </a:tr>
              <a:tr h="794683">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360000" indent="-360000">
                        <a:spcBef>
                          <a:spcPts val="600"/>
                        </a:spcBef>
                        <a:buClr>
                          <a:schemeClr val="accent1"/>
                        </a:buClr>
                        <a:buFont typeface="Wingdings" panose="05000000000000000000" pitchFamily="2" charset="2"/>
                        <a:buChar char="§"/>
                      </a:pPr>
                      <a:endParaRPr lang="fr-FR" sz="1100">
                        <a:solidFill>
                          <a:srgbClr val="002060"/>
                        </a:solidFill>
                        <a:latin typeface="+mj-lt"/>
                      </a:endParaRPr>
                    </a:p>
                  </a:txBody>
                  <a:tcPr>
                    <a:lnL>
                      <a:noFill/>
                    </a:lnL>
                    <a:lnR>
                      <a:noFill/>
                    </a:lnR>
                    <a:lnT w="9525" cap="flat" cmpd="sng" algn="ctr">
                      <a:solidFill>
                        <a:sysClr val="window" lastClr="FFFFFF"/>
                      </a:solidFill>
                      <a:prstDash val="solid"/>
                      <a:round/>
                      <a:headEnd type="none" w="med" len="med"/>
                      <a:tailEnd type="none" w="med" len="med"/>
                    </a:lnT>
                    <a:lnB w="9525" cap="flat" cmpd="sng" algn="ctr">
                      <a:solidFill>
                        <a:srgbClr val="62A5D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Reprise d’un programme en difficulté</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Redéfinition du pilotage du programm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Animation du pilotage sur l’ensemble des chantiers : définition de la cible, définition des processus métier, élaboration et déploiement de la stratégie de conduite du changement </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Préparation et animation du Comité de Pilotage</a:t>
                      </a:r>
                    </a:p>
                  </a:txBody>
                  <a:tcPr>
                    <a:lnL>
                      <a:noFill/>
                    </a:lnL>
                    <a:lnR>
                      <a:noFill/>
                    </a:lnR>
                    <a:lnT w="9525" cap="flat" cmpd="sng" algn="ctr">
                      <a:solidFill>
                        <a:sysClr val="window" lastClr="FFFFFF"/>
                      </a:solidFill>
                      <a:prstDash val="solid"/>
                      <a:round/>
                      <a:headEnd type="none" w="med" len="med"/>
                      <a:tailEnd type="none" w="med" len="med"/>
                    </a:lnT>
                    <a:lnB w="9525" cap="flat" cmpd="sng" algn="ctr">
                      <a:solidFill>
                        <a:srgbClr val="62A5D9"/>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endParaRPr lang="fr-FR"/>
                    </a:p>
                  </a:txBody>
                  <a:tcP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568122734"/>
                  </a:ext>
                </a:extLst>
              </a:tr>
            </a:tbl>
          </a:graphicData>
        </a:graphic>
      </p:graphicFrame>
      <p:sp>
        <p:nvSpPr>
          <p:cNvPr id="3" name="Titre 2">
            <a:extLst>
              <a:ext uri="{FF2B5EF4-FFF2-40B4-BE49-F238E27FC236}">
                <a16:creationId xmlns:a16="http://schemas.microsoft.com/office/drawing/2014/main" id="{D37069D9-5950-C26E-070A-850EF4F48DB9}"/>
              </a:ext>
            </a:extLst>
          </p:cNvPr>
          <p:cNvSpPr txBox="1">
            <a:spLocks/>
          </p:cNvSpPr>
          <p:nvPr/>
        </p:nvSpPr>
        <p:spPr>
          <a:xfrm>
            <a:off x="396655" y="292153"/>
            <a:ext cx="10526984" cy="407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2000" kern="0">
                <a:latin typeface="Arial Black" panose="020B0A04020102020204" pitchFamily="34" charset="0"/>
                <a:ea typeface="+mj-ea"/>
                <a:cs typeface="+mj-cs"/>
              </a:rPr>
              <a:t>Vincent MESLIN</a:t>
            </a:r>
            <a:br>
              <a:rPr lang="fr-FR" sz="1800" kern="0">
                <a:latin typeface="Arial Black" panose="020B0A04020102020204" pitchFamily="34" charset="0"/>
              </a:rPr>
            </a:br>
            <a:r>
              <a:rPr lang="fr-FR" sz="1400" b="0" spc="-56">
                <a:latin typeface="Arial Black" panose="020B0A04020102020204" pitchFamily="34" charset="0"/>
              </a:rPr>
              <a:t>Partner Assurances (+30 années d’expériences) -1/2</a:t>
            </a:r>
            <a:endParaRPr lang="fr-FR" sz="1600" b="0" spc="-56">
              <a:latin typeface="Arial Black" panose="020B0A04020102020204" pitchFamily="34" charset="0"/>
            </a:endParaRPr>
          </a:p>
        </p:txBody>
      </p:sp>
      <p:pic>
        <p:nvPicPr>
          <p:cNvPr id="5" name="Graphique 4" descr="Calendrier journalier">
            <a:extLst>
              <a:ext uri="{FF2B5EF4-FFF2-40B4-BE49-F238E27FC236}">
                <a16:creationId xmlns:a16="http://schemas.microsoft.com/office/drawing/2014/main" id="{AC73B3E6-ECE1-E120-FE8D-2F5A5452026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68379" y="2171533"/>
            <a:ext cx="228600" cy="228600"/>
          </a:xfrm>
          <a:prstGeom prst="rect">
            <a:avLst/>
          </a:prstGeom>
        </p:spPr>
      </p:pic>
      <p:pic>
        <p:nvPicPr>
          <p:cNvPr id="6" name="Graphique 5" descr="Repère">
            <a:extLst>
              <a:ext uri="{FF2B5EF4-FFF2-40B4-BE49-F238E27FC236}">
                <a16:creationId xmlns:a16="http://schemas.microsoft.com/office/drawing/2014/main" id="{E44944FC-6181-EFB9-00D1-57A2B8AB466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19211" y="2153725"/>
            <a:ext cx="264219" cy="264219"/>
          </a:xfrm>
          <a:prstGeom prst="rect">
            <a:avLst/>
          </a:prstGeom>
        </p:spPr>
      </p:pic>
      <p:pic>
        <p:nvPicPr>
          <p:cNvPr id="7" name="Graphique 6" descr="Repère">
            <a:extLst>
              <a:ext uri="{FF2B5EF4-FFF2-40B4-BE49-F238E27FC236}">
                <a16:creationId xmlns:a16="http://schemas.microsoft.com/office/drawing/2014/main" id="{5E071DF0-8943-4FB9-A73C-806C97AD51C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19211" y="3708537"/>
            <a:ext cx="264219" cy="264219"/>
          </a:xfrm>
          <a:prstGeom prst="rect">
            <a:avLst/>
          </a:prstGeom>
        </p:spPr>
      </p:pic>
      <p:pic>
        <p:nvPicPr>
          <p:cNvPr id="8" name="Graphique 7" descr="Calendrier journalier">
            <a:extLst>
              <a:ext uri="{FF2B5EF4-FFF2-40B4-BE49-F238E27FC236}">
                <a16:creationId xmlns:a16="http://schemas.microsoft.com/office/drawing/2014/main" id="{4F2A914F-8A56-5698-4816-FDD471C30BF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68379" y="3726347"/>
            <a:ext cx="228600" cy="228600"/>
          </a:xfrm>
          <a:prstGeom prst="rect">
            <a:avLst/>
          </a:prstGeom>
        </p:spPr>
      </p:pic>
      <p:sp>
        <p:nvSpPr>
          <p:cNvPr id="9" name="Espace réservé du contenu 7">
            <a:extLst>
              <a:ext uri="{FF2B5EF4-FFF2-40B4-BE49-F238E27FC236}">
                <a16:creationId xmlns:a16="http://schemas.microsoft.com/office/drawing/2014/main" id="{461442E2-CF9D-3785-C6FD-F8ACB11B3DDA}"/>
              </a:ext>
            </a:extLst>
          </p:cNvPr>
          <p:cNvSpPr txBox="1">
            <a:spLocks/>
          </p:cNvSpPr>
          <p:nvPr/>
        </p:nvSpPr>
        <p:spPr>
          <a:xfrm>
            <a:off x="575774" y="1009655"/>
            <a:ext cx="11273773" cy="680896"/>
          </a:xfrm>
          <a:prstGeom prst="rect">
            <a:avLst/>
          </a:prstGeom>
          <a:noFill/>
          <a:ln>
            <a:solidFill>
              <a:schemeClr val="bg2"/>
            </a:solidFill>
          </a:ln>
        </p:spPr>
        <p:txBody>
          <a:bodyPr vert="horz" lIns="72000" tIns="72000" rIns="72000" bIns="72000" rtlCol="0">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marR="0" lvl="0" indent="0" algn="l" defTabSz="514321" rtl="0" eaLnBrk="1" fontAlgn="auto" latinLnBrk="0" hangingPunct="1">
              <a:lnSpc>
                <a:spcPct val="100000"/>
              </a:lnSpc>
              <a:spcBef>
                <a:spcPts val="0"/>
              </a:spcBef>
              <a:spcAft>
                <a:spcPts val="0"/>
              </a:spcAft>
              <a:buClr>
                <a:srgbClr val="0070C0"/>
              </a:buClr>
              <a:buSzTx/>
              <a:buFont typeface="Wingdings" panose="05000000000000000000" pitchFamily="2" charset="2"/>
              <a:buNone/>
              <a:tabLst/>
              <a:defRPr/>
            </a:pPr>
            <a:r>
              <a:rPr kumimoji="0" lang="fr-FR" sz="1200" b="0" i="0" u="none" strike="noStrike" kern="1200" cap="none" spc="0" normalizeH="0" baseline="0" noProof="0">
                <a:ln>
                  <a:noFill/>
                </a:ln>
                <a:solidFill>
                  <a:srgbClr val="0070C0"/>
                </a:solidFill>
                <a:effectLst/>
                <a:uLnTx/>
                <a:uFillTx/>
                <a:latin typeface="+mj-lt"/>
                <a:ea typeface="+mn-ea"/>
                <a:cs typeface="+mn-cs"/>
              </a:rPr>
              <a:t>Vincent pilote les activités de Talan Consulting sur le secteur de l’Assurance. Il intervient exclusivement dans ce secteur depuis 1</a:t>
            </a:r>
            <a:r>
              <a:rPr lang="fr-FR" sz="1200">
                <a:solidFill>
                  <a:srgbClr val="0070C0"/>
                </a:solidFill>
                <a:latin typeface="+mj-lt"/>
              </a:rPr>
              <a:t>9</a:t>
            </a:r>
            <a:r>
              <a:rPr kumimoji="0" lang="fr-FR" sz="1200" b="0" i="0" u="none" strike="noStrike" kern="1200" cap="none" spc="0" normalizeH="0" baseline="0" noProof="0">
                <a:ln>
                  <a:noFill/>
                </a:ln>
                <a:solidFill>
                  <a:srgbClr val="0070C0"/>
                </a:solidFill>
                <a:effectLst/>
                <a:uLnTx/>
                <a:uFillTx/>
                <a:latin typeface="+mj-lt"/>
                <a:ea typeface="+mn-ea"/>
                <a:cs typeface="+mn-cs"/>
              </a:rPr>
              <a:t> ans et se concentre sur l’accompagnement des Directions Générales, la Direction de grands programmes de transformation et les missions de diagnostic stratégique et opérationnel.</a:t>
            </a:r>
          </a:p>
        </p:txBody>
      </p:sp>
      <p:graphicFrame>
        <p:nvGraphicFramePr>
          <p:cNvPr id="10" name="Tableau 9">
            <a:extLst>
              <a:ext uri="{FF2B5EF4-FFF2-40B4-BE49-F238E27FC236}">
                <a16:creationId xmlns:a16="http://schemas.microsoft.com/office/drawing/2014/main" id="{7D4FD022-50BA-8700-32BF-3AD689096E20}"/>
              </a:ext>
            </a:extLst>
          </p:cNvPr>
          <p:cNvGraphicFramePr>
            <a:graphicFrameLocks noGrp="1"/>
          </p:cNvGraphicFramePr>
          <p:nvPr>
            <p:extLst>
              <p:ext uri="{D42A27DB-BD31-4B8C-83A1-F6EECF244321}">
                <p14:modId xmlns:p14="http://schemas.microsoft.com/office/powerpoint/2010/main" val="2060297853"/>
              </p:ext>
            </p:extLst>
          </p:nvPr>
        </p:nvGraphicFramePr>
        <p:xfrm>
          <a:off x="392121" y="1745187"/>
          <a:ext cx="3196223" cy="4508372"/>
        </p:xfrm>
        <a:graphic>
          <a:graphicData uri="http://schemas.openxmlformats.org/drawingml/2006/table">
            <a:tbl>
              <a:tblPr firstRow="1" bandRow="1"/>
              <a:tblGrid>
                <a:gridCol w="3196223">
                  <a:extLst>
                    <a:ext uri="{9D8B030D-6E8A-4147-A177-3AD203B41FA5}">
                      <a16:colId xmlns:a16="http://schemas.microsoft.com/office/drawing/2014/main" val="2856406043"/>
                    </a:ext>
                  </a:extLst>
                </a:gridCol>
              </a:tblGrid>
              <a:tr h="324988">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Formations</a:t>
                      </a:r>
                      <a:endParaRPr lang="fr-FR" sz="1500" b="1" kern="1200">
                        <a:solidFill>
                          <a:schemeClr val="bg2"/>
                        </a:solidFill>
                        <a:latin typeface="+mj-lt"/>
                        <a:ea typeface="+mn-ea"/>
                        <a:cs typeface="+mn-cs"/>
                      </a:endParaRP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1204566"/>
                  </a:ext>
                </a:extLst>
              </a:tr>
              <a:tr h="437884">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1">
                          <a:solidFill>
                            <a:schemeClr val="tx1"/>
                          </a:solidFill>
                          <a:latin typeface="+mj-lt"/>
                        </a:rPr>
                        <a:t>Sciences Po Paris (1990)</a:t>
                      </a:r>
                    </a:p>
                  </a:txBody>
                  <a:tcP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1408330"/>
                  </a:ext>
                </a:extLst>
              </a:tr>
              <a:tr h="324988">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Compétences</a:t>
                      </a:r>
                      <a:endParaRPr lang="fr-FR" sz="1500" b="1" kern="1200">
                        <a:solidFill>
                          <a:schemeClr val="bg2"/>
                        </a:solidFill>
                        <a:latin typeface="+mj-lt"/>
                        <a:ea typeface="+mn-ea"/>
                        <a:cs typeface="+mn-cs"/>
                      </a:endParaRP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60446002"/>
                  </a:ext>
                </a:extLst>
              </a:tr>
              <a:tr h="1471373">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Direction de Programm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Analyse et diagnostic stratégique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Reengineering de processu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Audit de programme et reprise de programme en difficulté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Expertise Assurance de personnes</a:t>
                      </a:r>
                      <a:endParaRPr lang="fr-FR" sz="1800" b="1" kern="1200">
                        <a:solidFill>
                          <a:srgbClr val="002060"/>
                        </a:solidFill>
                        <a:latin typeface="+mj-lt"/>
                        <a:ea typeface="+mn-ea"/>
                        <a:cs typeface="+mn-cs"/>
                      </a:endParaRPr>
                    </a:p>
                  </a:txBody>
                  <a:tcP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4310555"/>
                  </a:ext>
                </a:extLst>
              </a:tr>
              <a:tr h="275679">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1100" b="1" kern="1200">
                        <a:solidFill>
                          <a:srgbClr val="002060"/>
                        </a:solidFill>
                        <a:latin typeface="+mj-lt"/>
                        <a:ea typeface="+mn-ea"/>
                        <a:cs typeface="+mn-cs"/>
                      </a:endParaRPr>
                    </a:p>
                  </a:txBody>
                  <a:tcPr>
                    <a:lnL>
                      <a:noFill/>
                    </a:lnL>
                    <a:lnR>
                      <a:noFill/>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7318211"/>
                  </a:ext>
                </a:extLst>
              </a:tr>
              <a:tr h="750913">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400" b="1" kern="1200">
                          <a:solidFill>
                            <a:schemeClr val="bg2"/>
                          </a:solidFill>
                          <a:latin typeface="+mj-lt"/>
                          <a:ea typeface="+mn-ea"/>
                          <a:cs typeface="+mn-cs"/>
                        </a:rPr>
                        <a:t>Langues :</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200">
                          <a:solidFill>
                            <a:schemeClr val="tx1"/>
                          </a:solidFill>
                          <a:latin typeface="+mj-lt"/>
                        </a:rPr>
                        <a:t>Anglais</a:t>
                      </a:r>
                      <a:r>
                        <a:rPr lang="fr-FR" sz="1100">
                          <a:solidFill>
                            <a:srgbClr val="002060"/>
                          </a:solidFill>
                          <a:latin typeface="+mj-lt"/>
                        </a:rPr>
                        <a:t> : </a:t>
                      </a:r>
                      <a:r>
                        <a:rPr lang="fr-FR" sz="1100">
                          <a:solidFill>
                            <a:srgbClr val="0070C0"/>
                          </a:solidFill>
                          <a:latin typeface="+mj-lt"/>
                          <a:sym typeface="Wingdings" panose="05000000000000000000" pitchFamily="2" charset="2"/>
                        </a:rPr>
                        <a:t></a:t>
                      </a:r>
                      <a:r>
                        <a:rPr lang="fr-FR" sz="1100">
                          <a:solidFill>
                            <a:schemeClr val="tx2">
                              <a:lumMod val="20000"/>
                              <a:lumOff val="80000"/>
                            </a:schemeClr>
                          </a:solidFill>
                          <a:latin typeface="+mj-lt"/>
                          <a:sym typeface="Wingdings" panose="05000000000000000000" pitchFamily="2" charset="2"/>
                        </a:rPr>
                        <a:t></a:t>
                      </a:r>
                      <a:endParaRPr lang="fr-FR" sz="1100" b="1" kern="1200">
                        <a:solidFill>
                          <a:srgbClr val="0070C0"/>
                        </a:solidFill>
                        <a:latin typeface="+mj-lt"/>
                        <a:ea typeface="+mn-ea"/>
                        <a:cs typeface="+mn-cs"/>
                      </a:endParaRPr>
                    </a:p>
                  </a:txBody>
                  <a:tcPr>
                    <a:lnL>
                      <a:noFill/>
                    </a:lnL>
                    <a:lnR>
                      <a:noFill/>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718782"/>
                  </a:ext>
                </a:extLst>
              </a:tr>
              <a:tr h="324988">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Principaux clients</a:t>
                      </a: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17742779"/>
                  </a:ext>
                </a:extLst>
              </a:tr>
              <a:tr h="597559">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indent="0">
                        <a:buClr>
                          <a:schemeClr val="accent1"/>
                        </a:buClr>
                        <a:buFont typeface="Wingdings" panose="05000000000000000000" pitchFamily="2" charset="2"/>
                        <a:buNone/>
                      </a:pPr>
                      <a:r>
                        <a:rPr lang="fr-FR" sz="1200">
                          <a:solidFill>
                            <a:schemeClr val="tx1"/>
                          </a:solidFill>
                          <a:latin typeface="+mj-lt"/>
                        </a:rPr>
                        <a:t>MGEN, IRP Auto, AESIO, Harmonie Mutuelle</a:t>
                      </a:r>
                    </a:p>
                  </a:txBody>
                  <a:tcPr>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801330"/>
                  </a:ext>
                </a:extLst>
              </a:tr>
            </a:tbl>
          </a:graphicData>
        </a:graphic>
      </p:graphicFrame>
      <p:pic>
        <p:nvPicPr>
          <p:cNvPr id="11" name="Graphique 10" descr="Repère">
            <a:extLst>
              <a:ext uri="{FF2B5EF4-FFF2-40B4-BE49-F238E27FC236}">
                <a16:creationId xmlns:a16="http://schemas.microsoft.com/office/drawing/2014/main" id="{893AAA99-A0B9-0777-CC34-AA59D292C4B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19211" y="5206847"/>
            <a:ext cx="264219" cy="264219"/>
          </a:xfrm>
          <a:prstGeom prst="rect">
            <a:avLst/>
          </a:prstGeom>
        </p:spPr>
      </p:pic>
      <p:pic>
        <p:nvPicPr>
          <p:cNvPr id="12" name="Graphique 11" descr="Calendrier journalier">
            <a:extLst>
              <a:ext uri="{FF2B5EF4-FFF2-40B4-BE49-F238E27FC236}">
                <a16:creationId xmlns:a16="http://schemas.microsoft.com/office/drawing/2014/main" id="{30F0BBE0-57BA-E200-8655-7BC7BC9D43D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68379" y="5224655"/>
            <a:ext cx="228600" cy="228600"/>
          </a:xfrm>
          <a:prstGeom prst="rect">
            <a:avLst/>
          </a:prstGeom>
        </p:spPr>
      </p:pic>
      <p:pic>
        <p:nvPicPr>
          <p:cNvPr id="20" name="Picture 4" descr="http://www.fippatrimoine.com/images/1219-1-mbr358logo-jpg.jpg">
            <a:extLst>
              <a:ext uri="{FF2B5EF4-FFF2-40B4-BE49-F238E27FC236}">
                <a16:creationId xmlns:a16="http://schemas.microsoft.com/office/drawing/2014/main" id="{FF8197E0-4757-CB21-0563-A7A36168CE8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954161" y="2178913"/>
            <a:ext cx="509329" cy="376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 descr="http://upload.wikimedia.org/wikipedia/fr/8/8f/Harmonie_mutuelle_2012_%28logo%29.png">
            <a:extLst>
              <a:ext uri="{FF2B5EF4-FFF2-40B4-BE49-F238E27FC236}">
                <a16:creationId xmlns:a16="http://schemas.microsoft.com/office/drawing/2014/main" id="{36EAEA94-2D6A-EED8-12C2-1BF30968B8E3}"/>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686209" y="2405183"/>
            <a:ext cx="264219" cy="290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 descr="assurance">
            <a:extLst>
              <a:ext uri="{FF2B5EF4-FFF2-40B4-BE49-F238E27FC236}">
                <a16:creationId xmlns:a16="http://schemas.microsoft.com/office/drawing/2014/main" id="{06C301F7-37C4-EDB0-FDA3-47A2F7155E69}"/>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4102309" y="3176998"/>
            <a:ext cx="700466" cy="223553"/>
          </a:xfrm>
          <a:prstGeom prst="rect">
            <a:avLst/>
          </a:prstGeom>
          <a:noFill/>
          <a:ln w="9525">
            <a:noFill/>
            <a:miter lim="800000"/>
            <a:headEnd/>
            <a:tailEnd/>
          </a:ln>
        </p:spPr>
      </p:pic>
      <p:pic>
        <p:nvPicPr>
          <p:cNvPr id="23" name="Image 22">
            <a:extLst>
              <a:ext uri="{FF2B5EF4-FFF2-40B4-BE49-F238E27FC236}">
                <a16:creationId xmlns:a16="http://schemas.microsoft.com/office/drawing/2014/main" id="{8D8C6200-4B97-D3D1-43E7-65DBAA1B6FA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045896" y="2610278"/>
            <a:ext cx="388998" cy="322478"/>
          </a:xfrm>
          <a:prstGeom prst="rect">
            <a:avLst/>
          </a:prstGeom>
        </p:spPr>
      </p:pic>
      <p:pic>
        <p:nvPicPr>
          <p:cNvPr id="24" name="Image 23">
            <a:extLst>
              <a:ext uri="{FF2B5EF4-FFF2-40B4-BE49-F238E27FC236}">
                <a16:creationId xmlns:a16="http://schemas.microsoft.com/office/drawing/2014/main" id="{AA73909D-0335-C0B0-3B67-B48CDC065A89}"/>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4479985" y="3449560"/>
            <a:ext cx="561307" cy="182425"/>
          </a:xfrm>
          <a:prstGeom prst="rect">
            <a:avLst/>
          </a:prstGeom>
        </p:spPr>
      </p:pic>
      <p:pic>
        <p:nvPicPr>
          <p:cNvPr id="25" name="Picture 52" descr="http://enseignement-catholique.fr/ec/images/stories/partenaires/logo-msc-2014.jpg">
            <a:extLst>
              <a:ext uri="{FF2B5EF4-FFF2-40B4-BE49-F238E27FC236}">
                <a16:creationId xmlns:a16="http://schemas.microsoft.com/office/drawing/2014/main" id="{202AD041-61A2-EF32-DBD1-01A64F82F84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622093" y="2744390"/>
            <a:ext cx="337699" cy="236389"/>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a:extLst>
              <a:ext uri="{FF2B5EF4-FFF2-40B4-BE49-F238E27FC236}">
                <a16:creationId xmlns:a16="http://schemas.microsoft.com/office/drawing/2014/main" id="{2DE8DEE6-9B17-0E2C-46E3-8EB93B3797A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17050" y="2169347"/>
            <a:ext cx="710196" cy="179959"/>
          </a:xfrm>
          <a:prstGeom prst="rect">
            <a:avLst/>
          </a:prstGeom>
        </p:spPr>
      </p:pic>
      <p:pic>
        <p:nvPicPr>
          <p:cNvPr id="27" name="Image 26">
            <a:extLst>
              <a:ext uri="{FF2B5EF4-FFF2-40B4-BE49-F238E27FC236}">
                <a16:creationId xmlns:a16="http://schemas.microsoft.com/office/drawing/2014/main" id="{054FE863-46A6-C65C-47D3-B70CC72CEBC4}"/>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510999" y="3029788"/>
            <a:ext cx="583551" cy="148254"/>
          </a:xfrm>
          <a:prstGeom prst="rect">
            <a:avLst/>
          </a:prstGeom>
        </p:spPr>
      </p:pic>
      <p:pic>
        <p:nvPicPr>
          <p:cNvPr id="29" name="Image 28">
            <a:extLst>
              <a:ext uri="{FF2B5EF4-FFF2-40B4-BE49-F238E27FC236}">
                <a16:creationId xmlns:a16="http://schemas.microsoft.com/office/drawing/2014/main" id="{3773D5F7-EA88-485E-E6D4-0660B521078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379215" y="3794168"/>
            <a:ext cx="485756" cy="485756"/>
          </a:xfrm>
          <a:prstGeom prst="rect">
            <a:avLst/>
          </a:prstGeom>
        </p:spPr>
      </p:pic>
      <p:pic>
        <p:nvPicPr>
          <p:cNvPr id="30" name="Image 2" descr="Une image contenant dessin, herbe&#10;&#10;Description générée avec un niveau de confiance très élevé">
            <a:extLst>
              <a:ext uri="{FF2B5EF4-FFF2-40B4-BE49-F238E27FC236}">
                <a16:creationId xmlns:a16="http://schemas.microsoft.com/office/drawing/2014/main" id="{931D95E7-22AD-A04A-55A3-B9C8AC023FCF}"/>
              </a:ext>
            </a:extLst>
          </p:cNvPr>
          <p:cNvPicPr>
            <a:picLocks noChangeAspect="1"/>
          </p:cNvPicPr>
          <p:nvPr/>
        </p:nvPicPr>
        <p:blipFill>
          <a:blip r:embed="rId15"/>
          <a:stretch>
            <a:fillRect/>
          </a:stretch>
        </p:blipFill>
        <p:spPr>
          <a:xfrm>
            <a:off x="4412132" y="5250179"/>
            <a:ext cx="533400" cy="533400"/>
          </a:xfrm>
          <a:prstGeom prst="rect">
            <a:avLst/>
          </a:prstGeom>
        </p:spPr>
      </p:pic>
      <p:pic>
        <p:nvPicPr>
          <p:cNvPr id="4" name="Image 3">
            <a:extLst>
              <a:ext uri="{FF2B5EF4-FFF2-40B4-BE49-F238E27FC236}">
                <a16:creationId xmlns:a16="http://schemas.microsoft.com/office/drawing/2014/main" id="{46590946-ED73-9050-5C85-B2E917F6F6C3}"/>
              </a:ext>
            </a:extLst>
          </p:cNvPr>
          <p:cNvPicPr>
            <a:picLocks noChangeAspect="1"/>
          </p:cNvPicPr>
          <p:nvPr/>
        </p:nvPicPr>
        <p:blipFill rotWithShape="1">
          <a:blip r:embed="rId16"/>
          <a:srcRect l="8245" t="10798" r="24884" b="34817"/>
          <a:stretch/>
        </p:blipFill>
        <p:spPr>
          <a:xfrm>
            <a:off x="10048015" y="125085"/>
            <a:ext cx="507631" cy="648000"/>
          </a:xfrm>
          <a:prstGeom prst="rect">
            <a:avLst/>
          </a:prstGeom>
        </p:spPr>
      </p:pic>
      <p:sp>
        <p:nvSpPr>
          <p:cNvPr id="34" name="Rectangle 33">
            <a:extLst>
              <a:ext uri="{FF2B5EF4-FFF2-40B4-BE49-F238E27FC236}">
                <a16:creationId xmlns:a16="http://schemas.microsoft.com/office/drawing/2014/main" id="{FD0162B6-4DA7-88A8-FEA1-92F3B4CCF521}"/>
              </a:ext>
            </a:extLst>
          </p:cNvPr>
          <p:cNvSpPr/>
          <p:nvPr/>
        </p:nvSpPr>
        <p:spPr>
          <a:xfrm>
            <a:off x="4296791" y="6643907"/>
            <a:ext cx="7848000"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33" name="Tableau 32">
            <a:extLst>
              <a:ext uri="{FF2B5EF4-FFF2-40B4-BE49-F238E27FC236}">
                <a16:creationId xmlns:a16="http://schemas.microsoft.com/office/drawing/2014/main" id="{91875E06-53B1-9CF5-D89D-679A94E3C10C}"/>
              </a:ext>
            </a:extLst>
          </p:cNvPr>
          <p:cNvGraphicFramePr>
            <a:graphicFrameLocks noGrp="1"/>
          </p:cNvGraphicFramePr>
          <p:nvPr>
            <p:extLst>
              <p:ext uri="{D42A27DB-BD31-4B8C-83A1-F6EECF244321}">
                <p14:modId xmlns:p14="http://schemas.microsoft.com/office/powerpoint/2010/main" val="906522323"/>
              </p:ext>
            </p:extLst>
          </p:nvPr>
        </p:nvGraphicFramePr>
        <p:xfrm>
          <a:off x="11573843" y="6448543"/>
          <a:ext cx="208280" cy="304800"/>
        </p:xfrm>
        <a:graphic>
          <a:graphicData uri="http://schemas.openxmlformats.org/drawingml/2006/table">
            <a:tbl>
              <a:tblPr/>
              <a:tblGrid>
                <a:gridCol w="208280">
                  <a:extLst>
                    <a:ext uri="{9D8B030D-6E8A-4147-A177-3AD203B41FA5}">
                      <a16:colId xmlns:a16="http://schemas.microsoft.com/office/drawing/2014/main" val="1723452528"/>
                    </a:ext>
                  </a:extLst>
                </a:gridCol>
              </a:tblGrid>
              <a:tr h="0">
                <a:tc>
                  <a:txBody>
                    <a:bodyPr/>
                    <a:lstStyle/>
                    <a:p>
                      <a:endParaRPr lang="fr-F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9053379"/>
                  </a:ext>
                </a:extLst>
              </a:tr>
            </a:tbl>
          </a:graphicData>
        </a:graphic>
      </p:graphicFrame>
    </p:spTree>
    <p:extLst>
      <p:ext uri="{BB962C8B-B14F-4D97-AF65-F5344CB8AC3E}">
        <p14:creationId xmlns:p14="http://schemas.microsoft.com/office/powerpoint/2010/main" val="3124005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3">
            <a:extLst>
              <a:ext uri="{FF2B5EF4-FFF2-40B4-BE49-F238E27FC236}">
                <a16:creationId xmlns:a16="http://schemas.microsoft.com/office/drawing/2014/main" id="{B6E8369B-647E-2C0C-8E85-E1BD82307DA6}"/>
              </a:ext>
            </a:extLst>
          </p:cNvPr>
          <p:cNvSpPr txBox="1">
            <a:spLocks/>
          </p:cNvSpPr>
          <p:nvPr/>
        </p:nvSpPr>
        <p:spPr>
          <a:xfrm>
            <a:off x="420927" y="289173"/>
            <a:ext cx="11629292" cy="609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2000">
                <a:latin typeface="Arial Black" panose="020B0A04020102020204" pitchFamily="34" charset="0"/>
                <a:ea typeface="+mj-ea"/>
                <a:cs typeface="+mj-cs"/>
              </a:rPr>
              <a:t>Vincent MESLIN</a:t>
            </a:r>
            <a:br>
              <a:rPr lang="fr-FR" b="0" kern="0">
                <a:latin typeface="Arial Black" panose="020B0A04020102020204" pitchFamily="34" charset="0"/>
              </a:rPr>
            </a:br>
            <a:r>
              <a:rPr lang="fr-FR" sz="1400" b="0" spc="-56">
                <a:latin typeface="Arial Black" panose="020B0A04020102020204" pitchFamily="34" charset="0"/>
              </a:rPr>
              <a:t>Partner Assurances (+30 ans d’expérience) – 2/2</a:t>
            </a:r>
            <a:endParaRPr lang="fr-FR" sz="1600" b="0" spc="-56">
              <a:latin typeface="Arial Black" panose="020B0A04020102020204" pitchFamily="34" charset="0"/>
            </a:endParaRPr>
          </a:p>
        </p:txBody>
      </p:sp>
      <p:pic>
        <p:nvPicPr>
          <p:cNvPr id="12" name="Graphique 11" descr="Repère">
            <a:extLst>
              <a:ext uri="{FF2B5EF4-FFF2-40B4-BE49-F238E27FC236}">
                <a16:creationId xmlns:a16="http://schemas.microsoft.com/office/drawing/2014/main" id="{9F11A87A-ED17-3B84-1AB3-678B61C51C0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5017" y="1594841"/>
            <a:ext cx="264219" cy="264219"/>
          </a:xfrm>
          <a:prstGeom prst="rect">
            <a:avLst/>
          </a:prstGeom>
        </p:spPr>
      </p:pic>
      <p:pic>
        <p:nvPicPr>
          <p:cNvPr id="14" name="Graphique 13" descr="Repère">
            <a:extLst>
              <a:ext uri="{FF2B5EF4-FFF2-40B4-BE49-F238E27FC236}">
                <a16:creationId xmlns:a16="http://schemas.microsoft.com/office/drawing/2014/main" id="{B104EED2-4D5A-6D29-8F0B-E310F900A4B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5017" y="3202265"/>
            <a:ext cx="264219" cy="264219"/>
          </a:xfrm>
          <a:prstGeom prst="rect">
            <a:avLst/>
          </a:prstGeom>
        </p:spPr>
      </p:pic>
      <p:pic>
        <p:nvPicPr>
          <p:cNvPr id="22" name="Picture 2">
            <a:extLst>
              <a:ext uri="{FF2B5EF4-FFF2-40B4-BE49-F238E27FC236}">
                <a16:creationId xmlns:a16="http://schemas.microsoft.com/office/drawing/2014/main" id="{759F4E6E-6EC2-9545-975B-0C1F6E32A0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427" y="3220122"/>
            <a:ext cx="651904" cy="421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au 24">
            <a:extLst>
              <a:ext uri="{FF2B5EF4-FFF2-40B4-BE49-F238E27FC236}">
                <a16:creationId xmlns:a16="http://schemas.microsoft.com/office/drawing/2014/main" id="{A95ED58A-BBDE-43E3-F55F-0E8591C92D3A}"/>
              </a:ext>
            </a:extLst>
          </p:cNvPr>
          <p:cNvGraphicFramePr>
            <a:graphicFrameLocks noGrp="1"/>
          </p:cNvGraphicFramePr>
          <p:nvPr>
            <p:extLst>
              <p:ext uri="{D42A27DB-BD31-4B8C-83A1-F6EECF244321}">
                <p14:modId xmlns:p14="http://schemas.microsoft.com/office/powerpoint/2010/main" val="2125813005"/>
              </p:ext>
            </p:extLst>
          </p:nvPr>
        </p:nvGraphicFramePr>
        <p:xfrm>
          <a:off x="702678" y="1223499"/>
          <a:ext cx="10568945" cy="4910223"/>
        </p:xfrm>
        <a:graphic>
          <a:graphicData uri="http://schemas.openxmlformats.org/drawingml/2006/table">
            <a:tbl>
              <a:tblPr firstRow="1" bandRow="1">
                <a:tableStyleId>{2D5ABB26-0587-4C30-8999-92F81FD0307C}</a:tableStyleId>
              </a:tblPr>
              <a:tblGrid>
                <a:gridCol w="751089">
                  <a:extLst>
                    <a:ext uri="{9D8B030D-6E8A-4147-A177-3AD203B41FA5}">
                      <a16:colId xmlns:a16="http://schemas.microsoft.com/office/drawing/2014/main" val="3696629346"/>
                    </a:ext>
                  </a:extLst>
                </a:gridCol>
                <a:gridCol w="4577919">
                  <a:extLst>
                    <a:ext uri="{9D8B030D-6E8A-4147-A177-3AD203B41FA5}">
                      <a16:colId xmlns:a16="http://schemas.microsoft.com/office/drawing/2014/main" val="1537716266"/>
                    </a:ext>
                  </a:extLst>
                </a:gridCol>
                <a:gridCol w="1878913">
                  <a:extLst>
                    <a:ext uri="{9D8B030D-6E8A-4147-A177-3AD203B41FA5}">
                      <a16:colId xmlns:a16="http://schemas.microsoft.com/office/drawing/2014/main" val="3742444051"/>
                    </a:ext>
                  </a:extLst>
                </a:gridCol>
                <a:gridCol w="208280">
                  <a:extLst>
                    <a:ext uri="{9D8B030D-6E8A-4147-A177-3AD203B41FA5}">
                      <a16:colId xmlns:a16="http://schemas.microsoft.com/office/drawing/2014/main" val="2153906153"/>
                    </a:ext>
                  </a:extLst>
                </a:gridCol>
                <a:gridCol w="1576372">
                  <a:extLst>
                    <a:ext uri="{9D8B030D-6E8A-4147-A177-3AD203B41FA5}">
                      <a16:colId xmlns:a16="http://schemas.microsoft.com/office/drawing/2014/main" val="1314170497"/>
                    </a:ext>
                  </a:extLst>
                </a:gridCol>
                <a:gridCol w="1576372">
                  <a:extLst>
                    <a:ext uri="{9D8B030D-6E8A-4147-A177-3AD203B41FA5}">
                      <a16:colId xmlns:a16="http://schemas.microsoft.com/office/drawing/2014/main" val="2379079484"/>
                    </a:ext>
                  </a:extLst>
                </a:gridCol>
              </a:tblGrid>
              <a:tr h="310550">
                <a:tc gridSpan="5">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n-lt"/>
                          <a:ea typeface="+mn-ea"/>
                          <a:cs typeface="+mn-cs"/>
                        </a:rPr>
                        <a:t>Expériences pertinentes (suite)</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mn-lt"/>
                        <a:ea typeface="+mn-ea"/>
                        <a:cs typeface="+mn-cs"/>
                      </a:endParaRPr>
                    </a:p>
                  </a:txBody>
                  <a:tcPr>
                    <a:lnB w="6350" cap="flat" cmpd="sng" algn="ctr">
                      <a:solidFill>
                        <a:srgbClr val="0070C0"/>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mn-lt"/>
                        <a:ea typeface="+mn-ea"/>
                        <a:cs typeface="+mn-cs"/>
                      </a:endParaRP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8455178"/>
                  </a:ext>
                </a:extLst>
              </a:tr>
              <a:tr h="449313">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ontserrat" panose="00000500000000000000" pitchFamily="2" charset="0"/>
                      </a:endParaRPr>
                    </a:p>
                  </a:txBody>
                  <a:tcPr anchor="ctr">
                    <a:lnT w="12700" cap="flat" cmpd="sng" algn="ctr">
                      <a:solidFill>
                        <a:schemeClr val="bg2"/>
                      </a:solidFill>
                      <a:prstDash val="solid"/>
                      <a:round/>
                      <a:headEnd type="none" w="med" len="med"/>
                      <a:tailEnd type="none" w="med" len="med"/>
                    </a:lnT>
                  </a:tcPr>
                </a:tc>
                <a:tc gridSpan="2">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200" b="1" i="0" u="none" strike="noStrike" kern="1200" cap="none">
                          <a:solidFill>
                            <a:schemeClr val="tx1"/>
                          </a:solidFill>
                          <a:latin typeface="+mj-lt"/>
                          <a:ea typeface="+mn-ea"/>
                          <a:cs typeface="+mn-cs"/>
                          <a:sym typeface="Arial"/>
                        </a:rPr>
                        <a:t>Direction du Programme Orion </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100" b="0" i="1">
                          <a:solidFill>
                            <a:schemeClr val="tx1"/>
                          </a:solidFill>
                          <a:latin typeface="+mj-lt"/>
                        </a:rPr>
                        <a:t>Programme de transformation de l'activité Santé</a:t>
                      </a:r>
                    </a:p>
                  </a:txBody>
                  <a:tcPr anchor="ctr">
                    <a:lnT w="12700" cap="flat" cmpd="sng" algn="ctr">
                      <a:solidFill>
                        <a:schemeClr val="bg2"/>
                      </a:solidFill>
                      <a:prstDash val="solid"/>
                      <a:round/>
                      <a:headEnd type="none" w="med" len="med"/>
                      <a:tailEnd type="none" w="med" len="med"/>
                    </a:lnT>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n-lt"/>
                        </a:rPr>
                        <a:t>  </a:t>
                      </a:r>
                      <a:endParaRPr lang="fr-FR" sz="1050" b="0" i="1">
                        <a:latin typeface="+mn-lt"/>
                      </a:endParaRPr>
                    </a:p>
                  </a:txBody>
                  <a:tcPr anchor="ctr">
                    <a:lnT w="12700" cap="flat" cmpd="sng" algn="ctr">
                      <a:solidFill>
                        <a:srgbClr val="0070C0"/>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  </a:t>
                      </a:r>
                      <a:endParaRPr lang="fr-FR" sz="1050" b="0" i="1">
                        <a:latin typeface="+mj-lt"/>
                      </a:endParaRPr>
                    </a:p>
                  </a:txBody>
                  <a:tcPr anchor="ctr">
                    <a:lnT w="12700" cap="flat" cmpd="sng" algn="ctr">
                      <a:solidFill>
                        <a:schemeClr val="bg2"/>
                      </a:solidFill>
                      <a:prstDash val="solid"/>
                      <a:round/>
                      <a:headEnd type="none" w="med" len="med"/>
                      <a:tailEnd type="none" w="med" len="med"/>
                    </a:lnT>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Paris</a:t>
                      </a:r>
                    </a:p>
                  </a:txBody>
                  <a:tcPr anchor="ctr">
                    <a:lnT w="12700" cap="flat" cmpd="sng" algn="ctr">
                      <a:solidFill>
                        <a:schemeClr val="bg2"/>
                      </a:solidFill>
                      <a:prstDash val="solid"/>
                      <a:round/>
                      <a:headEnd type="none" w="med" len="med"/>
                      <a:tailEnd type="none" w="med" len="med"/>
                    </a:lnT>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 3 ans</a:t>
                      </a:r>
                    </a:p>
                  </a:txBody>
                  <a:tcPr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619299905"/>
                  </a:ext>
                </a:extLst>
              </a:tr>
              <a:tr h="370840">
                <a:tc>
                  <a:txBody>
                    <a:bodyPr/>
                    <a:lstStyle/>
                    <a:p>
                      <a:pPr marL="360000" indent="-360000">
                        <a:spcBef>
                          <a:spcPts val="600"/>
                        </a:spcBef>
                        <a:buClr>
                          <a:schemeClr val="accent1"/>
                        </a:buClr>
                        <a:buFont typeface="Wingdings" panose="05000000000000000000" pitchFamily="2" charset="2"/>
                        <a:buChar char="§"/>
                      </a:pPr>
                      <a:endParaRPr lang="fr-FR" sz="1000">
                        <a:latin typeface="Montserrat" panose="00000500000000000000" pitchFamily="2" charset="0"/>
                      </a:endParaRPr>
                    </a:p>
                  </a:txBody>
                  <a:tcPr>
                    <a:lnB w="12700" cap="flat" cmpd="sng" algn="ctr">
                      <a:solidFill>
                        <a:schemeClr val="bg1"/>
                      </a:solidFill>
                      <a:prstDash val="solid"/>
                      <a:round/>
                      <a:headEnd type="none" w="med" len="med"/>
                      <a:tailEnd type="none" w="med" len="med"/>
                    </a:lnB>
                  </a:tcPr>
                </a:tc>
                <a:tc gridSpan="2">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indent="0" algn="l" defTabSz="914333" rtl="0" eaLnBrk="1" latinLnBrk="0" hangingPunct="1">
                        <a:lnSpc>
                          <a:spcPct val="100000"/>
                        </a:lnSpc>
                        <a:spcBef>
                          <a:spcPts val="600"/>
                        </a:spcBef>
                        <a:spcAft>
                          <a:spcPts val="0"/>
                        </a:spcAft>
                        <a:buClr>
                          <a:schemeClr val="accent1"/>
                        </a:buClr>
                        <a:buFont typeface="Wingdings" panose="05000000000000000000" pitchFamily="2" charset="2"/>
                        <a:buNone/>
                      </a:pPr>
                      <a:r>
                        <a:rPr lang="fr-FR" sz="1100" b="0" i="0" u="none" strike="noStrike" kern="1200" cap="none">
                          <a:solidFill>
                            <a:schemeClr val="tx1"/>
                          </a:solidFill>
                          <a:latin typeface="+mj-lt"/>
                          <a:ea typeface="+mn-ea"/>
                          <a:cs typeface="+mn-cs"/>
                          <a:sym typeface="Arial"/>
                        </a:rPr>
                        <a:t>Prise en charge de la Direction Partenaire, avec pour rôle :  </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La convergence des besoins entre les trois mutuelles parties prenantes (MGEN, MFPS et LMDE)  </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Le pilotage de la relation avec le constructeur de la solution (GIE Chorégi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Le reporting aux Directions Générales des mutuelles parties prenante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La préparation et l'animation du comité de pilotage, présidé par la Vice-Présidente de la MGEN</a:t>
                      </a:r>
                    </a:p>
                    <a:p>
                      <a:pPr marL="457200" lvl="1" indent="0" algn="l" rtl="0" eaLnBrk="1" latinLnBrk="0" hangingPunct="1">
                        <a:spcBef>
                          <a:spcPts val="0"/>
                        </a:spcBef>
                        <a:buFont typeface="Wingdings" panose="05000000000000000000" pitchFamily="2" charset="2"/>
                        <a:buNone/>
                      </a:pPr>
                      <a:endParaRPr lang="fr-FR" sz="1400" b="0" i="0" u="none" strike="noStrike" kern="1200" cap="none">
                        <a:solidFill>
                          <a:srgbClr val="001F60"/>
                        </a:solidFill>
                        <a:latin typeface="+mj-lt"/>
                        <a:ea typeface="+mn-ea"/>
                        <a:cs typeface="+mn-cs"/>
                        <a:sym typeface="Arial"/>
                      </a:endParaRPr>
                    </a:p>
                  </a:txBody>
                  <a:tcPr>
                    <a:lnB w="12700" cap="flat" cmpd="sng" algn="ctr">
                      <a:solidFill>
                        <a:schemeClr val="bg2"/>
                      </a:solidFill>
                      <a:prstDash val="solid"/>
                      <a:round/>
                      <a:headEnd type="none" w="med" len="med"/>
                      <a:tailEnd type="none" w="med" len="med"/>
                    </a:lnB>
                  </a:tcPr>
                </a:tc>
                <a:tc hMerge="1">
                  <a:txBody>
                    <a:bodyPr/>
                    <a:lstStyle/>
                    <a:p>
                      <a:endParaRPr lang="fr-FR"/>
                    </a:p>
                  </a:txBody>
                  <a:tcPr>
                    <a:lnB w="9525" cap="flat" cmpd="sng" algn="ctr">
                      <a:solidFill>
                        <a:srgbClr val="0070C0"/>
                      </a:solidFill>
                      <a:prstDash val="solid"/>
                      <a:round/>
                      <a:headEnd type="none" w="med" len="med"/>
                      <a:tailEnd type="none" w="med" len="med"/>
                    </a:lnB>
                  </a:tcPr>
                </a:tc>
                <a:tc gridSpan="2">
                  <a:txBody>
                    <a:bodyPr/>
                    <a:lstStyle/>
                    <a:p>
                      <a:endParaRPr lang="fr-FR">
                        <a:latin typeface="+mj-lt"/>
                      </a:endParaRPr>
                    </a:p>
                  </a:txBody>
                  <a:tcPr>
                    <a:lnB w="12700" cap="flat" cmpd="sng" algn="ctr">
                      <a:solidFill>
                        <a:schemeClr val="bg2"/>
                      </a:solidFill>
                      <a:prstDash val="solid"/>
                      <a:round/>
                      <a:headEnd type="none" w="med" len="med"/>
                      <a:tailEnd type="none" w="med" len="med"/>
                    </a:lnB>
                  </a:tcPr>
                </a:tc>
                <a:tc hMerge="1">
                  <a:txBody>
                    <a:bodyPr/>
                    <a:lstStyle/>
                    <a:p>
                      <a:pPr marL="360000" indent="-360000">
                        <a:spcBef>
                          <a:spcPts val="600"/>
                        </a:spcBef>
                        <a:buClr>
                          <a:schemeClr val="accent1"/>
                        </a:buClr>
                        <a:buFont typeface="Wingdings" panose="05000000000000000000" pitchFamily="2" charset="2"/>
                        <a:buChar char="§"/>
                      </a:pPr>
                      <a:endParaRPr lang="fr-FR" sz="1050">
                        <a:latin typeface="+mn-lt"/>
                      </a:endParaRPr>
                    </a:p>
                  </a:txBody>
                  <a:tcPr>
                    <a:lnB w="6350" cap="flat" cmpd="sng" algn="ctr">
                      <a:solidFill>
                        <a:srgbClr val="0070C0"/>
                      </a:solidFill>
                      <a:prstDash val="solid"/>
                      <a:round/>
                      <a:headEnd type="none" w="med" len="med"/>
                      <a:tailEnd type="none" w="med" len="med"/>
                    </a:lnB>
                  </a:tcPr>
                </a:tc>
                <a:tc>
                  <a:txBody>
                    <a:bodyPr/>
                    <a:lstStyle/>
                    <a:p>
                      <a:endParaRPr lang="fr-FR">
                        <a:latin typeface="+mj-lt"/>
                      </a:endParaRP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99218895"/>
                  </a:ext>
                </a:extLst>
              </a:tr>
              <a:tr h="38166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 </a:t>
                      </a:r>
                      <a:endParaRPr lang="fr-FR" sz="1050" b="0" i="1">
                        <a:latin typeface="Montserrat" panose="00000500000000000000" pitchFamily="2"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3">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200" b="1" i="0" u="none" strike="noStrike" kern="1200" cap="none">
                          <a:solidFill>
                            <a:schemeClr val="tx1"/>
                          </a:solidFill>
                          <a:latin typeface="+mj-lt"/>
                          <a:ea typeface="+mn-ea"/>
                          <a:cs typeface="+mn-cs"/>
                          <a:sym typeface="Arial"/>
                        </a:rPr>
                        <a:t>Direction du programme MOSAIC</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latin typeface="+mj-lt"/>
                        </a:rPr>
                        <a:t>Programme de transformation de l’activité comptable et financière</a:t>
                      </a:r>
                    </a:p>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Accompagnement sur toute la phase amont de sélection de la solution cib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Prise en charge du pilotage de la mise en œuvre, aux côtés du DAF de la mutuel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Animation du pilotage sur l’ensemble des chantiers  : définition de la cible, définition des processu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métier, élaboration et déploiement de la stratégie de conduite du changement </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Préparation et animation du Comité de Pilotage </a:t>
                      </a:r>
                    </a:p>
                    <a:p>
                      <a:pPr marL="457200" marR="0" lvl="1" indent="0" algn="l" defTabSz="914333" rtl="0" eaLnBrk="1" latinLnBrk="0" hangingPunct="1">
                        <a:lnSpc>
                          <a:spcPct val="100000"/>
                        </a:lnSpc>
                        <a:spcBef>
                          <a:spcPts val="0"/>
                        </a:spcBef>
                        <a:spcAft>
                          <a:spcPts val="0"/>
                        </a:spcAft>
                        <a:buClr>
                          <a:srgbClr val="000000"/>
                        </a:buClr>
                        <a:buFont typeface="Wingdings" panose="05000000000000000000" pitchFamily="2" charset="2"/>
                        <a:buNone/>
                      </a:pPr>
                      <a:endParaRPr lang="fr-FR" sz="1000" b="0" i="0" u="none" strike="noStrike" kern="1200" cap="none">
                        <a:solidFill>
                          <a:srgbClr val="001F60"/>
                        </a:solidFill>
                        <a:latin typeface="+mj-lt"/>
                        <a:ea typeface="+mn-ea"/>
                        <a:cs typeface="+mn-cs"/>
                        <a:sym typeface="Aria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fr-FR"/>
                    </a:p>
                  </a:txBody>
                  <a:tcPr marT="108000">
                    <a:lnT w="6350" cap="flat" cmpd="sng" algn="ctr">
                      <a:solidFill>
                        <a:srgbClr val="0070C0"/>
                      </a:solidFill>
                      <a:prstDash val="solid"/>
                      <a:round/>
                      <a:headEnd type="none" w="med" len="med"/>
                      <a:tailEnd type="none" w="med" len="med"/>
                    </a:lnT>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n-lt"/>
                      </a:endParaRPr>
                    </a:p>
                  </a:txBody>
                  <a:tcPr anchor="ct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Paris</a:t>
                      </a:r>
                    </a:p>
                  </a:txBody>
                  <a:tcPr marT="108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2 ans</a:t>
                      </a:r>
                    </a:p>
                  </a:txBody>
                  <a:tcPr marT="108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21839037"/>
                  </a:ext>
                </a:extLst>
              </a:tr>
              <a:tr h="38166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ontserrat" panose="00000500000000000000" pitchFamily="2" charset="0"/>
                      </a:endParaRPr>
                    </a:p>
                  </a:txBody>
                  <a:tcPr anchor="ctr">
                    <a:lnT w="12700" cap="flat" cmpd="sng" algn="ctr">
                      <a:solidFill>
                        <a:schemeClr val="bg1"/>
                      </a:solidFill>
                      <a:prstDash val="solid"/>
                      <a:round/>
                      <a:headEnd type="none" w="med" len="med"/>
                      <a:tailEnd type="none" w="med" len="med"/>
                    </a:lnT>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200" b="1" i="0" u="none" strike="noStrike" kern="1200" cap="none">
                          <a:solidFill>
                            <a:schemeClr val="tx1"/>
                          </a:solidFill>
                          <a:latin typeface="+mj-lt"/>
                          <a:ea typeface="+mn-ea"/>
                          <a:cs typeface="+mn-cs"/>
                          <a:sym typeface="Arial"/>
                        </a:rPr>
                        <a:t>Pilotage du programme pluriannuel de mise en œuvre du SDSI</a:t>
                      </a:r>
                    </a:p>
                  </a:txBody>
                  <a:tcPr anchor="ctr">
                    <a:lnT w="12700" cap="flat" cmpd="sng" algn="ctr">
                      <a:solidFill>
                        <a:schemeClr val="bg2"/>
                      </a:solidFill>
                      <a:prstDash val="solid"/>
                      <a:round/>
                      <a:headEnd type="none" w="med" len="med"/>
                      <a:tailEnd type="none" w="med" len="med"/>
                    </a:lnT>
                  </a:tcPr>
                </a:tc>
                <a:tc gridSpan="2">
                  <a:txBody>
                    <a:bodyPr/>
                    <a:lstStyle/>
                    <a:p>
                      <a:endParaRPr lang="fr-FR">
                        <a:latin typeface="+mj-lt"/>
                      </a:endParaRPr>
                    </a:p>
                  </a:txBody>
                  <a:tcPr anchor="ctr">
                    <a:lnT w="12700" cap="flat" cmpd="sng" algn="ctr">
                      <a:solidFill>
                        <a:schemeClr val="bg2"/>
                      </a:solidFill>
                      <a:prstDash val="solid"/>
                      <a:round/>
                      <a:headEnd type="none" w="med" len="med"/>
                      <a:tailEnd type="none" w="med" len="med"/>
                    </a:lnT>
                  </a:tcPr>
                </a:tc>
                <a:tc hMerge="1">
                  <a:txBody>
                    <a:bodyPr/>
                    <a:lstStyle/>
                    <a:p>
                      <a:endParaRPr lang="fr-FR"/>
                    </a:p>
                  </a:txBody>
                  <a:tcPr anchor="ctr">
                    <a:lnT w="9525" cap="flat" cmpd="sng" algn="ctr">
                      <a:solidFill>
                        <a:srgbClr val="0070C0"/>
                      </a:solidFill>
                      <a:prstDash val="solid"/>
                      <a:round/>
                      <a:headEnd type="none" w="med" len="med"/>
                      <a:tailEnd type="none" w="med" len="med"/>
                    </a:lnT>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Paris</a:t>
                      </a:r>
                    </a:p>
                  </a:txBody>
                  <a:tcPr marT="108000">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latin typeface="+mj-lt"/>
                        </a:rPr>
                        <a:t>3 ans</a:t>
                      </a:r>
                    </a:p>
                  </a:txBody>
                  <a:tcPr marT="108000">
                    <a:lnL w="9525" cap="flat" cmpd="sng" algn="ctr">
                      <a:noFill/>
                      <a:prstDash val="solid"/>
                      <a:round/>
                      <a:headEnd type="none" w="med" len="med"/>
                      <a:tailEnd type="none" w="med" len="med"/>
                    </a:lnL>
                    <a:lnT w="12700"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4014142974"/>
                  </a:ext>
                </a:extLst>
              </a:tr>
              <a:tr h="38166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ontserrat" panose="00000500000000000000" pitchFamily="2" charset="0"/>
                      </a:endParaRPr>
                    </a:p>
                  </a:txBody>
                  <a:tcPr anchor="ctr"/>
                </a:tc>
                <a:tc gridSpan="3">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Cadrage puis pilotage du programme aux côtés de la Direction Généra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Mise en œuvre d’une gouvernance des évolutions du SI</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i="0" u="none" strike="noStrike" kern="1200" cap="none">
                          <a:solidFill>
                            <a:schemeClr val="tx1"/>
                          </a:solidFill>
                          <a:latin typeface="+mj-lt"/>
                          <a:ea typeface="+mn-ea"/>
                          <a:cs typeface="+mn-cs"/>
                          <a:sym typeface="Arial"/>
                        </a:rPr>
                        <a:t>Pilotage du programme de convergence des BO</a:t>
                      </a:r>
                    </a:p>
                  </a:txBody>
                  <a:tcPr/>
                </a:tc>
                <a:tc hMerge="1">
                  <a:txBody>
                    <a:bodyPr/>
                    <a:lstStyle/>
                    <a:p>
                      <a:endParaRPr lang="fr-FR"/>
                    </a:p>
                  </a:txBody>
                  <a:tcPr/>
                </a:tc>
                <a:tc hMerge="1">
                  <a:txBody>
                    <a:bodyPr/>
                    <a:lstStyle/>
                    <a:p>
                      <a:pPr marL="360000" marR="0" indent="-360000" algn="l" defTabSz="914333" rtl="0" eaLnBrk="1" latinLnBrk="0" hangingPunct="1">
                        <a:lnSpc>
                          <a:spcPct val="100000"/>
                        </a:lnSpc>
                        <a:spcBef>
                          <a:spcPts val="0"/>
                        </a:spcBef>
                        <a:spcAft>
                          <a:spcPts val="0"/>
                        </a:spcAft>
                        <a:buClr>
                          <a:schemeClr val="accent1"/>
                        </a:buClr>
                        <a:buFont typeface="Wingdings" panose="05000000000000000000" pitchFamily="2" charset="2"/>
                        <a:buChar char="§"/>
                      </a:pPr>
                      <a:endParaRPr lang="fr-FR" sz="1100" b="0" i="0" u="none" strike="noStrike" kern="1200" cap="none">
                        <a:solidFill>
                          <a:srgbClr val="002060"/>
                        </a:solidFill>
                        <a:latin typeface="Calibri" panose="020F0502020204030204"/>
                        <a:ea typeface="+mn-ea"/>
                        <a:cs typeface="+mn-cs"/>
                        <a:sym typeface="Arial"/>
                      </a:endParaRPr>
                    </a:p>
                  </a:txBody>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latin typeface="+mj-lt"/>
                      </a:endParaRPr>
                    </a:p>
                  </a:txBody>
                  <a:tcPr marT="108000"/>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latin typeface="+mj-lt"/>
                      </a:endParaRPr>
                    </a:p>
                  </a:txBody>
                  <a:tcPr marT="108000">
                    <a:lnT w="9525" cap="flat" cmpd="sng" algn="ctr">
                      <a:noFill/>
                      <a:prstDash val="solid"/>
                      <a:round/>
                      <a:headEnd type="none" w="med" len="med"/>
                      <a:tailEnd type="none" w="med" len="med"/>
                    </a:lnT>
                  </a:tcPr>
                </a:tc>
                <a:extLst>
                  <a:ext uri="{0D108BD9-81ED-4DB2-BD59-A6C34878D82A}">
                    <a16:rowId xmlns:a16="http://schemas.microsoft.com/office/drawing/2014/main" val="1483343609"/>
                  </a:ext>
                </a:extLst>
              </a:tr>
              <a:tr h="370840">
                <a:tc>
                  <a:txBody>
                    <a:bodyPr/>
                    <a:lstStyle/>
                    <a:p>
                      <a:pPr marL="360000" indent="-360000">
                        <a:spcBef>
                          <a:spcPts val="600"/>
                        </a:spcBef>
                        <a:buClr>
                          <a:schemeClr val="accent1"/>
                        </a:buClr>
                        <a:buFont typeface="Wingdings" panose="05000000000000000000" pitchFamily="2" charset="2"/>
                        <a:buChar char="§"/>
                      </a:pPr>
                      <a:endParaRPr lang="fr-FR" sz="1000">
                        <a:latin typeface="Montserrat" panose="00000500000000000000" pitchFamily="2" charset="0"/>
                      </a:endParaRPr>
                    </a:p>
                  </a:txBody>
                  <a:tcPr/>
                </a:tc>
                <a:tc gridSpan="4">
                  <a:txBody>
                    <a:bodyPr/>
                    <a:lstStyle/>
                    <a:p>
                      <a:pPr marL="360000" indent="-360000">
                        <a:spcBef>
                          <a:spcPts val="600"/>
                        </a:spcBef>
                        <a:buClr>
                          <a:schemeClr val="accent1"/>
                        </a:buClr>
                        <a:buFont typeface="Wingdings" panose="05000000000000000000" pitchFamily="2" charset="2"/>
                        <a:buChar char="§"/>
                      </a:pPr>
                      <a:endParaRPr lang="fr-FR" sz="1000">
                        <a:latin typeface="+mn-lt"/>
                      </a:endParaRPr>
                    </a:p>
                  </a:txBody>
                  <a:tcPr/>
                </a:tc>
                <a:tc hMerge="1">
                  <a:txBody>
                    <a:bodyPr/>
                    <a:lstStyle/>
                    <a:p>
                      <a:endParaRPr lang="fr-FR"/>
                    </a:p>
                  </a:txBody>
                  <a:tcPr/>
                </a:tc>
                <a:tc hMerge="1">
                  <a:txBody>
                    <a:bodyPr/>
                    <a:lstStyle/>
                    <a:p>
                      <a:endParaRPr lang="fr-FR"/>
                    </a:p>
                  </a:txBody>
                  <a:tcPr/>
                </a:tc>
                <a:tc hMerge="1">
                  <a:txBody>
                    <a:bodyPr/>
                    <a:lstStyle/>
                    <a:p>
                      <a:pPr marL="360000" indent="-360000">
                        <a:spcBef>
                          <a:spcPts val="600"/>
                        </a:spcBef>
                        <a:buClr>
                          <a:schemeClr val="accent1"/>
                        </a:buClr>
                        <a:buFont typeface="Wingdings" panose="05000000000000000000" pitchFamily="2" charset="2"/>
                        <a:buChar char="§"/>
                      </a:pPr>
                      <a:endParaRPr lang="fr-FR" sz="1000">
                        <a:latin typeface="+mn-lt"/>
                      </a:endParaRPr>
                    </a:p>
                  </a:txBody>
                  <a:tcPr/>
                </a:tc>
                <a:tc>
                  <a:txBody>
                    <a:bodyPr/>
                    <a:lstStyle/>
                    <a:p>
                      <a:pPr marL="360000" indent="-360000">
                        <a:spcBef>
                          <a:spcPts val="600"/>
                        </a:spcBef>
                        <a:buClr>
                          <a:schemeClr val="accent1"/>
                        </a:buClr>
                        <a:buFont typeface="Wingdings" panose="05000000000000000000" pitchFamily="2" charset="2"/>
                        <a:buChar char="§"/>
                      </a:pPr>
                      <a:endParaRPr lang="fr-FR" sz="1000">
                        <a:latin typeface="+mn-lt"/>
                      </a:endParaRPr>
                    </a:p>
                  </a:txBody>
                  <a:tcPr/>
                </a:tc>
                <a:extLst>
                  <a:ext uri="{0D108BD9-81ED-4DB2-BD59-A6C34878D82A}">
                    <a16:rowId xmlns:a16="http://schemas.microsoft.com/office/drawing/2014/main" val="3890956908"/>
                  </a:ext>
                </a:extLst>
              </a:tr>
            </a:tbl>
          </a:graphicData>
        </a:graphic>
      </p:graphicFrame>
      <p:pic>
        <p:nvPicPr>
          <p:cNvPr id="3" name="Image 2">
            <a:extLst>
              <a:ext uri="{FF2B5EF4-FFF2-40B4-BE49-F238E27FC236}">
                <a16:creationId xmlns:a16="http://schemas.microsoft.com/office/drawing/2014/main" id="{CA027023-333A-2659-B748-1B9F157D735A}"/>
              </a:ext>
            </a:extLst>
          </p:cNvPr>
          <p:cNvPicPr>
            <a:picLocks noChangeAspect="1"/>
          </p:cNvPicPr>
          <p:nvPr/>
        </p:nvPicPr>
        <p:blipFill rotWithShape="1">
          <a:blip r:embed="rId5"/>
          <a:srcRect l="8245" t="10798" r="24884" b="34817"/>
          <a:stretch/>
        </p:blipFill>
        <p:spPr>
          <a:xfrm>
            <a:off x="10048015" y="125085"/>
            <a:ext cx="507631" cy="648000"/>
          </a:xfrm>
          <a:prstGeom prst="rect">
            <a:avLst/>
          </a:prstGeom>
        </p:spPr>
      </p:pic>
      <p:pic>
        <p:nvPicPr>
          <p:cNvPr id="32" name="Image 2" descr="Une image contenant dessin, herbe&#10;&#10;Description générée avec un niveau de confiance très élevé">
            <a:extLst>
              <a:ext uri="{FF2B5EF4-FFF2-40B4-BE49-F238E27FC236}">
                <a16:creationId xmlns:a16="http://schemas.microsoft.com/office/drawing/2014/main" id="{B30F1D7A-A1BF-666D-391D-C1E85BC6CFC3}"/>
              </a:ext>
            </a:extLst>
          </p:cNvPr>
          <p:cNvPicPr>
            <a:picLocks noChangeAspect="1"/>
          </p:cNvPicPr>
          <p:nvPr/>
        </p:nvPicPr>
        <p:blipFill>
          <a:blip r:embed="rId6"/>
          <a:stretch>
            <a:fillRect/>
          </a:stretch>
        </p:blipFill>
        <p:spPr>
          <a:xfrm>
            <a:off x="753051" y="1726950"/>
            <a:ext cx="533400" cy="533400"/>
          </a:xfrm>
          <a:prstGeom prst="rect">
            <a:avLst/>
          </a:prstGeom>
        </p:spPr>
      </p:pic>
      <p:pic>
        <p:nvPicPr>
          <p:cNvPr id="28" name="Image 27">
            <a:extLst>
              <a:ext uri="{FF2B5EF4-FFF2-40B4-BE49-F238E27FC236}">
                <a16:creationId xmlns:a16="http://schemas.microsoft.com/office/drawing/2014/main" id="{24600E04-334E-B96C-BDBB-1EF8B584E5D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5608" y="4766769"/>
            <a:ext cx="935541" cy="379420"/>
          </a:xfrm>
          <a:prstGeom prst="rect">
            <a:avLst/>
          </a:prstGeom>
        </p:spPr>
      </p:pic>
      <p:pic>
        <p:nvPicPr>
          <p:cNvPr id="4" name="Graphique 3" descr="Calendrier journalier">
            <a:extLst>
              <a:ext uri="{FF2B5EF4-FFF2-40B4-BE49-F238E27FC236}">
                <a16:creationId xmlns:a16="http://schemas.microsoft.com/office/drawing/2014/main" id="{B4A84F29-1760-B019-5D15-33DE40FFCCB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19298" y="1630460"/>
            <a:ext cx="228600" cy="228600"/>
          </a:xfrm>
          <a:prstGeom prst="rect">
            <a:avLst/>
          </a:prstGeom>
        </p:spPr>
      </p:pic>
      <p:pic>
        <p:nvPicPr>
          <p:cNvPr id="5" name="Graphique 4" descr="Repère">
            <a:extLst>
              <a:ext uri="{FF2B5EF4-FFF2-40B4-BE49-F238E27FC236}">
                <a16:creationId xmlns:a16="http://schemas.microsoft.com/office/drawing/2014/main" id="{5BAE5436-CB96-5537-A538-D87511561C9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5017" y="4770265"/>
            <a:ext cx="264219" cy="264219"/>
          </a:xfrm>
          <a:prstGeom prst="rect">
            <a:avLst/>
          </a:prstGeom>
        </p:spPr>
      </p:pic>
      <p:pic>
        <p:nvPicPr>
          <p:cNvPr id="8" name="Graphique 7" descr="Calendrier journalier">
            <a:extLst>
              <a:ext uri="{FF2B5EF4-FFF2-40B4-BE49-F238E27FC236}">
                <a16:creationId xmlns:a16="http://schemas.microsoft.com/office/drawing/2014/main" id="{463FDEF0-DF0F-2D05-1A89-E52525F19D2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90867" y="3202265"/>
            <a:ext cx="228600" cy="228600"/>
          </a:xfrm>
          <a:prstGeom prst="rect">
            <a:avLst/>
          </a:prstGeom>
        </p:spPr>
      </p:pic>
      <p:pic>
        <p:nvPicPr>
          <p:cNvPr id="13" name="Graphique 12" descr="Calendrier journalier">
            <a:extLst>
              <a:ext uri="{FF2B5EF4-FFF2-40B4-BE49-F238E27FC236}">
                <a16:creationId xmlns:a16="http://schemas.microsoft.com/office/drawing/2014/main" id="{02A621A4-62B9-3423-ECAD-D2EE3403CC1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31129" y="4805884"/>
            <a:ext cx="228600" cy="228600"/>
          </a:xfrm>
          <a:prstGeom prst="rect">
            <a:avLst/>
          </a:prstGeom>
        </p:spPr>
      </p:pic>
    </p:spTree>
    <p:extLst>
      <p:ext uri="{BB962C8B-B14F-4D97-AF65-F5344CB8AC3E}">
        <p14:creationId xmlns:p14="http://schemas.microsoft.com/office/powerpoint/2010/main" val="14759009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au 22">
            <a:extLst>
              <a:ext uri="{FF2B5EF4-FFF2-40B4-BE49-F238E27FC236}">
                <a16:creationId xmlns:a16="http://schemas.microsoft.com/office/drawing/2014/main" id="{989208B1-D660-957C-E659-6BF91C8AF6D3}"/>
              </a:ext>
            </a:extLst>
          </p:cNvPr>
          <p:cNvGraphicFramePr>
            <a:graphicFrameLocks noGrp="1"/>
          </p:cNvGraphicFramePr>
          <p:nvPr>
            <p:extLst>
              <p:ext uri="{D42A27DB-BD31-4B8C-83A1-F6EECF244321}">
                <p14:modId xmlns:p14="http://schemas.microsoft.com/office/powerpoint/2010/main" val="2911912123"/>
              </p:ext>
            </p:extLst>
          </p:nvPr>
        </p:nvGraphicFramePr>
        <p:xfrm>
          <a:off x="355242" y="1568332"/>
          <a:ext cx="3375285" cy="5057168"/>
        </p:xfrm>
        <a:graphic>
          <a:graphicData uri="http://schemas.openxmlformats.org/drawingml/2006/table">
            <a:tbl>
              <a:tblPr firstRow="1" bandRow="1">
                <a:tableStyleId>{2D5ABB26-0587-4C30-8999-92F81FD0307C}</a:tableStyleId>
              </a:tblPr>
              <a:tblGrid>
                <a:gridCol w="3375285">
                  <a:extLst>
                    <a:ext uri="{9D8B030D-6E8A-4147-A177-3AD203B41FA5}">
                      <a16:colId xmlns:a16="http://schemas.microsoft.com/office/drawing/2014/main" val="2856406043"/>
                    </a:ext>
                  </a:extLst>
                </a:gridCol>
              </a:tblGrid>
              <a:tr h="228599">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Formations</a:t>
                      </a:r>
                    </a:p>
                  </a:txBody>
                  <a:tcPr marL="72000" marR="7200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204566"/>
                  </a:ext>
                </a:extLst>
              </a:tr>
              <a:tr h="483988">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1" i="0" u="none" strike="noStrike" kern="1200" cap="none">
                          <a:solidFill>
                            <a:schemeClr val="tx1"/>
                          </a:solidFill>
                          <a:latin typeface="Arial (En-têtes)"/>
                          <a:ea typeface="+mn-ea"/>
                          <a:cs typeface="+mn-cs"/>
                          <a:sym typeface="Arial"/>
                        </a:rPr>
                        <a:t>ICN Business School (2000)</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1" i="0" u="none" strike="noStrike" kern="1200" cap="none">
                          <a:solidFill>
                            <a:schemeClr val="tx1"/>
                          </a:solidFill>
                          <a:latin typeface="Arial (En-têtes)"/>
                          <a:ea typeface="+mn-ea"/>
                          <a:cs typeface="+mn-cs"/>
                          <a:sym typeface="Arial"/>
                        </a:rPr>
                        <a:t>Maîtrise Université Paris VII (2002)</a:t>
                      </a:r>
                    </a:p>
                  </a:txBody>
                  <a:tcPr marL="72000" marR="72000">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691408330"/>
                  </a:ext>
                </a:extLst>
              </a:tr>
              <a:tr h="26552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Compétences</a:t>
                      </a:r>
                    </a:p>
                  </a:txBody>
                  <a:tcPr marL="72000" marR="72000">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0446002"/>
                  </a:ext>
                </a:extLst>
              </a:tr>
              <a:tr h="1182280">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En-têtes)"/>
                          <a:ea typeface="+mn-ea"/>
                          <a:cs typeface="+mn-cs"/>
                          <a:sym typeface="Arial"/>
                        </a:rPr>
                        <a:t>Cadrage et pilotage des grands projets de transformation</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En-têtes)"/>
                          <a:ea typeface="+mn-ea"/>
                          <a:cs typeface="+mn-cs"/>
                          <a:sym typeface="Arial"/>
                        </a:rPr>
                        <a:t>Optimisation des processus métier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En-têtes)"/>
                          <a:ea typeface="+mn-ea"/>
                          <a:cs typeface="+mn-cs"/>
                          <a:sym typeface="Arial"/>
                        </a:rPr>
                        <a:t>Diagnostic de proje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En-têtes)"/>
                          <a:ea typeface="+mn-ea"/>
                          <a:cs typeface="+mn-cs"/>
                          <a:sym typeface="Arial"/>
                        </a:rPr>
                        <a:t>Migration de SI</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En-têtes)"/>
                          <a:ea typeface="+mn-ea"/>
                          <a:cs typeface="+mn-cs"/>
                          <a:sym typeface="Arial"/>
                        </a:rPr>
                        <a:t>Fusion d’entreprises, rapprochement de service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En-têtes)"/>
                          <a:ea typeface="+mn-ea"/>
                          <a:cs typeface="+mn-cs"/>
                          <a:sym typeface="Arial"/>
                        </a:rPr>
                        <a:t>Conduite de changement</a:t>
                      </a:r>
                      <a:endParaRPr lang="fr-FR" sz="1000" b="1" kern="1200">
                        <a:solidFill>
                          <a:schemeClr val="tx1"/>
                        </a:solidFill>
                        <a:latin typeface="+mj-lt"/>
                        <a:ea typeface="+mn-ea"/>
                        <a:cs typeface="+mn-cs"/>
                      </a:endParaRPr>
                    </a:p>
                  </a:txBody>
                  <a:tcPr marL="72000" marR="72000">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534310555"/>
                  </a:ext>
                </a:extLst>
              </a:tr>
              <a:tr h="732310">
                <a:tc>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400" b="1" kern="1200">
                          <a:solidFill>
                            <a:schemeClr val="bg2"/>
                          </a:solidFill>
                          <a:latin typeface="+mj-lt"/>
                          <a:ea typeface="+mn-ea"/>
                          <a:cs typeface="+mn-cs"/>
                        </a:rPr>
                        <a:t>Langues :</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000">
                          <a:latin typeface="+mj-lt"/>
                        </a:rPr>
                        <a:t>Anglais : </a:t>
                      </a:r>
                      <a:r>
                        <a:rPr lang="fr-FR" sz="1000">
                          <a:solidFill>
                            <a:srgbClr val="0070C0"/>
                          </a:solidFill>
                          <a:latin typeface="+mj-lt"/>
                          <a:sym typeface="Wingdings" panose="05000000000000000000" pitchFamily="2" charset="2"/>
                        </a:rPr>
                        <a:t></a:t>
                      </a:r>
                      <a:r>
                        <a:rPr lang="fr-FR" sz="1000">
                          <a:solidFill>
                            <a:srgbClr val="D9F0E6"/>
                          </a:solidFill>
                          <a:latin typeface="+mj-lt"/>
                          <a:sym typeface="Wingdings" panose="05000000000000000000" pitchFamily="2" charset="2"/>
                        </a:rPr>
                        <a:t></a:t>
                      </a:r>
                      <a:r>
                        <a:rPr lang="fr-FR" sz="100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000">
                          <a:latin typeface="+mj-lt"/>
                        </a:rPr>
                        <a:t>Espagnol : </a:t>
                      </a:r>
                      <a:r>
                        <a:rPr lang="fr-FR" sz="1000">
                          <a:solidFill>
                            <a:srgbClr val="0070C0"/>
                          </a:solidFill>
                          <a:latin typeface="+mj-lt"/>
                          <a:sym typeface="Wingdings" panose="05000000000000000000" pitchFamily="2" charset="2"/>
                        </a:rPr>
                        <a:t></a:t>
                      </a:r>
                      <a:r>
                        <a:rPr lang="fr-FR" sz="1000">
                          <a:solidFill>
                            <a:srgbClr val="D9F0E6"/>
                          </a:solidFill>
                          <a:latin typeface="+mj-lt"/>
                          <a:sym typeface="Wingdings" panose="05000000000000000000" pitchFamily="2" charset="2"/>
                        </a:rPr>
                        <a:t></a:t>
                      </a:r>
                      <a:r>
                        <a:rPr lang="fr-FR" sz="1000">
                          <a:solidFill>
                            <a:schemeClr val="accent2">
                              <a:lumMod val="20000"/>
                              <a:lumOff val="80000"/>
                            </a:schemeClr>
                          </a:solidFill>
                          <a:latin typeface="+mj-lt"/>
                          <a:sym typeface="Wingdings" panose="05000000000000000000" pitchFamily="2" charset="2"/>
                        </a:rPr>
                        <a:t></a:t>
                      </a:r>
                    </a:p>
                  </a:txBody>
                  <a:tcPr marL="72000" marR="72000"/>
                </a:tc>
                <a:extLst>
                  <a:ext uri="{0D108BD9-81ED-4DB2-BD59-A6C34878D82A}">
                    <a16:rowId xmlns:a16="http://schemas.microsoft.com/office/drawing/2014/main" val="226718782"/>
                  </a:ext>
                </a:extLst>
              </a:tr>
              <a:tr h="280361">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Principaux clients</a:t>
                      </a:r>
                    </a:p>
                  </a:txBody>
                  <a:tcPr marL="72000" marR="72000">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17742779"/>
                  </a:ext>
                </a:extLst>
              </a:tr>
              <a:tr h="367604">
                <a:tc>
                  <a:txBody>
                    <a:bodyPr/>
                    <a:lstStyle/>
                    <a:p>
                      <a:pPr marL="180975" marR="0" lvl="1" indent="-180975" algn="l" defTabSz="51432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a:pPr>
                      <a:r>
                        <a:rPr lang="fr-FR" sz="1000" b="1" kern="1200">
                          <a:solidFill>
                            <a:schemeClr val="tx1"/>
                          </a:solidFill>
                          <a:latin typeface="+mj-lt"/>
                          <a:ea typeface="+mn-ea"/>
                          <a:cs typeface="+mn-cs"/>
                        </a:rPr>
                        <a:t>Assurance</a:t>
                      </a:r>
                      <a:r>
                        <a:rPr lang="fr-FR" sz="1000" kern="1200">
                          <a:solidFill>
                            <a:schemeClr val="tx1"/>
                          </a:solidFill>
                          <a:latin typeface="+mj-lt"/>
                          <a:ea typeface="+mn-ea"/>
                          <a:cs typeface="+mn-cs"/>
                        </a:rPr>
                        <a:t> : </a:t>
                      </a:r>
                      <a:r>
                        <a:rPr lang="fr-FR" sz="950" kern="1200">
                          <a:solidFill>
                            <a:schemeClr val="tx1"/>
                          </a:solidFill>
                          <a:latin typeface="+mj-lt"/>
                          <a:ea typeface="+mn-ea"/>
                          <a:cs typeface="+mn-cs"/>
                        </a:rPr>
                        <a:t>AGF Assurances, ALTEN SA, DIOT, IPSEC, GAN Assurances, GRAS SAVOYE,  GROUPAMA Assurances Mutuelles, GROUPAMA Centre-Atlantique, GROUPAMA Océan Indien, GROUPAMA Grand Est, GROUPAMA Méditerranée, La Mutuelle Générale, Mutuelle St Christophe</a:t>
                      </a:r>
                    </a:p>
                    <a:p>
                      <a:pPr marL="180975" marR="0" lvl="1" indent="-180975" algn="l" rtl="0" eaLnBrk="1" fontAlgn="auto" latinLnBrk="0" hangingPunct="1">
                        <a:lnSpc>
                          <a:spcPct val="100000"/>
                        </a:lnSpc>
                        <a:spcBef>
                          <a:spcPts val="600"/>
                        </a:spcBef>
                        <a:spcAft>
                          <a:spcPts val="0"/>
                        </a:spcAft>
                        <a:buFont typeface="Wingdings" panose="05000000000000000000" pitchFamily="2" charset="2"/>
                        <a:buChar char="§"/>
                      </a:pPr>
                      <a:r>
                        <a:rPr lang="fr-FR" sz="1000" b="1" kern="1200">
                          <a:solidFill>
                            <a:schemeClr val="tx1"/>
                          </a:solidFill>
                          <a:latin typeface="+mj-lt"/>
                          <a:ea typeface="+mn-ea"/>
                          <a:cs typeface="+mn-cs"/>
                        </a:rPr>
                        <a:t>Banque</a:t>
                      </a:r>
                      <a:r>
                        <a:rPr lang="fr-FR" sz="1000" kern="1200">
                          <a:solidFill>
                            <a:schemeClr val="tx1"/>
                          </a:solidFill>
                          <a:latin typeface="+mj-lt"/>
                          <a:ea typeface="+mn-ea"/>
                          <a:cs typeface="+mn-cs"/>
                        </a:rPr>
                        <a:t> : </a:t>
                      </a:r>
                      <a:r>
                        <a:rPr lang="fr-FR" sz="950" kern="1200">
                          <a:solidFill>
                            <a:schemeClr val="tx1"/>
                          </a:solidFill>
                          <a:latin typeface="+mj-lt"/>
                          <a:ea typeface="+mn-ea"/>
                          <a:cs typeface="+mn-cs"/>
                        </a:rPr>
                        <a:t>Banque Palatine, </a:t>
                      </a:r>
                      <a:r>
                        <a:rPr lang="en-GB" sz="950" kern="1200">
                          <a:solidFill>
                            <a:schemeClr val="tx1"/>
                          </a:solidFill>
                          <a:latin typeface="+mj-lt"/>
                          <a:ea typeface="+mn-ea"/>
                          <a:cs typeface="+mn-cs"/>
                        </a:rPr>
                        <a:t>BP Aquitaine </a:t>
                      </a:r>
                      <a:r>
                        <a:rPr lang="en-US" sz="950" kern="1200">
                          <a:solidFill>
                            <a:schemeClr val="tx1"/>
                          </a:solidFill>
                          <a:latin typeface="+mj-lt"/>
                          <a:ea typeface="+mn-ea"/>
                          <a:cs typeface="+mn-cs"/>
                        </a:rPr>
                        <a:t>Centre </a:t>
                      </a:r>
                      <a:r>
                        <a:rPr lang="fr-FR" sz="950" kern="1200">
                          <a:solidFill>
                            <a:schemeClr val="tx1"/>
                          </a:solidFill>
                          <a:latin typeface="+mj-lt"/>
                          <a:ea typeface="+mn-ea"/>
                          <a:cs typeface="+mn-cs"/>
                        </a:rPr>
                        <a:t>Atlantique</a:t>
                      </a:r>
                      <a:r>
                        <a:rPr lang="en-GB" sz="950" kern="1200">
                          <a:solidFill>
                            <a:schemeClr val="tx1"/>
                          </a:solidFill>
                          <a:latin typeface="+mj-lt"/>
                          <a:ea typeface="+mn-ea"/>
                          <a:cs typeface="+mn-cs"/>
                        </a:rPr>
                        <a:t>, Crédit Commercial du Sud Ouest, Crédit Maritime, BNPPRE, BMCE Bank</a:t>
                      </a:r>
                    </a:p>
                    <a:p>
                      <a:pPr marL="180975" marR="0" lvl="1" indent="-180975" algn="l" rtl="0" eaLnBrk="1" fontAlgn="auto" latinLnBrk="0" hangingPunct="1">
                        <a:lnSpc>
                          <a:spcPct val="100000"/>
                        </a:lnSpc>
                        <a:spcBef>
                          <a:spcPts val="600"/>
                        </a:spcBef>
                        <a:spcAft>
                          <a:spcPts val="0"/>
                        </a:spcAft>
                        <a:buFont typeface="Wingdings" panose="05000000000000000000" pitchFamily="2" charset="2"/>
                        <a:buChar char="§"/>
                      </a:pPr>
                      <a:r>
                        <a:rPr lang="fr-FR" sz="1000" b="1" kern="1200" noProof="0">
                          <a:solidFill>
                            <a:schemeClr val="tx1"/>
                          </a:solidFill>
                          <a:latin typeface="+mj-lt"/>
                          <a:ea typeface="+mn-ea"/>
                          <a:cs typeface="+mn-cs"/>
                        </a:rPr>
                        <a:t>Santé </a:t>
                      </a:r>
                      <a:r>
                        <a:rPr lang="fr-FR" sz="1000" kern="1200" noProof="0">
                          <a:solidFill>
                            <a:schemeClr val="tx1"/>
                          </a:solidFill>
                          <a:latin typeface="+mj-lt"/>
                          <a:ea typeface="+mn-ea"/>
                          <a:cs typeface="+mn-cs"/>
                        </a:rPr>
                        <a:t>: </a:t>
                      </a:r>
                      <a:r>
                        <a:rPr lang="fr-FR" sz="950" kern="1200" noProof="0">
                          <a:solidFill>
                            <a:schemeClr val="tx1"/>
                          </a:solidFill>
                          <a:latin typeface="+mj-lt"/>
                          <a:ea typeface="+mn-ea"/>
                          <a:cs typeface="+mn-cs"/>
                        </a:rPr>
                        <a:t>MIPIH, SIB, Fondation des Hôpitaux</a:t>
                      </a:r>
                    </a:p>
                  </a:txBody>
                  <a:tcPr marL="72000" marR="72000">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655801330"/>
                  </a:ext>
                </a:extLst>
              </a:tr>
            </a:tbl>
          </a:graphicData>
        </a:graphic>
      </p:graphicFrame>
      <p:graphicFrame>
        <p:nvGraphicFramePr>
          <p:cNvPr id="27" name="Tableau 26">
            <a:extLst>
              <a:ext uri="{FF2B5EF4-FFF2-40B4-BE49-F238E27FC236}">
                <a16:creationId xmlns:a16="http://schemas.microsoft.com/office/drawing/2014/main" id="{35AD4505-BAE6-2ABF-B886-5425BE4E18FE}"/>
              </a:ext>
            </a:extLst>
          </p:cNvPr>
          <p:cNvGraphicFramePr>
            <a:graphicFrameLocks noGrp="1"/>
          </p:cNvGraphicFramePr>
          <p:nvPr>
            <p:extLst>
              <p:ext uri="{D42A27DB-BD31-4B8C-83A1-F6EECF244321}">
                <p14:modId xmlns:p14="http://schemas.microsoft.com/office/powerpoint/2010/main" val="3560822527"/>
              </p:ext>
            </p:extLst>
          </p:nvPr>
        </p:nvGraphicFramePr>
        <p:xfrm>
          <a:off x="3887595" y="1565649"/>
          <a:ext cx="8180213" cy="5156870"/>
        </p:xfrm>
        <a:graphic>
          <a:graphicData uri="http://schemas.openxmlformats.org/drawingml/2006/table">
            <a:tbl>
              <a:tblPr firstRow="1" bandRow="1">
                <a:tableStyleId>{2D5ABB26-0587-4C30-8999-92F81FD0307C}</a:tableStyleId>
              </a:tblPr>
              <a:tblGrid>
                <a:gridCol w="832605">
                  <a:extLst>
                    <a:ext uri="{9D8B030D-6E8A-4147-A177-3AD203B41FA5}">
                      <a16:colId xmlns:a16="http://schemas.microsoft.com/office/drawing/2014/main" val="3696629346"/>
                    </a:ext>
                  </a:extLst>
                </a:gridCol>
                <a:gridCol w="4840893">
                  <a:extLst>
                    <a:ext uri="{9D8B030D-6E8A-4147-A177-3AD203B41FA5}">
                      <a16:colId xmlns:a16="http://schemas.microsoft.com/office/drawing/2014/main" val="1537716266"/>
                    </a:ext>
                  </a:extLst>
                </a:gridCol>
                <a:gridCol w="247125">
                  <a:extLst>
                    <a:ext uri="{9D8B030D-6E8A-4147-A177-3AD203B41FA5}">
                      <a16:colId xmlns:a16="http://schemas.microsoft.com/office/drawing/2014/main" val="4208907376"/>
                    </a:ext>
                  </a:extLst>
                </a:gridCol>
                <a:gridCol w="1142360">
                  <a:extLst>
                    <a:ext uri="{9D8B030D-6E8A-4147-A177-3AD203B41FA5}">
                      <a16:colId xmlns:a16="http://schemas.microsoft.com/office/drawing/2014/main" val="336160983"/>
                    </a:ext>
                  </a:extLst>
                </a:gridCol>
                <a:gridCol w="1117230">
                  <a:extLst>
                    <a:ext uri="{9D8B030D-6E8A-4147-A177-3AD203B41FA5}">
                      <a16:colId xmlns:a16="http://schemas.microsoft.com/office/drawing/2014/main" val="3077451637"/>
                    </a:ext>
                  </a:extLst>
                </a:gridCol>
              </a:tblGrid>
              <a:tr h="310550">
                <a:tc gridSpan="5">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1428455178"/>
                  </a:ext>
                </a:extLst>
              </a:tr>
              <a:tr h="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ysClr val="windowText" lastClr="000000"/>
                          </a:solidFill>
                          <a:latin typeface="+mn-lt"/>
                          <a:ea typeface="+mn-ea"/>
                          <a:cs typeface="+mn-cs"/>
                        </a:rPr>
                        <a:t>Pilotage de 4 projets de rapprochement de services de back office</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kern="1200">
                          <a:solidFill>
                            <a:schemeClr val="tx1"/>
                          </a:solidFill>
                          <a:latin typeface="+mn-lt"/>
                          <a:ea typeface="+mn-ea"/>
                          <a:cs typeface="+mn-cs"/>
                        </a:rPr>
                        <a:t>Directrice de mission </a:t>
                      </a:r>
                      <a:endParaRPr lang="fr-FR" sz="1050" b="0" i="1"/>
                    </a:p>
                  </a:txBody>
                  <a:tcPr anchor="ctr">
                    <a:lnT w="12700" cap="flat" cmpd="sng" algn="ctr">
                      <a:solidFill>
                        <a:schemeClr val="bg2"/>
                      </a:solidFill>
                      <a:prstDash val="solid"/>
                      <a:round/>
                      <a:headEnd type="none" w="med" len="med"/>
                      <a:tailEnd type="none" w="med" len="med"/>
                    </a:lnT>
                  </a:tcPr>
                </a:tc>
                <a:tc>
                  <a:txBody>
                    <a:bodyPr/>
                    <a:lstStyle/>
                    <a:p>
                      <a:endParaRPr lang="fr-FR"/>
                    </a:p>
                  </a:txBody>
                  <a:tcPr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    </a:t>
                      </a:r>
                      <a:r>
                        <a:rPr lang="fr-FR" sz="1050" b="0" i="1"/>
                        <a:t> </a:t>
                      </a:r>
                      <a:r>
                        <a:rPr lang="fr-FR" sz="1050" b="0" i="0"/>
                        <a:t>Bordeaux</a:t>
                      </a:r>
                      <a:endParaRPr lang="fr-FR" sz="1050"/>
                    </a:p>
                  </a:txBody>
                  <a:tcPr anchor="ctr">
                    <a:lnT w="12700" cap="flat" cmpd="sng" algn="ctr">
                      <a:solidFill>
                        <a:schemeClr val="bg2"/>
                      </a:solidFill>
                      <a:prstDash val="solid"/>
                      <a:round/>
                      <a:headEnd type="none" w="med" len="med"/>
                      <a:tailEnd type="none" w="med" len="med"/>
                    </a:lnT>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7200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2280561566"/>
                  </a:ext>
                </a:extLst>
              </a:tr>
              <a:tr h="629302">
                <a:tc>
                  <a:txBody>
                    <a:bodyPr/>
                    <a:lstStyle/>
                    <a:p>
                      <a:pPr marL="360000" indent="-360000">
                        <a:spcBef>
                          <a:spcPts val="600"/>
                        </a:spcBef>
                        <a:buClr>
                          <a:schemeClr val="accent1"/>
                        </a:buClr>
                        <a:buFont typeface="Wingdings" panose="05000000000000000000" pitchFamily="2" charset="2"/>
                        <a:buChar char="§"/>
                      </a:pPr>
                      <a:endParaRPr lang="fr-FR" sz="1000"/>
                    </a:p>
                  </a:txBody>
                  <a:tcPr>
                    <a:lnB w="12700" cap="flat" cmpd="sng" algn="ctr">
                      <a:solidFill>
                        <a:schemeClr val="bg1"/>
                      </a:solidFill>
                      <a:prstDash val="solid"/>
                      <a:round/>
                      <a:headEnd type="none" w="med" len="med"/>
                      <a:tailEnd type="none" w="med" len="med"/>
                    </a:lnB>
                  </a:tcPr>
                </a:tc>
                <a:tc gridSpan="4">
                  <a:txBody>
                    <a:bodyPr/>
                    <a:lstStyle/>
                    <a:p>
                      <a:pPr marL="0" marR="0" lvl="1" indent="0" algn="l" defTabSz="514321" rtl="0" eaLnBrk="1" fontAlgn="auto" latinLnBrk="0" hangingPunct="1">
                        <a:lnSpc>
                          <a:spcPct val="100000"/>
                        </a:lnSpc>
                        <a:spcBef>
                          <a:spcPts val="600"/>
                        </a:spcBef>
                        <a:spcAft>
                          <a:spcPts val="600"/>
                        </a:spcAft>
                        <a:buClr>
                          <a:schemeClr val="accent1"/>
                        </a:buClr>
                        <a:buSzPct val="100000"/>
                        <a:buFont typeface="Wingdings" panose="05000000000000000000" pitchFamily="2" charset="2"/>
                        <a:buNone/>
                        <a:tabLst/>
                        <a:defRPr/>
                      </a:pPr>
                      <a:r>
                        <a:rPr lang="fr-FR" sz="950" kern="1200">
                          <a:solidFill>
                            <a:schemeClr val="tx1"/>
                          </a:solidFill>
                          <a:latin typeface="+mn-lt"/>
                          <a:ea typeface="+mn-ea"/>
                          <a:cs typeface="+mn-cs"/>
                        </a:rPr>
                        <a:t>Sur les 4 projets de rapprochement (Fusion Direction des Crédits Part /Direction des Crédits Pro; Fusion des services Chèques/Espèces/Automates; Fusion des services Epargne/Assurance /Prévoyance; Fusion des services Monétique Porteurs/ monétique commerçants) : </a:t>
                      </a:r>
                    </a:p>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Assistance pour le cadrage des différents projets : définition du périmètre, des ambitions, de l’organisation, casting des acteurs, principes de gouvernance, identification des risques et des projets en adhérenc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Analyse de l’organisation existante de chaque direction/service concerné, identification des forces et faiblesses, prise en compte du contexte (nombreux départs en retraite à anticiper, impact de l’automatisation de processus cœur de métier et du </a:t>
                      </a:r>
                      <a:r>
                        <a:rPr lang="fr-FR" sz="950" kern="1200" noProof="0">
                          <a:solidFill>
                            <a:schemeClr val="tx1"/>
                          </a:solidFill>
                          <a:latin typeface="+mn-lt"/>
                          <a:ea typeface="+mn-ea"/>
                          <a:cs typeface="+mn-cs"/>
                        </a:rPr>
                        <a:t>renforcement du rôle de middle-office</a:t>
                      </a:r>
                      <a:r>
                        <a:rPr lang="fr-FR" sz="950" kern="1200">
                          <a:solidFill>
                            <a:schemeClr val="tx1"/>
                          </a:solidFill>
                          <a:latin typeface="+mn-lt"/>
                          <a:ea typeface="+mn-ea"/>
                          <a:cs typeface="+mn-cs"/>
                        </a:rPr>
                        <a:t>), </a:t>
                      </a:r>
                      <a:r>
                        <a:rPr lang="fr-FR" sz="950" kern="1200" noProof="0">
                          <a:solidFill>
                            <a:schemeClr val="tx1"/>
                          </a:solidFill>
                          <a:latin typeface="+mn-lt"/>
                          <a:ea typeface="+mn-ea"/>
                          <a:cs typeface="+mn-cs"/>
                        </a:rPr>
                        <a:t>études sur les transferts d’activité, sur l’évolution des compétences </a:t>
                      </a:r>
                      <a:r>
                        <a:rPr lang="fr-FR" sz="950" kern="1200">
                          <a:solidFill>
                            <a:schemeClr val="tx1"/>
                          </a:solidFill>
                          <a:latin typeface="+mn-lt"/>
                          <a:ea typeface="+mn-ea"/>
                          <a:cs typeface="+mn-cs"/>
                        </a:rPr>
                        <a:t> et réalisation de l’analyse d’impact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Réalisation d’ateliers de travail en mode co-construction avec les collaborateurs pour le diagnostic de l’existant et la définition de la cibl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Définition du scénario de rapprochement envisageable et de la trajectoire de transformation pour chaque projet (calibrage des équipes, définition des activités de chaque pôle, refonte des process, mobilités fonctionnelles et géographiques, planning de mise en œuvre et plan d’actions associé) et élaboration du dossier pour le CS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noProof="0">
                          <a:solidFill>
                            <a:schemeClr val="tx1"/>
                          </a:solidFill>
                          <a:latin typeface="+mn-lt"/>
                          <a:ea typeface="+mn-ea"/>
                          <a:cs typeface="+mn-cs"/>
                        </a:rPr>
                        <a:t>Définition puis mise en œuvre du plan d’accompagnement au changement propre à chaque projet : stratégie de communication pour donner du sens et embarquer les équipes, animation du management, parcours de formation, dispositif d’écoute collaborateur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noProof="0">
                          <a:solidFill>
                            <a:schemeClr val="tx1"/>
                          </a:solidFill>
                          <a:latin typeface="+mn-lt"/>
                          <a:ea typeface="+mn-ea"/>
                          <a:cs typeface="+mn-cs"/>
                        </a:rPr>
                        <a:t>Pilotage global des travaux, reporting à la DG, animation des instances, </a:t>
                      </a:r>
                      <a:r>
                        <a:rPr lang="fr-FR" sz="950" kern="1200">
                          <a:solidFill>
                            <a:schemeClr val="tx1"/>
                          </a:solidFill>
                          <a:latin typeface="+mn-lt"/>
                          <a:ea typeface="+mn-ea"/>
                          <a:cs typeface="+mn-cs"/>
                        </a:rPr>
                        <a:t>puis accompagnement pour le déploiement des projets</a:t>
                      </a:r>
                    </a:p>
                  </a:txBody>
                  <a:tcPr>
                    <a:lnB w="12700" cap="flat" cmpd="sng" algn="ctr">
                      <a:solidFill>
                        <a:schemeClr val="bg2"/>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pPr marL="360000" marR="0" lvl="1" indent="-360000" algn="l" defTabSz="51432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a:pPr>
                      <a:endParaRPr lang="fr-FR" sz="900"/>
                    </a:p>
                  </a:txBody>
                  <a:tcPr>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834542377"/>
                  </a:ext>
                </a:extLst>
              </a:tr>
              <a:tr h="0">
                <a:tc>
                  <a:txBody>
                    <a:bodyPr/>
                    <a:lstStyle/>
                    <a:p>
                      <a:pPr marL="0" marR="0" lvl="0" indent="0" algn="l" defTabSz="514321" rtl="0" eaLnBrk="1" fontAlgn="auto" latinLnBrk="0" hangingPunct="1">
                        <a:lnSpc>
                          <a:spcPts val="900"/>
                        </a:lnSpc>
                        <a:spcBef>
                          <a:spcPts val="0"/>
                        </a:spcBef>
                        <a:spcAft>
                          <a:spcPts val="0"/>
                        </a:spcAft>
                        <a:buClrTx/>
                        <a:buSzTx/>
                        <a:buFontTx/>
                        <a:buNone/>
                        <a:tabLst/>
                        <a:defRPr/>
                      </a:pPr>
                      <a:endParaRPr lang="fr-FR" sz="1050" b="0" i="1"/>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ysClr val="windowText" lastClr="000000"/>
                          </a:solidFill>
                          <a:latin typeface="+mn-lt"/>
                          <a:ea typeface="+mn-ea"/>
                          <a:cs typeface="+mn-cs"/>
                        </a:rPr>
                        <a:t>Diagnostic puis refonte du processus de gestion des clôtures de compte</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kern="1200">
                          <a:solidFill>
                            <a:schemeClr val="tx1"/>
                          </a:solidFill>
                          <a:latin typeface="+mn-lt"/>
                          <a:ea typeface="+mn-ea"/>
                          <a:cs typeface="+mn-cs"/>
                        </a:rPr>
                        <a:t>Directrice de mission</a:t>
                      </a:r>
                    </a:p>
                  </a:txBody>
                  <a:tcPr anchor="ctr">
                    <a:lnL w="127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0"/>
                    </a:p>
                  </a:txBody>
                  <a:tcPr anchor="ctr">
                    <a:lnT w="12700" cap="flat" cmpd="sng" algn="ctr">
                      <a:solidFill>
                        <a:srgbClr val="0070C0"/>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    Bordeaux</a:t>
                      </a:r>
                    </a:p>
                  </a:txBody>
                  <a:tcPr anchor="ctr">
                    <a:lnT w="12700" cap="flat" cmpd="sng" algn="ctr">
                      <a:solidFill>
                        <a:schemeClr val="bg2"/>
                      </a:solidFill>
                      <a:prstDash val="solid"/>
                      <a:round/>
                      <a:headEnd type="none" w="med" len="med"/>
                      <a:tailEnd type="none" w="med" len="med"/>
                    </a:lnT>
                  </a:tcPr>
                </a:tc>
                <a:tc>
                  <a:txBody>
                    <a:bodyPr/>
                    <a:lstStyle/>
                    <a:p>
                      <a:pPr marL="266700" marR="0" lvl="0" indent="0" algn="l" defTabSz="514321" rtl="0" eaLnBrk="1" fontAlgn="auto" latinLnBrk="0" hangingPunct="1">
                        <a:lnSpc>
                          <a:spcPts val="900"/>
                        </a:lnSpc>
                        <a:spcBef>
                          <a:spcPts val="0"/>
                        </a:spcBef>
                        <a:spcAft>
                          <a:spcPts val="0"/>
                        </a:spcAft>
                        <a:buClrTx/>
                        <a:buSzTx/>
                        <a:buFontTx/>
                        <a:buNone/>
                        <a:tabLst/>
                        <a:defRPr/>
                      </a:pPr>
                      <a:r>
                        <a:rPr lang="fr-FR" sz="1050"/>
                        <a:t>2021</a:t>
                      </a:r>
                    </a:p>
                  </a:txBody>
                  <a:tcPr marR="7200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619299905"/>
                  </a:ext>
                </a:extLst>
              </a:tr>
              <a:tr h="638752">
                <a:tc>
                  <a:txBody>
                    <a:bodyPr/>
                    <a:lstStyle/>
                    <a:p>
                      <a:pPr marL="0" indent="0">
                        <a:spcBef>
                          <a:spcPts val="600"/>
                        </a:spcBef>
                        <a:buClr>
                          <a:schemeClr val="accent1"/>
                        </a:buClr>
                        <a:buFont typeface="Wingdings" panose="05000000000000000000" pitchFamily="2" charset="2"/>
                        <a:buNone/>
                      </a:pPr>
                      <a:endParaRPr lang="fr-FR" sz="1000"/>
                    </a:p>
                  </a:txBody>
                  <a:tcPr>
                    <a:lnB w="12700" cap="flat" cmpd="sng" algn="ctr">
                      <a:noFill/>
                      <a:prstDash val="solid"/>
                      <a:round/>
                      <a:headEnd type="none" w="med" len="med"/>
                      <a:tailEnd type="none" w="med" len="med"/>
                    </a:lnB>
                  </a:tcPr>
                </a:tc>
                <a:tc gridSpan="4">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Réalisation d’un diagnostic de l’existant : conduite d’entretiens individuels et réalisation d’ateliers collaboratifs avec les différents services concernés (collaborateurs des back office et du réseau), afin de recenser les points forts ainsi que les difficultés rencontrées sur le dispositif actuel. Etude des enquêtes de satisfaction client, analyse des causes racines des principaux dysfonctionnements + analyse des éléments statistiques en lien avec l’activité  (volumes de dossiers traités, délais,…) et identification des pistes d’optimisation, </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Définition de la cible : définition des processus cibles , réorganisation de l’équipe et nouvelle répartition des tâches, optimisation des outils, définition des indicateurs d’activité et de suivi</a:t>
                      </a:r>
                    </a:p>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Identification et priorisation des actions de remédiation, élaboration de la trajectoire de transformation (dont quick wins)</a:t>
                      </a:r>
                    </a:p>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Cadrage des chantiers de mise en œuvre, puis pilotage des travaux de mise en œuvre</a:t>
                      </a:r>
                    </a:p>
                  </a:txBody>
                  <a:tcPr anchor="ctr">
                    <a:lnB w="12700" cap="flat" cmpd="sng" algn="ctr">
                      <a:noFill/>
                      <a:prstDash val="solid"/>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pPr marL="360000" marR="0" lvl="0" indent="-360000" algn="l" defTabSz="914400" rtl="0" eaLnBrk="1" fontAlgn="auto" latinLnBrk="0" hangingPunct="1">
                        <a:lnSpc>
                          <a:spcPts val="1000"/>
                        </a:lnSpc>
                        <a:spcBef>
                          <a:spcPts val="600"/>
                        </a:spcBef>
                        <a:spcAft>
                          <a:spcPts val="0"/>
                        </a:spcAft>
                        <a:buClr>
                          <a:schemeClr val="accent1"/>
                        </a:buClr>
                        <a:buSzTx/>
                        <a:buFont typeface="Wingdings" panose="05000000000000000000" pitchFamily="2" charset="2"/>
                        <a:buChar char="§"/>
                        <a:tabLst/>
                        <a:defRPr/>
                      </a:pPr>
                      <a:endParaRPr lang="fr-FR" sz="900" kern="1200">
                        <a:solidFill>
                          <a:schemeClr val="tx1"/>
                        </a:solidFill>
                        <a:latin typeface="+mn-lt"/>
                        <a:ea typeface="+mn-ea"/>
                        <a:cs typeface="+mn-cs"/>
                      </a:endParaRPr>
                    </a:p>
                  </a:txBody>
                  <a:tcPr>
                    <a:lnB w="1270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2199218895"/>
                  </a:ext>
                </a:extLst>
              </a:tr>
            </a:tbl>
          </a:graphicData>
        </a:graphic>
      </p:graphicFrame>
      <p:pic>
        <p:nvPicPr>
          <p:cNvPr id="28" name="Graphique 27" descr="Calendrier journalier">
            <a:extLst>
              <a:ext uri="{FF2B5EF4-FFF2-40B4-BE49-F238E27FC236}">
                <a16:creationId xmlns:a16="http://schemas.microsoft.com/office/drawing/2014/main" id="{81EC6255-C968-4402-A71E-00339367C0C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17387" y="1984529"/>
            <a:ext cx="228600" cy="228600"/>
          </a:xfrm>
          <a:prstGeom prst="rect">
            <a:avLst/>
          </a:prstGeom>
        </p:spPr>
      </p:pic>
      <p:pic>
        <p:nvPicPr>
          <p:cNvPr id="29" name="Graphique 28" descr="Repère">
            <a:extLst>
              <a:ext uri="{FF2B5EF4-FFF2-40B4-BE49-F238E27FC236}">
                <a16:creationId xmlns:a16="http://schemas.microsoft.com/office/drawing/2014/main" id="{A36C766A-6D21-A363-C375-6BE23CBF189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3106" y="1966720"/>
            <a:ext cx="264219" cy="264219"/>
          </a:xfrm>
          <a:prstGeom prst="rect">
            <a:avLst/>
          </a:prstGeom>
        </p:spPr>
      </p:pic>
      <p:sp>
        <p:nvSpPr>
          <p:cNvPr id="33" name="Titre 3">
            <a:extLst>
              <a:ext uri="{FF2B5EF4-FFF2-40B4-BE49-F238E27FC236}">
                <a16:creationId xmlns:a16="http://schemas.microsoft.com/office/drawing/2014/main" id="{D1492F5E-DBFB-C955-99AE-637B1C055A22}"/>
              </a:ext>
            </a:extLst>
          </p:cNvPr>
          <p:cNvSpPr txBox="1">
            <a:spLocks/>
          </p:cNvSpPr>
          <p:nvPr/>
        </p:nvSpPr>
        <p:spPr>
          <a:xfrm>
            <a:off x="383718" y="138704"/>
            <a:ext cx="9703155" cy="609600"/>
          </a:xfrm>
          <a:prstGeom prst="rect">
            <a:avLst/>
          </a:prstGeom>
          <a:solidFill>
            <a:schemeClr val="bg1"/>
          </a:solidFill>
        </p:spPr>
        <p:txBody>
          <a:bodyPr vert="horz" lIns="91440" tIns="45720" rIns="91440" bIns="0" rtlCol="0" anchor="t">
            <a:noAutofit/>
          </a:bodyPr>
          <a:lstStyle>
            <a:lvl1pPr algn="l" defTabSz="914400" rtl="0" eaLnBrk="1" latinLnBrk="0" hangingPunct="1">
              <a:lnSpc>
                <a:spcPct val="90000"/>
              </a:lnSpc>
              <a:spcBef>
                <a:spcPct val="0"/>
              </a:spcBef>
              <a:buNone/>
              <a:defRPr sz="1600" b="1" kern="1200" cap="all" baseline="0">
                <a:solidFill>
                  <a:schemeClr val="accent1"/>
                </a:solidFill>
                <a:latin typeface="+mj-lt"/>
                <a:ea typeface="+mj-ea"/>
                <a:cs typeface="+mj-cs"/>
              </a:defRPr>
            </a:lvl1pPr>
          </a:lstStyle>
          <a:p>
            <a:r>
              <a:rPr lang="fr-FR" sz="2000" cap="none">
                <a:solidFill>
                  <a:schemeClr val="bg2"/>
                </a:solidFill>
                <a:latin typeface="Arial Black" panose="020B0A04020102020204" pitchFamily="34" charset="0"/>
                <a:sym typeface="Montserrat"/>
              </a:rPr>
              <a:t>Laurence ANGILBERT</a:t>
            </a:r>
            <a:br>
              <a:rPr lang="fr-FR" b="0">
                <a:latin typeface="Arial Black" panose="020B0A04020102020204" pitchFamily="34" charset="0"/>
              </a:rPr>
            </a:br>
            <a:r>
              <a:rPr lang="fr-FR" sz="1400" b="0" cap="none" spc="-56">
                <a:solidFill>
                  <a:schemeClr val="bg2"/>
                </a:solidFill>
                <a:latin typeface="Arial Black" panose="020B0A04020102020204" pitchFamily="34" charset="0"/>
                <a:sym typeface="Montserrat"/>
              </a:rPr>
              <a:t>Directrice (20 années d’expérience) - 1/3</a:t>
            </a:r>
            <a:endParaRPr lang="fr-FR" b="0" cap="none" spc="-56">
              <a:solidFill>
                <a:schemeClr val="bg2"/>
              </a:solidFill>
              <a:latin typeface="Arial Black" panose="020B0A04020102020204" pitchFamily="34" charset="0"/>
              <a:sym typeface="Montserrat"/>
            </a:endParaRPr>
          </a:p>
        </p:txBody>
      </p:sp>
      <p:sp>
        <p:nvSpPr>
          <p:cNvPr id="34" name="Espace réservé du contenu 7">
            <a:extLst>
              <a:ext uri="{FF2B5EF4-FFF2-40B4-BE49-F238E27FC236}">
                <a16:creationId xmlns:a16="http://schemas.microsoft.com/office/drawing/2014/main" id="{6B2D5DAA-6339-8521-C1ED-554473D0B0DA}"/>
              </a:ext>
            </a:extLst>
          </p:cNvPr>
          <p:cNvSpPr txBox="1">
            <a:spLocks/>
          </p:cNvSpPr>
          <p:nvPr/>
        </p:nvSpPr>
        <p:spPr>
          <a:xfrm>
            <a:off x="281354" y="851147"/>
            <a:ext cx="11760558" cy="623772"/>
          </a:xfrm>
          <a:prstGeom prst="rect">
            <a:avLst/>
          </a:prstGeom>
          <a:noFill/>
          <a:ln>
            <a:solidFill>
              <a:schemeClr val="bg2"/>
            </a:solidFill>
          </a:ln>
        </p:spPr>
        <p:txBody>
          <a:bodyPr vert="horz" lIns="72000" tIns="72000" rIns="72000" bIns="72000" rtlCol="0" anchor="ctr" anchorCtr="0">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buNone/>
              <a:defRPr/>
            </a:pPr>
            <a:r>
              <a:rPr lang="fr-FR" sz="1100">
                <a:solidFill>
                  <a:srgbClr val="0070C0"/>
                </a:solidFill>
                <a:latin typeface="+mj-lt"/>
                <a:cs typeface="Calibri"/>
              </a:rPr>
              <a:t>Laurence intervient régulièrement auprès des Directions Métiers et DSI de grands comptes dans le secteur de l’Assurance et de la Banque</a:t>
            </a:r>
            <a:r>
              <a:rPr lang="fr-FR" sz="1100">
                <a:solidFill>
                  <a:srgbClr val="0070C0"/>
                </a:solidFill>
                <a:latin typeface="+mj-lt"/>
              </a:rPr>
              <a:t>. </a:t>
            </a:r>
            <a:r>
              <a:rPr lang="fr-FR" sz="1100">
                <a:solidFill>
                  <a:srgbClr val="0070C0"/>
                </a:solidFill>
                <a:latin typeface="+mj-lt"/>
                <a:cs typeface="Calibri"/>
              </a:rPr>
              <a:t>Elle a participé avec succès à d’importants projets de transformation mêlant remaniement organisationnel, refonte des processus, transformation des systèmes d’information et conduite du changement et </a:t>
            </a:r>
            <a:r>
              <a:rPr kumimoji="0" lang="fr-FR" sz="1100" b="0" i="0" u="none" strike="noStrike" kern="1200" cap="none" spc="0" normalizeH="0" baseline="0" noProof="0">
                <a:ln>
                  <a:noFill/>
                </a:ln>
                <a:solidFill>
                  <a:srgbClr val="0070C0"/>
                </a:solidFill>
                <a:effectLst/>
                <a:uLnTx/>
                <a:uFillTx/>
                <a:latin typeface="+mj-lt"/>
                <a:ea typeface="+mn-ea"/>
                <a:cs typeface="+mn-cs"/>
              </a:rPr>
              <a:t>dispose de solides </a:t>
            </a:r>
            <a:r>
              <a:rPr lang="fr-FR" sz="1100">
                <a:solidFill>
                  <a:srgbClr val="0070C0"/>
                </a:solidFill>
                <a:latin typeface="+mj-lt"/>
              </a:rPr>
              <a:t>connaissances en matière d’assurance. Sa capacité à s’adapter à des environnements complexes ainsi que son sens relationnel assureront sa parfaite intégration dans votre organisation.</a:t>
            </a:r>
            <a:endParaRPr lang="fr-FR" sz="1100">
              <a:solidFill>
                <a:srgbClr val="0070C0"/>
              </a:solidFill>
              <a:latin typeface="+mj-lt"/>
              <a:cs typeface="Calibri"/>
            </a:endParaRPr>
          </a:p>
        </p:txBody>
      </p:sp>
      <p:pic>
        <p:nvPicPr>
          <p:cNvPr id="35" name="Graphique 34" descr="Calendrier journalier">
            <a:extLst>
              <a:ext uri="{FF2B5EF4-FFF2-40B4-BE49-F238E27FC236}">
                <a16:creationId xmlns:a16="http://schemas.microsoft.com/office/drawing/2014/main" id="{8DF0ADA9-8223-034A-51C5-4821555CA6D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17387" y="4987093"/>
            <a:ext cx="228600" cy="228600"/>
          </a:xfrm>
          <a:prstGeom prst="rect">
            <a:avLst/>
          </a:prstGeom>
        </p:spPr>
      </p:pic>
      <p:pic>
        <p:nvPicPr>
          <p:cNvPr id="36" name="Graphique 35" descr="Repère">
            <a:extLst>
              <a:ext uri="{FF2B5EF4-FFF2-40B4-BE49-F238E27FC236}">
                <a16:creationId xmlns:a16="http://schemas.microsoft.com/office/drawing/2014/main" id="{F94CBB77-951F-0126-4AE9-502E291953F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45719" y="4979443"/>
            <a:ext cx="264219" cy="264219"/>
          </a:xfrm>
          <a:prstGeom prst="rect">
            <a:avLst/>
          </a:prstGeom>
        </p:spPr>
      </p:pic>
      <p:pic>
        <p:nvPicPr>
          <p:cNvPr id="39" name="Picture 4" descr="RÃ©sultat de recherche d'images pour &quot;banque populaire aquitaine centre atlantique&quot;">
            <a:extLst>
              <a:ext uri="{FF2B5EF4-FFF2-40B4-BE49-F238E27FC236}">
                <a16:creationId xmlns:a16="http://schemas.microsoft.com/office/drawing/2014/main" id="{80BC82A3-89C4-4669-E2E2-BD3D9CA8C7D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623" r="28203"/>
          <a:stretch/>
        </p:blipFill>
        <p:spPr bwMode="auto">
          <a:xfrm>
            <a:off x="4080513" y="2054439"/>
            <a:ext cx="374022" cy="40145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C:\Users\langilbert\Pictures\Images Laurence\Photos moi\162 N et B.jpg">
            <a:extLst>
              <a:ext uri="{FF2B5EF4-FFF2-40B4-BE49-F238E27FC236}">
                <a16:creationId xmlns:a16="http://schemas.microsoft.com/office/drawing/2014/main" id="{E3CAABDA-0C28-09F9-8A3D-D457046466C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4278" b="4719"/>
          <a:stretch/>
        </p:blipFill>
        <p:spPr bwMode="auto">
          <a:xfrm>
            <a:off x="10076581" y="38961"/>
            <a:ext cx="653243" cy="80007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RÃ©sultat de recherche d'images pour &quot;banque populaire aquitaine centre atlantique&quot;">
            <a:extLst>
              <a:ext uri="{FF2B5EF4-FFF2-40B4-BE49-F238E27FC236}">
                <a16:creationId xmlns:a16="http://schemas.microsoft.com/office/drawing/2014/main" id="{55F9A7C4-39BB-A71A-75A1-F86243C9B4F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623" r="28203"/>
          <a:stretch/>
        </p:blipFill>
        <p:spPr bwMode="auto">
          <a:xfrm>
            <a:off x="4147118" y="5027575"/>
            <a:ext cx="374022" cy="401450"/>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9F2A3E3E-CFF5-E8E5-7A39-D5DB0585C5DC}"/>
              </a:ext>
            </a:extLst>
          </p:cNvPr>
          <p:cNvSpPr txBox="1"/>
          <p:nvPr/>
        </p:nvSpPr>
        <p:spPr>
          <a:xfrm>
            <a:off x="11211816" y="1975651"/>
            <a:ext cx="712605" cy="284693"/>
          </a:xfrm>
          <a:prstGeom prst="rect">
            <a:avLst/>
          </a:prstGeom>
          <a:noFill/>
        </p:spPr>
        <p:txBody>
          <a:bodyPr wrap="square" lIns="121920" tIns="60960" rIns="121920" bIns="60960" rtlCol="0" anchor="t">
            <a:spAutoFit/>
          </a:bodyPr>
          <a:lstStyle/>
          <a:p>
            <a:r>
              <a:rPr lang="fr-FR" sz="1050">
                <a:latin typeface="+mj-lt"/>
              </a:rPr>
              <a:t>2023</a:t>
            </a:r>
            <a:endParaRPr lang="fr-FR" sz="3200"/>
          </a:p>
        </p:txBody>
      </p:sp>
    </p:spTree>
    <p:extLst>
      <p:ext uri="{BB962C8B-B14F-4D97-AF65-F5344CB8AC3E}">
        <p14:creationId xmlns:p14="http://schemas.microsoft.com/office/powerpoint/2010/main" val="38790386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3">
            <a:extLst>
              <a:ext uri="{FF2B5EF4-FFF2-40B4-BE49-F238E27FC236}">
                <a16:creationId xmlns:a16="http://schemas.microsoft.com/office/drawing/2014/main" id="{9719F43A-6AB1-1165-4BE0-1A4809079541}"/>
              </a:ext>
            </a:extLst>
          </p:cNvPr>
          <p:cNvSpPr txBox="1">
            <a:spLocks/>
          </p:cNvSpPr>
          <p:nvPr/>
        </p:nvSpPr>
        <p:spPr>
          <a:xfrm>
            <a:off x="400059" y="212731"/>
            <a:ext cx="9703155" cy="609600"/>
          </a:xfrm>
          <a:prstGeom prst="rect">
            <a:avLst/>
          </a:prstGeom>
          <a:solidFill>
            <a:schemeClr val="bg1"/>
          </a:solidFill>
        </p:spPr>
        <p:txBody>
          <a:bodyPr vert="horz" lIns="91440" tIns="45720" rIns="91440" bIns="0" rtlCol="0" anchor="t">
            <a:noAutofit/>
          </a:bodyPr>
          <a:lstStyle>
            <a:lvl1pPr algn="l" defTabSz="914400" rtl="0" eaLnBrk="1" latinLnBrk="0" hangingPunct="1">
              <a:lnSpc>
                <a:spcPct val="90000"/>
              </a:lnSpc>
              <a:spcBef>
                <a:spcPct val="0"/>
              </a:spcBef>
              <a:buNone/>
              <a:defRPr sz="1600" b="1" kern="1200" cap="all" baseline="0">
                <a:solidFill>
                  <a:schemeClr val="accent1"/>
                </a:solidFill>
                <a:latin typeface="+mj-lt"/>
                <a:ea typeface="+mj-ea"/>
                <a:cs typeface="+mj-cs"/>
              </a:defRPr>
            </a:lvl1pPr>
          </a:lstStyle>
          <a:p>
            <a:r>
              <a:rPr lang="fr-FR" sz="2000" cap="none">
                <a:solidFill>
                  <a:schemeClr val="bg2"/>
                </a:solidFill>
                <a:latin typeface="Arial Black" panose="020B0A04020102020204" pitchFamily="34" charset="0"/>
                <a:sym typeface="Montserrat"/>
              </a:rPr>
              <a:t>Laurence ANGILBERT</a:t>
            </a:r>
            <a:br>
              <a:rPr lang="fr-FR" b="0">
                <a:latin typeface="Arial Black" panose="020B0A04020102020204" pitchFamily="34" charset="0"/>
              </a:rPr>
            </a:br>
            <a:r>
              <a:rPr lang="fr-FR" sz="1400" b="0" cap="none" spc="-56">
                <a:solidFill>
                  <a:schemeClr val="bg2"/>
                </a:solidFill>
                <a:latin typeface="Arial Black" panose="020B0A04020102020204" pitchFamily="34" charset="0"/>
                <a:sym typeface="Montserrat"/>
              </a:rPr>
              <a:t>Directrice (20 années d’expérience) - 2/3</a:t>
            </a:r>
            <a:endParaRPr lang="fr-FR" b="0" cap="none" spc="-56">
              <a:solidFill>
                <a:schemeClr val="bg2"/>
              </a:solidFill>
              <a:latin typeface="Arial Black" panose="020B0A04020102020204" pitchFamily="34" charset="0"/>
              <a:sym typeface="Montserrat"/>
            </a:endParaRPr>
          </a:p>
        </p:txBody>
      </p:sp>
      <p:graphicFrame>
        <p:nvGraphicFramePr>
          <p:cNvPr id="3" name="Tableau 2">
            <a:extLst>
              <a:ext uri="{FF2B5EF4-FFF2-40B4-BE49-F238E27FC236}">
                <a16:creationId xmlns:a16="http://schemas.microsoft.com/office/drawing/2014/main" id="{C0BAA7E2-FD62-8243-FE5D-75CBDF241D99}"/>
              </a:ext>
            </a:extLst>
          </p:cNvPr>
          <p:cNvGraphicFramePr>
            <a:graphicFrameLocks noGrp="1"/>
          </p:cNvGraphicFramePr>
          <p:nvPr>
            <p:extLst>
              <p:ext uri="{D42A27DB-BD31-4B8C-83A1-F6EECF244321}">
                <p14:modId xmlns:p14="http://schemas.microsoft.com/office/powerpoint/2010/main" val="3637706119"/>
              </p:ext>
            </p:extLst>
          </p:nvPr>
        </p:nvGraphicFramePr>
        <p:xfrm>
          <a:off x="400059" y="805534"/>
          <a:ext cx="11607911" cy="5926490"/>
        </p:xfrm>
        <a:graphic>
          <a:graphicData uri="http://schemas.openxmlformats.org/drawingml/2006/table">
            <a:tbl>
              <a:tblPr firstRow="1" bandRow="1">
                <a:tableStyleId>{2D5ABB26-0587-4C30-8999-92F81FD0307C}</a:tableStyleId>
              </a:tblPr>
              <a:tblGrid>
                <a:gridCol w="1216729">
                  <a:extLst>
                    <a:ext uri="{9D8B030D-6E8A-4147-A177-3AD203B41FA5}">
                      <a16:colId xmlns:a16="http://schemas.microsoft.com/office/drawing/2014/main" val="3696629346"/>
                    </a:ext>
                  </a:extLst>
                </a:gridCol>
                <a:gridCol w="7912525">
                  <a:extLst>
                    <a:ext uri="{9D8B030D-6E8A-4147-A177-3AD203B41FA5}">
                      <a16:colId xmlns:a16="http://schemas.microsoft.com/office/drawing/2014/main" val="1537716266"/>
                    </a:ext>
                  </a:extLst>
                </a:gridCol>
                <a:gridCol w="1282461">
                  <a:extLst>
                    <a:ext uri="{9D8B030D-6E8A-4147-A177-3AD203B41FA5}">
                      <a16:colId xmlns:a16="http://schemas.microsoft.com/office/drawing/2014/main" val="1652989663"/>
                    </a:ext>
                  </a:extLst>
                </a:gridCol>
                <a:gridCol w="1196196">
                  <a:extLst>
                    <a:ext uri="{9D8B030D-6E8A-4147-A177-3AD203B41FA5}">
                      <a16:colId xmlns:a16="http://schemas.microsoft.com/office/drawing/2014/main" val="2028938264"/>
                    </a:ext>
                  </a:extLst>
                </a:gridCol>
              </a:tblGrid>
              <a:tr h="310550">
                <a:tc gridSpan="4">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 (suite)</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428455178"/>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ysClr val="windowText" lastClr="000000"/>
                          </a:solidFill>
                          <a:latin typeface="+mn-lt"/>
                          <a:ea typeface="+mn-ea"/>
                          <a:cs typeface="+mn-cs"/>
                        </a:rPr>
                        <a:t>Diagnostic puis refonte du dispositif d’assistance aux collaborateurs du Réseau</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kern="1200">
                          <a:solidFill>
                            <a:schemeClr val="tx1"/>
                          </a:solidFill>
                          <a:latin typeface="+mn-lt"/>
                          <a:ea typeface="+mn-ea"/>
                          <a:cs typeface="+mn-cs"/>
                        </a:rPr>
                        <a:t>Directrice de mission</a:t>
                      </a:r>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Bordeaux</a:t>
                      </a:r>
                    </a:p>
                  </a:txBody>
                  <a:tcPr marL="216000" marR="36000"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t>2023</a:t>
                      </a:r>
                    </a:p>
                  </a:txBody>
                  <a:tcPr marL="36000"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33958345"/>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Réalisation d’un état des lieux de l’existant : conduite d’entretiens avec les différentes Directions concernées, ateliers participatifs et d’idéation mêlant acteurs BO et collaborateurs réseau afin de recenser les principaux irritants et les pistes d’optimisation, analyse des éléments statistiques en lien avec l’assistanc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Définition de la cible : détermination du calibrage et des profils de la future équipe d’assistance, définition des processus cibles, refonte des outils, définition des indicateurs d’activité et de suivi, élaboration d’un baromètre de satisfaction utilisateurs </a:t>
                      </a:r>
                    </a:p>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Identification et priorisation des actions de remédiation, élaboration de la trajectoire de transformation (dont quick wins)</a:t>
                      </a:r>
                    </a:p>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noProof="0">
                          <a:ln>
                            <a:noFill/>
                          </a:ln>
                          <a:solidFill>
                            <a:prstClr val="black"/>
                          </a:solidFill>
                          <a:effectLst/>
                          <a:uLnTx/>
                          <a:uFillTx/>
                          <a:latin typeface="+mn-lt"/>
                          <a:ea typeface="+mn-ea"/>
                          <a:cs typeface="+mn-cs"/>
                        </a:rPr>
                        <a:t>Cadrage des chantiers de mise en œuvre, élaboration des indicateurs de suivi  (dont baromètre de satisfaction utilisateurs), puis pilotage des travaux</a:t>
                      </a:r>
                    </a:p>
                    <a:p>
                      <a:pPr marL="143510" marR="0" lvl="0" indent="-143510" algn="just">
                        <a:lnSpc>
                          <a:spcPct val="100000"/>
                        </a:lnSpc>
                        <a:spcBef>
                          <a:spcPts val="0"/>
                        </a:spcBef>
                        <a:spcAft>
                          <a:spcPts val="0"/>
                        </a:spcAft>
                        <a:buClrTx/>
                        <a:buSzTx/>
                        <a:buFont typeface="Montserrat" panose="00000500000000000000" pitchFamily="2" charset="0"/>
                        <a:buChar char="›"/>
                      </a:pPr>
                      <a:r>
                        <a:rPr kumimoji="0" lang="fr-FR" sz="950" b="0" i="0" u="none" strike="noStrike" kern="1200" cap="none" spc="0" normalizeH="0" baseline="0">
                          <a:ln>
                            <a:noFill/>
                          </a:ln>
                          <a:solidFill>
                            <a:prstClr val="black"/>
                          </a:solidFill>
                          <a:effectLst/>
                          <a:uLnTx/>
                          <a:uFillTx/>
                          <a:latin typeface="+mn-lt"/>
                          <a:ea typeface="+mn-ea"/>
                          <a:cs typeface="+mn-cs"/>
                        </a:rPr>
                        <a:t>Elaboration du dossier de présentation destiné au CSE</a:t>
                      </a:r>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216000" marR="36000"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36000"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30860291"/>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ysClr val="windowText" lastClr="000000"/>
                          </a:solidFill>
                          <a:latin typeface="+mn-lt"/>
                          <a:ea typeface="+mn-ea"/>
                          <a:cs typeface="+mn-cs"/>
                        </a:rPr>
                        <a:t>Diagnostic et optimisation des processus bancaires</a:t>
                      </a:r>
                      <a:endParaRPr lang="fr-FR" sz="1050" b="0" i="0" kern="1200">
                        <a:solidFill>
                          <a:sysClr val="windowText" lastClr="000000"/>
                        </a:solidFill>
                        <a:latin typeface="+mn-lt"/>
                        <a:ea typeface="+mn-ea"/>
                        <a:cs typeface="+mn-cs"/>
                      </a:endParaRP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t>Responsable de mission</a:t>
                      </a:r>
                    </a:p>
                  </a:txBody>
                  <a:tcPr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Casablanca</a:t>
                      </a:r>
                    </a:p>
                  </a:txBody>
                  <a:tcPr marL="216000" marR="36000"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t> 2017</a:t>
                      </a:r>
                    </a:p>
                  </a:txBody>
                  <a:tcPr marL="36000"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27164654"/>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Animation des groupes de travail, analyse de l’existant, élaboration du diagnostic et des recommandations auprès de la DG , définition des trajectoires et des plans d’actions associés </a:t>
                      </a:r>
                    </a:p>
                  </a:txBody>
                  <a:tcPr anchor="ct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216000" marR="36000" anchor="ct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36000" anchor="ct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91382148"/>
                  </a:ext>
                </a:extLst>
              </a:tr>
              <a:tr h="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chemeClr val="tx1"/>
                          </a:solidFill>
                          <a:latin typeface="+mn-lt"/>
                          <a:ea typeface="+mn-ea"/>
                          <a:cs typeface="+mn-cs"/>
                        </a:rPr>
                        <a:t>Diagnostic de projet sur la mise en place d’un SI commun entre BNPPRE et sa filiale allemande (mission en anglais)</a:t>
                      </a:r>
                    </a:p>
                  </a:txBody>
                  <a:tcPr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Paris/Francfort</a:t>
                      </a:r>
                    </a:p>
                  </a:txBody>
                  <a:tcPr marL="216000" marR="36000"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t>  2013</a:t>
                      </a:r>
                    </a:p>
                  </a:txBody>
                  <a:tcPr marL="36000"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284424877"/>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Réalisation d’un diagnostic de l’existant (entretiens d’écoute avec les directeurs et les chefs de projet français et allemands)  : évaluation de  la couverture fonctionnelle atteinte, recensement des attendus en termes métier et urbanisation du SI</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Elaboration de la cartographie des processus et de la cartographie du SI, fonctionnelle et métier </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Définition et priorisation du reste à faire en collaboration avec l'éditeur, les équipes projet en France et en Allemagn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Identification des irritants, de leurs causes racines et définition de la trajectoire de remédiat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Elaboration des recommandations auprès de la DG</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rPr>
                        <a:t>Définition de la nouvelle trajectoire de mise en œuvre et des plans d’actions associés</a:t>
                      </a:r>
                    </a:p>
                  </a:txBody>
                  <a:tcP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216000" marR="36000"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36000"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82322922"/>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ysClr val="windowText" lastClr="000000"/>
                          </a:solidFill>
                          <a:latin typeface="+mn-lt"/>
                          <a:ea typeface="+mn-ea"/>
                          <a:cs typeface="+mn-cs"/>
                        </a:rPr>
                        <a:t>Cadrage du projet de fusion du MIPIH et du SIB </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kern="1200">
                          <a:solidFill>
                            <a:schemeClr val="tx1"/>
                          </a:solidFill>
                          <a:latin typeface="+mn-lt"/>
                          <a:ea typeface="+mn-ea"/>
                          <a:cs typeface="+mn-cs"/>
                        </a:rPr>
                        <a:t>Directrice de mission</a:t>
                      </a:r>
                    </a:p>
                  </a:txBody>
                  <a:tcPr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Paris</a:t>
                      </a:r>
                    </a:p>
                  </a:txBody>
                  <a:tcPr marL="216000" marR="36000"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t>  2023</a:t>
                      </a:r>
                    </a:p>
                  </a:txBody>
                  <a:tcPr marL="36000"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920493392"/>
                  </a:ext>
                </a:extLst>
              </a:tr>
              <a:tr h="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sym typeface="Arial"/>
                        </a:rPr>
                        <a:t>Définition </a:t>
                      </a:r>
                      <a:r>
                        <a:rPr lang="fr-FR" sz="950" kern="1200" noProof="0">
                          <a:solidFill>
                            <a:schemeClr val="tx1"/>
                          </a:solidFill>
                          <a:latin typeface="+mn-lt"/>
                          <a:ea typeface="+mn-ea"/>
                          <a:cs typeface="+mn-cs"/>
                          <a:sym typeface="Arial"/>
                        </a:rPr>
                        <a:t>de la vision stratégique du projet et</a:t>
                      </a:r>
                      <a:r>
                        <a:rPr lang="fr-FR" sz="950" kern="1200">
                          <a:solidFill>
                            <a:schemeClr val="tx1"/>
                          </a:solidFill>
                          <a:latin typeface="+mn-lt"/>
                          <a:ea typeface="+mn-ea"/>
                          <a:cs typeface="+mn-cs"/>
                          <a:sym typeface="Arial"/>
                        </a:rPr>
                        <a:t> des principes directeurs avec la DG, </a:t>
                      </a:r>
                      <a:r>
                        <a:rPr lang="fr-FR" sz="950" b="0" i="0" u="none" strike="noStrike" kern="1200" cap="none">
                          <a:solidFill>
                            <a:schemeClr val="tx1"/>
                          </a:solidFill>
                          <a:latin typeface="+mn-lt"/>
                          <a:ea typeface="+mn-ea"/>
                          <a:cs typeface="+mn-cs"/>
                          <a:sym typeface="Arial"/>
                        </a:rPr>
                        <a:t>estimation de sa pertinence et des gains attendu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kern="1200">
                          <a:solidFill>
                            <a:schemeClr val="tx1"/>
                          </a:solidFill>
                          <a:latin typeface="+mn-lt"/>
                          <a:ea typeface="+mn-ea"/>
                          <a:cs typeface="+mn-cs"/>
                          <a:sym typeface="Arial"/>
                        </a:rPr>
                        <a:t>Animation d’ateliers de travail avec les différentes directions pour identifier les principaux impacts du projet sur les volets juridique, organisationnel, métier, financier, RH/social, communicat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b="0" i="0" u="none" strike="noStrike" kern="1200" cap="none">
                          <a:solidFill>
                            <a:schemeClr val="tx1"/>
                          </a:solidFill>
                          <a:latin typeface="+mn-lt"/>
                          <a:ea typeface="+mn-ea"/>
                          <a:cs typeface="+mn-cs"/>
                          <a:sym typeface="Arial"/>
                        </a:rPr>
                        <a:t>Analyse des différents scénarios de fusion envisageables puis préconisation du scénario à retenir</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b="0" i="0" u="none" strike="noStrike" kern="1200" cap="none">
                          <a:solidFill>
                            <a:schemeClr val="tx1"/>
                          </a:solidFill>
                          <a:latin typeface="+mn-lt"/>
                          <a:ea typeface="+mn-ea"/>
                          <a:cs typeface="+mn-cs"/>
                          <a:sym typeface="Arial"/>
                        </a:rPr>
                        <a:t>Identification puis priorisation des chantiers à prévoir dans le cadre de la fus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b="0" i="0" u="none" strike="noStrike" kern="1200" cap="none">
                          <a:solidFill>
                            <a:schemeClr val="tx1"/>
                          </a:solidFill>
                          <a:latin typeface="+mn-lt"/>
                          <a:ea typeface="+mn-ea"/>
                          <a:cs typeface="+mn-cs"/>
                          <a:sym typeface="Arial"/>
                        </a:rPr>
                        <a:t>Définition  des principaux jalons et élaboration de la feuille de route du projet</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b="0" i="0" u="none" strike="noStrike" kern="1200" cap="none">
                          <a:solidFill>
                            <a:schemeClr val="tx1"/>
                          </a:solidFill>
                          <a:latin typeface="+mn-lt"/>
                          <a:ea typeface="+mn-ea"/>
                          <a:cs typeface="+mn-cs"/>
                          <a:sym typeface="Arial"/>
                        </a:rPr>
                        <a:t>Rencontre avec des représentants des adhérents ainsi qu’avec des représentants des CSA pour recueillir leur perception du projet</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950" b="0" i="0" u="none" strike="noStrike" kern="1200" cap="none">
                          <a:solidFill>
                            <a:schemeClr val="tx1"/>
                          </a:solidFill>
                          <a:latin typeface="+mn-lt"/>
                          <a:ea typeface="+mn-ea"/>
                          <a:cs typeface="+mn-cs"/>
                          <a:sym typeface="Arial"/>
                        </a:rPr>
                        <a:t>Elaboration du dossier de synthèse à destination des conseils d’administration des deux entités</a:t>
                      </a:r>
                    </a:p>
                  </a:txBody>
                  <a:tcP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216000" marR="3600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marL="3600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9224393"/>
                  </a:ext>
                </a:extLst>
              </a:tr>
            </a:tbl>
          </a:graphicData>
        </a:graphic>
      </p:graphicFrame>
      <p:pic>
        <p:nvPicPr>
          <p:cNvPr id="6" name="Graphique 5" descr="Calendrier journalier">
            <a:extLst>
              <a:ext uri="{FF2B5EF4-FFF2-40B4-BE49-F238E27FC236}">
                <a16:creationId xmlns:a16="http://schemas.microsoft.com/office/drawing/2014/main" id="{B83DF077-72C9-4002-C040-DB9B0D76A1D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38097" y="1218976"/>
            <a:ext cx="228600" cy="228600"/>
          </a:xfrm>
          <a:prstGeom prst="rect">
            <a:avLst/>
          </a:prstGeom>
        </p:spPr>
      </p:pic>
      <p:pic>
        <p:nvPicPr>
          <p:cNvPr id="7" name="Graphique 6" descr="Repère">
            <a:extLst>
              <a:ext uri="{FF2B5EF4-FFF2-40B4-BE49-F238E27FC236}">
                <a16:creationId xmlns:a16="http://schemas.microsoft.com/office/drawing/2014/main" id="{B06BBEA4-030E-9574-96B3-FDEAB8BA401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91028" y="1183357"/>
            <a:ext cx="264219" cy="264219"/>
          </a:xfrm>
          <a:prstGeom prst="rect">
            <a:avLst/>
          </a:prstGeom>
        </p:spPr>
      </p:pic>
      <p:pic>
        <p:nvPicPr>
          <p:cNvPr id="13" name="Graphique 12" descr="Calendrier journalier">
            <a:extLst>
              <a:ext uri="{FF2B5EF4-FFF2-40B4-BE49-F238E27FC236}">
                <a16:creationId xmlns:a16="http://schemas.microsoft.com/office/drawing/2014/main" id="{C3F6EC54-1160-06D5-DE54-DF3E5F7367C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89859" y="3009810"/>
            <a:ext cx="228600" cy="228600"/>
          </a:xfrm>
          <a:prstGeom prst="rect">
            <a:avLst/>
          </a:prstGeom>
        </p:spPr>
      </p:pic>
      <p:pic>
        <p:nvPicPr>
          <p:cNvPr id="14" name="Graphique 13" descr="Repère">
            <a:extLst>
              <a:ext uri="{FF2B5EF4-FFF2-40B4-BE49-F238E27FC236}">
                <a16:creationId xmlns:a16="http://schemas.microsoft.com/office/drawing/2014/main" id="{D7BA0560-2E27-AF83-F70F-C4107DD1FD7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62951" y="3002654"/>
            <a:ext cx="264219" cy="264219"/>
          </a:xfrm>
          <a:prstGeom prst="rect">
            <a:avLst/>
          </a:prstGeom>
        </p:spPr>
      </p:pic>
      <p:pic>
        <p:nvPicPr>
          <p:cNvPr id="16" name="Picture 4" descr="RÃ©sultat de recherche d'images pour &quot;banque populaire aquitaine centre atlantique&quot;">
            <a:extLst>
              <a:ext uri="{FF2B5EF4-FFF2-40B4-BE49-F238E27FC236}">
                <a16:creationId xmlns:a16="http://schemas.microsoft.com/office/drawing/2014/main" id="{19C318AF-B9B3-5462-9B3D-9A1D3D7807B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623" r="28203"/>
          <a:stretch/>
        </p:blipFill>
        <p:spPr bwMode="auto">
          <a:xfrm>
            <a:off x="846326" y="1229095"/>
            <a:ext cx="374022" cy="40145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18">
            <a:extLst>
              <a:ext uri="{FF2B5EF4-FFF2-40B4-BE49-F238E27FC236}">
                <a16:creationId xmlns:a16="http://schemas.microsoft.com/office/drawing/2014/main" id="{D66D1F92-A248-7285-2C8D-A8189F68A131}"/>
              </a:ext>
            </a:extLst>
          </p:cNvPr>
          <p:cNvPicPr>
            <a:picLocks noChangeAspect="1"/>
          </p:cNvPicPr>
          <p:nvPr/>
        </p:nvPicPr>
        <p:blipFill rotWithShape="1">
          <a:blip r:embed="rId7"/>
          <a:srcRect t="16017" b="24463"/>
          <a:stretch/>
        </p:blipFill>
        <p:spPr>
          <a:xfrm>
            <a:off x="696097" y="2937501"/>
            <a:ext cx="674481" cy="401450"/>
          </a:xfrm>
          <a:prstGeom prst="rect">
            <a:avLst/>
          </a:prstGeom>
        </p:spPr>
      </p:pic>
      <p:pic>
        <p:nvPicPr>
          <p:cNvPr id="20" name="Image 19">
            <a:extLst>
              <a:ext uri="{FF2B5EF4-FFF2-40B4-BE49-F238E27FC236}">
                <a16:creationId xmlns:a16="http://schemas.microsoft.com/office/drawing/2014/main" id="{D105E6B3-3919-CB56-C409-02831C86C03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9901" y="3900954"/>
            <a:ext cx="806873" cy="205025"/>
          </a:xfrm>
          <a:prstGeom prst="rect">
            <a:avLst/>
          </a:prstGeom>
        </p:spPr>
      </p:pic>
      <p:pic>
        <p:nvPicPr>
          <p:cNvPr id="21" name="Graphique 20" descr="Calendrier journalier">
            <a:extLst>
              <a:ext uri="{FF2B5EF4-FFF2-40B4-BE49-F238E27FC236}">
                <a16:creationId xmlns:a16="http://schemas.microsoft.com/office/drawing/2014/main" id="{B844678F-B9A6-09DE-6A5B-0B0B1D7FA97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07787" y="3731621"/>
            <a:ext cx="228600" cy="228600"/>
          </a:xfrm>
          <a:prstGeom prst="rect">
            <a:avLst/>
          </a:prstGeom>
        </p:spPr>
      </p:pic>
      <p:pic>
        <p:nvPicPr>
          <p:cNvPr id="22" name="Graphique 21" descr="Repère">
            <a:extLst>
              <a:ext uri="{FF2B5EF4-FFF2-40B4-BE49-F238E27FC236}">
                <a16:creationId xmlns:a16="http://schemas.microsoft.com/office/drawing/2014/main" id="{800AA4EF-1027-1A70-426E-2220E15FE7C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68927" y="3707836"/>
            <a:ext cx="264219" cy="264219"/>
          </a:xfrm>
          <a:prstGeom prst="rect">
            <a:avLst/>
          </a:prstGeom>
        </p:spPr>
      </p:pic>
      <p:pic>
        <p:nvPicPr>
          <p:cNvPr id="23" name="Picture 2" descr="C:\Users\langilbert\Pictures\Images Laurence\Photos moi\162 N et B.jpg">
            <a:extLst>
              <a:ext uri="{FF2B5EF4-FFF2-40B4-BE49-F238E27FC236}">
                <a16:creationId xmlns:a16="http://schemas.microsoft.com/office/drawing/2014/main" id="{DD66D913-258D-3FFF-C90D-288E7279BF1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4278" b="4719"/>
          <a:stretch/>
        </p:blipFill>
        <p:spPr bwMode="auto">
          <a:xfrm>
            <a:off x="10076581" y="38961"/>
            <a:ext cx="653243" cy="800074"/>
          </a:xfrm>
          <a:prstGeom prst="rect">
            <a:avLst/>
          </a:prstGeom>
          <a:noFill/>
          <a:extLst>
            <a:ext uri="{909E8E84-426E-40DD-AFC4-6F175D3DCCD1}">
              <a14:hiddenFill xmlns:a14="http://schemas.microsoft.com/office/drawing/2010/main">
                <a:solidFill>
                  <a:srgbClr val="FFFFFF"/>
                </a:solidFill>
              </a14:hiddenFill>
            </a:ext>
          </a:extLst>
        </p:spPr>
      </p:pic>
      <p:pic>
        <p:nvPicPr>
          <p:cNvPr id="37" name="Graphique 36">
            <a:extLst>
              <a:ext uri="{FF2B5EF4-FFF2-40B4-BE49-F238E27FC236}">
                <a16:creationId xmlns:a16="http://schemas.microsoft.com/office/drawing/2014/main" id="{E924F1E4-2802-3523-E272-2D783B1C0F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1797" y="5259356"/>
            <a:ext cx="683080" cy="206398"/>
          </a:xfrm>
          <a:prstGeom prst="rect">
            <a:avLst/>
          </a:prstGeom>
        </p:spPr>
      </p:pic>
      <p:pic>
        <p:nvPicPr>
          <p:cNvPr id="38" name="Image 37">
            <a:extLst>
              <a:ext uri="{FF2B5EF4-FFF2-40B4-BE49-F238E27FC236}">
                <a16:creationId xmlns:a16="http://schemas.microsoft.com/office/drawing/2014/main" id="{BCD990CB-5E00-E13F-EB86-526B13F2A5B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72163" y="5568386"/>
            <a:ext cx="322349" cy="274172"/>
          </a:xfrm>
          <a:prstGeom prst="rect">
            <a:avLst/>
          </a:prstGeom>
          <a:ln>
            <a:noFill/>
          </a:ln>
        </p:spPr>
      </p:pic>
      <p:pic>
        <p:nvPicPr>
          <p:cNvPr id="26" name="Graphique 25" descr="Calendrier journalier">
            <a:extLst>
              <a:ext uri="{FF2B5EF4-FFF2-40B4-BE49-F238E27FC236}">
                <a16:creationId xmlns:a16="http://schemas.microsoft.com/office/drawing/2014/main" id="{F7CA37B7-9543-FA07-C95F-A6752FD6A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7364" y="5168406"/>
            <a:ext cx="228600" cy="228600"/>
          </a:xfrm>
          <a:prstGeom prst="rect">
            <a:avLst/>
          </a:prstGeom>
        </p:spPr>
      </p:pic>
      <p:pic>
        <p:nvPicPr>
          <p:cNvPr id="27" name="Graphique 26" descr="Repère">
            <a:extLst>
              <a:ext uri="{FF2B5EF4-FFF2-40B4-BE49-F238E27FC236}">
                <a16:creationId xmlns:a16="http://schemas.microsoft.com/office/drawing/2014/main" id="{A2B05AD5-6EA2-AAEF-9460-361A4DCE2AB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88504" y="5144621"/>
            <a:ext cx="264219" cy="264219"/>
          </a:xfrm>
          <a:prstGeom prst="rect">
            <a:avLst/>
          </a:prstGeom>
        </p:spPr>
      </p:pic>
    </p:spTree>
    <p:extLst>
      <p:ext uri="{BB962C8B-B14F-4D97-AF65-F5344CB8AC3E}">
        <p14:creationId xmlns:p14="http://schemas.microsoft.com/office/powerpoint/2010/main" val="3848348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943B7-96C8-5DA7-28A5-767259EA3DE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CF14E425-7729-D95F-C00E-C406C82348E6}"/>
              </a:ext>
            </a:extLst>
          </p:cNvPr>
          <p:cNvSpPr>
            <a:spLocks noGrp="1"/>
          </p:cNvSpPr>
          <p:nvPr>
            <p:ph type="title"/>
          </p:nvPr>
        </p:nvSpPr>
        <p:spPr>
          <a:xfrm>
            <a:off x="396655" y="141709"/>
            <a:ext cx="9907072" cy="407795"/>
          </a:xfrm>
          <a:solidFill>
            <a:schemeClr val="bg1"/>
          </a:solidFill>
        </p:spPr>
        <p:txBody>
          <a:bodyPr/>
          <a:lstStyle/>
          <a:p>
            <a:r>
              <a:rPr lang="fr-FR" sz="1800"/>
              <a:t>KEREIS</a:t>
            </a:r>
            <a:r>
              <a:rPr lang="fr-FR" sz="1800">
                <a:solidFill>
                  <a:schemeClr val="bg2"/>
                </a:solidFill>
              </a:rPr>
              <a:t> SOUHAITE OPTIMISER L’EFFICACITÉ DE SES BACK-OFFICES DE GESTION, SITUÉS EN FRANCE, EN ESPAGNE ET EN ITALIE</a:t>
            </a:r>
            <a:endParaRPr lang="fr-FR" sz="1800"/>
          </a:p>
        </p:txBody>
      </p:sp>
      <p:sp>
        <p:nvSpPr>
          <p:cNvPr id="3" name="Espace réservé du texte 2">
            <a:extLst>
              <a:ext uri="{FF2B5EF4-FFF2-40B4-BE49-F238E27FC236}">
                <a16:creationId xmlns:a16="http://schemas.microsoft.com/office/drawing/2014/main" id="{4C3B4683-0BF1-DE3D-0D66-603587B369D0}"/>
              </a:ext>
            </a:extLst>
          </p:cNvPr>
          <p:cNvSpPr>
            <a:spLocks noGrp="1"/>
          </p:cNvSpPr>
          <p:nvPr>
            <p:ph type="body" idx="1"/>
          </p:nvPr>
        </p:nvSpPr>
        <p:spPr>
          <a:xfrm>
            <a:off x="396655" y="1174922"/>
            <a:ext cx="11574945" cy="542379"/>
          </a:xfrm>
        </p:spPr>
        <p:txBody>
          <a:bodyPr anchor="ctr"/>
          <a:lstStyle/>
          <a:p>
            <a:r>
              <a:rPr lang="fr-FR"/>
              <a:t>Vous faites le constat que vos processus, organisations et outils de gestion de vos opérations sur les contrats d’assurance emprunteur et de prévoyance individuelle pourraient être optimisés, et ce afin de répondre à quatre enjeux majeurs :</a:t>
            </a:r>
          </a:p>
        </p:txBody>
      </p:sp>
      <p:sp>
        <p:nvSpPr>
          <p:cNvPr id="11" name="Rectangle 10">
            <a:extLst>
              <a:ext uri="{FF2B5EF4-FFF2-40B4-BE49-F238E27FC236}">
                <a16:creationId xmlns:a16="http://schemas.microsoft.com/office/drawing/2014/main" id="{971A150E-3419-2603-3234-CB4EDBE6293D}"/>
              </a:ext>
            </a:extLst>
          </p:cNvPr>
          <p:cNvSpPr/>
          <p:nvPr/>
        </p:nvSpPr>
        <p:spPr>
          <a:xfrm>
            <a:off x="261443" y="3694837"/>
            <a:ext cx="11930557" cy="2695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fr-FR" b="1"/>
              <a:t>Pour répondre à ces enjeux, vous souhaitez vous faire accompagner pour :</a:t>
            </a:r>
          </a:p>
          <a:p>
            <a:pPr algn="ctr">
              <a:spcBef>
                <a:spcPts val="600"/>
              </a:spcBef>
            </a:pPr>
            <a:endParaRPr lang="fr-FR" b="1"/>
          </a:p>
          <a:p>
            <a:pPr marL="285750" indent="-285750">
              <a:spcBef>
                <a:spcPts val="600"/>
              </a:spcBef>
              <a:buFontTx/>
              <a:buChar char="-"/>
            </a:pPr>
            <a:r>
              <a:rPr lang="fr-FR" sz="1600" b="1"/>
              <a:t>Disposer d’une vision précise de l’activité de vos back-offices</a:t>
            </a:r>
          </a:p>
          <a:p>
            <a:pPr marL="742950" lvl="1" indent="-285750">
              <a:spcBef>
                <a:spcPts val="600"/>
              </a:spcBef>
              <a:buFontTx/>
              <a:buChar char="-"/>
            </a:pPr>
            <a:r>
              <a:rPr lang="fr-FR" sz="1600" b="1"/>
              <a:t>Identifier les forces et axes d’amélioration de votre modèle d’organisation</a:t>
            </a:r>
          </a:p>
          <a:p>
            <a:pPr marL="742950" lvl="1" indent="-285750">
              <a:spcBef>
                <a:spcPts val="600"/>
              </a:spcBef>
              <a:buFontTx/>
              <a:buChar char="-"/>
            </a:pPr>
            <a:r>
              <a:rPr lang="fr-FR" sz="1600" b="1"/>
              <a:t>Objectiver l’efficacité globale de l’organisation</a:t>
            </a:r>
          </a:p>
          <a:p>
            <a:pPr marL="285750" indent="-285750">
              <a:spcBef>
                <a:spcPts val="600"/>
              </a:spcBef>
              <a:buFontTx/>
              <a:buChar char="-"/>
            </a:pPr>
            <a:r>
              <a:rPr lang="fr-FR" sz="1600" b="1"/>
              <a:t>Définir le modèle de coût de vos back-offices</a:t>
            </a:r>
          </a:p>
          <a:p>
            <a:pPr marL="285750" indent="-285750">
              <a:spcBef>
                <a:spcPts val="600"/>
              </a:spcBef>
              <a:buFontTx/>
              <a:buChar char="-"/>
            </a:pPr>
            <a:r>
              <a:rPr lang="fr-FR" sz="1600" b="1"/>
              <a:t>Formaliser les leviers d'amélioration de performance actionnables </a:t>
            </a:r>
          </a:p>
        </p:txBody>
      </p:sp>
      <p:sp>
        <p:nvSpPr>
          <p:cNvPr id="4" name="Rectangle 3">
            <a:extLst>
              <a:ext uri="{FF2B5EF4-FFF2-40B4-BE49-F238E27FC236}">
                <a16:creationId xmlns:a16="http://schemas.microsoft.com/office/drawing/2014/main" id="{BA474E8A-4FCD-79D1-9CC1-7286B2F8CDD5}"/>
              </a:ext>
            </a:extLst>
          </p:cNvPr>
          <p:cNvSpPr/>
          <p:nvPr/>
        </p:nvSpPr>
        <p:spPr>
          <a:xfrm>
            <a:off x="991709" y="2866237"/>
            <a:ext cx="2606990" cy="542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fr-FR" sz="1600">
                <a:solidFill>
                  <a:schemeClr val="bg2"/>
                </a:solidFill>
                <a:ea typeface="+mn-lt"/>
                <a:cs typeface="+mn-lt"/>
              </a:rPr>
              <a:t>Améliorer le service rendu aux clients</a:t>
            </a:r>
            <a:endParaRPr lang="fr-FR" sz="1600" b="1">
              <a:solidFill>
                <a:schemeClr val="bg2"/>
              </a:solidFill>
              <a:ea typeface="+mn-lt"/>
              <a:cs typeface="+mn-lt"/>
            </a:endParaRPr>
          </a:p>
          <a:p>
            <a:pPr algn="ctr"/>
            <a:endParaRPr lang="fr-FR" sz="1600" b="1">
              <a:solidFill>
                <a:schemeClr val="bg2"/>
              </a:solidFill>
              <a:ea typeface="+mn-lt"/>
              <a:cs typeface="+mn-lt"/>
            </a:endParaRPr>
          </a:p>
          <a:p>
            <a:pPr algn="ctr"/>
            <a:endParaRPr lang="fr-FR" sz="1600">
              <a:solidFill>
                <a:schemeClr val="bg2"/>
              </a:solidFill>
              <a:ea typeface="+mn-lt"/>
              <a:cs typeface="+mn-lt"/>
            </a:endParaRPr>
          </a:p>
          <a:p>
            <a:endParaRPr lang="fr-FR" sz="1600">
              <a:solidFill>
                <a:schemeClr val="bg2"/>
              </a:solidFill>
              <a:cs typeface="Arial"/>
            </a:endParaRPr>
          </a:p>
        </p:txBody>
      </p:sp>
      <p:pic>
        <p:nvPicPr>
          <p:cNvPr id="6" name="Graphique 5">
            <a:extLst>
              <a:ext uri="{FF2B5EF4-FFF2-40B4-BE49-F238E27FC236}">
                <a16:creationId xmlns:a16="http://schemas.microsoft.com/office/drawing/2014/main" id="{64B36AD2-CF41-C44E-6008-721C5E4F6CF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09475" y="1853573"/>
            <a:ext cx="986942" cy="986942"/>
          </a:xfrm>
          <a:prstGeom prst="rect">
            <a:avLst/>
          </a:prstGeom>
        </p:spPr>
      </p:pic>
      <p:pic>
        <p:nvPicPr>
          <p:cNvPr id="7" name="Graphique 6">
            <a:extLst>
              <a:ext uri="{FF2B5EF4-FFF2-40B4-BE49-F238E27FC236}">
                <a16:creationId xmlns:a16="http://schemas.microsoft.com/office/drawing/2014/main" id="{8F16ECD6-C2FB-04BC-CCBC-212341D988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132235" y="1901551"/>
            <a:ext cx="890987" cy="890987"/>
          </a:xfrm>
          <a:prstGeom prst="rect">
            <a:avLst/>
          </a:prstGeom>
        </p:spPr>
      </p:pic>
      <p:sp>
        <p:nvSpPr>
          <p:cNvPr id="9" name="Rectangle 8">
            <a:extLst>
              <a:ext uri="{FF2B5EF4-FFF2-40B4-BE49-F238E27FC236}">
                <a16:creationId xmlns:a16="http://schemas.microsoft.com/office/drawing/2014/main" id="{2D647BBE-4FAA-C7F2-C5D6-1D0F8DA47CBD}"/>
              </a:ext>
            </a:extLst>
          </p:cNvPr>
          <p:cNvSpPr/>
          <p:nvPr/>
        </p:nvSpPr>
        <p:spPr>
          <a:xfrm>
            <a:off x="6411647" y="2866237"/>
            <a:ext cx="2332164" cy="542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fr-FR" sz="1600">
                <a:solidFill>
                  <a:schemeClr val="bg2"/>
                </a:solidFill>
                <a:cs typeface="Arial"/>
              </a:rPr>
              <a:t>Optimiser</a:t>
            </a:r>
            <a:br>
              <a:rPr lang="fr-FR" sz="1600">
                <a:solidFill>
                  <a:schemeClr val="bg2"/>
                </a:solidFill>
                <a:cs typeface="Arial"/>
              </a:rPr>
            </a:br>
            <a:r>
              <a:rPr lang="fr-FR" sz="1600">
                <a:solidFill>
                  <a:schemeClr val="bg2"/>
                </a:solidFill>
                <a:cs typeface="Arial"/>
              </a:rPr>
              <a:t>les coûts</a:t>
            </a:r>
            <a:endParaRPr lang="fr-FR" sz="1600" b="1">
              <a:solidFill>
                <a:schemeClr val="bg2"/>
              </a:solidFill>
              <a:cs typeface="Arial"/>
            </a:endParaRPr>
          </a:p>
          <a:p>
            <a:pPr algn="ctr"/>
            <a:endParaRPr lang="fr-FR" sz="1600" b="1">
              <a:solidFill>
                <a:schemeClr val="bg2"/>
              </a:solidFill>
              <a:ea typeface="+mn-lt"/>
              <a:cs typeface="+mn-lt"/>
            </a:endParaRPr>
          </a:p>
          <a:p>
            <a:pPr algn="ctr"/>
            <a:endParaRPr lang="fr-FR" sz="1600">
              <a:solidFill>
                <a:schemeClr val="bg2"/>
              </a:solidFill>
              <a:ea typeface="+mn-lt"/>
              <a:cs typeface="+mn-lt"/>
            </a:endParaRPr>
          </a:p>
          <a:p>
            <a:pPr marL="285750" indent="-285750">
              <a:buFont typeface="Arial"/>
              <a:buChar char="•"/>
            </a:pPr>
            <a:endParaRPr lang="fr-FR" sz="1600">
              <a:solidFill>
                <a:schemeClr val="bg2"/>
              </a:solidFill>
              <a:cs typeface="Arial"/>
            </a:endParaRPr>
          </a:p>
        </p:txBody>
      </p:sp>
      <p:sp>
        <p:nvSpPr>
          <p:cNvPr id="14" name="Rectangle 13">
            <a:extLst>
              <a:ext uri="{FF2B5EF4-FFF2-40B4-BE49-F238E27FC236}">
                <a16:creationId xmlns:a16="http://schemas.microsoft.com/office/drawing/2014/main" id="{4121C995-0AB9-16DD-4069-591EEE3E89A0}"/>
              </a:ext>
            </a:extLst>
          </p:cNvPr>
          <p:cNvSpPr/>
          <p:nvPr/>
        </p:nvSpPr>
        <p:spPr>
          <a:xfrm>
            <a:off x="8769555" y="2866237"/>
            <a:ext cx="2606990" cy="542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fr-FR" sz="1600">
                <a:solidFill>
                  <a:schemeClr val="bg2"/>
                </a:solidFill>
                <a:ea typeface="+mn-lt"/>
                <a:cs typeface="+mn-lt"/>
              </a:rPr>
              <a:t>Se préparer</a:t>
            </a:r>
            <a:br>
              <a:rPr lang="fr-FR" sz="1600">
                <a:solidFill>
                  <a:schemeClr val="bg2"/>
                </a:solidFill>
                <a:ea typeface="+mn-lt"/>
                <a:cs typeface="+mn-lt"/>
              </a:rPr>
            </a:br>
            <a:r>
              <a:rPr lang="fr-FR" sz="1600">
                <a:solidFill>
                  <a:schemeClr val="bg2"/>
                </a:solidFill>
                <a:ea typeface="+mn-lt"/>
                <a:cs typeface="+mn-lt"/>
              </a:rPr>
              <a:t>au rebond du marché </a:t>
            </a:r>
            <a:endParaRPr lang="fr-FR" sz="1600">
              <a:solidFill>
                <a:schemeClr val="bg2"/>
              </a:solidFill>
              <a:cs typeface="Arial"/>
            </a:endParaRPr>
          </a:p>
        </p:txBody>
      </p:sp>
      <p:pic>
        <p:nvPicPr>
          <p:cNvPr id="8" name="Graphique 7" descr="Montagnes russes en montée contour">
            <a:extLst>
              <a:ext uri="{FF2B5EF4-FFF2-40B4-BE49-F238E27FC236}">
                <a16:creationId xmlns:a16="http://schemas.microsoft.com/office/drawing/2014/main" id="{1838E0F6-6968-89D7-766B-0C01CE2126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05629" y="1779624"/>
            <a:ext cx="1134841" cy="1134841"/>
          </a:xfrm>
          <a:prstGeom prst="rect">
            <a:avLst/>
          </a:prstGeom>
        </p:spPr>
      </p:pic>
      <p:sp>
        <p:nvSpPr>
          <p:cNvPr id="10" name="Rectangle 9">
            <a:extLst>
              <a:ext uri="{FF2B5EF4-FFF2-40B4-BE49-F238E27FC236}">
                <a16:creationId xmlns:a16="http://schemas.microsoft.com/office/drawing/2014/main" id="{54FC56AC-1FF0-C4D4-72B4-651C935AE403}"/>
              </a:ext>
            </a:extLst>
          </p:cNvPr>
          <p:cNvSpPr/>
          <p:nvPr/>
        </p:nvSpPr>
        <p:spPr>
          <a:xfrm>
            <a:off x="3727184" y="2866237"/>
            <a:ext cx="2761458" cy="542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fr-FR" sz="1600">
                <a:solidFill>
                  <a:schemeClr val="bg2"/>
                </a:solidFill>
                <a:ea typeface="+mn-lt"/>
                <a:cs typeface="+mn-lt"/>
              </a:rPr>
              <a:t>Améliorer les modalités de travail du gestionnaire </a:t>
            </a:r>
            <a:endParaRPr lang="fr-FR" sz="1600">
              <a:solidFill>
                <a:schemeClr val="bg2"/>
              </a:solidFill>
              <a:cs typeface="Arial"/>
            </a:endParaRPr>
          </a:p>
        </p:txBody>
      </p:sp>
      <p:pic>
        <p:nvPicPr>
          <p:cNvPr id="20" name="Graphique 19" descr="Engrenages contour">
            <a:extLst>
              <a:ext uri="{FF2B5EF4-FFF2-40B4-BE49-F238E27FC236}">
                <a16:creationId xmlns:a16="http://schemas.microsoft.com/office/drawing/2014/main" id="{E179D7C6-65B7-B4E9-2803-E5D0CA1D6E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540493" y="1779624"/>
            <a:ext cx="1134840" cy="1134840"/>
          </a:xfrm>
          <a:prstGeom prst="rect">
            <a:avLst/>
          </a:prstGeom>
        </p:spPr>
      </p:pic>
    </p:spTree>
    <p:extLst>
      <p:ext uri="{BB962C8B-B14F-4D97-AF65-F5344CB8AC3E}">
        <p14:creationId xmlns:p14="http://schemas.microsoft.com/office/powerpoint/2010/main" val="5361514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D5D9D-8F11-CB41-892C-3B4A7E4B107C}"/>
            </a:ext>
          </a:extLst>
        </p:cNvPr>
        <p:cNvGrpSpPr/>
        <p:nvPr/>
      </p:nvGrpSpPr>
      <p:grpSpPr>
        <a:xfrm>
          <a:off x="0" y="0"/>
          <a:ext cx="0" cy="0"/>
          <a:chOff x="0" y="0"/>
          <a:chExt cx="0" cy="0"/>
        </a:xfrm>
      </p:grpSpPr>
      <p:sp>
        <p:nvSpPr>
          <p:cNvPr id="2" name="Titre 3">
            <a:extLst>
              <a:ext uri="{FF2B5EF4-FFF2-40B4-BE49-F238E27FC236}">
                <a16:creationId xmlns:a16="http://schemas.microsoft.com/office/drawing/2014/main" id="{B1FEC22B-43DA-180B-BF7E-55151744CFC3}"/>
              </a:ext>
            </a:extLst>
          </p:cNvPr>
          <p:cNvSpPr txBox="1">
            <a:spLocks/>
          </p:cNvSpPr>
          <p:nvPr/>
        </p:nvSpPr>
        <p:spPr>
          <a:xfrm>
            <a:off x="410493" y="262048"/>
            <a:ext cx="9703155" cy="609600"/>
          </a:xfrm>
          <a:prstGeom prst="rect">
            <a:avLst/>
          </a:prstGeom>
          <a:solidFill>
            <a:schemeClr val="bg1"/>
          </a:solidFill>
        </p:spPr>
        <p:txBody>
          <a:bodyPr vert="horz" lIns="91440" tIns="45720" rIns="91440" bIns="0" rtlCol="0" anchor="t">
            <a:noAutofit/>
          </a:bodyPr>
          <a:lstStyle>
            <a:lvl1pPr algn="l" defTabSz="914400" rtl="0" eaLnBrk="1" latinLnBrk="0" hangingPunct="1">
              <a:lnSpc>
                <a:spcPct val="90000"/>
              </a:lnSpc>
              <a:spcBef>
                <a:spcPct val="0"/>
              </a:spcBef>
              <a:buNone/>
              <a:defRPr sz="1600" b="1" kern="1200" cap="all" baseline="0">
                <a:solidFill>
                  <a:schemeClr val="accent1"/>
                </a:solidFill>
                <a:latin typeface="+mj-lt"/>
                <a:ea typeface="+mj-ea"/>
                <a:cs typeface="+mj-cs"/>
              </a:defRPr>
            </a:lvl1pPr>
          </a:lstStyle>
          <a:p>
            <a:r>
              <a:rPr lang="fr-FR" sz="2000" cap="none">
                <a:solidFill>
                  <a:schemeClr val="bg2"/>
                </a:solidFill>
                <a:latin typeface="Arial Black" panose="020B0A04020102020204" pitchFamily="34" charset="0"/>
                <a:sym typeface="Montserrat"/>
              </a:rPr>
              <a:t>Laurence ANGILBERT</a:t>
            </a:r>
            <a:br>
              <a:rPr lang="fr-FR" b="0">
                <a:latin typeface="Arial Black" panose="020B0A04020102020204" pitchFamily="34" charset="0"/>
              </a:rPr>
            </a:br>
            <a:r>
              <a:rPr lang="fr-FR" sz="1400" b="0" cap="none" spc="-56">
                <a:solidFill>
                  <a:schemeClr val="bg2"/>
                </a:solidFill>
                <a:latin typeface="Arial Black" panose="020B0A04020102020204" pitchFamily="34" charset="0"/>
                <a:sym typeface="Montserrat"/>
              </a:rPr>
              <a:t>Directrice (20 années d’expérience) - 3/3</a:t>
            </a:r>
            <a:endParaRPr lang="fr-FR" b="0" cap="none" spc="-56">
              <a:solidFill>
                <a:schemeClr val="bg2"/>
              </a:solidFill>
              <a:latin typeface="Arial Black" panose="020B0A04020102020204" pitchFamily="34" charset="0"/>
              <a:sym typeface="Montserrat"/>
            </a:endParaRPr>
          </a:p>
        </p:txBody>
      </p:sp>
      <p:graphicFrame>
        <p:nvGraphicFramePr>
          <p:cNvPr id="3" name="Tableau 2">
            <a:extLst>
              <a:ext uri="{FF2B5EF4-FFF2-40B4-BE49-F238E27FC236}">
                <a16:creationId xmlns:a16="http://schemas.microsoft.com/office/drawing/2014/main" id="{F270CDAA-BAAA-2937-85E8-1589C26B8BBC}"/>
              </a:ext>
            </a:extLst>
          </p:cNvPr>
          <p:cNvGraphicFramePr>
            <a:graphicFrameLocks noGrp="1"/>
          </p:cNvGraphicFramePr>
          <p:nvPr>
            <p:extLst>
              <p:ext uri="{D42A27DB-BD31-4B8C-83A1-F6EECF244321}">
                <p14:modId xmlns:p14="http://schemas.microsoft.com/office/powerpoint/2010/main" val="1491402777"/>
              </p:ext>
            </p:extLst>
          </p:nvPr>
        </p:nvGraphicFramePr>
        <p:xfrm>
          <a:off x="410493" y="973093"/>
          <a:ext cx="11522715" cy="5273710"/>
        </p:xfrm>
        <a:graphic>
          <a:graphicData uri="http://schemas.openxmlformats.org/drawingml/2006/table">
            <a:tbl>
              <a:tblPr firstRow="1" bandRow="1">
                <a:tableStyleId>{2D5ABB26-0587-4C30-8999-92F81FD0307C}</a:tableStyleId>
              </a:tblPr>
              <a:tblGrid>
                <a:gridCol w="1206240">
                  <a:extLst>
                    <a:ext uri="{9D8B030D-6E8A-4147-A177-3AD203B41FA5}">
                      <a16:colId xmlns:a16="http://schemas.microsoft.com/office/drawing/2014/main" val="3696629346"/>
                    </a:ext>
                  </a:extLst>
                </a:gridCol>
                <a:gridCol w="7544520">
                  <a:extLst>
                    <a:ext uri="{9D8B030D-6E8A-4147-A177-3AD203B41FA5}">
                      <a16:colId xmlns:a16="http://schemas.microsoft.com/office/drawing/2014/main" val="1537716266"/>
                    </a:ext>
                  </a:extLst>
                </a:gridCol>
                <a:gridCol w="1397479">
                  <a:extLst>
                    <a:ext uri="{9D8B030D-6E8A-4147-A177-3AD203B41FA5}">
                      <a16:colId xmlns:a16="http://schemas.microsoft.com/office/drawing/2014/main" val="1652989663"/>
                    </a:ext>
                  </a:extLst>
                </a:gridCol>
                <a:gridCol w="1374476">
                  <a:extLst>
                    <a:ext uri="{9D8B030D-6E8A-4147-A177-3AD203B41FA5}">
                      <a16:colId xmlns:a16="http://schemas.microsoft.com/office/drawing/2014/main" val="2028938264"/>
                    </a:ext>
                  </a:extLst>
                </a:gridCol>
              </a:tblGrid>
              <a:tr h="310550">
                <a:tc gridSpan="4">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 (suite)</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428455178"/>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ysClr val="windowText" lastClr="000000"/>
                          </a:solidFill>
                          <a:latin typeface="+mn-lt"/>
                          <a:ea typeface="+mn-ea"/>
                          <a:cs typeface="+mn-cs"/>
                        </a:rPr>
                        <a:t>Accompagnement pour la définition du plan de transformation de la Fondation des Hôpitaux</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kern="1200">
                          <a:solidFill>
                            <a:schemeClr val="tx1"/>
                          </a:solidFill>
                          <a:latin typeface="+mn-lt"/>
                          <a:ea typeface="+mn-ea"/>
                          <a:cs typeface="+mn-cs"/>
                        </a:rPr>
                        <a:t>Directrice de mission </a:t>
                      </a:r>
                      <a:endParaRPr lang="fr-FR" sz="1050" b="0" i="1"/>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Paris</a:t>
                      </a:r>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t>2021</a:t>
                      </a:r>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94330117"/>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Analyse et diagnostic de l’existant en termes de processus et de SI sur les 3 activités phares (gestion de projet, collecte de dons, communication), puis définition de la cible en co-construction avec les équipes métiers, de la trajectoire de transformation et des plans d’actions associé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Assistance pour la mise en œuvre du projet</a:t>
                      </a:r>
                    </a:p>
                    <a:p>
                      <a:pPr marL="0" marR="0" lvl="0" indent="0" algn="just">
                        <a:lnSpc>
                          <a:spcPct val="100000"/>
                        </a:lnSpc>
                        <a:spcBef>
                          <a:spcPts val="0"/>
                        </a:spcBef>
                        <a:spcAft>
                          <a:spcPts val="0"/>
                        </a:spcAft>
                        <a:buClrTx/>
                        <a:buSzTx/>
                        <a:buFont typeface="Montserrat" panose="00000500000000000000" pitchFamily="2" charset="0"/>
                        <a:buNone/>
                      </a:pPr>
                      <a:endParaRPr lang="fr-FR" sz="1100" b="0" i="1"/>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8964185"/>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a:t>Fusions et Migrations des SI </a:t>
                      </a:r>
                      <a:r>
                        <a:rPr lang="fr-FR" sz="1050" b="0"/>
                        <a:t>(Budgets entre 25 et 50 M€, 250 contributeurs) </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kern="1200">
                          <a:solidFill>
                            <a:schemeClr val="tx1"/>
                          </a:solidFill>
                          <a:latin typeface="+mn-lt"/>
                          <a:ea typeface="+mn-ea"/>
                          <a:cs typeface="+mn-cs"/>
                        </a:rPr>
                        <a:t>Responsable de mission</a:t>
                      </a:r>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a:t>Paris/Province/ DOM-TOM </a:t>
                      </a:r>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r>
                        <a:rPr lang="fr-FR" sz="1050"/>
                        <a:t>2005-2017</a:t>
                      </a:r>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33958345"/>
                  </a:ext>
                </a:extLst>
              </a:tr>
              <a:tr h="702158">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Cadrage et pilotage des projets de Fusion Juridique, Fusion Comptable, Fusion Informatique, Fusion Métier</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Pilotage global du projet </a:t>
                      </a:r>
                      <a:r>
                        <a:rPr lang="fr-FR" sz="1000"/>
                        <a:t>(niveau Codir), depuis la phase de cadrage jusqu’à la mise en production, animation des instances de gouvernanc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Définition du plan de migration et pilotage opérationnel du projet (gestion du planning, des budgets, des risques et des plans d’action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Pilotage des chantiers métiers (Produits, Marketing, Souscription, Comptabilité, Pilotage d’activité….) et des chantiers techniques (Paramétrage, Habilitations, Migration et fiabilisation des données, Environnements, Recette, Bascul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Pilotage de l’analyse détaillée des écarts entre le SI source et cible, analyse et traitement des impacts organisationnels, définition des processus cible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Organisation et pilotage des phases de recette (planning, cas de tests, animation des plateaux de recette, suivi des anomalies, bila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Organisation et pilotage des opérations de bascule et de reprise d’activité (chronogramme de bascule, plans de continuité d’activité, animation du PC bascule, suivi des anomalies de product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n-lt"/>
                          <a:ea typeface="+mn-ea"/>
                          <a:cs typeface="+mn-cs"/>
                        </a:rPr>
                        <a:t>Mise en place de la conduite du changement : plans de communication interne/externe, stratégie de formation, pilotage de l’assistance au démarrage auprès des utilisateurs, élaboration des supports destinés aux IRP</a:t>
                      </a:r>
                    </a:p>
                    <a:p>
                      <a:pPr marL="0" marR="0" lvl="0" indent="0" algn="just">
                        <a:lnSpc>
                          <a:spcPct val="100000"/>
                        </a:lnSpc>
                        <a:spcBef>
                          <a:spcPts val="0"/>
                        </a:spcBef>
                        <a:spcAft>
                          <a:spcPts val="0"/>
                        </a:spcAft>
                        <a:buClrTx/>
                        <a:buSzTx/>
                        <a:buFont typeface="Montserrat" panose="00000500000000000000" pitchFamily="2" charset="0"/>
                        <a:buNone/>
                      </a:pPr>
                      <a:endParaRPr lang="fr-FR" sz="1000" kern="1200">
                        <a:solidFill>
                          <a:schemeClr val="tx1"/>
                        </a:solidFill>
                        <a:latin typeface="+mn-lt"/>
                        <a:ea typeface="+mn-ea"/>
                        <a:cs typeface="+mn-cs"/>
                      </a:endParaRPr>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30860291"/>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03681975"/>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endParaRPr lang="fr-FR" sz="1000" kern="1200">
                        <a:solidFill>
                          <a:schemeClr val="tx1"/>
                        </a:solidFill>
                        <a:latin typeface="+mn-lt"/>
                        <a:ea typeface="+mn-ea"/>
                        <a:cs typeface="+mn-cs"/>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66700" marR="0" lvl="0" indent="0" algn="l" defTabSz="514321" rtl="0" eaLnBrk="1" fontAlgn="auto" latinLnBrk="0" hangingPunct="1">
                        <a:lnSpc>
                          <a:spcPct val="100000"/>
                        </a:lnSpc>
                        <a:spcBef>
                          <a:spcPts val="0"/>
                        </a:spcBef>
                        <a:spcAft>
                          <a:spcPts val="0"/>
                        </a:spcAft>
                        <a:buClrTx/>
                        <a:buSzTx/>
                        <a:buFontTx/>
                        <a:buNone/>
                        <a:tabLst/>
                        <a:defRPr/>
                      </a:pPr>
                      <a:endParaRPr lang="fr-FR" sz="105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47125790"/>
                  </a:ext>
                </a:extLst>
              </a:tr>
            </a:tbl>
          </a:graphicData>
        </a:graphic>
      </p:graphicFrame>
      <p:pic>
        <p:nvPicPr>
          <p:cNvPr id="6" name="Graphique 5" descr="Calendrier journalier">
            <a:extLst>
              <a:ext uri="{FF2B5EF4-FFF2-40B4-BE49-F238E27FC236}">
                <a16:creationId xmlns:a16="http://schemas.microsoft.com/office/drawing/2014/main" id="{66ED1EF8-7949-AAEF-BE6F-0295C2F1FE5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48321" y="1374530"/>
            <a:ext cx="228600" cy="228600"/>
          </a:xfrm>
          <a:prstGeom prst="rect">
            <a:avLst/>
          </a:prstGeom>
        </p:spPr>
      </p:pic>
      <p:pic>
        <p:nvPicPr>
          <p:cNvPr id="7" name="Graphique 6" descr="Repère">
            <a:extLst>
              <a:ext uri="{FF2B5EF4-FFF2-40B4-BE49-F238E27FC236}">
                <a16:creationId xmlns:a16="http://schemas.microsoft.com/office/drawing/2014/main" id="{09055014-15B6-1F81-E3EA-02AA879C7CA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67694" y="1365545"/>
            <a:ext cx="264219" cy="264219"/>
          </a:xfrm>
          <a:prstGeom prst="rect">
            <a:avLst/>
          </a:prstGeom>
        </p:spPr>
      </p:pic>
      <p:pic>
        <p:nvPicPr>
          <p:cNvPr id="17" name="Image 16">
            <a:extLst>
              <a:ext uri="{FF2B5EF4-FFF2-40B4-BE49-F238E27FC236}">
                <a16:creationId xmlns:a16="http://schemas.microsoft.com/office/drawing/2014/main" id="{E854BC60-6380-8EFB-C2EE-350976DC32CE}"/>
              </a:ext>
            </a:extLst>
          </p:cNvPr>
          <p:cNvPicPr>
            <a:picLocks noChangeAspect="1"/>
          </p:cNvPicPr>
          <p:nvPr/>
        </p:nvPicPr>
        <p:blipFill>
          <a:blip r:embed="rId6"/>
          <a:stretch>
            <a:fillRect/>
          </a:stretch>
        </p:blipFill>
        <p:spPr>
          <a:xfrm>
            <a:off x="516325" y="2762632"/>
            <a:ext cx="828783" cy="242419"/>
          </a:xfrm>
          <a:prstGeom prst="rect">
            <a:avLst/>
          </a:prstGeom>
        </p:spPr>
      </p:pic>
      <p:pic>
        <p:nvPicPr>
          <p:cNvPr id="18" name="Image 17">
            <a:extLst>
              <a:ext uri="{FF2B5EF4-FFF2-40B4-BE49-F238E27FC236}">
                <a16:creationId xmlns:a16="http://schemas.microsoft.com/office/drawing/2014/main" id="{F326AE16-7771-1E62-73F7-CF08441B8FDA}"/>
              </a:ext>
            </a:extLst>
          </p:cNvPr>
          <p:cNvPicPr>
            <a:picLocks noChangeAspect="1"/>
          </p:cNvPicPr>
          <p:nvPr/>
        </p:nvPicPr>
        <p:blipFill rotWithShape="1">
          <a:blip r:embed="rId7"/>
          <a:srcRect l="19452" t="19566" r="19755" b="19496"/>
          <a:stretch/>
        </p:blipFill>
        <p:spPr>
          <a:xfrm>
            <a:off x="729197" y="3172991"/>
            <a:ext cx="403039" cy="404697"/>
          </a:xfrm>
          <a:prstGeom prst="rect">
            <a:avLst/>
          </a:prstGeom>
        </p:spPr>
      </p:pic>
      <p:pic>
        <p:nvPicPr>
          <p:cNvPr id="20" name="Graphique 19" descr="Calendrier journalier">
            <a:extLst>
              <a:ext uri="{FF2B5EF4-FFF2-40B4-BE49-F238E27FC236}">
                <a16:creationId xmlns:a16="http://schemas.microsoft.com/office/drawing/2014/main" id="{0D944784-2072-3129-1BB7-E594FAD09AF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48321" y="2618118"/>
            <a:ext cx="228600" cy="228600"/>
          </a:xfrm>
          <a:prstGeom prst="rect">
            <a:avLst/>
          </a:prstGeom>
        </p:spPr>
      </p:pic>
      <p:pic>
        <p:nvPicPr>
          <p:cNvPr id="21" name="Graphique 20" descr="Repère">
            <a:extLst>
              <a:ext uri="{FF2B5EF4-FFF2-40B4-BE49-F238E27FC236}">
                <a16:creationId xmlns:a16="http://schemas.microsoft.com/office/drawing/2014/main" id="{30921F61-1B29-F571-1AF3-D693D0B6B85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67694" y="2582499"/>
            <a:ext cx="264219" cy="264219"/>
          </a:xfrm>
          <a:prstGeom prst="rect">
            <a:avLst/>
          </a:prstGeom>
        </p:spPr>
      </p:pic>
      <p:pic>
        <p:nvPicPr>
          <p:cNvPr id="22" name="Image 21">
            <a:extLst>
              <a:ext uri="{FF2B5EF4-FFF2-40B4-BE49-F238E27FC236}">
                <a16:creationId xmlns:a16="http://schemas.microsoft.com/office/drawing/2014/main" id="{F6954DC8-F37D-61E8-5DA6-E80A8F6BE7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2603" y="1594439"/>
            <a:ext cx="876227" cy="209364"/>
          </a:xfrm>
          <a:prstGeom prst="rect">
            <a:avLst/>
          </a:prstGeom>
        </p:spPr>
      </p:pic>
      <p:pic>
        <p:nvPicPr>
          <p:cNvPr id="24" name="Picture 4" descr="RÃ©sultat de recherche d'images pour &quot;banque populaire aquitaine centre atlantique&quot;">
            <a:extLst>
              <a:ext uri="{FF2B5EF4-FFF2-40B4-BE49-F238E27FC236}">
                <a16:creationId xmlns:a16="http://schemas.microsoft.com/office/drawing/2014/main" id="{F4A54EF9-9ECD-847F-F010-2959F2111BD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9623" r="28203"/>
          <a:stretch/>
        </p:blipFill>
        <p:spPr bwMode="auto">
          <a:xfrm>
            <a:off x="743705" y="3693512"/>
            <a:ext cx="374022" cy="4014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RÃ©sultat de recherche d'images pour &quot;crÃ©dit commercial du sud-ouest&quot;">
            <a:extLst>
              <a:ext uri="{FF2B5EF4-FFF2-40B4-BE49-F238E27FC236}">
                <a16:creationId xmlns:a16="http://schemas.microsoft.com/office/drawing/2014/main" id="{4E19B4D2-56B4-A5A3-828F-6E5C2710E6E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8079" y="4174948"/>
            <a:ext cx="345274" cy="31588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RÃ©sultat de recherche d'images pour &quot;crÃ©dit maritime sud ouest&quot;">
            <a:extLst>
              <a:ext uri="{FF2B5EF4-FFF2-40B4-BE49-F238E27FC236}">
                <a16:creationId xmlns:a16="http://schemas.microsoft.com/office/drawing/2014/main" id="{DC24E0E7-8569-BCA4-4275-DD0011D5061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8079" y="4582778"/>
            <a:ext cx="345274" cy="3452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langilbert\Pictures\Images Laurence\Photos moi\162 N et B.jpg">
            <a:extLst>
              <a:ext uri="{FF2B5EF4-FFF2-40B4-BE49-F238E27FC236}">
                <a16:creationId xmlns:a16="http://schemas.microsoft.com/office/drawing/2014/main" id="{EB53D56E-B654-AC1A-85D0-605D5DD25538}"/>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4278" b="4719"/>
          <a:stretch/>
        </p:blipFill>
        <p:spPr bwMode="auto">
          <a:xfrm>
            <a:off x="10076581" y="38961"/>
            <a:ext cx="653243" cy="800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490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6A1BA153-80DA-80C4-9ECD-5FA02B7AD001}"/>
              </a:ext>
            </a:extLst>
          </p:cNvPr>
          <p:cNvSpPr>
            <a:spLocks noGrp="1"/>
          </p:cNvSpPr>
          <p:nvPr>
            <p:ph type="title"/>
          </p:nvPr>
        </p:nvSpPr>
        <p:spPr/>
        <p:txBody>
          <a:bodyPr/>
          <a:lstStyle/>
          <a:p>
            <a:r>
              <a:rPr lang="fr-FR"/>
              <a:t>Equipe France</a:t>
            </a:r>
          </a:p>
        </p:txBody>
      </p:sp>
    </p:spTree>
    <p:extLst>
      <p:ext uri="{BB962C8B-B14F-4D97-AF65-F5344CB8AC3E}">
        <p14:creationId xmlns:p14="http://schemas.microsoft.com/office/powerpoint/2010/main" val="20556409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au 49">
            <a:extLst>
              <a:ext uri="{FF2B5EF4-FFF2-40B4-BE49-F238E27FC236}">
                <a16:creationId xmlns:a16="http://schemas.microsoft.com/office/drawing/2014/main" id="{91EF391E-FD98-4C57-B3FC-704AE319DA44}"/>
              </a:ext>
            </a:extLst>
          </p:cNvPr>
          <p:cNvGraphicFramePr>
            <a:graphicFrameLocks noGrp="1"/>
          </p:cNvGraphicFramePr>
          <p:nvPr>
            <p:extLst>
              <p:ext uri="{D42A27DB-BD31-4B8C-83A1-F6EECF244321}">
                <p14:modId xmlns:p14="http://schemas.microsoft.com/office/powerpoint/2010/main" val="3185490677"/>
              </p:ext>
            </p:extLst>
          </p:nvPr>
        </p:nvGraphicFramePr>
        <p:xfrm>
          <a:off x="4038808" y="1720352"/>
          <a:ext cx="8036456" cy="4710490"/>
        </p:xfrm>
        <a:graphic>
          <a:graphicData uri="http://schemas.openxmlformats.org/drawingml/2006/table">
            <a:tbl>
              <a:tblPr firstRow="1" bandRow="1">
                <a:tableStyleId>{2D5ABB26-0587-4C30-8999-92F81FD0307C}</a:tableStyleId>
              </a:tblPr>
              <a:tblGrid>
                <a:gridCol w="833363">
                  <a:extLst>
                    <a:ext uri="{9D8B030D-6E8A-4147-A177-3AD203B41FA5}">
                      <a16:colId xmlns:a16="http://schemas.microsoft.com/office/drawing/2014/main" val="3696629346"/>
                    </a:ext>
                  </a:extLst>
                </a:gridCol>
                <a:gridCol w="6022458">
                  <a:extLst>
                    <a:ext uri="{9D8B030D-6E8A-4147-A177-3AD203B41FA5}">
                      <a16:colId xmlns:a16="http://schemas.microsoft.com/office/drawing/2014/main" val="1537716266"/>
                    </a:ext>
                  </a:extLst>
                </a:gridCol>
                <a:gridCol w="524933">
                  <a:extLst>
                    <a:ext uri="{9D8B030D-6E8A-4147-A177-3AD203B41FA5}">
                      <a16:colId xmlns:a16="http://schemas.microsoft.com/office/drawing/2014/main" val="3742444051"/>
                    </a:ext>
                  </a:extLst>
                </a:gridCol>
                <a:gridCol w="116840">
                  <a:extLst>
                    <a:ext uri="{9D8B030D-6E8A-4147-A177-3AD203B41FA5}">
                      <a16:colId xmlns:a16="http://schemas.microsoft.com/office/drawing/2014/main" val="2477658733"/>
                    </a:ext>
                  </a:extLst>
                </a:gridCol>
                <a:gridCol w="538862">
                  <a:extLst>
                    <a:ext uri="{9D8B030D-6E8A-4147-A177-3AD203B41FA5}">
                      <a16:colId xmlns:a16="http://schemas.microsoft.com/office/drawing/2014/main" val="4214001695"/>
                    </a:ext>
                  </a:extLst>
                </a:gridCol>
              </a:tblGrid>
              <a:tr h="310550">
                <a:tc gridSpan="5">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1428455178"/>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txBody>
                  <a:tcPr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a:latin typeface="+mj-lt"/>
                        </a:rPr>
                        <a:t>Diagnostic des 10 domaines de la direction indemnisation en préalable à la transformation du métier Indemnisation</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latin typeface="+mj-lt"/>
                        </a:rPr>
                        <a:t>Expert organisation de la gestion des sinistres IARD</a:t>
                      </a:r>
                    </a:p>
                  </a:txBody>
                  <a:tcPr marT="18000"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a:latin typeface="+mj-lt"/>
                        </a:rPr>
                        <a:t>Le Mans</a:t>
                      </a:r>
                      <a:endParaRPr lang="fr-FR" sz="1000" b="0" i="1">
                        <a:latin typeface="+mj-lt"/>
                      </a:endParaRPr>
                    </a:p>
                  </a:txBody>
                  <a:tcPr marT="18000" anchor="ctr">
                    <a:lnT w="12700" cap="flat" cmpd="sng" algn="ctr">
                      <a:solidFill>
                        <a:schemeClr val="bg2"/>
                      </a:solidFill>
                      <a:prstDash val="solid"/>
                      <a:round/>
                      <a:headEnd type="none" w="med" len="med"/>
                      <a:tailEnd type="none" w="med" len="med"/>
                    </a:lnT>
                  </a:tcPr>
                </a:tc>
                <a:tc gridSpan="2">
                  <a:txBody>
                    <a:bodyPr/>
                    <a:lstStyle/>
                    <a:p>
                      <a:pPr marL="0" marR="0" lvl="0" indent="0" algn="ctr" defTabSz="514321" rtl="0" eaLnBrk="1" fontAlgn="auto" latinLnBrk="0" hangingPunct="1">
                        <a:lnSpc>
                          <a:spcPct val="100000"/>
                        </a:lnSpc>
                        <a:spcBef>
                          <a:spcPts val="0"/>
                        </a:spcBef>
                        <a:spcAft>
                          <a:spcPts val="0"/>
                        </a:spcAft>
                        <a:buClrTx/>
                        <a:buSzTx/>
                        <a:buFontTx/>
                        <a:buNone/>
                        <a:tabLst/>
                        <a:defRPr/>
                      </a:pPr>
                      <a:r>
                        <a:rPr lang="fr-FR" sz="1000">
                          <a:latin typeface="+mj-lt"/>
                        </a:rPr>
                        <a:t>2022- 2023</a:t>
                      </a:r>
                    </a:p>
                  </a:txBody>
                  <a:tcPr marT="18000" anchor="ctr">
                    <a:lnT w="12700" cap="flat" cmpd="sng" algn="ctr">
                      <a:solidFill>
                        <a:schemeClr val="bg2"/>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4230424804"/>
                  </a:ext>
                </a:extLst>
              </a:tr>
              <a:tr h="370840">
                <a:tc>
                  <a:txBody>
                    <a:bodyPr/>
                    <a:lstStyle/>
                    <a:p>
                      <a:pPr marL="360000" indent="-360000">
                        <a:spcBef>
                          <a:spcPts val="600"/>
                        </a:spcBef>
                        <a:buClr>
                          <a:schemeClr val="accent1"/>
                        </a:buClr>
                        <a:buFont typeface="Wingdings" panose="05000000000000000000" pitchFamily="2" charset="2"/>
                        <a:buChar char="§"/>
                      </a:pPr>
                      <a:endParaRPr lang="fr-FR" sz="1000">
                        <a:latin typeface="+mj-lt"/>
                      </a:endParaRPr>
                    </a:p>
                  </a:txBody>
                  <a:tcPr>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Structuration de la démarche de diagnostic selon trois inflexions : modèle opérationnel, performance, collaborateur</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Analyse des processus existant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Entretiens managers, immersions auprès de collaborateurs et animation de focus group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Diagnostic par Domaine et évaluation de la maturité, selon les 3 axe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Structuration des pistes d’amélioration de l’efficacité opérationnelle</a:t>
                      </a:r>
                    </a:p>
                  </a:txBody>
                  <a:tcPr marT="18000">
                    <a:lnB w="12700" cap="flat" cmpd="sng" algn="ctr">
                      <a:solidFill>
                        <a:schemeClr val="bg2"/>
                      </a:solidFill>
                      <a:prstDash val="solid"/>
                      <a:round/>
                      <a:headEnd type="none" w="med" len="med"/>
                      <a:tailEnd type="none" w="med" len="med"/>
                    </a:lnB>
                  </a:tcPr>
                </a:tc>
                <a:tc gridSpan="3">
                  <a:txBody>
                    <a:bodyPr/>
                    <a:lstStyle/>
                    <a:p>
                      <a:endParaRPr lang="fr-FR" sz="1000">
                        <a:latin typeface="+mj-lt"/>
                      </a:endParaRPr>
                    </a:p>
                  </a:txBody>
                  <a:tcPr marT="18000">
                    <a:lnB w="12700" cap="flat" cmpd="sng" algn="ctr">
                      <a:solidFill>
                        <a:schemeClr val="bg2"/>
                      </a:solidFill>
                      <a:prstDash val="solid"/>
                      <a:round/>
                      <a:headEnd type="none" w="med" len="med"/>
                      <a:tailEnd type="none" w="med" len="med"/>
                    </a:lnB>
                  </a:tcPr>
                </a:tc>
                <a:tc hMerge="1">
                  <a:txBody>
                    <a:bodyPr/>
                    <a:lstStyle/>
                    <a:p>
                      <a:endParaRPr lang="fr-FR"/>
                    </a:p>
                  </a:txBody>
                  <a:tcPr marT="18000"/>
                </a:tc>
                <a:tc hMerge="1">
                  <a:txBody>
                    <a:bodyPr/>
                    <a:lstStyle/>
                    <a:p>
                      <a:endParaRPr lang="fr-FR"/>
                    </a:p>
                  </a:txBody>
                  <a:tcPr/>
                </a:tc>
                <a:extLst>
                  <a:ext uri="{0D108BD9-81ED-4DB2-BD59-A6C34878D82A}">
                    <a16:rowId xmlns:a16="http://schemas.microsoft.com/office/drawing/2014/main" val="3744477591"/>
                  </a:ext>
                </a:extLst>
              </a:tr>
              <a:tr h="370840">
                <a:tc>
                  <a:txBody>
                    <a:bodyPr/>
                    <a:lstStyle/>
                    <a:p>
                      <a:pPr marL="360000" indent="-360000">
                        <a:spcBef>
                          <a:spcPts val="600"/>
                        </a:spcBef>
                        <a:buClr>
                          <a:schemeClr val="accent1"/>
                        </a:buClr>
                        <a:buFont typeface="Wingdings" panose="05000000000000000000" pitchFamily="2" charset="2"/>
                        <a:buChar char="§"/>
                      </a:pPr>
                      <a:endParaRPr lang="fr-FR" sz="1000">
                        <a:latin typeface="+mj-lt"/>
                      </a:endParaRPr>
                    </a:p>
                  </a:txBody>
                  <a:tcPr>
                    <a:lnT w="12700" cap="flat" cmpd="sng" algn="ctr">
                      <a:solidFill>
                        <a:schemeClr val="bg1"/>
                      </a:solidFill>
                      <a:prstDash val="solid"/>
                      <a:round/>
                      <a:headEnd type="none" w="med" len="med"/>
                      <a:tailEnd type="none" w="med" len="med"/>
                    </a:lnT>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i="0" u="none" strike="noStrike" cap="none">
                          <a:solidFill>
                            <a:schemeClr val="tx1"/>
                          </a:solidFill>
                          <a:latin typeface="+mj-lt"/>
                          <a:ea typeface="+mn-ea"/>
                          <a:cs typeface="+mn-cs"/>
                          <a:sym typeface="Arial"/>
                        </a:rPr>
                        <a:t>AXA GO – Accompagnement d’équipes opérationnelles dans la transformation de leurs modes de travail (basée sur lean et data)</a:t>
                      </a:r>
                    </a:p>
                  </a:txBody>
                  <a:tcPr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j-lt"/>
                          <a:ea typeface="+mn-ea"/>
                          <a:cs typeface="+mn-cs"/>
                        </a:rPr>
                        <a:t>Paris</a:t>
                      </a:r>
                    </a:p>
                  </a:txBody>
                  <a:tcPr marT="18000" anchor="ctr">
                    <a:lnT w="12700" cap="flat" cmpd="sng" algn="ctr">
                      <a:solidFill>
                        <a:schemeClr val="bg2"/>
                      </a:solidFill>
                      <a:prstDash val="solid"/>
                      <a:round/>
                      <a:headEnd type="none" w="med" len="med"/>
                      <a:tailEnd type="none" w="med" len="med"/>
                    </a:lnT>
                  </a:tcPr>
                </a:tc>
                <a:tc gridSpan="2">
                  <a:txBody>
                    <a:bodyPr/>
                    <a:lstStyle/>
                    <a:p>
                      <a:pPr marL="0" marR="0" lvl="0" indent="0" algn="ctr" defTabSz="514321"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j-lt"/>
                          <a:ea typeface="+mn-ea"/>
                          <a:cs typeface="+mn-cs"/>
                        </a:rPr>
                        <a:t>2023- 2024</a:t>
                      </a:r>
                    </a:p>
                  </a:txBody>
                  <a:tcPr marT="18000" anchor="ctr">
                    <a:lnT w="12700" cap="flat" cmpd="sng" algn="ctr">
                      <a:solidFill>
                        <a:schemeClr val="bg2"/>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897126192"/>
                  </a:ext>
                </a:extLst>
              </a:tr>
              <a:tr h="370840">
                <a:tc>
                  <a:txBody>
                    <a:bodyPr/>
                    <a:lstStyle/>
                    <a:p>
                      <a:pPr marL="0" indent="0">
                        <a:spcBef>
                          <a:spcPts val="600"/>
                        </a:spcBef>
                        <a:buClr>
                          <a:schemeClr val="accent1"/>
                        </a:buClr>
                        <a:buFont typeface="Wingdings" panose="05000000000000000000" pitchFamily="2" charset="2"/>
                        <a:buNone/>
                      </a:pPr>
                      <a:endParaRPr lang="fr-FR" sz="1000">
                        <a:latin typeface="+mj-lt"/>
                      </a:endParaRPr>
                    </a:p>
                  </a:txBody>
                  <a:tcPr>
                    <a:lnB w="12700" cap="flat" cmpd="sng" algn="ctr">
                      <a:solidFill>
                        <a:schemeClr val="bg1"/>
                      </a:solidFill>
                      <a:prstDash val="solid"/>
                      <a:round/>
                      <a:headEnd type="none" w="med" len="med"/>
                      <a:tailEnd type="none" w="med" len="med"/>
                    </a:lnB>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cap="none">
                          <a:solidFill>
                            <a:schemeClr val="tx1"/>
                          </a:solidFill>
                          <a:latin typeface="+mj-lt"/>
                          <a:ea typeface="+mn-ea"/>
                          <a:cs typeface="+mn-cs"/>
                          <a:sym typeface="Arial"/>
                        </a:rPr>
                        <a:t>Expression par l’équipe de son objectif et des caractéristiques de sa performanc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cap="none">
                          <a:solidFill>
                            <a:schemeClr val="tx1"/>
                          </a:solidFill>
                          <a:latin typeface="+mj-lt"/>
                          <a:ea typeface="+mn-ea"/>
                          <a:cs typeface="+mn-cs"/>
                          <a:sym typeface="Arial"/>
                        </a:rPr>
                        <a:t>Formalisation du process de travail actuel (entrants, activités, outils, mesures et contrôles, difficultés rencontrées, sortants, pistes d’améliorat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cap="none">
                          <a:solidFill>
                            <a:schemeClr val="tx1"/>
                          </a:solidFill>
                          <a:latin typeface="+mj-lt"/>
                          <a:ea typeface="+mn-ea"/>
                          <a:cs typeface="+mn-cs"/>
                          <a:sym typeface="Arial"/>
                        </a:rPr>
                        <a:t>Back log de transformations à mener et priorisation (simplification de process, harmonisation de pratiques, structuration de données, conception d’indicateurs et dashboards, …)</a:t>
                      </a:r>
                    </a:p>
                  </a:txBody>
                  <a:tcPr>
                    <a:lnB w="12700" cap="flat" cmpd="sng" algn="ctr">
                      <a:solidFill>
                        <a:schemeClr val="bg2"/>
                      </a:solidFill>
                      <a:prstDash val="solid"/>
                      <a:round/>
                      <a:headEnd type="none" w="med" len="med"/>
                      <a:tailEnd type="none" w="med" len="med"/>
                    </a:lnB>
                  </a:tcPr>
                </a:tc>
                <a:tc>
                  <a:txBody>
                    <a:bodyPr/>
                    <a:lstStyle/>
                    <a:p>
                      <a:endParaRPr lang="fr-FR" sz="1000" b="0" kern="1200">
                        <a:solidFill>
                          <a:schemeClr val="tx1"/>
                        </a:solidFill>
                        <a:latin typeface="+mj-lt"/>
                        <a:ea typeface="+mn-ea"/>
                        <a:cs typeface="+mn-cs"/>
                      </a:endParaRPr>
                    </a:p>
                  </a:txBody>
                  <a:tcPr marT="18000">
                    <a:lnB w="12700" cap="flat" cmpd="sng" algn="ctr">
                      <a:solidFill>
                        <a:schemeClr val="bg2"/>
                      </a:solidFill>
                      <a:prstDash val="solid"/>
                      <a:round/>
                      <a:headEnd type="none" w="med" len="med"/>
                      <a:tailEnd type="none" w="med" len="med"/>
                    </a:lnB>
                  </a:tcPr>
                </a:tc>
                <a:tc gridSpan="2">
                  <a:txBody>
                    <a:bodyPr/>
                    <a:lstStyle/>
                    <a:p>
                      <a:endParaRPr lang="fr-FR" sz="1000">
                        <a:latin typeface="+mj-lt"/>
                      </a:endParaRPr>
                    </a:p>
                  </a:txBody>
                  <a:tcPr marT="18000">
                    <a:lnB w="12700" cap="flat" cmpd="sng" algn="ctr">
                      <a:solidFill>
                        <a:schemeClr val="bg2"/>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4085244999"/>
                  </a:ext>
                </a:extLst>
              </a:tr>
              <a:tr h="482600">
                <a:tc>
                  <a:txBody>
                    <a:bodyPr/>
                    <a:lstStyle/>
                    <a:p>
                      <a:pPr marL="360000" indent="-360000">
                        <a:spcBef>
                          <a:spcPts val="600"/>
                        </a:spcBef>
                        <a:buClr>
                          <a:schemeClr val="accent1"/>
                        </a:buClr>
                        <a:buFont typeface="Wingdings" panose="05000000000000000000" pitchFamily="2" charset="2"/>
                        <a:buChar char="§"/>
                      </a:pPr>
                      <a:endParaRPr lang="fr-FR" sz="1000">
                        <a:latin typeface="+mj-lt"/>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lgn="l" defTabSz="914400" rtl="0" eaLnBrk="1" latinLnBrk="0" hangingPunct="1">
                        <a:spcBef>
                          <a:spcPts val="0"/>
                        </a:spcBef>
                        <a:buClr>
                          <a:schemeClr val="accent1"/>
                        </a:buClr>
                        <a:buFont typeface="Wingdings" panose="05000000000000000000" pitchFamily="2" charset="2"/>
                        <a:buNone/>
                      </a:pPr>
                      <a:r>
                        <a:rPr lang="fr-FR" sz="1050" b="1" i="0" u="none" strike="noStrike" kern="1200" cap="none">
                          <a:solidFill>
                            <a:schemeClr val="tx1"/>
                          </a:solidFill>
                          <a:latin typeface="+mj-lt"/>
                          <a:ea typeface="+mn-ea"/>
                          <a:cs typeface="+mn-cs"/>
                          <a:sym typeface="Arial"/>
                        </a:rPr>
                        <a:t>Parnasse Maif – refonte des processus </a:t>
                      </a:r>
                      <a:r>
                        <a:rPr lang="fr-FR" sz="1050" b="1" i="0" u="none" strike="noStrike" kern="1200" cap="none">
                          <a:solidFill>
                            <a:schemeClr val="tx1"/>
                          </a:solidFill>
                          <a:latin typeface="+mn-lt"/>
                          <a:ea typeface="+mn-ea"/>
                          <a:cs typeface="+mn-cs"/>
                          <a:sym typeface="Arial"/>
                        </a:rPr>
                        <a:t>Contrat et Prestation pour l’activité </a:t>
                      </a:r>
                      <a:r>
                        <a:rPr lang="fr-FR" sz="1050" b="1" i="0" u="none" strike="noStrike" kern="1200" cap="none">
                          <a:solidFill>
                            <a:schemeClr val="tx1"/>
                          </a:solidFill>
                          <a:latin typeface="+mj-lt"/>
                          <a:ea typeface="+mn-ea"/>
                          <a:cs typeface="+mn-cs"/>
                          <a:sym typeface="Arial"/>
                        </a:rPr>
                        <a:t>Prévoyance individuelle et assurance couverture de prêts, en anticipation d’un changement progiciel</a:t>
                      </a:r>
                    </a:p>
                  </a:txBody>
                  <a:tcPr marT="18000">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b="0" kern="1200">
                          <a:solidFill>
                            <a:schemeClr val="tx1"/>
                          </a:solidFill>
                          <a:latin typeface="+mj-lt"/>
                          <a:ea typeface="+mn-ea"/>
                          <a:cs typeface="+mn-cs"/>
                        </a:rPr>
                        <a:t>Niort</a:t>
                      </a:r>
                    </a:p>
                  </a:txBody>
                  <a:tcPr marT="18000" anchor="ctr">
                    <a:lnT w="12700" cap="flat" cmpd="sng" algn="ctr">
                      <a:solidFill>
                        <a:schemeClr val="bg2"/>
                      </a:solidFill>
                      <a:prstDash val="solid"/>
                      <a:round/>
                      <a:headEnd type="none" w="med" len="med"/>
                      <a:tailEnd type="none" w="med" len="med"/>
                    </a:lnT>
                  </a:tcPr>
                </a:tc>
                <a:tc hMerge="1">
                  <a:txBody>
                    <a:bodyPr/>
                    <a:lstStyle/>
                    <a:p>
                      <a:pPr marL="0" marR="0" lvl="0" indent="0" algn="ctr" defTabSz="514321" rtl="0" eaLnBrk="1" fontAlgn="auto" latinLnBrk="0" hangingPunct="1">
                        <a:lnSpc>
                          <a:spcPct val="100000"/>
                        </a:lnSpc>
                        <a:spcBef>
                          <a:spcPts val="0"/>
                        </a:spcBef>
                        <a:spcAft>
                          <a:spcPts val="0"/>
                        </a:spcAft>
                        <a:buClrTx/>
                        <a:buSzTx/>
                        <a:buFontTx/>
                        <a:buNone/>
                        <a:tabLst/>
                        <a:defRPr/>
                      </a:pPr>
                      <a:r>
                        <a:rPr lang="fr-FR" sz="1050" kern="1200">
                          <a:solidFill>
                            <a:schemeClr val="tx1"/>
                          </a:solidFill>
                          <a:latin typeface="+mn-lt"/>
                          <a:ea typeface="+mn-ea"/>
                          <a:cs typeface="+mn-cs"/>
                        </a:rPr>
                        <a:t>2013</a:t>
                      </a:r>
                    </a:p>
                  </a:txBody>
                  <a:tcPr marT="18000"/>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b="0" kern="1200">
                          <a:solidFill>
                            <a:schemeClr val="tx1"/>
                          </a:solidFill>
                          <a:latin typeface="+mj-lt"/>
                          <a:ea typeface="+mn-ea"/>
                          <a:cs typeface="+mn-cs"/>
                        </a:rPr>
                        <a:t>2011-2012</a:t>
                      </a:r>
                    </a:p>
                  </a:txBody>
                  <a:tcPr marT="1800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497454989"/>
                  </a:ext>
                </a:extLst>
              </a:tr>
              <a:tr h="370840">
                <a:tc>
                  <a:txBody>
                    <a:bodyPr/>
                    <a:lstStyle/>
                    <a:p>
                      <a:pPr marL="360000" indent="-360000">
                        <a:spcBef>
                          <a:spcPts val="600"/>
                        </a:spcBef>
                        <a:buClr>
                          <a:schemeClr val="accent1"/>
                        </a:buClr>
                        <a:buFont typeface="Wingdings" panose="05000000000000000000" pitchFamily="2" charset="2"/>
                        <a:buChar char="§"/>
                      </a:pPr>
                      <a:endParaRPr lang="fr-FR" sz="1000">
                        <a:latin typeface="+mj-lt"/>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0070C0"/>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kern="1200" cap="none">
                          <a:solidFill>
                            <a:schemeClr val="tx1"/>
                          </a:solidFill>
                          <a:latin typeface="+mj-lt"/>
                          <a:ea typeface="+mn-ea"/>
                          <a:cs typeface="+mn-cs"/>
                          <a:sym typeface="Arial"/>
                        </a:rPr>
                        <a:t>Rétro documentation des fiches produit Prévoyance</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kern="1200" cap="none">
                          <a:solidFill>
                            <a:schemeClr val="tx1"/>
                          </a:solidFill>
                          <a:latin typeface="+mj-lt"/>
                          <a:ea typeface="+mn-ea"/>
                          <a:cs typeface="+mn-cs"/>
                          <a:sym typeface="Arial"/>
                        </a:rPr>
                        <a:t>Analyse (quanti et quali) et formalisation des processus Contrat (relation réseau, relation client, adhésion, cotisation et recouvrement, vie du contrat) et Prestation (relation client, déclaration, instruction, analyse médicale, offre, règlement)</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kern="1200" cap="none">
                          <a:solidFill>
                            <a:schemeClr val="tx1"/>
                          </a:solidFill>
                          <a:latin typeface="+mj-lt"/>
                          <a:ea typeface="+mn-ea"/>
                          <a:cs typeface="+mn-cs"/>
                          <a:sym typeface="Arial"/>
                        </a:rPr>
                        <a:t>Compréhension des difficultés rencontrées (coût / délai / qualité client ou collaborateur) et proposition de pistes d’améliorations (orga ou faisables dans le progiciel sans écart)</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kern="1200" cap="none">
                          <a:solidFill>
                            <a:schemeClr val="tx1"/>
                          </a:solidFill>
                          <a:latin typeface="+mj-lt"/>
                          <a:ea typeface="+mn-ea"/>
                          <a:cs typeface="+mn-cs"/>
                          <a:sym typeface="Arial"/>
                        </a:rPr>
                        <a:t>Assistance à la conception des processus cibles dans le progiciel</a:t>
                      </a:r>
                    </a:p>
                  </a:txBody>
                  <a:tcPr marT="18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175" cap="flat" cmpd="sng" algn="ctr">
                      <a:solidFill>
                        <a:srgbClr val="0070C0"/>
                      </a:solidFill>
                      <a:prstDash val="solid"/>
                      <a:round/>
                      <a:headEnd type="none" w="med" len="med"/>
                      <a:tailEnd type="none" w="med" len="med"/>
                    </a:lnB>
                  </a:tcPr>
                </a:tc>
                <a:tc gridSpan="3">
                  <a:txBody>
                    <a:bodyPr/>
                    <a:lstStyle/>
                    <a:p>
                      <a:endParaRPr lang="fr-FR" sz="900" b="0" kern="1200">
                        <a:solidFill>
                          <a:schemeClr val="tx1"/>
                        </a:solidFill>
                        <a:latin typeface="+mj-lt"/>
                        <a:ea typeface="+mn-ea"/>
                        <a:cs typeface="+mn-cs"/>
                      </a:endParaRPr>
                    </a:p>
                  </a:txBody>
                  <a:tcPr marT="18000"/>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114521103"/>
                  </a:ext>
                </a:extLst>
              </a:tr>
            </a:tbl>
          </a:graphicData>
        </a:graphic>
      </p:graphicFrame>
      <p:sp>
        <p:nvSpPr>
          <p:cNvPr id="44" name="Titre 3">
            <a:extLst>
              <a:ext uri="{FF2B5EF4-FFF2-40B4-BE49-F238E27FC236}">
                <a16:creationId xmlns:a16="http://schemas.microsoft.com/office/drawing/2014/main" id="{A701F5D0-898E-4B8E-96FA-99DF84B7AC97}"/>
              </a:ext>
            </a:extLst>
          </p:cNvPr>
          <p:cNvSpPr>
            <a:spLocks noGrp="1"/>
          </p:cNvSpPr>
          <p:nvPr>
            <p:ph type="title"/>
          </p:nvPr>
        </p:nvSpPr>
        <p:spPr>
          <a:xfrm>
            <a:off x="396655" y="292153"/>
            <a:ext cx="9907072" cy="611288"/>
          </a:xfrm>
        </p:spPr>
        <p:txBody>
          <a:bodyPr/>
          <a:lstStyle/>
          <a:p>
            <a:r>
              <a:rPr lang="fr-FR" sz="2000" cap="none">
                <a:latin typeface="Arial Black" panose="020B0A04020102020204" pitchFamily="34" charset="0"/>
              </a:rPr>
              <a:t>David CASTELNAU</a:t>
            </a:r>
            <a:br>
              <a:rPr lang="fr-FR" b="0">
                <a:latin typeface="Arial Black" panose="020B0A04020102020204" pitchFamily="34" charset="0"/>
              </a:rPr>
            </a:br>
            <a:r>
              <a:rPr lang="fr-FR" sz="1400" b="0" cap="none" spc="-56">
                <a:latin typeface="Arial Black" panose="020B0A04020102020204" pitchFamily="34" charset="0"/>
              </a:rPr>
              <a:t>Manager senior (19 années d’expérience) </a:t>
            </a:r>
            <a:r>
              <a:rPr kumimoji="0" lang="fr-FR" sz="1400" b="0" i="0" u="none" strike="noStrike" kern="1200" cap="none" spc="-56" normalizeH="0" baseline="0" noProof="0">
                <a:ln>
                  <a:noFill/>
                </a:ln>
                <a:solidFill>
                  <a:srgbClr val="44398A"/>
                </a:solidFill>
                <a:effectLst/>
                <a:uLnTx/>
                <a:uFillTx/>
                <a:latin typeface="Arial Black" panose="020B0A04020102020204" pitchFamily="34" charset="0"/>
                <a:ea typeface="+mn-ea"/>
                <a:cs typeface="+mn-cs"/>
                <a:sym typeface="Montserrat"/>
              </a:rPr>
              <a:t>- 1/2</a:t>
            </a:r>
            <a:endParaRPr lang="fr-FR">
              <a:latin typeface="Arial Black" panose="020B0A04020102020204" pitchFamily="34" charset="0"/>
            </a:endParaRPr>
          </a:p>
        </p:txBody>
      </p:sp>
      <p:graphicFrame>
        <p:nvGraphicFramePr>
          <p:cNvPr id="46" name="Tableau 45">
            <a:extLst>
              <a:ext uri="{FF2B5EF4-FFF2-40B4-BE49-F238E27FC236}">
                <a16:creationId xmlns:a16="http://schemas.microsoft.com/office/drawing/2014/main" id="{9B88C77B-3F72-44A5-BB1B-C0FB3C980FF5}"/>
              </a:ext>
            </a:extLst>
          </p:cNvPr>
          <p:cNvGraphicFramePr>
            <a:graphicFrameLocks noGrp="1"/>
          </p:cNvGraphicFramePr>
          <p:nvPr>
            <p:extLst>
              <p:ext uri="{D42A27DB-BD31-4B8C-83A1-F6EECF244321}">
                <p14:modId xmlns:p14="http://schemas.microsoft.com/office/powerpoint/2010/main" val="4991129"/>
              </p:ext>
            </p:extLst>
          </p:nvPr>
        </p:nvGraphicFramePr>
        <p:xfrm>
          <a:off x="355242" y="1719082"/>
          <a:ext cx="3358342" cy="4852759"/>
        </p:xfrm>
        <a:graphic>
          <a:graphicData uri="http://schemas.openxmlformats.org/drawingml/2006/table">
            <a:tbl>
              <a:tblPr firstRow="1" bandRow="1">
                <a:tableStyleId>{2D5ABB26-0587-4C30-8999-92F81FD0307C}</a:tableStyleId>
              </a:tblPr>
              <a:tblGrid>
                <a:gridCol w="3358342">
                  <a:extLst>
                    <a:ext uri="{9D8B030D-6E8A-4147-A177-3AD203B41FA5}">
                      <a16:colId xmlns:a16="http://schemas.microsoft.com/office/drawing/2014/main" val="2856406043"/>
                    </a:ext>
                  </a:extLst>
                </a:gridCol>
              </a:tblGrid>
              <a:tr h="228599">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Formations</a:t>
                      </a: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204566"/>
                  </a:ext>
                </a:extLst>
              </a:tr>
              <a:tr h="646519">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1" i="0" u="none" strike="noStrike" kern="1200" cap="none">
                          <a:solidFill>
                            <a:schemeClr val="tx1"/>
                          </a:solidFill>
                          <a:latin typeface="Arial (En-têtes)"/>
                          <a:ea typeface="+mn-ea"/>
                          <a:cs typeface="+mn-cs"/>
                          <a:sym typeface="Arial"/>
                        </a:rPr>
                        <a:t>University of Technology Sydney</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1" i="0" u="none" strike="noStrike" kern="1200" cap="none">
                          <a:solidFill>
                            <a:schemeClr val="tx1"/>
                          </a:solidFill>
                          <a:latin typeface="Arial (En-têtes)"/>
                          <a:ea typeface="+mn-ea"/>
                          <a:cs typeface="+mn-cs"/>
                          <a:sym typeface="Arial"/>
                        </a:rPr>
                        <a:t>Institut national des télécommunications</a:t>
                      </a:r>
                      <a:endParaRPr lang="fr-FR" sz="1200" b="1">
                        <a:latin typeface="+mj-lt"/>
                      </a:endParaRP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691408330"/>
                  </a:ext>
                </a:extLst>
              </a:tr>
              <a:tr h="26552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Compétences</a:t>
                      </a: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0446002"/>
                  </a:ext>
                </a:extLst>
              </a:tr>
              <a:tr h="1182280">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Chaîne de valeur de l’assurance de per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Refonte de processus assuranc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Performance des front et back-office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Management de proje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Modèle de coût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i="0" u="none" strike="noStrike" kern="1200" cap="none">
                          <a:solidFill>
                            <a:schemeClr val="tx1"/>
                          </a:solidFill>
                          <a:latin typeface="Arial (En-têtes)"/>
                          <a:ea typeface="+mn-ea"/>
                          <a:cs typeface="+mn-cs"/>
                          <a:sym typeface="Arial"/>
                        </a:rPr>
                        <a:t>Cas d’usage Data et IA</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lang="fr-FR" sz="1000" b="1" kern="1200">
                        <a:solidFill>
                          <a:schemeClr val="tx1"/>
                        </a:solidFill>
                        <a:latin typeface="+mj-lt"/>
                        <a:ea typeface="+mn-ea"/>
                        <a:cs typeface="+mn-cs"/>
                      </a:endParaRP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534310555"/>
                  </a:ext>
                </a:extLst>
              </a:tr>
              <a:tr h="558368">
                <a:tc>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400" b="1" kern="1200">
                          <a:solidFill>
                            <a:schemeClr val="bg2"/>
                          </a:solidFill>
                          <a:latin typeface="+mj-lt"/>
                          <a:ea typeface="+mn-ea"/>
                          <a:cs typeface="+mn-cs"/>
                        </a:rPr>
                        <a:t>Langues :</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200">
                          <a:latin typeface="+mj-lt"/>
                        </a:rPr>
                        <a:t>Anglais : </a:t>
                      </a:r>
                      <a:r>
                        <a:rPr lang="fr-FR" sz="1200">
                          <a:solidFill>
                            <a:srgbClr val="0070C0"/>
                          </a:solidFill>
                          <a:latin typeface="+mj-lt"/>
                          <a:sym typeface="Wingdings" panose="05000000000000000000" pitchFamily="2" charset="2"/>
                        </a:rPr>
                        <a:t></a:t>
                      </a:r>
                      <a:r>
                        <a:rPr lang="fr-FR" sz="120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200">
                          <a:latin typeface="+mj-lt"/>
                        </a:rPr>
                        <a:t>Allemand : </a:t>
                      </a:r>
                      <a:r>
                        <a:rPr lang="fr-FR" sz="1200">
                          <a:solidFill>
                            <a:srgbClr val="0070C0"/>
                          </a:solidFill>
                          <a:latin typeface="+mj-lt"/>
                          <a:sym typeface="Wingdings" panose="05000000000000000000" pitchFamily="2" charset="2"/>
                        </a:rPr>
                        <a:t></a:t>
                      </a:r>
                      <a:r>
                        <a:rPr lang="fr-FR" sz="1200">
                          <a:solidFill>
                            <a:schemeClr val="accent2">
                              <a:lumMod val="20000"/>
                              <a:lumOff val="80000"/>
                            </a:schemeClr>
                          </a:solidFill>
                          <a:latin typeface="+mj-lt"/>
                          <a:sym typeface="Wingdings" panose="05000000000000000000" pitchFamily="2" charset="2"/>
                        </a:rPr>
                        <a:t></a:t>
                      </a:r>
                      <a:endParaRPr lang="fr-FR" sz="1200">
                        <a:latin typeface="+mj-lt"/>
                      </a:endParaRP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200">
                          <a:latin typeface="+mj-lt"/>
                        </a:rPr>
                        <a:t>Polonais : </a:t>
                      </a:r>
                      <a:r>
                        <a:rPr lang="fr-FR" sz="1200">
                          <a:solidFill>
                            <a:srgbClr val="0070C0"/>
                          </a:solidFill>
                          <a:latin typeface="+mj-lt"/>
                          <a:sym typeface="Wingdings" panose="05000000000000000000" pitchFamily="2" charset="2"/>
                        </a:rPr>
                        <a:t></a:t>
                      </a:r>
                      <a:r>
                        <a:rPr lang="fr-FR" sz="120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1000">
                        <a:solidFill>
                          <a:schemeClr val="accent2">
                            <a:lumMod val="20000"/>
                            <a:lumOff val="80000"/>
                          </a:schemeClr>
                        </a:solidFill>
                        <a:latin typeface="+mj-lt"/>
                        <a:sym typeface="Wingdings" panose="05000000000000000000" pitchFamily="2" charset="2"/>
                      </a:endParaRPr>
                    </a:p>
                  </a:txBody>
                  <a:tcPr/>
                </a:tc>
                <a:extLst>
                  <a:ext uri="{0D108BD9-81ED-4DB2-BD59-A6C34878D82A}">
                    <a16:rowId xmlns:a16="http://schemas.microsoft.com/office/drawing/2014/main" val="226718782"/>
                  </a:ext>
                </a:extLst>
              </a:tr>
              <a:tr h="280361">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Principaux clients</a:t>
                      </a: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17742779"/>
                  </a:ext>
                </a:extLst>
              </a:tr>
              <a:tr h="367604">
                <a:tc>
                  <a:txBody>
                    <a:bodyPr/>
                    <a:lstStyle/>
                    <a:p>
                      <a:pPr marL="0" indent="0">
                        <a:buClr>
                          <a:schemeClr val="accent1"/>
                        </a:buClr>
                        <a:buFont typeface="Wingdings" panose="05000000000000000000" pitchFamily="2" charset="2"/>
                        <a:buNone/>
                      </a:pPr>
                      <a:r>
                        <a:rPr lang="fr-FR" sz="1200" baseline="0">
                          <a:latin typeface="+mj-lt"/>
                        </a:rPr>
                        <a:t>MAIF, MMA, GMF, Maaf, Gan Assurances, Abeille, Eurofil, Generali, Relyens, Pacifica, Aésio, AXA GO</a:t>
                      </a:r>
                      <a:endParaRPr lang="fr-FR" sz="1200">
                        <a:latin typeface="+mj-lt"/>
                      </a:endParaRP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655801330"/>
                  </a:ext>
                </a:extLst>
              </a:tr>
            </a:tbl>
          </a:graphicData>
        </a:graphic>
      </p:graphicFrame>
      <p:pic>
        <p:nvPicPr>
          <p:cNvPr id="51" name="Graphique 50" descr="Calendrier journalier">
            <a:extLst>
              <a:ext uri="{FF2B5EF4-FFF2-40B4-BE49-F238E27FC236}">
                <a16:creationId xmlns:a16="http://schemas.microsoft.com/office/drawing/2014/main" id="{732C610B-9A79-424F-849A-1CAE10C0D73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15147" y="2181811"/>
            <a:ext cx="228600" cy="228600"/>
          </a:xfrm>
          <a:prstGeom prst="rect">
            <a:avLst/>
          </a:prstGeom>
        </p:spPr>
      </p:pic>
      <p:pic>
        <p:nvPicPr>
          <p:cNvPr id="52" name="Graphique 51" descr="Repère">
            <a:extLst>
              <a:ext uri="{FF2B5EF4-FFF2-40B4-BE49-F238E27FC236}">
                <a16:creationId xmlns:a16="http://schemas.microsoft.com/office/drawing/2014/main" id="{3B2E1E39-0BEB-4F4B-B158-696404842B3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33475" y="2173146"/>
            <a:ext cx="264219" cy="264219"/>
          </a:xfrm>
          <a:prstGeom prst="rect">
            <a:avLst/>
          </a:prstGeom>
        </p:spPr>
      </p:pic>
      <p:sp>
        <p:nvSpPr>
          <p:cNvPr id="65" name="Espace réservé du contenu 7">
            <a:extLst>
              <a:ext uri="{FF2B5EF4-FFF2-40B4-BE49-F238E27FC236}">
                <a16:creationId xmlns:a16="http://schemas.microsoft.com/office/drawing/2014/main" id="{2B91D39A-3E18-4164-B79E-1ECE1E6510B2}"/>
              </a:ext>
            </a:extLst>
          </p:cNvPr>
          <p:cNvSpPr txBox="1">
            <a:spLocks/>
          </p:cNvSpPr>
          <p:nvPr/>
        </p:nvSpPr>
        <p:spPr>
          <a:xfrm>
            <a:off x="355242" y="1015279"/>
            <a:ext cx="11703720" cy="611289"/>
          </a:xfrm>
          <a:prstGeom prst="rect">
            <a:avLst/>
          </a:prstGeom>
          <a:noFill/>
          <a:ln>
            <a:solidFill>
              <a:schemeClr val="tx2"/>
            </a:solidFill>
          </a:ln>
        </p:spPr>
        <p:txBody>
          <a:bodyPr vert="horz" lIns="72000" tIns="72000" rIns="72000" bIns="72000" rtlCol="0">
            <a:normAutofit lnSpcReduction="10000"/>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spcBef>
                <a:spcPts val="0"/>
              </a:spcBef>
              <a:buClr>
                <a:srgbClr val="0070C0"/>
              </a:buClr>
              <a:buNone/>
              <a:defRPr/>
            </a:pPr>
            <a:r>
              <a:rPr lang="fr-FR" sz="1100">
                <a:solidFill>
                  <a:srgbClr val="0070C0"/>
                </a:solidFill>
                <a:latin typeface="+mj-lt"/>
              </a:rPr>
              <a:t>David est consultant en organisation spécialisé dans l’assurance. Il est rompu à l’efficacité opérationnelle qu’il a exercée sur des missions de refonte de processus, de définition de modèle opérationnel cible. Au fil de son expérience dans l’assurance, il a développé une très bonne connaissance de la chaine de valeur de l’assurance de personnes et des processus de relation client, gestion de contrats et sinistres et des organisations mises en œuvre.</a:t>
            </a:r>
          </a:p>
        </p:txBody>
      </p:sp>
      <p:pic>
        <p:nvPicPr>
          <p:cNvPr id="4" name="Imag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05082" y="136347"/>
            <a:ext cx="792000" cy="720000"/>
          </a:xfrm>
          <a:prstGeom prst="rect">
            <a:avLst/>
          </a:prstGeom>
        </p:spPr>
      </p:pic>
      <p:pic>
        <p:nvPicPr>
          <p:cNvPr id="28" name="Graphique 53" descr="Repère">
            <a:extLst>
              <a:ext uri="{FF2B5EF4-FFF2-40B4-BE49-F238E27FC236}">
                <a16:creationId xmlns:a16="http://schemas.microsoft.com/office/drawing/2014/main" id="{ED7251EB-C0BD-47D9-AD05-811864C3E02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33475" y="4860976"/>
            <a:ext cx="264219" cy="264219"/>
          </a:xfrm>
          <a:prstGeom prst="rect">
            <a:avLst/>
          </a:prstGeom>
        </p:spPr>
      </p:pic>
      <p:pic>
        <p:nvPicPr>
          <p:cNvPr id="29" name="Graphique 55" descr="Calendrier journalier">
            <a:extLst>
              <a:ext uri="{FF2B5EF4-FFF2-40B4-BE49-F238E27FC236}">
                <a16:creationId xmlns:a16="http://schemas.microsoft.com/office/drawing/2014/main" id="{0154B94E-4C4D-466D-9E78-AAE1FA91E9C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33435" y="4878785"/>
            <a:ext cx="228600" cy="228600"/>
          </a:xfrm>
          <a:prstGeom prst="rect">
            <a:avLst/>
          </a:prstGeom>
        </p:spPr>
      </p:pic>
      <p:pic>
        <p:nvPicPr>
          <p:cNvPr id="5" name="Graphique 4" descr="Calendrier journalier">
            <a:extLst>
              <a:ext uri="{FF2B5EF4-FFF2-40B4-BE49-F238E27FC236}">
                <a16:creationId xmlns:a16="http://schemas.microsoft.com/office/drawing/2014/main" id="{824F8E82-2ABB-57C6-7BFF-4E85BE8CDAC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05170" y="3607199"/>
            <a:ext cx="228600" cy="228600"/>
          </a:xfrm>
          <a:prstGeom prst="rect">
            <a:avLst/>
          </a:prstGeom>
        </p:spPr>
      </p:pic>
      <p:pic>
        <p:nvPicPr>
          <p:cNvPr id="7" name="Graphique 6" descr="Repère">
            <a:extLst>
              <a:ext uri="{FF2B5EF4-FFF2-40B4-BE49-F238E27FC236}">
                <a16:creationId xmlns:a16="http://schemas.microsoft.com/office/drawing/2014/main" id="{BEAAF1E0-9847-119D-D43A-5770E30B0E2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33475" y="3598534"/>
            <a:ext cx="264219" cy="264219"/>
          </a:xfrm>
          <a:prstGeom prst="rect">
            <a:avLst/>
          </a:prstGeom>
        </p:spPr>
      </p:pic>
      <p:pic>
        <p:nvPicPr>
          <p:cNvPr id="8" name="Image 7">
            <a:extLst>
              <a:ext uri="{FF2B5EF4-FFF2-40B4-BE49-F238E27FC236}">
                <a16:creationId xmlns:a16="http://schemas.microsoft.com/office/drawing/2014/main" id="{50153171-743B-56FE-10B2-0143CA41A8F4}"/>
              </a:ext>
            </a:extLst>
          </p:cNvPr>
          <p:cNvPicPr>
            <a:picLocks noChangeAspect="1"/>
          </p:cNvPicPr>
          <p:nvPr/>
        </p:nvPicPr>
        <p:blipFill>
          <a:blip r:embed="rId7"/>
          <a:stretch>
            <a:fillRect/>
          </a:stretch>
        </p:blipFill>
        <p:spPr>
          <a:xfrm>
            <a:off x="4126857" y="2662090"/>
            <a:ext cx="701625" cy="280650"/>
          </a:xfrm>
          <a:prstGeom prst="rect">
            <a:avLst/>
          </a:prstGeom>
        </p:spPr>
      </p:pic>
      <p:pic>
        <p:nvPicPr>
          <p:cNvPr id="3" name="Image 2">
            <a:extLst>
              <a:ext uri="{FF2B5EF4-FFF2-40B4-BE49-F238E27FC236}">
                <a16:creationId xmlns:a16="http://schemas.microsoft.com/office/drawing/2014/main" id="{71322547-EA8C-1BC2-1736-6889A250E7C4}"/>
              </a:ext>
            </a:extLst>
          </p:cNvPr>
          <p:cNvPicPr>
            <a:picLocks noChangeAspect="1"/>
          </p:cNvPicPr>
          <p:nvPr/>
        </p:nvPicPr>
        <p:blipFill>
          <a:blip r:embed="rId8"/>
          <a:stretch>
            <a:fillRect/>
          </a:stretch>
        </p:blipFill>
        <p:spPr>
          <a:xfrm>
            <a:off x="4306978" y="3844794"/>
            <a:ext cx="333821" cy="337572"/>
          </a:xfrm>
          <a:prstGeom prst="rect">
            <a:avLst/>
          </a:prstGeom>
        </p:spPr>
      </p:pic>
      <p:pic>
        <p:nvPicPr>
          <p:cNvPr id="11" name="Image 10">
            <a:extLst>
              <a:ext uri="{FF2B5EF4-FFF2-40B4-BE49-F238E27FC236}">
                <a16:creationId xmlns:a16="http://schemas.microsoft.com/office/drawing/2014/main" id="{5C520D6E-F721-388F-6045-F468042BACDC}"/>
              </a:ext>
            </a:extLst>
          </p:cNvPr>
          <p:cNvPicPr>
            <a:picLocks noChangeAspect="1"/>
          </p:cNvPicPr>
          <p:nvPr/>
        </p:nvPicPr>
        <p:blipFill>
          <a:blip r:embed="rId9"/>
          <a:stretch>
            <a:fillRect/>
          </a:stretch>
        </p:blipFill>
        <p:spPr>
          <a:xfrm>
            <a:off x="4306978" y="5318350"/>
            <a:ext cx="333821" cy="320898"/>
          </a:xfrm>
          <a:prstGeom prst="rect">
            <a:avLst/>
          </a:prstGeom>
        </p:spPr>
      </p:pic>
      <p:sp>
        <p:nvSpPr>
          <p:cNvPr id="2" name="Rectangle 1">
            <a:extLst>
              <a:ext uri="{FF2B5EF4-FFF2-40B4-BE49-F238E27FC236}">
                <a16:creationId xmlns:a16="http://schemas.microsoft.com/office/drawing/2014/main" id="{01EB7CAD-19A1-9CC3-5862-86CC9A88B5F2}"/>
              </a:ext>
            </a:extLst>
          </p:cNvPr>
          <p:cNvSpPr/>
          <p:nvPr/>
        </p:nvSpPr>
        <p:spPr>
          <a:xfrm>
            <a:off x="3734458" y="6413086"/>
            <a:ext cx="7164000"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87839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Graphique 50" descr="Calendrier journalier">
            <a:extLst>
              <a:ext uri="{FF2B5EF4-FFF2-40B4-BE49-F238E27FC236}">
                <a16:creationId xmlns:a16="http://schemas.microsoft.com/office/drawing/2014/main" id="{732C610B-9A79-424F-849A-1CAE10C0D73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33393" y="1573733"/>
            <a:ext cx="228600" cy="228600"/>
          </a:xfrm>
          <a:prstGeom prst="rect">
            <a:avLst/>
          </a:prstGeom>
        </p:spPr>
      </p:pic>
      <p:pic>
        <p:nvPicPr>
          <p:cNvPr id="52" name="Graphique 51" descr="Repère">
            <a:extLst>
              <a:ext uri="{FF2B5EF4-FFF2-40B4-BE49-F238E27FC236}">
                <a16:creationId xmlns:a16="http://schemas.microsoft.com/office/drawing/2014/main" id="{3B2E1E39-0BEB-4F4B-B158-696404842B3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48518" y="1555924"/>
            <a:ext cx="264219" cy="264219"/>
          </a:xfrm>
          <a:prstGeom prst="rect">
            <a:avLst/>
          </a:prstGeom>
        </p:spPr>
      </p:pic>
      <p:pic>
        <p:nvPicPr>
          <p:cNvPr id="28" name="Graphique 53" descr="Repère">
            <a:extLst>
              <a:ext uri="{FF2B5EF4-FFF2-40B4-BE49-F238E27FC236}">
                <a16:creationId xmlns:a16="http://schemas.microsoft.com/office/drawing/2014/main" id="{ED7251EB-C0BD-47D9-AD05-811864C3E02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52868" y="3422578"/>
            <a:ext cx="264219" cy="264219"/>
          </a:xfrm>
          <a:prstGeom prst="rect">
            <a:avLst/>
          </a:prstGeom>
        </p:spPr>
      </p:pic>
      <p:pic>
        <p:nvPicPr>
          <p:cNvPr id="29" name="Graphique 55" descr="Calendrier journalier">
            <a:extLst>
              <a:ext uri="{FF2B5EF4-FFF2-40B4-BE49-F238E27FC236}">
                <a16:creationId xmlns:a16="http://schemas.microsoft.com/office/drawing/2014/main" id="{0154B94E-4C4D-466D-9E78-AAE1FA91E9C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35317" y="3440387"/>
            <a:ext cx="228600" cy="228600"/>
          </a:xfrm>
          <a:prstGeom prst="rect">
            <a:avLst/>
          </a:prstGeom>
        </p:spPr>
      </p:pic>
      <p:pic>
        <p:nvPicPr>
          <p:cNvPr id="27" name="Graphique 26" descr="Repère">
            <a:extLst>
              <a:ext uri="{FF2B5EF4-FFF2-40B4-BE49-F238E27FC236}">
                <a16:creationId xmlns:a16="http://schemas.microsoft.com/office/drawing/2014/main" id="{DC447A9A-C36A-4569-9147-989E205C34F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48518" y="2500922"/>
            <a:ext cx="264219" cy="264219"/>
          </a:xfrm>
          <a:prstGeom prst="rect">
            <a:avLst/>
          </a:prstGeom>
        </p:spPr>
      </p:pic>
      <p:pic>
        <p:nvPicPr>
          <p:cNvPr id="30" name="Graphique 29" descr="Calendrier journalier">
            <a:extLst>
              <a:ext uri="{FF2B5EF4-FFF2-40B4-BE49-F238E27FC236}">
                <a16:creationId xmlns:a16="http://schemas.microsoft.com/office/drawing/2014/main" id="{C780B4F2-8A37-402F-9B0E-FCFA556E0A0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33393" y="2515525"/>
            <a:ext cx="228600" cy="228600"/>
          </a:xfrm>
          <a:prstGeom prst="rect">
            <a:avLst/>
          </a:prstGeom>
        </p:spPr>
      </p:pic>
      <p:graphicFrame>
        <p:nvGraphicFramePr>
          <p:cNvPr id="50" name="Tableau 49">
            <a:extLst>
              <a:ext uri="{FF2B5EF4-FFF2-40B4-BE49-F238E27FC236}">
                <a16:creationId xmlns:a16="http://schemas.microsoft.com/office/drawing/2014/main" id="{91EF391E-FD98-4C57-B3FC-704AE319DA44}"/>
              </a:ext>
            </a:extLst>
          </p:cNvPr>
          <p:cNvGraphicFramePr>
            <a:graphicFrameLocks noGrp="1"/>
          </p:cNvGraphicFramePr>
          <p:nvPr>
            <p:extLst>
              <p:ext uri="{D42A27DB-BD31-4B8C-83A1-F6EECF244321}">
                <p14:modId xmlns:p14="http://schemas.microsoft.com/office/powerpoint/2010/main" val="588581740"/>
              </p:ext>
            </p:extLst>
          </p:nvPr>
        </p:nvGraphicFramePr>
        <p:xfrm>
          <a:off x="348316" y="1198070"/>
          <a:ext cx="11724622" cy="4261790"/>
        </p:xfrm>
        <a:graphic>
          <a:graphicData uri="http://schemas.openxmlformats.org/drawingml/2006/table">
            <a:tbl>
              <a:tblPr firstRow="1" bandRow="1">
                <a:tableStyleId>{2D5ABB26-0587-4C30-8999-92F81FD0307C}</a:tableStyleId>
              </a:tblPr>
              <a:tblGrid>
                <a:gridCol w="1221276">
                  <a:extLst>
                    <a:ext uri="{9D8B030D-6E8A-4147-A177-3AD203B41FA5}">
                      <a16:colId xmlns:a16="http://schemas.microsoft.com/office/drawing/2014/main" val="3696629346"/>
                    </a:ext>
                  </a:extLst>
                </a:gridCol>
                <a:gridCol w="8859725">
                  <a:extLst>
                    <a:ext uri="{9D8B030D-6E8A-4147-A177-3AD203B41FA5}">
                      <a16:colId xmlns:a16="http://schemas.microsoft.com/office/drawing/2014/main" val="1537716266"/>
                    </a:ext>
                  </a:extLst>
                </a:gridCol>
                <a:gridCol w="752891">
                  <a:extLst>
                    <a:ext uri="{9D8B030D-6E8A-4147-A177-3AD203B41FA5}">
                      <a16:colId xmlns:a16="http://schemas.microsoft.com/office/drawing/2014/main" val="3742444051"/>
                    </a:ext>
                  </a:extLst>
                </a:gridCol>
                <a:gridCol w="890730">
                  <a:extLst>
                    <a:ext uri="{9D8B030D-6E8A-4147-A177-3AD203B41FA5}">
                      <a16:colId xmlns:a16="http://schemas.microsoft.com/office/drawing/2014/main" val="2353250946"/>
                    </a:ext>
                  </a:extLst>
                </a:gridCol>
              </a:tblGrid>
              <a:tr h="310550">
                <a:tc gridSpan="4">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tc>
                <a:extLst>
                  <a:ext uri="{0D108BD9-81ED-4DB2-BD59-A6C34878D82A}">
                    <a16:rowId xmlns:a16="http://schemas.microsoft.com/office/drawing/2014/main" val="1428455178"/>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txBody>
                  <a:tcPr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a:latin typeface="+mj-lt"/>
                        </a:rPr>
                        <a:t>Convergences dommages : identification de synergies possibles entre les back offices (contrat et sinistre) Aviva IARD et Eurofil</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latin typeface="+mj-lt"/>
                        </a:rPr>
                        <a:t>Responsable de mission</a:t>
                      </a:r>
                    </a:p>
                  </a:txBody>
                  <a:tcPr marT="18000"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b="0" i="0">
                          <a:latin typeface="+mj-lt"/>
                        </a:rPr>
                        <a:t>Paris – Rouen</a:t>
                      </a:r>
                    </a:p>
                  </a:txBody>
                  <a:tcPr marT="18000" anchor="ctr">
                    <a:lnT w="12700" cap="flat" cmpd="sng" algn="ctr">
                      <a:solidFill>
                        <a:schemeClr val="bg2"/>
                      </a:solidFill>
                      <a:prstDash val="solid"/>
                      <a:round/>
                      <a:headEnd type="none" w="med" len="med"/>
                      <a:tailEnd type="none" w="med" len="med"/>
                    </a:lnT>
                    <a:lnB>
                      <a:noFill/>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a:latin typeface="+mj-lt"/>
                        </a:rPr>
                        <a:t>2018</a:t>
                      </a:r>
                    </a:p>
                  </a:txBody>
                  <a:tcPr marT="18000" anchor="ctr">
                    <a:lnT w="12700" cap="flat" cmpd="sng" algn="ctr">
                      <a:solidFill>
                        <a:schemeClr val="bg2"/>
                      </a:solidFill>
                      <a:prstDash val="solid"/>
                      <a:round/>
                      <a:headEnd type="none" w="med" len="med"/>
                      <a:tailEnd type="none" w="med" len="med"/>
                    </a:lnT>
                    <a:lnB>
                      <a:noFill/>
                    </a:lnB>
                  </a:tcPr>
                </a:tc>
                <a:extLst>
                  <a:ext uri="{0D108BD9-81ED-4DB2-BD59-A6C34878D82A}">
                    <a16:rowId xmlns:a16="http://schemas.microsoft.com/office/drawing/2014/main" val="2280561566"/>
                  </a:ext>
                </a:extLst>
              </a:tr>
              <a:tr h="370840">
                <a:tc>
                  <a:txBody>
                    <a:bodyPr/>
                    <a:lstStyle/>
                    <a:p>
                      <a:pPr marL="360000" indent="-360000">
                        <a:spcBef>
                          <a:spcPts val="600"/>
                        </a:spcBef>
                        <a:buClr>
                          <a:schemeClr val="accent1"/>
                        </a:buClr>
                        <a:buFont typeface="Wingdings" panose="05000000000000000000" pitchFamily="2" charset="2"/>
                        <a:buChar char="§"/>
                      </a:pPr>
                      <a:endParaRPr lang="fr-FR" sz="1000">
                        <a:latin typeface="+mj-lt"/>
                      </a:endParaRPr>
                    </a:p>
                  </a:txBody>
                  <a:tcPr>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Revue de portefeuilles et de process avec un focus performance (client et opérationnelle) et analyse des moyens (outils et compétence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Identification d’axes de convergence possibles et opportunité / faisabilité</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Etablissement de scénarios de modèles opérationnels cibles et trajectoires de mise en œuvre</a:t>
                      </a:r>
                    </a:p>
                  </a:txBody>
                  <a:tcPr marT="18000">
                    <a:lnR>
                      <a:noFill/>
                    </a:lnR>
                    <a:lnB w="12700" cap="flat" cmpd="sng" algn="ctr">
                      <a:solidFill>
                        <a:schemeClr val="bg2"/>
                      </a:solidFill>
                      <a:prstDash val="solid"/>
                      <a:round/>
                      <a:headEnd type="none" w="med" len="med"/>
                      <a:tailEnd type="none" w="med" len="med"/>
                    </a:lnB>
                  </a:tcPr>
                </a:tc>
                <a:tc gridSpan="2">
                  <a:txBody>
                    <a:bodyPr/>
                    <a:lstStyle/>
                    <a:p>
                      <a:endParaRPr lang="fr-FR" sz="1000">
                        <a:latin typeface="+mj-lt"/>
                      </a:endParaRPr>
                    </a:p>
                  </a:txBody>
                  <a:tcPr marT="1800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marT="1800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4542377"/>
                  </a:ext>
                </a:extLst>
              </a:tr>
              <a:tr h="370840">
                <a:tc row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a:latin typeface="+mj-lt"/>
                        </a:rPr>
                        <a:t>Refonte du pilotage sinistre</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latin typeface="+mj-lt"/>
                        </a:rPr>
                        <a:t>Manager opérationnel de la mission</a:t>
                      </a:r>
                    </a:p>
                  </a:txBody>
                  <a:tcPr marT="18000"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a:latin typeface="+mj-lt"/>
                        </a:rPr>
                        <a:t>Paris</a:t>
                      </a:r>
                      <a:endParaRPr lang="fr-FR" sz="1000" b="0" i="1">
                        <a:latin typeface="+mj-lt"/>
                      </a:endParaRPr>
                    </a:p>
                  </a:txBody>
                  <a:tcPr marT="18000"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a:latin typeface="+mj-lt"/>
                        </a:rPr>
                        <a:t>2014</a:t>
                      </a:r>
                    </a:p>
                  </a:txBody>
                  <a:tcPr marT="1800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2371158782"/>
                  </a:ext>
                </a:extLst>
              </a:tr>
              <a:tr h="370840">
                <a:tc v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p>
                  </a:txBody>
                  <a:tcPr anchor="ctr">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Révision des objectifs poursuivis avec le CODIR AIS (efficience, performance économique, « penser client », conformité)</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Etat des lieux de l’existant : sources de données, indicateurs et axes d’analyses, process de constitution / validation / formalisation / diffus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Conception du tableau de bord de pilotage cible (~BSC) : Tdb de 15 indicateurs direction, déclinés au niveau des pôles</a:t>
                      </a:r>
                    </a:p>
                  </a:txBody>
                  <a:tcPr marT="18000">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gridSpan="2">
                  <a:txBody>
                    <a:bodyPr/>
                    <a:lstStyle/>
                    <a:p>
                      <a:endParaRPr lang="fr-FR" sz="1000">
                        <a:latin typeface="+mj-lt"/>
                      </a:endParaRPr>
                    </a:p>
                  </a:txBody>
                  <a:tcPr marT="18000">
                    <a:lnB w="12700" cap="flat" cmpd="sng" algn="ctr">
                      <a:solidFill>
                        <a:schemeClr val="bg2"/>
                      </a:solidFill>
                      <a:prstDash val="solid"/>
                      <a:round/>
                      <a:headEnd type="none" w="med" len="med"/>
                      <a:tailEnd type="none" w="med" len="med"/>
                    </a:lnB>
                  </a:tcPr>
                </a:tc>
                <a:tc hMerge="1">
                  <a:txBody>
                    <a:bodyPr/>
                    <a:lstStyle/>
                    <a:p>
                      <a:endParaRPr lang="fr-FR"/>
                    </a:p>
                  </a:txBody>
                  <a:tcPr marT="18000"/>
                </a:tc>
                <a:extLst>
                  <a:ext uri="{0D108BD9-81ED-4DB2-BD59-A6C34878D82A}">
                    <a16:rowId xmlns:a16="http://schemas.microsoft.com/office/drawing/2014/main" val="3294493748"/>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1pPr>
                      <a:lvl2pPr marL="45716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2pPr>
                      <a:lvl3pPr marL="914333"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3pPr>
                      <a:lvl4pPr marL="1371498"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4pPr>
                      <a:lvl5pPr marL="1828664"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5pPr>
                      <a:lvl6pPr marL="2285829"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6pPr>
                      <a:lvl7pPr marL="2742995"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7pPr>
                      <a:lvl8pPr marL="3200160"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8pPr>
                      <a:lvl9pPr marL="3657326" marR="0" algn="l" defTabSz="914333"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Calibri" panose="020F0502020204030204"/>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i="0" u="none" strike="noStrike" kern="1200" cap="none" noProof="0">
                          <a:solidFill>
                            <a:schemeClr val="tx1"/>
                          </a:solidFill>
                          <a:latin typeface="+mj-lt"/>
                          <a:ea typeface="+mn-ea"/>
                          <a:cs typeface="+mn-cs"/>
                          <a:sym typeface="Arial"/>
                        </a:rPr>
                        <a:t>Relyens – Diagnostic de la gouvernance Data et définition des actions d’amélioration</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solidFill>
                            <a:schemeClr val="tx1"/>
                          </a:solidFill>
                          <a:latin typeface="+mj-lt"/>
                        </a:rPr>
                        <a:t>Directeur de mission</a:t>
                      </a:r>
                    </a:p>
                  </a:txBody>
                  <a:tcPr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j-lt"/>
                          <a:ea typeface="+mn-ea"/>
                          <a:cs typeface="+mn-cs"/>
                        </a:rPr>
                        <a:t>Paris</a:t>
                      </a:r>
                    </a:p>
                  </a:txBody>
                  <a:tcPr marT="18000"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j-lt"/>
                          <a:ea typeface="+mn-ea"/>
                          <a:cs typeface="+mn-cs"/>
                        </a:rPr>
                        <a:t>2023</a:t>
                      </a:r>
                    </a:p>
                  </a:txBody>
                  <a:tcPr marT="1800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42261533"/>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kern="1200" cap="none">
                          <a:solidFill>
                            <a:schemeClr val="tx1"/>
                          </a:solidFill>
                          <a:latin typeface="+mj-lt"/>
                          <a:ea typeface="+mn-ea"/>
                          <a:cs typeface="+mn-cs"/>
                          <a:sym typeface="Arial"/>
                        </a:rPr>
                        <a:t>Diagnostic de la gouvernance (stratégie et pilotage, politique, orga et compétences, process, outil)</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b="0" i="0" u="none" strike="noStrike" kern="1200" cap="none">
                          <a:solidFill>
                            <a:schemeClr val="tx1"/>
                          </a:solidFill>
                          <a:latin typeface="+mj-lt"/>
                          <a:ea typeface="+mn-ea"/>
                          <a:cs typeface="+mn-cs"/>
                          <a:sym typeface="Arial"/>
                        </a:rPr>
                        <a:t>Structuration des 3 chantiers de mise en œuvre : 1 – Recensement, qualification des cas d’usage IA et Data / feuille de route à 18 mois, 2 – Plate forme data et IA, 3 – Organisation et instances pour piloter la stratégie et la feuille de route en embarquant l’ensemble de l’entreprise</a:t>
                      </a:r>
                    </a:p>
                  </a:txBody>
                  <a:tcPr marT="18000" anchor="ct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00" b="0" i="1">
                        <a:latin typeface="+mj-lt"/>
                      </a:endParaRPr>
                    </a:p>
                  </a:txBody>
                  <a:tcPr marT="18000" anchor="ctr">
                    <a:lnR w="12700" cap="flat" cmpd="sng" algn="ctr">
                      <a:solidFill>
                        <a:schemeClr val="bg1"/>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00">
                        <a:latin typeface="+mj-lt"/>
                      </a:endParaRPr>
                    </a:p>
                  </a:txBody>
                  <a:tcPr marT="18000" anchor="ctr">
                    <a:lnL w="12700" cap="flat" cmpd="sng" algn="ctr">
                      <a:solidFill>
                        <a:schemeClr val="bg1"/>
                      </a:solidFill>
                      <a:prstDash val="solid"/>
                      <a:round/>
                      <a:headEnd type="none" w="med" len="med"/>
                      <a:tailEnd type="none" w="med" len="med"/>
                    </a:lnL>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11319215"/>
                  </a:ext>
                </a:extLst>
              </a:tr>
              <a:tr h="3708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050" b="0" i="1">
                        <a:latin typeface="+mj-lt"/>
                      </a:endParaRPr>
                    </a:p>
                  </a:txBody>
                  <a:tcPr anchor="ctr">
                    <a:lnT w="12700" cap="flat" cmpd="sng" algn="ctr">
                      <a:solidFill>
                        <a:schemeClr val="bg1"/>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a:latin typeface="+mj-lt"/>
                        </a:rPr>
                        <a:t>Refonte des processus de gestion et relation client (périmètre santé)</a:t>
                      </a:r>
                    </a:p>
                    <a:p>
                      <a:pPr marL="0" marR="0" lvl="0" indent="0" algn="l" defTabSz="514321" rtl="0" eaLnBrk="1" fontAlgn="auto" latinLnBrk="0" hangingPunct="1">
                        <a:lnSpc>
                          <a:spcPct val="100000"/>
                        </a:lnSpc>
                        <a:spcBef>
                          <a:spcPts val="0"/>
                        </a:spcBef>
                        <a:spcAft>
                          <a:spcPts val="0"/>
                        </a:spcAft>
                        <a:buClrTx/>
                        <a:buSzTx/>
                        <a:buFontTx/>
                        <a:buNone/>
                        <a:tabLst/>
                        <a:defRPr/>
                      </a:pPr>
                      <a:r>
                        <a:rPr lang="fr-FR" sz="1050" b="0" i="1">
                          <a:latin typeface="+mj-lt"/>
                        </a:rPr>
                        <a:t>Responsable de mission</a:t>
                      </a:r>
                    </a:p>
                  </a:txBody>
                  <a:tcPr marT="18000" anchor="ct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a:latin typeface="+mj-lt"/>
                        </a:rPr>
                        <a:t>Paris</a:t>
                      </a:r>
                      <a:endParaRPr lang="fr-FR" sz="1000" b="0" i="1">
                        <a:latin typeface="+mj-lt"/>
                      </a:endParaRPr>
                    </a:p>
                  </a:txBody>
                  <a:tcPr marT="18000"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00">
                          <a:latin typeface="+mj-lt"/>
                        </a:rPr>
                        <a:t>2009 - 2010</a:t>
                      </a:r>
                    </a:p>
                  </a:txBody>
                  <a:tcPr marT="18000" anchor="ctr">
                    <a:lnL w="127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321839037"/>
                  </a:ext>
                </a:extLst>
              </a:tr>
              <a:tr h="492757">
                <a:tc>
                  <a:txBody>
                    <a:bodyPr/>
                    <a:lstStyle/>
                    <a:p>
                      <a:pPr marL="360000" indent="-360000">
                        <a:spcBef>
                          <a:spcPts val="600"/>
                        </a:spcBef>
                        <a:buClr>
                          <a:schemeClr val="accent1"/>
                        </a:buClr>
                        <a:buFont typeface="Wingdings" panose="05000000000000000000" pitchFamily="2" charset="2"/>
                        <a:buChar char="§"/>
                      </a:pPr>
                      <a:endParaRPr lang="fr-FR" sz="1000">
                        <a:latin typeface="+mj-lt"/>
                      </a:endParaRPr>
                    </a:p>
                  </a:txBody>
                  <a:tcPr/>
                </a:tc>
                <a:tc>
                  <a:txBody>
                    <a:bodyPr/>
                    <a:lstStyle/>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Cartographie des processus existants, immersions gestionnaires et ateliers pour expliciter les existants, les axes d’amélioration possible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Design de la cible selon les grands principes suivants : priorisation des demandes client, mutualisation de tâches administrative, spécialisation pour les tâches plus techniques, mesure de la performance par processu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Intégration des exigences des processus cibles dans le cadre de la refonte du SI (GED, Workflow, Gestion)</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00" kern="1200">
                          <a:solidFill>
                            <a:schemeClr val="tx1"/>
                          </a:solidFill>
                          <a:latin typeface="+mj-lt"/>
                          <a:ea typeface="+mn-ea"/>
                          <a:cs typeface="+mn-cs"/>
                        </a:rPr>
                        <a:t>Accompagnement du changement auprès des 150 gestionnaires et 40 télé conseillers, en particulier des managers</a:t>
                      </a:r>
                    </a:p>
                  </a:txBody>
                  <a:tcPr marT="18000"/>
                </a:tc>
                <a:tc gridSpan="2">
                  <a:txBody>
                    <a:bodyPr/>
                    <a:lstStyle/>
                    <a:p>
                      <a:endParaRPr lang="fr-FR" sz="1000">
                        <a:latin typeface="+mj-lt"/>
                      </a:endParaRPr>
                    </a:p>
                  </a:txBody>
                  <a:tcPr marT="18000"/>
                </a:tc>
                <a:tc hMerge="1">
                  <a:txBody>
                    <a:bodyPr/>
                    <a:lstStyle/>
                    <a:p>
                      <a:endParaRPr lang="fr-FR"/>
                    </a:p>
                  </a:txBody>
                  <a:tcPr marT="18000"/>
                </a:tc>
                <a:extLst>
                  <a:ext uri="{0D108BD9-81ED-4DB2-BD59-A6C34878D82A}">
                    <a16:rowId xmlns:a16="http://schemas.microsoft.com/office/drawing/2014/main" val="3890956908"/>
                  </a:ext>
                </a:extLst>
              </a:tr>
            </a:tbl>
          </a:graphicData>
        </a:graphic>
      </p:graphicFrame>
      <p:pic>
        <p:nvPicPr>
          <p:cNvPr id="18" name="Image 17">
            <a:extLst>
              <a:ext uri="{FF2B5EF4-FFF2-40B4-BE49-F238E27FC236}">
                <a16:creationId xmlns:a16="http://schemas.microsoft.com/office/drawing/2014/main" id="{5B0B32E6-68E7-7EE7-D6E9-84806E92AE9C}"/>
              </a:ext>
            </a:extLst>
          </p:cNvPr>
          <p:cNvPicPr>
            <a:picLocks noChangeAspect="1"/>
          </p:cNvPicPr>
          <p:nvPr/>
        </p:nvPicPr>
        <p:blipFill>
          <a:blip r:embed="rId6"/>
          <a:stretch>
            <a:fillRect/>
          </a:stretch>
        </p:blipFill>
        <p:spPr>
          <a:xfrm>
            <a:off x="738432" y="1977164"/>
            <a:ext cx="541948" cy="191870"/>
          </a:xfrm>
          <a:prstGeom prst="rect">
            <a:avLst/>
          </a:prstGeom>
        </p:spPr>
      </p:pic>
      <p:pic>
        <p:nvPicPr>
          <p:cNvPr id="5" name="Image 4">
            <a:extLst>
              <a:ext uri="{FF2B5EF4-FFF2-40B4-BE49-F238E27FC236}">
                <a16:creationId xmlns:a16="http://schemas.microsoft.com/office/drawing/2014/main" id="{D416AB16-5F59-0314-691C-4D361CCA8EC0}"/>
              </a:ext>
            </a:extLst>
          </p:cNvPr>
          <p:cNvPicPr>
            <a:picLocks noChangeAspect="1"/>
          </p:cNvPicPr>
          <p:nvPr/>
        </p:nvPicPr>
        <p:blipFill>
          <a:blip r:embed="rId7"/>
          <a:stretch>
            <a:fillRect/>
          </a:stretch>
        </p:blipFill>
        <p:spPr>
          <a:xfrm>
            <a:off x="836372" y="4750882"/>
            <a:ext cx="346069" cy="264219"/>
          </a:xfrm>
          <a:prstGeom prst="rect">
            <a:avLst/>
          </a:prstGeom>
        </p:spPr>
      </p:pic>
      <p:pic>
        <p:nvPicPr>
          <p:cNvPr id="6" name="Image 5">
            <a:extLst>
              <a:ext uri="{FF2B5EF4-FFF2-40B4-BE49-F238E27FC236}">
                <a16:creationId xmlns:a16="http://schemas.microsoft.com/office/drawing/2014/main" id="{7850B839-DE89-70CA-4BF4-FB3B2C5FE39A}"/>
              </a:ext>
            </a:extLst>
          </p:cNvPr>
          <p:cNvPicPr>
            <a:picLocks noChangeAspect="1"/>
          </p:cNvPicPr>
          <p:nvPr/>
        </p:nvPicPr>
        <p:blipFill>
          <a:blip r:embed="rId8"/>
          <a:stretch>
            <a:fillRect/>
          </a:stretch>
        </p:blipFill>
        <p:spPr>
          <a:xfrm>
            <a:off x="738432" y="1716084"/>
            <a:ext cx="541949" cy="196024"/>
          </a:xfrm>
          <a:prstGeom prst="rect">
            <a:avLst/>
          </a:prstGeom>
          <a:ln>
            <a:noFill/>
          </a:ln>
        </p:spPr>
      </p:pic>
      <p:pic>
        <p:nvPicPr>
          <p:cNvPr id="3" name="Image 2">
            <a:extLst>
              <a:ext uri="{FF2B5EF4-FFF2-40B4-BE49-F238E27FC236}">
                <a16:creationId xmlns:a16="http://schemas.microsoft.com/office/drawing/2014/main" id="{367CF3B0-CA5F-55C5-6C63-B64CF96CE2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05082" y="136347"/>
            <a:ext cx="792000" cy="720000"/>
          </a:xfrm>
          <a:prstGeom prst="rect">
            <a:avLst/>
          </a:prstGeom>
        </p:spPr>
      </p:pic>
      <p:pic>
        <p:nvPicPr>
          <p:cNvPr id="4" name="Graphique 53" descr="Repère">
            <a:extLst>
              <a:ext uri="{FF2B5EF4-FFF2-40B4-BE49-F238E27FC236}">
                <a16:creationId xmlns:a16="http://schemas.microsoft.com/office/drawing/2014/main" id="{5C9124B5-CAE6-B3B5-EE3F-8166AEC1D03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59352" y="4323138"/>
            <a:ext cx="264219" cy="264219"/>
          </a:xfrm>
          <a:prstGeom prst="rect">
            <a:avLst/>
          </a:prstGeom>
        </p:spPr>
      </p:pic>
      <p:pic>
        <p:nvPicPr>
          <p:cNvPr id="7" name="Graphique 55" descr="Calendrier journalier">
            <a:extLst>
              <a:ext uri="{FF2B5EF4-FFF2-40B4-BE49-F238E27FC236}">
                <a16:creationId xmlns:a16="http://schemas.microsoft.com/office/drawing/2014/main" id="{3EC1CDEB-37E3-EAF0-E7B0-EABC2BD99E0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41801" y="4340947"/>
            <a:ext cx="228600" cy="228600"/>
          </a:xfrm>
          <a:prstGeom prst="rect">
            <a:avLst/>
          </a:prstGeom>
        </p:spPr>
      </p:pic>
      <p:pic>
        <p:nvPicPr>
          <p:cNvPr id="10" name="Image 9">
            <a:extLst>
              <a:ext uri="{FF2B5EF4-FFF2-40B4-BE49-F238E27FC236}">
                <a16:creationId xmlns:a16="http://schemas.microsoft.com/office/drawing/2014/main" id="{9E091571-4716-C349-797E-AC285B66B36E}"/>
              </a:ext>
            </a:extLst>
          </p:cNvPr>
          <p:cNvPicPr>
            <a:picLocks noChangeAspect="1"/>
          </p:cNvPicPr>
          <p:nvPr/>
        </p:nvPicPr>
        <p:blipFill>
          <a:blip r:embed="rId10"/>
          <a:stretch>
            <a:fillRect/>
          </a:stretch>
        </p:blipFill>
        <p:spPr>
          <a:xfrm>
            <a:off x="791951" y="2691373"/>
            <a:ext cx="390490" cy="385649"/>
          </a:xfrm>
          <a:prstGeom prst="rect">
            <a:avLst/>
          </a:prstGeom>
        </p:spPr>
      </p:pic>
      <p:pic>
        <p:nvPicPr>
          <p:cNvPr id="2" name="Image 1">
            <a:extLst>
              <a:ext uri="{FF2B5EF4-FFF2-40B4-BE49-F238E27FC236}">
                <a16:creationId xmlns:a16="http://schemas.microsoft.com/office/drawing/2014/main" id="{B8E73212-49A5-F32D-6F6C-A921BAAD7F56}"/>
              </a:ext>
            </a:extLst>
          </p:cNvPr>
          <p:cNvPicPr>
            <a:picLocks noChangeAspect="1"/>
          </p:cNvPicPr>
          <p:nvPr/>
        </p:nvPicPr>
        <p:blipFill>
          <a:blip r:embed="rId11"/>
          <a:stretch>
            <a:fillRect/>
          </a:stretch>
        </p:blipFill>
        <p:spPr>
          <a:xfrm>
            <a:off x="640164" y="3738628"/>
            <a:ext cx="694064" cy="264405"/>
          </a:xfrm>
          <a:prstGeom prst="rect">
            <a:avLst/>
          </a:prstGeom>
        </p:spPr>
      </p:pic>
      <p:sp>
        <p:nvSpPr>
          <p:cNvPr id="13" name="Titre 3">
            <a:extLst>
              <a:ext uri="{FF2B5EF4-FFF2-40B4-BE49-F238E27FC236}">
                <a16:creationId xmlns:a16="http://schemas.microsoft.com/office/drawing/2014/main" id="{C7B5FEAC-D508-22E1-9F67-72C1ED0CC901}"/>
              </a:ext>
            </a:extLst>
          </p:cNvPr>
          <p:cNvSpPr>
            <a:spLocks noGrp="1"/>
          </p:cNvSpPr>
          <p:nvPr>
            <p:ph type="title"/>
          </p:nvPr>
        </p:nvSpPr>
        <p:spPr>
          <a:xfrm>
            <a:off x="396655" y="292153"/>
            <a:ext cx="9907072" cy="611288"/>
          </a:xfrm>
        </p:spPr>
        <p:txBody>
          <a:bodyPr/>
          <a:lstStyle/>
          <a:p>
            <a:r>
              <a:rPr lang="fr-FR" sz="2000" cap="none">
                <a:latin typeface="Arial Black" panose="020B0A04020102020204" pitchFamily="34" charset="0"/>
              </a:rPr>
              <a:t>David CASTELNAU</a:t>
            </a:r>
            <a:br>
              <a:rPr lang="fr-FR" b="0">
                <a:latin typeface="Arial Black" panose="020B0A04020102020204" pitchFamily="34" charset="0"/>
              </a:rPr>
            </a:br>
            <a:r>
              <a:rPr lang="fr-FR" sz="1400" b="0" cap="none" spc="-56">
                <a:latin typeface="Arial Black" panose="020B0A04020102020204" pitchFamily="34" charset="0"/>
              </a:rPr>
              <a:t>Manager senior (19 années d’expérience) </a:t>
            </a:r>
            <a:r>
              <a:rPr kumimoji="0" lang="fr-FR" sz="1400" b="0" i="0" u="none" strike="noStrike" kern="1200" cap="none" spc="-56" normalizeH="0" baseline="0" noProof="0">
                <a:ln>
                  <a:noFill/>
                </a:ln>
                <a:solidFill>
                  <a:srgbClr val="44398A"/>
                </a:solidFill>
                <a:effectLst/>
                <a:uLnTx/>
                <a:uFillTx/>
                <a:latin typeface="Arial Black" panose="020B0A04020102020204" pitchFamily="34" charset="0"/>
                <a:ea typeface="+mn-ea"/>
                <a:cs typeface="+mn-cs"/>
                <a:sym typeface="Montserrat"/>
              </a:rPr>
              <a:t>- 2/2</a:t>
            </a:r>
            <a:endParaRPr lang="fr-FR">
              <a:latin typeface="Arial Black" panose="020B0A04020102020204" pitchFamily="34" charset="0"/>
            </a:endParaRPr>
          </a:p>
        </p:txBody>
      </p:sp>
    </p:spTree>
    <p:extLst>
      <p:ext uri="{BB962C8B-B14F-4D97-AF65-F5344CB8AC3E}">
        <p14:creationId xmlns:p14="http://schemas.microsoft.com/office/powerpoint/2010/main" val="16362392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B1CA06-63B4-1946-F9B7-7FEA0E10B894}"/>
              </a:ext>
            </a:extLst>
          </p:cNvPr>
          <p:cNvSpPr txBox="1">
            <a:spLocks/>
          </p:cNvSpPr>
          <p:nvPr/>
        </p:nvSpPr>
        <p:spPr>
          <a:xfrm>
            <a:off x="316191" y="366638"/>
            <a:ext cx="10515600" cy="470898"/>
          </a:xfrm>
          <a:prstGeom prst="rect">
            <a:avLst/>
          </a:prstGeom>
        </p:spPr>
        <p:txBody>
          <a:bodyPr vert="horz" wrap="square" lIns="0" tIns="0" rIns="0" bIns="0" rtlCol="0" anchor="t" anchorCtr="0">
            <a:spAutoFit/>
          </a:bodyPr>
          <a:lstStyle>
            <a:lvl1pPr algn="l" defTabSz="914333" rtl="0" eaLnBrk="1" latinLnBrk="0" hangingPunct="1">
              <a:lnSpc>
                <a:spcPct val="90000"/>
              </a:lnSpc>
              <a:spcBef>
                <a:spcPct val="0"/>
              </a:spcBef>
              <a:buNone/>
              <a:defRPr sz="1500" b="1" kern="1200">
                <a:solidFill>
                  <a:schemeClr val="accent5"/>
                </a:solidFill>
                <a:latin typeface="Montserrat" panose="00000500000000000000" pitchFamily="2" charset="0"/>
                <a:ea typeface="+mj-ea"/>
                <a:cs typeface="+mj-cs"/>
              </a:defRPr>
            </a:lvl1pPr>
          </a:lstStyle>
          <a:p>
            <a:pPr>
              <a:buClrTx/>
              <a:buFontTx/>
            </a:pPr>
            <a:r>
              <a:rPr lang="fr-FR" sz="2000">
                <a:solidFill>
                  <a:srgbClr val="43358B"/>
                </a:solidFill>
                <a:latin typeface="Arial Black" panose="020B0A04020102020204" pitchFamily="34" charset="0"/>
              </a:rPr>
              <a:t>Soumaya ZERHOUNI</a:t>
            </a:r>
            <a:br>
              <a:rPr lang="fr-FR" sz="2000">
                <a:latin typeface="Arial Black" panose="020B0A04020102020204" pitchFamily="34" charset="0"/>
              </a:rPr>
            </a:br>
            <a:r>
              <a:rPr lang="fr-FR" sz="1400" b="0">
                <a:solidFill>
                  <a:srgbClr val="43358B"/>
                </a:solidFill>
                <a:latin typeface="Arial Black" panose="020B0A04020102020204" pitchFamily="34" charset="0"/>
              </a:rPr>
              <a:t>Consultante Senior (8 ans d’expérience)</a:t>
            </a:r>
            <a:endParaRPr lang="fr-FR" sz="2000" b="0">
              <a:solidFill>
                <a:srgbClr val="43358B"/>
              </a:solidFill>
              <a:latin typeface="Arial Black" panose="020B0A04020102020204" pitchFamily="34" charset="0"/>
            </a:endParaRPr>
          </a:p>
        </p:txBody>
      </p:sp>
      <p:sp>
        <p:nvSpPr>
          <p:cNvPr id="3" name="Espace réservé du contenu 7">
            <a:extLst>
              <a:ext uri="{FF2B5EF4-FFF2-40B4-BE49-F238E27FC236}">
                <a16:creationId xmlns:a16="http://schemas.microsoft.com/office/drawing/2014/main" id="{611F5D4A-A6BF-A0D8-176B-4FDAA7CE617D}"/>
              </a:ext>
            </a:extLst>
          </p:cNvPr>
          <p:cNvSpPr txBox="1">
            <a:spLocks/>
          </p:cNvSpPr>
          <p:nvPr/>
        </p:nvSpPr>
        <p:spPr>
          <a:xfrm>
            <a:off x="334962" y="1010760"/>
            <a:ext cx="11737975" cy="594789"/>
          </a:xfrm>
          <a:prstGeom prst="rect">
            <a:avLst/>
          </a:prstGeom>
          <a:noFill/>
          <a:ln>
            <a:solidFill>
              <a:srgbClr val="43358B"/>
            </a:solidFill>
          </a:ln>
        </p:spPr>
        <p:txBody>
          <a:bodyPr vert="horz" lIns="96000" tIns="96000" rIns="96000" bIns="96000" rtlCol="0" anchor="ctr">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spcBef>
                <a:spcPts val="0"/>
              </a:spcBef>
              <a:buClr>
                <a:srgbClr val="0070C0"/>
              </a:buClr>
              <a:buNone/>
              <a:defRPr/>
            </a:pPr>
            <a:r>
              <a:rPr lang="fr-FR" sz="1100">
                <a:solidFill>
                  <a:srgbClr val="0070C0"/>
                </a:solidFill>
                <a:latin typeface="+mj-lt"/>
              </a:rPr>
              <a:t>Forte de 8 ans d’expérience sur des missions de conseil en stratégie et management, Soumaya a pu développer au cours de ses missions de très fortes capacités d’analyse et de synthèse sur des sujets complexes, et elle s’est occupée à de nombreuses reprises des volets communication des projets sur lesquels elle intervient. Dotée d’un bon sens de l’écoute et d’un très bon relationnel, elle sait créer une relation de proximité avec ses interlocuteurs projet. </a:t>
            </a:r>
          </a:p>
        </p:txBody>
      </p:sp>
      <p:graphicFrame>
        <p:nvGraphicFramePr>
          <p:cNvPr id="4" name="Tableau 3">
            <a:extLst>
              <a:ext uri="{FF2B5EF4-FFF2-40B4-BE49-F238E27FC236}">
                <a16:creationId xmlns:a16="http://schemas.microsoft.com/office/drawing/2014/main" id="{3C6C7661-FACF-12B1-EE92-D9EF78EC9C24}"/>
              </a:ext>
            </a:extLst>
          </p:cNvPr>
          <p:cNvGraphicFramePr>
            <a:graphicFrameLocks noGrp="1"/>
          </p:cNvGraphicFramePr>
          <p:nvPr>
            <p:extLst>
              <p:ext uri="{D42A27DB-BD31-4B8C-83A1-F6EECF244321}">
                <p14:modId xmlns:p14="http://schemas.microsoft.com/office/powerpoint/2010/main" val="2993262131"/>
              </p:ext>
            </p:extLst>
          </p:nvPr>
        </p:nvGraphicFramePr>
        <p:xfrm>
          <a:off x="316191" y="1584575"/>
          <a:ext cx="3447357" cy="5158331"/>
        </p:xfrm>
        <a:graphic>
          <a:graphicData uri="http://schemas.openxmlformats.org/drawingml/2006/table">
            <a:tbl>
              <a:tblPr firstRow="1" bandRow="1">
                <a:tableStyleId>{2D5ABB26-0587-4C30-8999-92F81FD0307C}</a:tableStyleId>
              </a:tblPr>
              <a:tblGrid>
                <a:gridCol w="3447357">
                  <a:extLst>
                    <a:ext uri="{9D8B030D-6E8A-4147-A177-3AD203B41FA5}">
                      <a16:colId xmlns:a16="http://schemas.microsoft.com/office/drawing/2014/main" val="2856406043"/>
                    </a:ext>
                  </a:extLst>
                </a:gridCol>
              </a:tblGrid>
              <a:tr h="428939">
                <a:tc>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400" b="1" kern="1200">
                          <a:solidFill>
                            <a:srgbClr val="43358B"/>
                          </a:solidFill>
                          <a:latin typeface="+mj-lt"/>
                          <a:ea typeface="+mn-ea"/>
                          <a:cs typeface="+mn-cs"/>
                        </a:rPr>
                        <a:t>Formation</a:t>
                      </a:r>
                      <a:endParaRPr lang="fr-FR" sz="1200" b="1" kern="1200">
                        <a:solidFill>
                          <a:srgbClr val="43358B"/>
                        </a:solidFill>
                        <a:latin typeface="+mj-lt"/>
                        <a:ea typeface="+mn-ea"/>
                        <a:cs typeface="+mn-cs"/>
                      </a:endParaRPr>
                    </a:p>
                  </a:txBody>
                  <a:tcPr marL="121920" marR="121920" marT="60960" marB="60960">
                    <a:lnL>
                      <a:noFill/>
                    </a:lnL>
                    <a:lnR>
                      <a:noFill/>
                    </a:lnR>
                    <a:lnT>
                      <a:noFill/>
                    </a:lnT>
                    <a:lnB w="12700" cap="flat" cmpd="sng" algn="ctr">
                      <a:solidFill>
                        <a:srgbClr val="43358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204566"/>
                  </a:ext>
                </a:extLst>
              </a:tr>
              <a:tr h="856440">
                <a:tc>
                  <a:txBody>
                    <a:bodyPr/>
                    <a:lstStyle/>
                    <a:p>
                      <a:pPr marL="171450" indent="-171450">
                        <a:spcBef>
                          <a:spcPts val="0"/>
                        </a:spcBef>
                        <a:buClr>
                          <a:schemeClr val="tx1"/>
                        </a:buClr>
                        <a:buFont typeface="Montserrat" panose="020B0604020202020204" charset="0"/>
                        <a:buChar char="›"/>
                      </a:pPr>
                      <a:r>
                        <a:rPr lang="fr-FR" sz="1200" b="1" kern="1200">
                          <a:solidFill>
                            <a:schemeClr val="tx1"/>
                          </a:solidFill>
                          <a:latin typeface="+mj-lt"/>
                          <a:ea typeface="+mn-ea"/>
                          <a:cs typeface="+mn-cs"/>
                        </a:rPr>
                        <a:t>MSC in management </a:t>
                      </a:r>
                      <a:br>
                        <a:rPr lang="fr-FR" sz="1100" b="1">
                          <a:solidFill>
                            <a:schemeClr val="tx1"/>
                          </a:solidFill>
                          <a:latin typeface="+mj-lt"/>
                        </a:rPr>
                      </a:br>
                      <a:r>
                        <a:rPr lang="fr-FR" sz="1200" kern="1200">
                          <a:solidFill>
                            <a:schemeClr val="tx1"/>
                          </a:solidFill>
                          <a:latin typeface="+mj-lt"/>
                          <a:ea typeface="+mn-ea"/>
                          <a:cs typeface="+mn-cs"/>
                        </a:rPr>
                        <a:t>ESSEC Grande Ecole </a:t>
                      </a:r>
                    </a:p>
                    <a:p>
                      <a:pPr marL="171450" indent="-171450">
                        <a:spcBef>
                          <a:spcPts val="0"/>
                        </a:spcBef>
                        <a:buClr>
                          <a:schemeClr val="tx1"/>
                        </a:buClr>
                        <a:buFont typeface="Montserrat" panose="020B0604020202020204" charset="0"/>
                        <a:buChar char="›"/>
                      </a:pPr>
                      <a:r>
                        <a:rPr lang="fr-FR" sz="1200" b="1" kern="1200">
                          <a:solidFill>
                            <a:schemeClr val="tx1"/>
                          </a:solidFill>
                          <a:latin typeface="+mj-lt"/>
                          <a:ea typeface="+mn-ea"/>
                          <a:cs typeface="+mn-cs"/>
                        </a:rPr>
                        <a:t>Maitrise - Finance </a:t>
                      </a:r>
                      <a:br>
                        <a:rPr lang="fr-FR" sz="1100" b="1">
                          <a:solidFill>
                            <a:schemeClr val="tx1"/>
                          </a:solidFill>
                          <a:latin typeface="+mj-lt"/>
                        </a:rPr>
                      </a:br>
                      <a:r>
                        <a:rPr lang="fr-FR" sz="1200" kern="1200">
                          <a:solidFill>
                            <a:schemeClr val="tx1"/>
                          </a:solidFill>
                          <a:latin typeface="+mj-lt"/>
                          <a:ea typeface="+mn-ea"/>
                          <a:cs typeface="+mn-cs"/>
                        </a:rPr>
                        <a:t>ISCAE Casablanca</a:t>
                      </a: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3691408330"/>
                  </a:ext>
                </a:extLst>
              </a:tr>
              <a:tr h="33528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3358B"/>
                          </a:solidFill>
                          <a:latin typeface="+mj-lt"/>
                          <a:ea typeface="+mn-ea"/>
                          <a:cs typeface="+mn-cs"/>
                        </a:rPr>
                        <a:t>Compétences</a:t>
                      </a:r>
                    </a:p>
                  </a:txBody>
                  <a:tcPr marL="121920" marR="121920" marT="60960" marB="6096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2760446002"/>
                  </a:ext>
                </a:extLst>
              </a:tr>
              <a:tr h="1355531">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kern="1200">
                          <a:solidFill>
                            <a:schemeClr val="tx1"/>
                          </a:solidFill>
                          <a:latin typeface="+mj-lt"/>
                          <a:ea typeface="+mn-ea"/>
                          <a:cs typeface="+mn-cs"/>
                        </a:rPr>
                        <a:t>Cadrage et pilotage de travaux</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kern="1200">
                          <a:solidFill>
                            <a:schemeClr val="tx1"/>
                          </a:solidFill>
                          <a:latin typeface="+mj-lt"/>
                          <a:ea typeface="+mn-ea"/>
                          <a:cs typeface="+mn-cs"/>
                        </a:rPr>
                        <a:t>Optimisation des parcours clien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kern="1200">
                          <a:solidFill>
                            <a:schemeClr val="tx1"/>
                          </a:solidFill>
                          <a:latin typeface="+mj-lt"/>
                          <a:ea typeface="+mn-ea"/>
                          <a:cs typeface="+mn-cs"/>
                        </a:rPr>
                        <a:t>Communication</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kern="1200">
                          <a:solidFill>
                            <a:schemeClr val="tx1"/>
                          </a:solidFill>
                          <a:latin typeface="+mj-lt"/>
                          <a:ea typeface="+mn-ea"/>
                          <a:cs typeface="+mn-cs"/>
                        </a:rPr>
                        <a:t>Démarches RS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200" b="0" kern="1200">
                          <a:solidFill>
                            <a:schemeClr val="tx1"/>
                          </a:solidFill>
                          <a:latin typeface="+mj-lt"/>
                          <a:ea typeface="+mn-ea"/>
                          <a:cs typeface="+mn-cs"/>
                        </a:rPr>
                        <a:t>Expertise  sur les produits de Santé/Prévoyance, IARD et Vie</a:t>
                      </a: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534310555"/>
                  </a:ext>
                </a:extLst>
              </a:tr>
              <a:tr h="993421">
                <a:tc>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400" b="1" kern="1200">
                          <a:solidFill>
                            <a:schemeClr val="bg2"/>
                          </a:solidFill>
                          <a:latin typeface="+mj-lt"/>
                          <a:ea typeface="+mn-ea"/>
                          <a:cs typeface="+mn-cs"/>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808038" algn="l"/>
                        </a:tabLst>
                        <a:defRPr/>
                      </a:pPr>
                      <a:r>
                        <a:rPr lang="fr-FR" sz="1200">
                          <a:solidFill>
                            <a:schemeClr val="tx2">
                              <a:lumMod val="50000"/>
                            </a:schemeClr>
                          </a:solidFill>
                          <a:latin typeface="+mj-lt"/>
                        </a:rPr>
                        <a:t>Anglais : </a:t>
                      </a:r>
                      <a:r>
                        <a:rPr lang="fr-FR" sz="1200">
                          <a:solidFill>
                            <a:srgbClr val="0070C0"/>
                          </a:solidFill>
                          <a:latin typeface="+mj-lt"/>
                          <a:sym typeface="Wingdings" panose="05000000000000000000" pitchFamily="2" charset="2"/>
                        </a:rPr>
                        <a:t></a:t>
                      </a:r>
                      <a:r>
                        <a:rPr lang="fr-FR" sz="120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a:solidFill>
                            <a:schemeClr val="tx2">
                              <a:lumMod val="50000"/>
                            </a:schemeClr>
                          </a:solidFill>
                          <a:latin typeface="+mj-lt"/>
                        </a:rPr>
                        <a:t>Arabe :  </a:t>
                      </a:r>
                      <a:r>
                        <a:rPr lang="fr-FR" sz="1200">
                          <a:solidFill>
                            <a:srgbClr val="0070C0"/>
                          </a:solidFill>
                          <a:latin typeface="+mj-lt"/>
                          <a:sym typeface="Wingdings" panose="05000000000000000000" pitchFamily="2" charset="2"/>
                        </a:rPr>
                        <a:t></a:t>
                      </a:r>
                      <a:endParaRPr lang="fr-FR" sz="1200" b="0" kern="1200">
                        <a:solidFill>
                          <a:srgbClr val="43358B"/>
                        </a:solidFill>
                        <a:latin typeface="+mj-lt"/>
                        <a:ea typeface="+mn-ea"/>
                        <a:cs typeface="+mn-cs"/>
                      </a:endParaRPr>
                    </a:p>
                  </a:txBody>
                  <a:tcPr marL="121920" marR="121920" marT="60960" marB="60960"/>
                </a:tc>
                <a:extLst>
                  <a:ext uri="{0D108BD9-81ED-4DB2-BD59-A6C34878D82A}">
                    <a16:rowId xmlns:a16="http://schemas.microsoft.com/office/drawing/2014/main" val="226718782"/>
                  </a:ext>
                </a:extLst>
              </a:tr>
              <a:tr h="33528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3358B"/>
                          </a:solidFill>
                          <a:latin typeface="+mj-lt"/>
                          <a:ea typeface="+mn-ea"/>
                          <a:cs typeface="+mn-cs"/>
                        </a:rPr>
                        <a:t>Principaux clients</a:t>
                      </a:r>
                    </a:p>
                  </a:txBody>
                  <a:tcPr marL="121920" marR="121920" marT="60960" marB="6096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17742779"/>
                  </a:ext>
                </a:extLst>
              </a:tr>
              <a:tr h="844636">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a:solidFill>
                            <a:schemeClr val="tx1"/>
                          </a:solidFill>
                          <a:latin typeface="+mj-lt"/>
                        </a:rPr>
                        <a:t>Aesio, Agea, Agipi, Allianz, Altaprofits, Aréas France, EoviMcd, Groupama Gan, MAG3, Maif, Malakoff Humanis, MMA, MAF, SNAGAM...</a:t>
                      </a: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655801330"/>
                  </a:ext>
                </a:extLst>
              </a:tr>
            </a:tbl>
          </a:graphicData>
        </a:graphic>
      </p:graphicFrame>
      <p:graphicFrame>
        <p:nvGraphicFramePr>
          <p:cNvPr id="5" name="Tableau 4">
            <a:extLst>
              <a:ext uri="{FF2B5EF4-FFF2-40B4-BE49-F238E27FC236}">
                <a16:creationId xmlns:a16="http://schemas.microsoft.com/office/drawing/2014/main" id="{6621F611-0EC7-2C3E-4764-B923409F0FBA}"/>
              </a:ext>
            </a:extLst>
          </p:cNvPr>
          <p:cNvGraphicFramePr>
            <a:graphicFrameLocks noGrp="1"/>
          </p:cNvGraphicFramePr>
          <p:nvPr>
            <p:extLst>
              <p:ext uri="{D42A27DB-BD31-4B8C-83A1-F6EECF244321}">
                <p14:modId xmlns:p14="http://schemas.microsoft.com/office/powerpoint/2010/main" val="2766605782"/>
              </p:ext>
            </p:extLst>
          </p:nvPr>
        </p:nvGraphicFramePr>
        <p:xfrm>
          <a:off x="4577918" y="1617087"/>
          <a:ext cx="7405075" cy="5200463"/>
        </p:xfrm>
        <a:graphic>
          <a:graphicData uri="http://schemas.openxmlformats.org/drawingml/2006/table">
            <a:tbl>
              <a:tblPr firstRow="1" bandRow="1">
                <a:tableStyleId>{2D5ABB26-0587-4C30-8999-92F81FD0307C}</a:tableStyleId>
              </a:tblPr>
              <a:tblGrid>
                <a:gridCol w="5714517">
                  <a:extLst>
                    <a:ext uri="{9D8B030D-6E8A-4147-A177-3AD203B41FA5}">
                      <a16:colId xmlns:a16="http://schemas.microsoft.com/office/drawing/2014/main" val="1537716266"/>
                    </a:ext>
                  </a:extLst>
                </a:gridCol>
                <a:gridCol w="1690558">
                  <a:extLst>
                    <a:ext uri="{9D8B030D-6E8A-4147-A177-3AD203B41FA5}">
                      <a16:colId xmlns:a16="http://schemas.microsoft.com/office/drawing/2014/main" val="1807725124"/>
                    </a:ext>
                  </a:extLst>
                </a:gridCol>
              </a:tblGrid>
              <a:tr h="410619">
                <a:tc>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400" b="1" kern="1200">
                          <a:solidFill>
                            <a:srgbClr val="43358B"/>
                          </a:solidFill>
                          <a:latin typeface="+mj-lt"/>
                          <a:ea typeface="+mn-ea"/>
                          <a:cs typeface="+mn-cs"/>
                        </a:rPr>
                        <a:t>Expériences pertinentes</a:t>
                      </a:r>
                    </a:p>
                  </a:txBody>
                  <a:tcPr marL="112541" marR="112541" marT="56271" marB="56271">
                    <a:lnB w="12700" cap="flat" cmpd="sng" algn="ctr">
                      <a:solidFill>
                        <a:srgbClr val="43358B"/>
                      </a:solidFill>
                      <a:prstDash val="solid"/>
                      <a:round/>
                      <a:headEnd type="none" w="med" len="med"/>
                      <a:tailEnd type="none" w="med" len="med"/>
                    </a:lnB>
                  </a:tcPr>
                </a:tc>
                <a:tc>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endParaRPr lang="fr-FR" sz="1400" b="1" kern="1200">
                        <a:solidFill>
                          <a:srgbClr val="43358B"/>
                        </a:solidFill>
                        <a:latin typeface="+mj-lt"/>
                        <a:ea typeface="+mn-ea"/>
                        <a:cs typeface="+mn-cs"/>
                      </a:endParaRPr>
                    </a:p>
                  </a:txBody>
                  <a:tcPr marL="112541" marR="112541" marT="56271" marB="56271">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28455178"/>
                  </a:ext>
                </a:extLst>
              </a:tr>
              <a:tr h="604443">
                <a:tc>
                  <a:txBody>
                    <a:bodyPr/>
                    <a:lstStyle/>
                    <a:p>
                      <a:pPr marL="0" marR="0" lvl="0" indent="0" algn="l" rtl="0" eaLnBrk="1" fontAlgn="auto" latinLnBrk="0" hangingPunct="1">
                        <a:lnSpc>
                          <a:spcPct val="100000"/>
                        </a:lnSpc>
                        <a:spcBef>
                          <a:spcPts val="600"/>
                        </a:spcBef>
                        <a:spcAft>
                          <a:spcPts val="0"/>
                        </a:spcAft>
                        <a:buClrTx/>
                        <a:buSzTx/>
                        <a:buFontTx/>
                        <a:buNone/>
                      </a:pPr>
                      <a:r>
                        <a:rPr kumimoji="0" lang="fr-FR" sz="1050" b="1" u="none" strike="noStrike" kern="1200" cap="none" spc="0" normalizeH="0" baseline="0" noProof="0">
                          <a:ln>
                            <a:noFill/>
                          </a:ln>
                          <a:solidFill>
                            <a:schemeClr val="bg2">
                              <a:lumMod val="10000"/>
                            </a:schemeClr>
                          </a:solidFill>
                          <a:effectLst/>
                          <a:uLnTx/>
                          <a:uFillTx/>
                          <a:latin typeface="+mj-lt"/>
                        </a:rPr>
                        <a:t>Responsable du chantier Communication</a:t>
                      </a:r>
                      <a:r>
                        <a:rPr lang="fr-FR" sz="1050" b="1" u="none" strike="noStrike" kern="1200" cap="none" spc="0" normalizeH="0" baseline="0" noProof="0">
                          <a:ln>
                            <a:noFill/>
                          </a:ln>
                          <a:solidFill>
                            <a:schemeClr val="bg2">
                              <a:lumMod val="10000"/>
                            </a:schemeClr>
                          </a:solidFill>
                          <a:effectLst/>
                          <a:uLnTx/>
                          <a:uFillTx/>
                          <a:latin typeface="+mj-lt"/>
                        </a:rPr>
                        <a:t>, en charge</a:t>
                      </a:r>
                      <a:r>
                        <a:rPr kumimoji="0" lang="fr-FR" sz="1050" b="1" u="none" strike="noStrike" kern="1200" cap="none" spc="0" normalizeH="0" baseline="0" noProof="0">
                          <a:ln>
                            <a:noFill/>
                          </a:ln>
                          <a:solidFill>
                            <a:schemeClr val="bg2">
                              <a:lumMod val="10000"/>
                            </a:schemeClr>
                          </a:solidFill>
                          <a:effectLst/>
                          <a:uLnTx/>
                          <a:uFillTx/>
                          <a:latin typeface="+mj-lt"/>
                        </a:rPr>
                        <a:t> </a:t>
                      </a:r>
                      <a:r>
                        <a:rPr lang="fr-FR" sz="1050" b="1" u="none" strike="noStrike" kern="1200" cap="none" spc="0" normalizeH="0" baseline="0" noProof="0">
                          <a:ln>
                            <a:noFill/>
                          </a:ln>
                          <a:solidFill>
                            <a:schemeClr val="bg2">
                              <a:lumMod val="10000"/>
                            </a:schemeClr>
                          </a:solidFill>
                          <a:effectLst/>
                          <a:uLnTx/>
                          <a:uFillTx/>
                          <a:latin typeface="+mj-lt"/>
                        </a:rPr>
                        <a:t>de réaliser des études sur le secteur de l'assurance et de les </a:t>
                      </a:r>
                      <a:r>
                        <a:rPr lang="fr-FR" sz="1050" b="1" i="0" u="none" strike="noStrike" kern="1200" cap="none" spc="0" normalizeH="0" baseline="0" noProof="0">
                          <a:ln>
                            <a:noFill/>
                          </a:ln>
                          <a:solidFill>
                            <a:schemeClr val="bg2">
                              <a:lumMod val="10000"/>
                            </a:schemeClr>
                          </a:solidFill>
                          <a:effectLst/>
                          <a:uLnTx/>
                          <a:uFillTx/>
                          <a:latin typeface="+mj-lt"/>
                        </a:rPr>
                        <a:t>restituer </a:t>
                      </a:r>
                      <a:r>
                        <a:rPr lang="fr-FR" sz="1050" b="1" u="none" strike="noStrike" kern="1200" cap="none" spc="0" normalizeH="0" baseline="0" noProof="0">
                          <a:ln>
                            <a:noFill/>
                          </a:ln>
                          <a:solidFill>
                            <a:schemeClr val="bg2">
                              <a:lumMod val="10000"/>
                            </a:schemeClr>
                          </a:solidFill>
                          <a:effectLst/>
                          <a:uLnTx/>
                          <a:uFillTx/>
                          <a:latin typeface="+mj-lt"/>
                        </a:rPr>
                        <a:t>à des </a:t>
                      </a:r>
                      <a:r>
                        <a:rPr lang="fr-FR" sz="1050" b="1" i="0" u="none" strike="noStrike" kern="1200" cap="none" spc="0" normalizeH="0" baseline="0" noProof="0">
                          <a:ln>
                            <a:noFill/>
                          </a:ln>
                          <a:solidFill>
                            <a:schemeClr val="bg2">
                              <a:lumMod val="10000"/>
                            </a:schemeClr>
                          </a:solidFill>
                          <a:effectLst/>
                          <a:uLnTx/>
                          <a:uFillTx/>
                          <a:latin typeface="+mj-lt"/>
                        </a:rPr>
                        <a:t>Conseils d’Administration et directeurs de grands groupes assurantiels</a:t>
                      </a:r>
                      <a:endParaRPr lang="fr-FR" sz="1050" b="1" i="0" u="none" strike="noStrike" kern="1200" cap="none" spc="0" normalizeH="0" baseline="0" noProof="0">
                        <a:ln>
                          <a:noFill/>
                        </a:ln>
                        <a:solidFill>
                          <a:srgbClr val="181717"/>
                        </a:solidFill>
                        <a:effectLst/>
                        <a:uLnTx/>
                        <a:uFillTx/>
                        <a:latin typeface="+mj-lt"/>
                      </a:endParaRP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endParaRPr kumimoji="0" lang="fr-FR" sz="900" b="1" u="none" strike="noStrike" kern="1200" cap="none" spc="0" normalizeH="0" baseline="0" noProof="0">
                        <a:ln>
                          <a:noFill/>
                        </a:ln>
                        <a:solidFill>
                          <a:schemeClr val="bg2">
                            <a:lumMod val="10000"/>
                          </a:schemeClr>
                        </a:solidFill>
                        <a:effectLst/>
                        <a:uLnTx/>
                        <a:uFillTx/>
                        <a:latin typeface="+mj-lt"/>
                      </a:endParaRP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729669438"/>
                  </a:ext>
                </a:extLst>
              </a:tr>
              <a:tr h="736500">
                <a:tc gridSpan="2">
                  <a:txBody>
                    <a:bodyPr/>
                    <a:lstStyle/>
                    <a:p>
                      <a:pPr marL="143510" marR="0" lvl="0" indent="-143510" algn="just" rtl="0" eaLnBrk="1" fontAlgn="auto" latinLnBrk="0" hangingPunct="1">
                        <a:lnSpc>
                          <a:spcPct val="100000"/>
                        </a:lnSpc>
                        <a:spcBef>
                          <a:spcPts val="0"/>
                        </a:spcBef>
                        <a:spcAft>
                          <a:spcPts val="0"/>
                        </a:spcAft>
                        <a:buClrTx/>
                        <a:buSzTx/>
                        <a:buFont typeface="Montserrat" panose="00000500000000000000" pitchFamily="2" charset="0"/>
                        <a:buChar char="›"/>
                      </a:pPr>
                      <a:r>
                        <a:rPr lang="fr-FR" sz="1050" b="0" i="0" u="none" strike="noStrike" kern="1200" cap="none" spc="0" normalizeH="0" baseline="0" noProof="0">
                          <a:ln>
                            <a:noFill/>
                          </a:ln>
                          <a:solidFill>
                            <a:schemeClr val="bg2">
                              <a:lumMod val="10000"/>
                            </a:schemeClr>
                          </a:solidFill>
                          <a:effectLst/>
                          <a:uLnTx/>
                          <a:uFillTx/>
                          <a:latin typeface="+mj-lt"/>
                          <a:ea typeface="+mn-ea"/>
                          <a:cs typeface="+mn-cs"/>
                        </a:rPr>
                        <a:t>Réalisation</a:t>
                      </a:r>
                      <a:r>
                        <a:rPr kumimoji="0"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rPr>
                        <a:t> de </a:t>
                      </a:r>
                      <a:r>
                        <a:rPr lang="fr-FR" sz="1050" b="0" i="0" u="none" strike="noStrike" kern="1200" cap="none" spc="0" normalizeH="0" baseline="0" noProof="0">
                          <a:ln>
                            <a:noFill/>
                          </a:ln>
                          <a:solidFill>
                            <a:schemeClr val="bg2">
                              <a:lumMod val="10000"/>
                            </a:schemeClr>
                          </a:solidFill>
                          <a:effectLst/>
                          <a:uLnTx/>
                          <a:uFillTx/>
                          <a:latin typeface="+mj-lt"/>
                          <a:ea typeface="+mn-ea"/>
                          <a:cs typeface="+mn-cs"/>
                        </a:rPr>
                        <a:t>plusieurs études : benchmark sur les produits d’assurance emprunteur, d'assurance Santé/Prévoyance, Automobile, démarche RSE…</a:t>
                      </a:r>
                      <a:endParaRPr lang="fr-FR" sz="1050">
                        <a:latin typeface="+mj-lt"/>
                      </a:endParaRPr>
                    </a:p>
                    <a:p>
                      <a:pPr marL="143510" marR="0" lvl="0" indent="-143510" algn="just">
                        <a:lnSpc>
                          <a:spcPct val="100000"/>
                        </a:lnSpc>
                        <a:spcBef>
                          <a:spcPts val="0"/>
                        </a:spcBef>
                        <a:spcAft>
                          <a:spcPts val="0"/>
                        </a:spcAft>
                        <a:buClrTx/>
                        <a:buSzTx/>
                        <a:buFont typeface="Montserrat" panose="00000500000000000000" pitchFamily="2" charset="0"/>
                        <a:buChar char="›"/>
                      </a:pPr>
                      <a:r>
                        <a:rPr lang="fr-FR" sz="1050" b="0" u="none" strike="noStrike" kern="1200" cap="none" spc="0" normalizeH="0" baseline="0" noProof="0">
                          <a:ln>
                            <a:noFill/>
                          </a:ln>
                          <a:solidFill>
                            <a:schemeClr val="bg2">
                              <a:lumMod val="10000"/>
                            </a:schemeClr>
                          </a:solidFill>
                          <a:effectLst/>
                          <a:uLnTx/>
                          <a:uFillTx/>
                          <a:latin typeface="+mj-lt"/>
                        </a:rPr>
                        <a:t>Elaboration des supports et des synthèses</a:t>
                      </a:r>
                    </a:p>
                    <a:p>
                      <a:pPr marL="143510" marR="0" lvl="0" indent="-143510" algn="just">
                        <a:lnSpc>
                          <a:spcPct val="100000"/>
                        </a:lnSpc>
                        <a:spcBef>
                          <a:spcPts val="0"/>
                        </a:spcBef>
                        <a:spcAft>
                          <a:spcPts val="0"/>
                        </a:spcAft>
                        <a:buClrTx/>
                        <a:buSzTx/>
                        <a:buFont typeface="Montserrat" panose="00000500000000000000" pitchFamily="2" charset="0"/>
                        <a:buChar char="›"/>
                      </a:pPr>
                      <a:r>
                        <a:rPr lang="fr-FR" sz="1050" b="0" u="none" strike="noStrike" kern="1200" cap="none" spc="0" normalizeH="0" baseline="0" noProof="0">
                          <a:ln>
                            <a:noFill/>
                          </a:ln>
                          <a:solidFill>
                            <a:schemeClr val="bg2">
                              <a:lumMod val="10000"/>
                            </a:schemeClr>
                          </a:solidFill>
                          <a:effectLst/>
                          <a:uLnTx/>
                          <a:uFillTx/>
                          <a:latin typeface="+mj-lt"/>
                        </a:rPr>
                        <a:t>Présentation des résultats auprès des </a:t>
                      </a:r>
                      <a:r>
                        <a:rPr lang="fr-FR" sz="1050" b="0" i="0" u="none" strike="noStrike" kern="1200" cap="none" spc="0" normalizeH="0" baseline="0" noProof="0">
                          <a:ln>
                            <a:noFill/>
                          </a:ln>
                          <a:solidFill>
                            <a:schemeClr val="bg2">
                              <a:lumMod val="10000"/>
                            </a:schemeClr>
                          </a:solidFill>
                          <a:effectLst/>
                          <a:uLnTx/>
                          <a:uFillTx/>
                          <a:latin typeface="+mj-lt"/>
                        </a:rPr>
                        <a:t>Conseils d’Administration</a:t>
                      </a:r>
                      <a:endParaRPr lang="fr-FR" sz="1050" b="0">
                        <a:latin typeface="+mj-lt"/>
                      </a:endParaRPr>
                    </a:p>
                  </a:txBody>
                  <a:tcPr marL="121920" marR="121920" marT="0" marB="60960">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tc hMerge="1">
                  <a:txBody>
                    <a:bodyPr/>
                    <a:lstStyle/>
                    <a:p>
                      <a:pPr marL="187325" marR="0" lvl="1" indent="0" algn="just" defTabSz="914400" rtl="0" eaLnBrk="1" fontAlgn="auto" latinLnBrk="0" hangingPunct="1">
                        <a:lnSpc>
                          <a:spcPct val="100000"/>
                        </a:lnSpc>
                        <a:spcBef>
                          <a:spcPts val="0"/>
                        </a:spcBef>
                        <a:spcAft>
                          <a:spcPts val="0"/>
                        </a:spcAft>
                        <a:buClr>
                          <a:schemeClr val="tx1"/>
                        </a:buClr>
                        <a:buSzTx/>
                        <a:buFont typeface="Wingdings" panose="05000000000000000000" pitchFamily="2" charset="2"/>
                        <a:buNone/>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lnT w="12700" cap="flat" cmpd="sng" algn="ctr">
                      <a:noFill/>
                      <a:prstDash val="solid"/>
                      <a:round/>
                      <a:headEnd type="none" w="med" len="med"/>
                      <a:tailEnd type="none" w="med" len="med"/>
                    </a:lnT>
                    <a:lnB w="12700" cap="flat" cmpd="sng" algn="ctr">
                      <a:solidFill>
                        <a:srgbClr val="F8F8F8"/>
                      </a:solidFill>
                      <a:prstDash val="solid"/>
                      <a:round/>
                      <a:headEnd type="none" w="med" len="med"/>
                      <a:tailEnd type="none" w="med" len="med"/>
                    </a:lnB>
                  </a:tcPr>
                </a:tc>
                <a:extLst>
                  <a:ext uri="{0D108BD9-81ED-4DB2-BD59-A6C34878D82A}">
                    <a16:rowId xmlns:a16="http://schemas.microsoft.com/office/drawing/2014/main" val="1345611727"/>
                  </a:ext>
                </a:extLst>
              </a:tr>
              <a:tr h="399815">
                <a:tc gridSpan="2">
                  <a:txBody>
                    <a:bodyPr/>
                    <a:lstStyle/>
                    <a:p>
                      <a:pPr marL="0" marR="0" lvl="0" indent="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None/>
                        <a:tabLst/>
                        <a:defRPr/>
                      </a:pPr>
                      <a:br>
                        <a:rPr kumimoji="0" lang="fr-FR" sz="1050" b="1" u="none" strike="noStrike" kern="1200" cap="none" spc="0" normalizeH="0" baseline="0" noProof="0">
                          <a:ln>
                            <a:noFill/>
                          </a:ln>
                          <a:solidFill>
                            <a:schemeClr val="bg2">
                              <a:lumMod val="10000"/>
                            </a:schemeClr>
                          </a:solidFill>
                          <a:effectLst/>
                          <a:uLnTx/>
                          <a:uFillTx/>
                          <a:latin typeface="+mj-lt"/>
                        </a:rPr>
                      </a:br>
                      <a:r>
                        <a:rPr kumimoji="0" lang="fr-FR" sz="1050" b="1" u="none" strike="noStrike" kern="1200" cap="none" spc="0" normalizeH="0" baseline="0" noProof="0">
                          <a:ln>
                            <a:noFill/>
                          </a:ln>
                          <a:solidFill>
                            <a:schemeClr val="bg2">
                              <a:lumMod val="10000"/>
                            </a:schemeClr>
                          </a:solidFill>
                          <a:effectLst/>
                          <a:uLnTx/>
                          <a:uFillTx/>
                          <a:latin typeface="+mj-lt"/>
                        </a:rPr>
                        <a:t>Projet de refonte du rôle de l’agent général pour un syndicat d’agents généraux</a:t>
                      </a:r>
                    </a:p>
                  </a:txBody>
                  <a:tcPr marL="121920" marR="121920" marT="0" marB="60960">
                    <a:lnL>
                      <a:noFill/>
                    </a:lnL>
                    <a:lnR>
                      <a:noFill/>
                    </a:lnR>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17436210"/>
                  </a:ext>
                </a:extLst>
              </a:tr>
              <a:tr h="2008542">
                <a:tc gridSpan="2">
                  <a:txBody>
                    <a:bodyPr/>
                    <a:lstStyle/>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n-lt"/>
                          <a:ea typeface="+mn-ea"/>
                          <a:cs typeface="+mn-cs"/>
                          <a:sym typeface="Arial"/>
                        </a:rPr>
                        <a:t>Elaboration d’une checklist du process pour définir le champ d’action des agents généraux</a:t>
                      </a: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n-lt"/>
                          <a:ea typeface="+mn-ea"/>
                          <a:cs typeface="+mn-cs"/>
                          <a:sym typeface="Arial"/>
                        </a:rPr>
                        <a:t>Mise en place de KPIs de suivi de performance</a:t>
                      </a: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rPr>
                        <a:t>Préparation et animation d’ateliers de travail et d’idéation avec des agents généraux d’assurance autour de plusieurs thématiques : atouts respectifs des différents modes de distribution, définition de la promesse agent…</a:t>
                      </a: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rPr>
                        <a:t>Elaboration des comptes rendus de réunion et des documents de synthèse</a:t>
                      </a: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pPr>
                      <a:r>
                        <a:rPr lang="fr-FR" sz="1050" b="0" i="0" u="none" strike="noStrike" kern="1200" cap="none" spc="0" normalizeH="0" baseline="0" noProof="0">
                          <a:ln>
                            <a:noFill/>
                          </a:ln>
                          <a:solidFill>
                            <a:schemeClr val="bg2">
                              <a:lumMod val="10000"/>
                            </a:schemeClr>
                          </a:solidFill>
                          <a:effectLst/>
                          <a:uLnTx/>
                          <a:uFillTx/>
                          <a:latin typeface="+mj-lt"/>
                          <a:ea typeface="+mn-ea"/>
                          <a:cs typeface="+mn-cs"/>
                        </a:rPr>
                        <a:t>Collecte des informations auprès des différents acteurs </a:t>
                      </a:r>
                      <a:endParaRPr lang="en-US" sz="1050" b="0" i="0" u="none" strike="noStrike" kern="1200" cap="none" spc="0" normalizeH="0" baseline="0" noProof="0">
                        <a:ln>
                          <a:noFill/>
                        </a:ln>
                        <a:solidFill>
                          <a:schemeClr val="bg2">
                            <a:lumMod val="10000"/>
                          </a:schemeClr>
                        </a:solidFill>
                        <a:effectLst/>
                        <a:uLnTx/>
                        <a:uFillTx/>
                        <a:latin typeface="+mj-lt"/>
                        <a:ea typeface="+mn-ea"/>
                        <a:cs typeface="+mn-cs"/>
                      </a:endParaRPr>
                    </a:p>
                    <a:p>
                      <a:pPr marL="143510" marR="0" lvl="0" indent="-143510" algn="just" defTabSz="914333" rtl="0" eaLnBrk="1"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rPr>
                        <a:t>Réalisation de la segmentation d’un réseau d’agents généraux par profil d’agence</a:t>
                      </a:r>
                      <a:endParaRPr lang="fr-FR" sz="1050" b="0" i="0" u="none" strike="noStrike" kern="1200" cap="none" spc="0" normalizeH="0" baseline="0">
                        <a:ln>
                          <a:noFill/>
                        </a:ln>
                        <a:solidFill>
                          <a:schemeClr val="bg2">
                            <a:lumMod val="10000"/>
                          </a:schemeClr>
                        </a:solidFill>
                        <a:effectLst/>
                        <a:uLnTx/>
                        <a:uFillTx/>
                        <a:latin typeface="+mj-lt"/>
                        <a:ea typeface="+mn-ea"/>
                        <a:cs typeface="+mn-cs"/>
                        <a:sym typeface="Arial"/>
                      </a:endParaRP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rPr>
                        <a:t>Réalisation d’analyses selon plusieurs axes : mixte d’activité des agents généraux, dynamique de croissance des agences, taux de chute des contrats… </a:t>
                      </a: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rPr>
                        <a:t>Propositions de pistes de croissance </a:t>
                      </a:r>
                    </a:p>
                    <a:p>
                      <a:pPr marL="143510" marR="0" lvl="0" indent="-143510" algn="just" defTabSz="914333"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50" b="0" i="0" u="none" strike="noStrike" kern="1200" cap="none" spc="0" normalizeH="0" baseline="0" noProof="0">
                          <a:ln>
                            <a:noFill/>
                          </a:ln>
                          <a:solidFill>
                            <a:schemeClr val="bg2">
                              <a:lumMod val="10000"/>
                            </a:schemeClr>
                          </a:solidFill>
                          <a:effectLst/>
                          <a:uLnTx/>
                          <a:uFillTx/>
                          <a:latin typeface="+mj-lt"/>
                          <a:ea typeface="+mn-ea"/>
                          <a:cs typeface="+mn-cs"/>
                        </a:rPr>
                        <a:t>Elaboration de la note de synthèse sur la définition et le rôle de l’agent général de demain </a:t>
                      </a:r>
                      <a:endParaRPr lang="fr-FR" sz="1050" b="0" i="0" u="none" strike="noStrike" kern="1200" cap="none" spc="0" normalizeH="0" baseline="0" noProof="0">
                        <a:ln>
                          <a:noFill/>
                        </a:ln>
                        <a:solidFill>
                          <a:schemeClr val="bg2">
                            <a:lumMod val="10000"/>
                          </a:schemeClr>
                        </a:solidFill>
                        <a:effectLst/>
                        <a:uLnTx/>
                        <a:uFillTx/>
                        <a:latin typeface="+mj-lt"/>
                        <a:ea typeface="+mn-ea"/>
                        <a:cs typeface="+mn-cs"/>
                        <a:sym typeface="Arial"/>
                      </a:endParaRPr>
                    </a:p>
                  </a:txBody>
                  <a:tcPr marL="121920" marR="96000" marT="0" marB="0">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R="72000" marT="72000" marB="0">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2280561566"/>
                  </a:ext>
                </a:extLst>
              </a:tr>
              <a:tr h="436101">
                <a:tc>
                  <a:txBody>
                    <a:bodyPr/>
                    <a:lstStyle/>
                    <a:p>
                      <a:pPr marL="0" marR="0" lvl="0" indent="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None/>
                        <a:tabLst/>
                        <a:defRPr/>
                      </a:pPr>
                      <a:r>
                        <a:rPr kumimoji="0" lang="fr-FR" sz="1050" b="1" u="none" strike="noStrike" kern="1200" cap="none" spc="0" normalizeH="0" baseline="0" noProof="0">
                          <a:ln>
                            <a:noFill/>
                          </a:ln>
                          <a:solidFill>
                            <a:schemeClr val="bg2">
                              <a:lumMod val="10000"/>
                            </a:schemeClr>
                          </a:solidFill>
                          <a:effectLst/>
                          <a:uLnTx/>
                          <a:uFillTx/>
                          <a:latin typeface="+mj-lt"/>
                          <a:ea typeface="+mn-ea"/>
                          <a:cs typeface="+mn-cs"/>
                        </a:rPr>
                        <a:t>Organisation et participation à plusieurs évènements de notoriété pour le compte de grands acteurs de l’assurance</a:t>
                      </a: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endParaRPr kumimoji="0" lang="fr-FR" sz="900" b="1" u="none" strike="noStrike" kern="1200" cap="none" spc="0" normalizeH="0" baseline="0" noProof="0">
                        <a:ln>
                          <a:noFill/>
                        </a:ln>
                        <a:solidFill>
                          <a:schemeClr val="bg2">
                            <a:lumMod val="10000"/>
                          </a:schemeClr>
                        </a:solidFill>
                        <a:effectLst/>
                        <a:uLnTx/>
                        <a:uFillTx/>
                        <a:latin typeface="+mj-lt"/>
                      </a:endParaRP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731214587"/>
                  </a:ext>
                </a:extLst>
              </a:tr>
              <a:tr h="604443">
                <a:tc gridSpan="2">
                  <a:txBody>
                    <a:bodyPr/>
                    <a:lstStyle/>
                    <a:p>
                      <a:pPr marL="143510" marR="0" lvl="0" indent="-14351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1050" b="0" u="none" strike="noStrike" kern="1200" cap="none" spc="0" normalizeH="0" baseline="0" noProof="0">
                          <a:ln>
                            <a:noFill/>
                          </a:ln>
                          <a:solidFill>
                            <a:schemeClr val="bg2">
                              <a:lumMod val="10000"/>
                            </a:schemeClr>
                          </a:solidFill>
                          <a:effectLst/>
                          <a:uLnTx/>
                          <a:uFillTx/>
                          <a:latin typeface="+mj-lt"/>
                          <a:ea typeface="+mn-ea"/>
                          <a:cs typeface="+mn-cs"/>
                        </a:rPr>
                        <a:t>Exemples : Organisation d’un p</a:t>
                      </a:r>
                      <a:r>
                        <a:rPr kumimoji="0" lang="fr-FR" sz="1050" b="0" u="none" strike="noStrike" kern="1200" cap="none" spc="0" normalizeH="0" baseline="0" noProof="0">
                          <a:ln>
                            <a:noFill/>
                          </a:ln>
                          <a:solidFill>
                            <a:schemeClr val="bg2">
                              <a:lumMod val="10000"/>
                            </a:schemeClr>
                          </a:solidFill>
                          <a:effectLst/>
                          <a:uLnTx/>
                          <a:uFillTx/>
                          <a:latin typeface="+mj-lt"/>
                          <a:ea typeface="+mn-ea"/>
                          <a:cs typeface="+mn-cs"/>
                          <a:sym typeface="Arial"/>
                        </a:rPr>
                        <a:t>etit déjeuner thématique coanimé par le DG de la Maif sur l’IA dans l’assurance/ Organisation pour le PDG d’Allianz d’un évènement sur le multi-équipement et la  fidélisation des assurés :  élaboration de supports utilisés et coanimation de ces évènements</a:t>
                      </a:r>
                      <a:endParaRPr kumimoji="0" lang="fr-FR" sz="1050" b="0" u="none" strike="noStrike" kern="1200" cap="none" spc="0" normalizeH="0" baseline="0" noProof="0">
                        <a:ln>
                          <a:noFill/>
                        </a:ln>
                        <a:solidFill>
                          <a:schemeClr val="bg2">
                            <a:lumMod val="10000"/>
                          </a:schemeClr>
                        </a:solidFill>
                        <a:effectLst/>
                        <a:uLnTx/>
                        <a:uFillTx/>
                        <a:latin typeface="+mj-lt"/>
                        <a:ea typeface="+mn-ea"/>
                        <a:cs typeface="+mn-cs"/>
                      </a:endParaRPr>
                    </a:p>
                  </a:txBody>
                  <a:tcPr marL="121920" marR="96000" marT="0" marB="0">
                    <a:lnT w="12700" cap="flat" cmpd="sng" algn="ctr">
                      <a:noFill/>
                      <a:prstDash val="solid"/>
                      <a:round/>
                      <a:headEnd type="none" w="med" len="med"/>
                      <a:tailEnd type="none" w="med" len="med"/>
                    </a:lnT>
                  </a:tcPr>
                </a:tc>
                <a:tc hMerge="1">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endParaRPr kumimoji="0" lang="fr-FR" sz="700" b="1" u="none" strike="noStrike" kern="1200" cap="none" spc="0" normalizeH="0" baseline="0" noProof="0">
                        <a:ln>
                          <a:noFill/>
                        </a:ln>
                        <a:solidFill>
                          <a:schemeClr val="bg2">
                            <a:lumMod val="10000"/>
                          </a:schemeClr>
                        </a:solidFill>
                        <a:effectLst/>
                        <a:uLnTx/>
                        <a:uFillTx/>
                      </a:endParaRPr>
                    </a:p>
                  </a:txBody>
                  <a:tcPr marR="72000" marT="72000" marB="0">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29888222"/>
                  </a:ext>
                </a:extLst>
              </a:tr>
            </a:tbl>
          </a:graphicData>
        </a:graphic>
      </p:graphicFrame>
      <p:pic>
        <p:nvPicPr>
          <p:cNvPr id="6" name="Graphique 65" descr="Calendrier journalier">
            <a:extLst>
              <a:ext uri="{FF2B5EF4-FFF2-40B4-BE49-F238E27FC236}">
                <a16:creationId xmlns:a16="http://schemas.microsoft.com/office/drawing/2014/main" id="{472F185C-5128-F60D-A1DF-32CDE7C8EC3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32670" y="2061183"/>
            <a:ext cx="281353" cy="281353"/>
          </a:xfrm>
          <a:prstGeom prst="rect">
            <a:avLst/>
          </a:prstGeom>
        </p:spPr>
      </p:pic>
      <p:pic>
        <p:nvPicPr>
          <p:cNvPr id="7" name="Graphique 66" descr="Repère">
            <a:extLst>
              <a:ext uri="{FF2B5EF4-FFF2-40B4-BE49-F238E27FC236}">
                <a16:creationId xmlns:a16="http://schemas.microsoft.com/office/drawing/2014/main" id="{46516ED8-0FB8-4F7B-3F43-7ECEAB41D09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17149" y="2039262"/>
            <a:ext cx="325192" cy="325192"/>
          </a:xfrm>
          <a:prstGeom prst="rect">
            <a:avLst/>
          </a:prstGeom>
        </p:spPr>
      </p:pic>
      <p:pic>
        <p:nvPicPr>
          <p:cNvPr id="8" name="Graphique 65" descr="Calendrier journalier">
            <a:extLst>
              <a:ext uri="{FF2B5EF4-FFF2-40B4-BE49-F238E27FC236}">
                <a16:creationId xmlns:a16="http://schemas.microsoft.com/office/drawing/2014/main" id="{EF22A10E-4664-EBFE-8C48-9E6100D7B18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19941" y="5838352"/>
            <a:ext cx="281353" cy="281353"/>
          </a:xfrm>
          <a:prstGeom prst="rect">
            <a:avLst/>
          </a:prstGeom>
        </p:spPr>
      </p:pic>
      <p:pic>
        <p:nvPicPr>
          <p:cNvPr id="9" name="Graphique 66" descr="Repère">
            <a:extLst>
              <a:ext uri="{FF2B5EF4-FFF2-40B4-BE49-F238E27FC236}">
                <a16:creationId xmlns:a16="http://schemas.microsoft.com/office/drawing/2014/main" id="{FCDBDE7B-5295-D7C3-A1E5-62922B286BB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4247" y="5816431"/>
            <a:ext cx="325192" cy="325192"/>
          </a:xfrm>
          <a:prstGeom prst="rect">
            <a:avLst/>
          </a:prstGeom>
        </p:spPr>
      </p:pic>
      <p:sp>
        <p:nvSpPr>
          <p:cNvPr id="10" name="ZoneTexte 9">
            <a:extLst>
              <a:ext uri="{FF2B5EF4-FFF2-40B4-BE49-F238E27FC236}">
                <a16:creationId xmlns:a16="http://schemas.microsoft.com/office/drawing/2014/main" id="{391DB494-1EC2-2B24-F0D2-B6211799DD7D}"/>
              </a:ext>
            </a:extLst>
          </p:cNvPr>
          <p:cNvSpPr txBox="1"/>
          <p:nvPr/>
        </p:nvSpPr>
        <p:spPr>
          <a:xfrm>
            <a:off x="10718046" y="2068488"/>
            <a:ext cx="1049857" cy="235898"/>
          </a:xfrm>
          <a:prstGeom prst="rect">
            <a:avLst/>
          </a:prstGeom>
          <a:noFill/>
        </p:spPr>
        <p:txBody>
          <a:bodyPr wrap="square" rtlCol="0">
            <a:spAutoFit/>
          </a:bodyPr>
          <a:lstStyle/>
          <a:p>
            <a:r>
              <a:rPr lang="fr-FR" sz="933">
                <a:latin typeface="+mj-lt"/>
              </a:rPr>
              <a:t>Paris</a:t>
            </a:r>
          </a:p>
        </p:txBody>
      </p:sp>
      <p:sp>
        <p:nvSpPr>
          <p:cNvPr id="11" name="ZoneTexte 10">
            <a:extLst>
              <a:ext uri="{FF2B5EF4-FFF2-40B4-BE49-F238E27FC236}">
                <a16:creationId xmlns:a16="http://schemas.microsoft.com/office/drawing/2014/main" id="{36AD624B-E088-D137-D140-9F68C1663318}"/>
              </a:ext>
            </a:extLst>
          </p:cNvPr>
          <p:cNvSpPr txBox="1"/>
          <p:nvPr/>
        </p:nvSpPr>
        <p:spPr>
          <a:xfrm>
            <a:off x="10725144" y="5845658"/>
            <a:ext cx="1049857" cy="235898"/>
          </a:xfrm>
          <a:prstGeom prst="rect">
            <a:avLst/>
          </a:prstGeom>
          <a:noFill/>
        </p:spPr>
        <p:txBody>
          <a:bodyPr wrap="square" rtlCol="0">
            <a:spAutoFit/>
          </a:bodyPr>
          <a:lstStyle/>
          <a:p>
            <a:r>
              <a:rPr lang="fr-FR" sz="933">
                <a:latin typeface="+mj-lt"/>
              </a:rPr>
              <a:t>Paris</a:t>
            </a:r>
          </a:p>
        </p:txBody>
      </p:sp>
      <p:sp>
        <p:nvSpPr>
          <p:cNvPr id="12" name="ZoneTexte 11">
            <a:extLst>
              <a:ext uri="{FF2B5EF4-FFF2-40B4-BE49-F238E27FC236}">
                <a16:creationId xmlns:a16="http://schemas.microsoft.com/office/drawing/2014/main" id="{AE692266-4F89-60DD-B37B-94AD83DBC385}"/>
              </a:ext>
            </a:extLst>
          </p:cNvPr>
          <p:cNvSpPr txBox="1"/>
          <p:nvPr/>
        </p:nvSpPr>
        <p:spPr>
          <a:xfrm>
            <a:off x="11538688" y="1996674"/>
            <a:ext cx="712605" cy="410241"/>
          </a:xfrm>
          <a:prstGeom prst="rect">
            <a:avLst/>
          </a:prstGeom>
          <a:noFill/>
        </p:spPr>
        <p:txBody>
          <a:bodyPr wrap="square" lIns="121920" tIns="60960" rIns="121920" bIns="60960" rtlCol="0" anchor="t">
            <a:spAutoFit/>
          </a:bodyPr>
          <a:lstStyle/>
          <a:p>
            <a:r>
              <a:rPr lang="fr-FR" sz="933">
                <a:latin typeface="+mj-lt"/>
              </a:rPr>
              <a:t>2019/ 2020</a:t>
            </a:r>
          </a:p>
        </p:txBody>
      </p:sp>
      <p:sp>
        <p:nvSpPr>
          <p:cNvPr id="13" name="ZoneTexte 12">
            <a:extLst>
              <a:ext uri="{FF2B5EF4-FFF2-40B4-BE49-F238E27FC236}">
                <a16:creationId xmlns:a16="http://schemas.microsoft.com/office/drawing/2014/main" id="{48DEA191-C587-323E-9FDE-4970407CB548}"/>
              </a:ext>
            </a:extLst>
          </p:cNvPr>
          <p:cNvSpPr txBox="1"/>
          <p:nvPr/>
        </p:nvSpPr>
        <p:spPr>
          <a:xfrm>
            <a:off x="11545786" y="5773843"/>
            <a:ext cx="712605" cy="410241"/>
          </a:xfrm>
          <a:prstGeom prst="rect">
            <a:avLst/>
          </a:prstGeom>
          <a:noFill/>
        </p:spPr>
        <p:txBody>
          <a:bodyPr wrap="square" lIns="121920" tIns="60960" rIns="121920" bIns="60960" rtlCol="0" anchor="t">
            <a:spAutoFit/>
          </a:bodyPr>
          <a:lstStyle/>
          <a:p>
            <a:r>
              <a:rPr lang="fr-FR" sz="933">
                <a:latin typeface="+mj-lt"/>
              </a:rPr>
              <a:t>2014 </a:t>
            </a:r>
            <a:br>
              <a:rPr lang="fr-FR" sz="933">
                <a:latin typeface="+mj-lt"/>
              </a:rPr>
            </a:br>
            <a:r>
              <a:rPr lang="fr-FR" sz="933">
                <a:latin typeface="+mj-lt"/>
              </a:rPr>
              <a:t>à 2017</a:t>
            </a:r>
          </a:p>
        </p:txBody>
      </p:sp>
      <p:pic>
        <p:nvPicPr>
          <p:cNvPr id="14" name="Graphique 65" descr="Calendrier journalier">
            <a:extLst>
              <a:ext uri="{FF2B5EF4-FFF2-40B4-BE49-F238E27FC236}">
                <a16:creationId xmlns:a16="http://schemas.microsoft.com/office/drawing/2014/main" id="{CE9FF60F-56DB-DC9C-5AAA-5A2A5E835A7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12844" y="2061183"/>
            <a:ext cx="281353" cy="281353"/>
          </a:xfrm>
          <a:prstGeom prst="rect">
            <a:avLst/>
          </a:prstGeom>
        </p:spPr>
      </p:pic>
      <p:pic>
        <p:nvPicPr>
          <p:cNvPr id="15" name="Graphique 65" descr="Calendrier journalier">
            <a:extLst>
              <a:ext uri="{FF2B5EF4-FFF2-40B4-BE49-F238E27FC236}">
                <a16:creationId xmlns:a16="http://schemas.microsoft.com/office/drawing/2014/main" id="{B0B1BEB7-0A0C-BC4E-1DC1-BB53ED111E1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39768" y="3400721"/>
            <a:ext cx="281353" cy="281353"/>
          </a:xfrm>
          <a:prstGeom prst="rect">
            <a:avLst/>
          </a:prstGeom>
        </p:spPr>
      </p:pic>
      <p:pic>
        <p:nvPicPr>
          <p:cNvPr id="16" name="Graphique 66" descr="Repère">
            <a:extLst>
              <a:ext uri="{FF2B5EF4-FFF2-40B4-BE49-F238E27FC236}">
                <a16:creationId xmlns:a16="http://schemas.microsoft.com/office/drawing/2014/main" id="{3727B052-A200-E682-213A-4D99FA120A8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4247" y="3378800"/>
            <a:ext cx="325192" cy="325192"/>
          </a:xfrm>
          <a:prstGeom prst="rect">
            <a:avLst/>
          </a:prstGeom>
        </p:spPr>
      </p:pic>
      <p:sp>
        <p:nvSpPr>
          <p:cNvPr id="17" name="ZoneTexte 16">
            <a:extLst>
              <a:ext uri="{FF2B5EF4-FFF2-40B4-BE49-F238E27FC236}">
                <a16:creationId xmlns:a16="http://schemas.microsoft.com/office/drawing/2014/main" id="{A7499ADB-8AAC-7449-1DB4-87242B1E8548}"/>
              </a:ext>
            </a:extLst>
          </p:cNvPr>
          <p:cNvSpPr txBox="1"/>
          <p:nvPr/>
        </p:nvSpPr>
        <p:spPr>
          <a:xfrm>
            <a:off x="10725144" y="3408027"/>
            <a:ext cx="1049857" cy="235898"/>
          </a:xfrm>
          <a:prstGeom prst="rect">
            <a:avLst/>
          </a:prstGeom>
          <a:noFill/>
        </p:spPr>
        <p:txBody>
          <a:bodyPr wrap="square" rtlCol="0">
            <a:spAutoFit/>
          </a:bodyPr>
          <a:lstStyle/>
          <a:p>
            <a:r>
              <a:rPr lang="fr-FR" sz="933">
                <a:latin typeface="+mj-lt"/>
              </a:rPr>
              <a:t>Paris</a:t>
            </a:r>
          </a:p>
        </p:txBody>
      </p:sp>
      <p:sp>
        <p:nvSpPr>
          <p:cNvPr id="18" name="ZoneTexte 17">
            <a:extLst>
              <a:ext uri="{FF2B5EF4-FFF2-40B4-BE49-F238E27FC236}">
                <a16:creationId xmlns:a16="http://schemas.microsoft.com/office/drawing/2014/main" id="{9E261EAC-3615-EAE0-A9C4-8B94C3A1EB6C}"/>
              </a:ext>
            </a:extLst>
          </p:cNvPr>
          <p:cNvSpPr txBox="1"/>
          <p:nvPr/>
        </p:nvSpPr>
        <p:spPr>
          <a:xfrm>
            <a:off x="11545786" y="3408027"/>
            <a:ext cx="712605" cy="266676"/>
          </a:xfrm>
          <a:prstGeom prst="rect">
            <a:avLst/>
          </a:prstGeom>
          <a:noFill/>
        </p:spPr>
        <p:txBody>
          <a:bodyPr wrap="square" lIns="121920" tIns="60960" rIns="121920" bIns="60960" rtlCol="0" anchor="t">
            <a:spAutoFit/>
          </a:bodyPr>
          <a:lstStyle/>
          <a:p>
            <a:r>
              <a:rPr lang="fr-FR" sz="933">
                <a:latin typeface="+mj-lt"/>
              </a:rPr>
              <a:t>2018</a:t>
            </a:r>
            <a:endParaRPr lang="fr-FR" sz="2400"/>
          </a:p>
        </p:txBody>
      </p:sp>
      <p:pic>
        <p:nvPicPr>
          <p:cNvPr id="19" name="Graphique 65" descr="Calendrier journalier">
            <a:extLst>
              <a:ext uri="{FF2B5EF4-FFF2-40B4-BE49-F238E27FC236}">
                <a16:creationId xmlns:a16="http://schemas.microsoft.com/office/drawing/2014/main" id="{4A71800E-E3B0-E6AC-56B1-29C4C759D30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19941" y="3400721"/>
            <a:ext cx="281353" cy="281353"/>
          </a:xfrm>
          <a:prstGeom prst="rect">
            <a:avLst/>
          </a:prstGeom>
        </p:spPr>
      </p:pic>
      <p:pic>
        <p:nvPicPr>
          <p:cNvPr id="20" name="Image 19">
            <a:extLst>
              <a:ext uri="{FF2B5EF4-FFF2-40B4-BE49-F238E27FC236}">
                <a16:creationId xmlns:a16="http://schemas.microsoft.com/office/drawing/2014/main" id="{6CE5204C-E4E2-5303-4FC1-057942B38DD7}"/>
              </a:ext>
            </a:extLst>
          </p:cNvPr>
          <p:cNvPicPr>
            <a:picLocks noChangeAspect="1"/>
          </p:cNvPicPr>
          <p:nvPr/>
        </p:nvPicPr>
        <p:blipFill>
          <a:blip r:embed="rId6"/>
          <a:stretch>
            <a:fillRect/>
          </a:stretch>
        </p:blipFill>
        <p:spPr>
          <a:xfrm>
            <a:off x="4016097" y="5909184"/>
            <a:ext cx="520651" cy="423331"/>
          </a:xfrm>
          <a:prstGeom prst="rect">
            <a:avLst/>
          </a:prstGeom>
        </p:spPr>
      </p:pic>
      <p:pic>
        <p:nvPicPr>
          <p:cNvPr id="21" name="Picture 2" descr="Assurance Allianz">
            <a:extLst>
              <a:ext uri="{FF2B5EF4-FFF2-40B4-BE49-F238E27FC236}">
                <a16:creationId xmlns:a16="http://schemas.microsoft.com/office/drawing/2014/main" id="{2B1890F3-D60C-E729-619E-384618863CE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345" r="40742" b="45327"/>
          <a:stretch/>
        </p:blipFill>
        <p:spPr bwMode="auto">
          <a:xfrm>
            <a:off x="3963590" y="6433710"/>
            <a:ext cx="625664" cy="173256"/>
          </a:xfrm>
          <a:prstGeom prst="rect">
            <a:avLst/>
          </a:prstGeom>
          <a:noFill/>
          <a:extLst>
            <a:ext uri="{909E8E84-426E-40DD-AFC4-6F175D3DCCD1}">
              <a14:hiddenFill xmlns:a14="http://schemas.microsoft.com/office/drawing/2010/main">
                <a:solidFill>
                  <a:srgbClr val="FFFFFF"/>
                </a:solidFill>
              </a14:hiddenFill>
            </a:ext>
          </a:extLst>
        </p:spPr>
      </p:pic>
      <p:pic>
        <p:nvPicPr>
          <p:cNvPr id="22" name="Image 21">
            <a:extLst>
              <a:ext uri="{FF2B5EF4-FFF2-40B4-BE49-F238E27FC236}">
                <a16:creationId xmlns:a16="http://schemas.microsoft.com/office/drawing/2014/main" id="{2AF68141-E9A0-31F5-113F-D6F1488BA07B}"/>
              </a:ext>
            </a:extLst>
          </p:cNvPr>
          <p:cNvPicPr>
            <a:picLocks noChangeAspect="1"/>
          </p:cNvPicPr>
          <p:nvPr/>
        </p:nvPicPr>
        <p:blipFill>
          <a:blip r:embed="rId6"/>
          <a:stretch>
            <a:fillRect/>
          </a:stretch>
        </p:blipFill>
        <p:spPr>
          <a:xfrm>
            <a:off x="4016097" y="2130870"/>
            <a:ext cx="520651" cy="423331"/>
          </a:xfrm>
          <a:prstGeom prst="rect">
            <a:avLst/>
          </a:prstGeom>
        </p:spPr>
      </p:pic>
      <p:pic>
        <p:nvPicPr>
          <p:cNvPr id="23" name="Picture 2" descr="Résultat d’images pour logo malakoff humanis">
            <a:extLst>
              <a:ext uri="{FF2B5EF4-FFF2-40B4-BE49-F238E27FC236}">
                <a16:creationId xmlns:a16="http://schemas.microsoft.com/office/drawing/2014/main" id="{2A8BA989-4731-7FE2-CB7E-4A6542D69C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4654" y="2978302"/>
            <a:ext cx="683536" cy="28126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Assurance Allianz">
            <a:extLst>
              <a:ext uri="{FF2B5EF4-FFF2-40B4-BE49-F238E27FC236}">
                <a16:creationId xmlns:a16="http://schemas.microsoft.com/office/drawing/2014/main" id="{F8BB7969-33E5-3491-D07D-87CEF6873A6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345" r="40742" b="45327"/>
          <a:stretch/>
        </p:blipFill>
        <p:spPr bwMode="auto">
          <a:xfrm>
            <a:off x="3963590" y="3998032"/>
            <a:ext cx="625664" cy="1732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Nomination : Eric Gelpe devient directeur général de Groupama Paris Val ...">
            <a:extLst>
              <a:ext uri="{FF2B5EF4-FFF2-40B4-BE49-F238E27FC236}">
                <a16:creationId xmlns:a16="http://schemas.microsoft.com/office/drawing/2014/main" id="{396A85CB-4B7C-9132-2272-06968582A1C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4595" t="5457" r="23693" b="5457"/>
          <a:stretch/>
        </p:blipFill>
        <p:spPr bwMode="auto">
          <a:xfrm>
            <a:off x="4060394" y="3539512"/>
            <a:ext cx="432056" cy="41536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Nomination : Eric Gelpe devient directeur général de Groupama Paris Val ...">
            <a:extLst>
              <a:ext uri="{FF2B5EF4-FFF2-40B4-BE49-F238E27FC236}">
                <a16:creationId xmlns:a16="http://schemas.microsoft.com/office/drawing/2014/main" id="{58B8A3A0-510C-FF19-72B6-B29FE60D8C4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4595" t="5457" r="23693" b="5457"/>
          <a:stretch/>
        </p:blipFill>
        <p:spPr bwMode="auto">
          <a:xfrm>
            <a:off x="4060394" y="2558567"/>
            <a:ext cx="432056" cy="41536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Logo Agea Fr">
            <a:extLst>
              <a:ext uri="{FF2B5EF4-FFF2-40B4-BE49-F238E27FC236}">
                <a16:creationId xmlns:a16="http://schemas.microsoft.com/office/drawing/2014/main" id="{29D0782F-AFBA-5431-947B-E8E4B6C346F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34835"/>
          <a:stretch/>
        </p:blipFill>
        <p:spPr bwMode="auto">
          <a:xfrm>
            <a:off x="3974926" y="4214440"/>
            <a:ext cx="602992" cy="161932"/>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 29" descr="Une image contenant personne, Visage humain, habits, plein air&#10;&#10;Description générée automatiquement">
            <a:extLst>
              <a:ext uri="{FF2B5EF4-FFF2-40B4-BE49-F238E27FC236}">
                <a16:creationId xmlns:a16="http://schemas.microsoft.com/office/drawing/2014/main" id="{C823A551-801D-2F1A-73F6-341831C1306C}"/>
              </a:ext>
            </a:extLst>
          </p:cNvPr>
          <p:cNvPicPr>
            <a:picLocks noChangeAspect="1"/>
          </p:cNvPicPr>
          <p:nvPr/>
        </p:nvPicPr>
        <p:blipFill rotWithShape="1">
          <a:blip r:embed="rId11">
            <a:extLst>
              <a:ext uri="{28A0092B-C50C-407E-A947-70E740481C1C}">
                <a14:useLocalDpi xmlns:a14="http://schemas.microsoft.com/office/drawing/2010/main" val="0"/>
              </a:ext>
            </a:extLst>
          </a:blip>
          <a:srcRect l="6601" r="6601" b="18156"/>
          <a:stretch/>
        </p:blipFill>
        <p:spPr>
          <a:xfrm>
            <a:off x="9904545" y="136347"/>
            <a:ext cx="792000" cy="720000"/>
          </a:xfrm>
          <a:prstGeom prst="rect">
            <a:avLst/>
          </a:prstGeom>
        </p:spPr>
      </p:pic>
    </p:spTree>
    <p:extLst>
      <p:ext uri="{BB962C8B-B14F-4D97-AF65-F5344CB8AC3E}">
        <p14:creationId xmlns:p14="http://schemas.microsoft.com/office/powerpoint/2010/main" val="29330637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re 1">
            <a:extLst>
              <a:ext uri="{FF2B5EF4-FFF2-40B4-BE49-F238E27FC236}">
                <a16:creationId xmlns:a16="http://schemas.microsoft.com/office/drawing/2014/main" id="{7AF2E15B-615E-509D-5C30-70F3DD3A272E}"/>
              </a:ext>
            </a:extLst>
          </p:cNvPr>
          <p:cNvSpPr txBox="1">
            <a:spLocks/>
          </p:cNvSpPr>
          <p:nvPr/>
        </p:nvSpPr>
        <p:spPr>
          <a:xfrm>
            <a:off x="316191" y="366640"/>
            <a:ext cx="10515600" cy="470898"/>
          </a:xfrm>
          <a:prstGeom prst="rect">
            <a:avLst/>
          </a:prstGeom>
        </p:spPr>
        <p:txBody>
          <a:bodyPr vert="horz" wrap="square" lIns="0" tIns="0" rIns="0" bIns="0" rtlCol="0" anchor="t" anchorCtr="0">
            <a:spAutoFit/>
          </a:bodyPr>
          <a:lstStyle>
            <a:lvl1pPr algn="l" defTabSz="914333" rtl="0" eaLnBrk="1" latinLnBrk="0" hangingPunct="1">
              <a:lnSpc>
                <a:spcPct val="90000"/>
              </a:lnSpc>
              <a:spcBef>
                <a:spcPct val="0"/>
              </a:spcBef>
              <a:buNone/>
              <a:defRPr sz="1500" b="1" kern="1200">
                <a:solidFill>
                  <a:schemeClr val="accent5"/>
                </a:solidFill>
                <a:latin typeface="Montserrat" panose="00000500000000000000" pitchFamily="2" charset="0"/>
                <a:ea typeface="+mj-ea"/>
                <a:cs typeface="+mj-cs"/>
              </a:defRPr>
            </a:lvl1pPr>
          </a:lstStyle>
          <a:p>
            <a:pPr>
              <a:buClrTx/>
              <a:buFontTx/>
            </a:pPr>
            <a:r>
              <a:rPr lang="fr-FR" sz="2000">
                <a:solidFill>
                  <a:schemeClr val="bg2"/>
                </a:solidFill>
                <a:latin typeface="Arial Black" panose="020B0A04020102020204" pitchFamily="34" charset="0"/>
              </a:rPr>
              <a:t>Cyprien ARETHUSE</a:t>
            </a:r>
            <a:br>
              <a:rPr lang="fr-FR" sz="1600" b="0">
                <a:solidFill>
                  <a:schemeClr val="bg2"/>
                </a:solidFill>
                <a:latin typeface="Arial Black" panose="020B0A04020102020204" pitchFamily="34" charset="0"/>
              </a:rPr>
            </a:br>
            <a:r>
              <a:rPr lang="fr-FR" sz="1400" b="0">
                <a:solidFill>
                  <a:schemeClr val="bg2"/>
                </a:solidFill>
                <a:latin typeface="Arial Black" panose="020B0A04020102020204" pitchFamily="34" charset="0"/>
              </a:rPr>
              <a:t>Consultant</a:t>
            </a:r>
            <a:endParaRPr lang="fr-FR" sz="2000" b="0">
              <a:solidFill>
                <a:schemeClr val="bg2"/>
              </a:solidFill>
              <a:latin typeface="Arial Black" panose="020B0A04020102020204" pitchFamily="34" charset="0"/>
            </a:endParaRPr>
          </a:p>
        </p:txBody>
      </p:sp>
      <p:sp>
        <p:nvSpPr>
          <p:cNvPr id="27" name="Espace réservé du contenu 7">
            <a:extLst>
              <a:ext uri="{FF2B5EF4-FFF2-40B4-BE49-F238E27FC236}">
                <a16:creationId xmlns:a16="http://schemas.microsoft.com/office/drawing/2014/main" id="{ACD544D7-8DC3-5856-F0C9-21F79FFB9636}"/>
              </a:ext>
            </a:extLst>
          </p:cNvPr>
          <p:cNvSpPr txBox="1">
            <a:spLocks/>
          </p:cNvSpPr>
          <p:nvPr/>
        </p:nvSpPr>
        <p:spPr>
          <a:xfrm>
            <a:off x="334962" y="1019391"/>
            <a:ext cx="11737975" cy="614009"/>
          </a:xfrm>
          <a:prstGeom prst="rect">
            <a:avLst/>
          </a:prstGeom>
          <a:noFill/>
          <a:ln>
            <a:solidFill>
              <a:srgbClr val="43358B"/>
            </a:solidFill>
          </a:ln>
        </p:spPr>
        <p:txBody>
          <a:bodyPr vert="horz" lIns="96000" tIns="96000" rIns="96000" bIns="96000" rtlCol="0" anchor="ctr">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defTabSz="685744">
              <a:spcBef>
                <a:spcPts val="0"/>
              </a:spcBef>
              <a:buClr>
                <a:srgbClr val="0070C0"/>
              </a:buClr>
              <a:buNone/>
              <a:defRPr/>
            </a:pPr>
            <a:r>
              <a:rPr lang="fr-FR" sz="1200">
                <a:solidFill>
                  <a:srgbClr val="0070C0"/>
                </a:solidFill>
                <a:latin typeface="+mj-lt"/>
                <a:sym typeface="Arial"/>
              </a:rPr>
              <a:t>Consultant du pôle assurance, CAR est spécialisé dans le conseil en management et organisation dans le secteur de l’assurance. Sa pratique et sa connaissance ont été développées tout au long de son parcours scolaire à Sciences Po, suivi de deux expériences à forte valeur ajoutée au sein de la Macif et de la BNP Paribas. </a:t>
            </a:r>
          </a:p>
        </p:txBody>
      </p:sp>
      <p:graphicFrame>
        <p:nvGraphicFramePr>
          <p:cNvPr id="28" name="Tableau 27">
            <a:extLst>
              <a:ext uri="{FF2B5EF4-FFF2-40B4-BE49-F238E27FC236}">
                <a16:creationId xmlns:a16="http://schemas.microsoft.com/office/drawing/2014/main" id="{E4230C11-2551-0E57-9DB5-05C11F338106}"/>
              </a:ext>
            </a:extLst>
          </p:cNvPr>
          <p:cNvGraphicFramePr>
            <a:graphicFrameLocks noGrp="1"/>
          </p:cNvGraphicFramePr>
          <p:nvPr>
            <p:extLst>
              <p:ext uri="{D42A27DB-BD31-4B8C-83A1-F6EECF244321}">
                <p14:modId xmlns:p14="http://schemas.microsoft.com/office/powerpoint/2010/main" val="2810529043"/>
              </p:ext>
            </p:extLst>
          </p:nvPr>
        </p:nvGraphicFramePr>
        <p:xfrm>
          <a:off x="341069" y="1584262"/>
          <a:ext cx="3554219" cy="4802939"/>
        </p:xfrm>
        <a:graphic>
          <a:graphicData uri="http://schemas.openxmlformats.org/drawingml/2006/table">
            <a:tbl>
              <a:tblPr firstRow="1" bandRow="1">
                <a:tableStyleId>{2D5ABB26-0587-4C30-8999-92F81FD0307C}</a:tableStyleId>
              </a:tblPr>
              <a:tblGrid>
                <a:gridCol w="3276512">
                  <a:extLst>
                    <a:ext uri="{9D8B030D-6E8A-4147-A177-3AD203B41FA5}">
                      <a16:colId xmlns:a16="http://schemas.microsoft.com/office/drawing/2014/main" val="2856406043"/>
                    </a:ext>
                  </a:extLst>
                </a:gridCol>
                <a:gridCol w="277707">
                  <a:extLst>
                    <a:ext uri="{9D8B030D-6E8A-4147-A177-3AD203B41FA5}">
                      <a16:colId xmlns:a16="http://schemas.microsoft.com/office/drawing/2014/main" val="82845910"/>
                    </a:ext>
                  </a:extLst>
                </a:gridCol>
              </a:tblGrid>
              <a:tr h="447667">
                <a:tc gridSpan="2">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600" b="1" kern="1200">
                          <a:solidFill>
                            <a:srgbClr val="43358B"/>
                          </a:solidFill>
                          <a:latin typeface="+mj-lt"/>
                          <a:ea typeface="+mn-ea"/>
                          <a:cs typeface="+mn-cs"/>
                        </a:rPr>
                        <a:t>Formation</a:t>
                      </a:r>
                      <a:endParaRPr lang="fr-FR" sz="1500" b="1" kern="1200">
                        <a:solidFill>
                          <a:srgbClr val="43358B"/>
                        </a:solidFill>
                        <a:latin typeface="+mj-lt"/>
                        <a:ea typeface="+mn-ea"/>
                        <a:cs typeface="+mn-cs"/>
                      </a:endParaRPr>
                    </a:p>
                  </a:txBody>
                  <a:tcPr marL="121920" marR="121920" marT="61569" marB="61569">
                    <a:lnL>
                      <a:noFill/>
                    </a:lnL>
                    <a:lnR>
                      <a:noFill/>
                    </a:lnR>
                    <a:lnT>
                      <a:noFill/>
                    </a:lnT>
                    <a:lnB w="12700" cap="flat" cmpd="sng" algn="ctr">
                      <a:solidFill>
                        <a:srgbClr val="43358B"/>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3341204566"/>
                  </a:ext>
                </a:extLst>
              </a:tr>
              <a:tr h="854659">
                <a:tc gridSpan="2">
                  <a:txBody>
                    <a:bodyPr/>
                    <a:lstStyle/>
                    <a:p>
                      <a:pPr marL="171450" indent="-171450">
                        <a:spcBef>
                          <a:spcPts val="0"/>
                        </a:spcBef>
                        <a:buClr>
                          <a:schemeClr val="tx1"/>
                        </a:buClr>
                        <a:buFont typeface="Montserrat" panose="020B0604020202020204" charset="0"/>
                        <a:buChar char="›"/>
                      </a:pPr>
                      <a:r>
                        <a:rPr lang="fr-FR" sz="1200" b="1">
                          <a:solidFill>
                            <a:schemeClr val="tx1"/>
                          </a:solidFill>
                          <a:latin typeface="+mj-lt"/>
                        </a:rPr>
                        <a:t>Master 2 - Sciences Po Bordeaux</a:t>
                      </a:r>
                    </a:p>
                    <a:p>
                      <a:pPr marL="0" indent="0">
                        <a:spcBef>
                          <a:spcPts val="0"/>
                        </a:spcBef>
                        <a:buClr>
                          <a:schemeClr val="tx1"/>
                        </a:buClr>
                        <a:buFont typeface="Montserrat" panose="020B0604020202020204" charset="0"/>
                        <a:buNone/>
                      </a:pPr>
                      <a:r>
                        <a:rPr lang="fr-FR" sz="1200" b="0">
                          <a:solidFill>
                            <a:schemeClr val="bg2">
                              <a:lumMod val="10000"/>
                            </a:schemeClr>
                          </a:solidFill>
                          <a:latin typeface="+mj-lt"/>
                        </a:rPr>
                        <a:t>Spécialité économie et finance internationale</a:t>
                      </a:r>
                    </a:p>
                    <a:p>
                      <a:pPr marL="171450" indent="-171450">
                        <a:spcBef>
                          <a:spcPts val="0"/>
                        </a:spcBef>
                        <a:buClr>
                          <a:schemeClr val="tx1"/>
                        </a:buClr>
                        <a:buFont typeface="Montserrat" panose="020B0604020202020204" charset="0"/>
                        <a:buChar char="›"/>
                      </a:pPr>
                      <a:r>
                        <a:rPr lang="fr-FR" sz="1200" b="1">
                          <a:solidFill>
                            <a:schemeClr val="tx1"/>
                          </a:solidFill>
                          <a:latin typeface="+mj-lt"/>
                        </a:rPr>
                        <a:t>Universität Zürich</a:t>
                      </a:r>
                    </a:p>
                  </a:txBody>
                  <a:tcPr marL="121920" marR="121920" marT="61569" marB="61569">
                    <a:lnT w="12700" cap="flat" cmpd="sng" algn="ctr">
                      <a:solidFill>
                        <a:srgbClr val="43358B"/>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3691408330"/>
                  </a:ext>
                </a:extLst>
              </a:tr>
              <a:tr h="366979">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600" b="1" kern="1200">
                          <a:solidFill>
                            <a:srgbClr val="43358B"/>
                          </a:solidFill>
                          <a:latin typeface="+mj-lt"/>
                          <a:ea typeface="+mn-ea"/>
                          <a:cs typeface="+mn-cs"/>
                        </a:rPr>
                        <a:t>Compétences</a:t>
                      </a:r>
                      <a:endParaRPr lang="fr-FR" sz="1900" b="1" kern="1200">
                        <a:solidFill>
                          <a:srgbClr val="43358B"/>
                        </a:solidFill>
                        <a:latin typeface="+mj-lt"/>
                        <a:ea typeface="+mn-ea"/>
                        <a:cs typeface="+mn-cs"/>
                      </a:endParaRPr>
                    </a:p>
                  </a:txBody>
                  <a:tcPr marL="121920" marR="121920" marT="61569" marB="61569">
                    <a:lnB w="12700" cap="flat" cmpd="sng" algn="ctr">
                      <a:solidFill>
                        <a:srgbClr val="43358B"/>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2760446002"/>
                  </a:ext>
                </a:extLst>
              </a:tr>
              <a:tr h="1195717">
                <a:tc>
                  <a:txBody>
                    <a:bodyPr/>
                    <a:lstStyle/>
                    <a:p>
                      <a:pPr marL="180975" marR="0" lvl="0" indent="-180975" algn="l" defTabSz="914333"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kumimoji="0" lang="fr-FR" sz="1200" b="0" i="0" u="none" strike="noStrike" kern="1200" cap="none" spc="0" normalizeH="0" baseline="0" noProof="0">
                          <a:ln>
                            <a:noFill/>
                          </a:ln>
                          <a:solidFill>
                            <a:srgbClr val="000000"/>
                          </a:solidFill>
                          <a:effectLst/>
                          <a:uLnTx/>
                          <a:uFillTx/>
                          <a:latin typeface="+mn-lt"/>
                          <a:ea typeface="+mn-ea"/>
                          <a:cs typeface="+mn-cs"/>
                          <a:sym typeface="Arial"/>
                        </a:rPr>
                        <a:t>Synthèse de processus</a:t>
                      </a:r>
                    </a:p>
                    <a:p>
                      <a:pPr marL="180975" marR="0" lvl="0" indent="-180975" algn="l" defTabSz="914333"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kumimoji="0" lang="fr-FR" sz="1200" b="0" i="0" u="none" strike="noStrike" kern="1200" cap="none" spc="0" normalizeH="0" baseline="0" noProof="0">
                          <a:ln>
                            <a:noFill/>
                          </a:ln>
                          <a:solidFill>
                            <a:srgbClr val="000000"/>
                          </a:solidFill>
                          <a:effectLst/>
                          <a:uLnTx/>
                          <a:uFillTx/>
                          <a:latin typeface="+mn-lt"/>
                          <a:ea typeface="+mn-ea"/>
                          <a:cs typeface="+mn-cs"/>
                          <a:sym typeface="Arial"/>
                        </a:rPr>
                        <a:t>Déclinaison stratégique</a:t>
                      </a:r>
                    </a:p>
                    <a:p>
                      <a:pPr marL="180975" marR="0" lvl="0" indent="-180975" algn="l" defTabSz="914333"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kumimoji="0" lang="fr-FR" sz="1200" b="0" i="0" u="none" strike="noStrike" kern="1200" cap="none" spc="0" normalizeH="0" baseline="0" noProof="0">
                          <a:ln>
                            <a:noFill/>
                          </a:ln>
                          <a:solidFill>
                            <a:srgbClr val="000000"/>
                          </a:solidFill>
                          <a:effectLst/>
                          <a:uLnTx/>
                          <a:uFillTx/>
                          <a:latin typeface="+mn-lt"/>
                          <a:ea typeface="+mn-ea"/>
                          <a:cs typeface="+mn-cs"/>
                          <a:sym typeface="Arial"/>
                        </a:rPr>
                        <a:t>Gestion de projets </a:t>
                      </a:r>
                    </a:p>
                    <a:p>
                      <a:pPr marL="180975" marR="0" lvl="0" indent="-180975" algn="l" defTabSz="914333"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kumimoji="0" lang="fr-FR" sz="1200" b="0" i="0" u="none" strike="noStrike" kern="1200" cap="none" spc="0" normalizeH="0" baseline="0" noProof="0">
                          <a:ln>
                            <a:noFill/>
                          </a:ln>
                          <a:solidFill>
                            <a:srgbClr val="000000"/>
                          </a:solidFill>
                          <a:effectLst/>
                          <a:uLnTx/>
                          <a:uFillTx/>
                          <a:latin typeface="+mn-lt"/>
                          <a:ea typeface="+mn-ea"/>
                          <a:cs typeface="+mn-cs"/>
                          <a:sym typeface="Arial"/>
                        </a:rPr>
                        <a:t>Communication</a:t>
                      </a:r>
                    </a:p>
                    <a:p>
                      <a:pPr marL="180975" marR="0" lvl="0" indent="-180975" algn="l" defTabSz="914333" rtl="0" eaLnBrk="1" fontAlgn="auto" latinLnBrk="0" hangingPunct="1">
                        <a:lnSpc>
                          <a:spcPct val="100000"/>
                        </a:lnSpc>
                        <a:spcBef>
                          <a:spcPts val="0"/>
                        </a:spcBef>
                        <a:spcAft>
                          <a:spcPts val="0"/>
                        </a:spcAft>
                        <a:buClr>
                          <a:srgbClr val="000000"/>
                        </a:buClr>
                        <a:buSzTx/>
                        <a:buFont typeface="Montserrat" panose="00000500000000000000" pitchFamily="2" charset="0"/>
                        <a:buChar char="›"/>
                        <a:tabLst/>
                        <a:defRPr/>
                      </a:pPr>
                      <a:r>
                        <a:rPr kumimoji="0" lang="fr-FR" sz="1200" b="0" i="0" u="none" strike="noStrike" kern="1200" cap="none" spc="0" normalizeH="0" baseline="0" noProof="0">
                          <a:ln>
                            <a:noFill/>
                          </a:ln>
                          <a:solidFill>
                            <a:srgbClr val="000000"/>
                          </a:solidFill>
                          <a:effectLst/>
                          <a:uLnTx/>
                          <a:uFillTx/>
                          <a:latin typeface="+mn-lt"/>
                          <a:ea typeface="+mn-ea"/>
                          <a:cs typeface="+mn-cs"/>
                          <a:sym typeface="Arial"/>
                        </a:rPr>
                        <a:t>Faculté d’adaptation</a:t>
                      </a:r>
                    </a:p>
                  </a:txBody>
                  <a:tcPr marL="121920" marR="121920" marT="60960" marB="60960">
                    <a:lnT w="12700" cap="flat" cmpd="sng" algn="ctr">
                      <a:solidFill>
                        <a:srgbClr val="43358B"/>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1100" b="1" i="0" u="none" strike="noStrike" kern="1200" cap="none">
                        <a:solidFill>
                          <a:schemeClr val="tx1"/>
                        </a:solidFill>
                        <a:latin typeface="Montserrat" panose="00000500000000000000" pitchFamily="2" charset="0"/>
                        <a:ea typeface="+mn-ea"/>
                        <a:cs typeface="+mn-cs"/>
                        <a:sym typeface="Arial"/>
                      </a:endParaRPr>
                    </a:p>
                    <a:p>
                      <a:pPr marL="180975" indent="-180975">
                        <a:spcBef>
                          <a:spcPts val="0"/>
                        </a:spcBef>
                        <a:buClr>
                          <a:schemeClr val="tx1"/>
                        </a:buClr>
                        <a:buFont typeface="Montserrat" panose="00000500000000000000" pitchFamily="2" charset="0"/>
                        <a:buChar char="›"/>
                      </a:pPr>
                      <a:endParaRPr lang="fr-FR" sz="1100" b="1" kern="1200">
                        <a:solidFill>
                          <a:schemeClr val="tx2">
                            <a:lumMod val="75000"/>
                          </a:schemeClr>
                        </a:solidFill>
                        <a:latin typeface="Montserrat" panose="00000500000000000000" pitchFamily="2" charset="0"/>
                        <a:ea typeface="+mn-ea"/>
                        <a:cs typeface="+mn-cs"/>
                      </a:endParaRP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534310555"/>
                  </a:ext>
                </a:extLst>
              </a:tr>
              <a:tr h="793699">
                <a:tc gridSpan="2">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400" b="0" kern="1200">
                          <a:solidFill>
                            <a:srgbClr val="43358B"/>
                          </a:solidFill>
                          <a:latin typeface="+mj-lt"/>
                          <a:ea typeface="+mn-ea"/>
                          <a:cs typeface="+mn-cs"/>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a:solidFill>
                            <a:schemeClr val="tx2">
                              <a:lumMod val="50000"/>
                            </a:schemeClr>
                          </a:solidFill>
                          <a:latin typeface="+mj-lt"/>
                        </a:rPr>
                        <a:t>Anglais :      </a:t>
                      </a:r>
                      <a:r>
                        <a:rPr lang="fr-FR" sz="1200">
                          <a:solidFill>
                            <a:srgbClr val="0070C0"/>
                          </a:solidFill>
                          <a:latin typeface="+mj-lt"/>
                          <a:sym typeface="Wingdings" panose="05000000000000000000" pitchFamily="2" charset="2"/>
                        </a:rPr>
                        <a:t></a:t>
                      </a:r>
                      <a:r>
                        <a:rPr lang="fr-FR" sz="120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a:solidFill>
                            <a:schemeClr val="tx2">
                              <a:lumMod val="50000"/>
                            </a:schemeClr>
                          </a:solidFill>
                          <a:latin typeface="+mj-lt"/>
                        </a:rPr>
                        <a:t>Allemand :  </a:t>
                      </a:r>
                      <a:r>
                        <a:rPr lang="fr-FR" sz="1200">
                          <a:solidFill>
                            <a:srgbClr val="0070C0"/>
                          </a:solidFill>
                          <a:latin typeface="+mj-lt"/>
                          <a:sym typeface="Wingdings" panose="05000000000000000000" pitchFamily="2" charset="2"/>
                        </a:rPr>
                        <a:t></a:t>
                      </a:r>
                      <a:r>
                        <a:rPr lang="fr-FR" sz="120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fr-FR" sz="1200">
                        <a:solidFill>
                          <a:schemeClr val="accent2">
                            <a:lumMod val="20000"/>
                            <a:lumOff val="80000"/>
                          </a:schemeClr>
                        </a:solidFill>
                        <a:latin typeface="+mj-lt"/>
                        <a:sym typeface="Wingdings" panose="05000000000000000000" pitchFamily="2" charset="2"/>
                      </a:endParaRP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b="1" i="0" u="none" strike="noStrike" kern="1200" cap="none">
                          <a:solidFill>
                            <a:srgbClr val="43358B"/>
                          </a:solidFill>
                          <a:latin typeface="+mn-lt"/>
                          <a:ea typeface="+mn-ea"/>
                          <a:cs typeface="+mn-cs"/>
                          <a:sym typeface="Arial"/>
                        </a:rPr>
                        <a:t>Principaux clients</a:t>
                      </a:r>
                    </a:p>
                  </a:txBody>
                  <a:tcPr marL="121920" marR="121920" marT="61569" marB="61569">
                    <a:lnB w="12700" cap="flat" cmpd="sng" algn="ctr">
                      <a:solidFill>
                        <a:schemeClr val="bg2"/>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226718782"/>
                  </a:ext>
                </a:extLst>
              </a:tr>
              <a:tr h="793699">
                <a:tc gridSpan="2">
                  <a:txBody>
                    <a:bodyPr/>
                    <a:lstStyle/>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a:solidFill>
                            <a:schemeClr val="tx1"/>
                          </a:solidFill>
                          <a:latin typeface="+mj-lt"/>
                          <a:sym typeface="Wingdings" panose="05000000000000000000" pitchFamily="2" charset="2"/>
                        </a:rPr>
                        <a:t>Macif, BNP</a:t>
                      </a:r>
                    </a:p>
                  </a:txBody>
                  <a:tcPr marL="121920" marR="121920" marT="61569" marB="61569">
                    <a:lnT w="12700" cap="flat" cmpd="sng" algn="ctr">
                      <a:solidFill>
                        <a:schemeClr val="bg2"/>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184368702"/>
                  </a:ext>
                </a:extLst>
              </a:tr>
            </a:tbl>
          </a:graphicData>
        </a:graphic>
      </p:graphicFrame>
      <p:graphicFrame>
        <p:nvGraphicFramePr>
          <p:cNvPr id="29" name="Tableau 28">
            <a:extLst>
              <a:ext uri="{FF2B5EF4-FFF2-40B4-BE49-F238E27FC236}">
                <a16:creationId xmlns:a16="http://schemas.microsoft.com/office/drawing/2014/main" id="{4D03668A-A032-F5A8-05D2-385D21257EA3}"/>
              </a:ext>
            </a:extLst>
          </p:cNvPr>
          <p:cNvGraphicFramePr>
            <a:graphicFrameLocks noGrp="1"/>
          </p:cNvGraphicFramePr>
          <p:nvPr>
            <p:extLst>
              <p:ext uri="{D42A27DB-BD31-4B8C-83A1-F6EECF244321}">
                <p14:modId xmlns:p14="http://schemas.microsoft.com/office/powerpoint/2010/main" val="1070410296"/>
              </p:ext>
            </p:extLst>
          </p:nvPr>
        </p:nvGraphicFramePr>
        <p:xfrm>
          <a:off x="4542141" y="1596822"/>
          <a:ext cx="7536001" cy="5309098"/>
        </p:xfrm>
        <a:graphic>
          <a:graphicData uri="http://schemas.openxmlformats.org/drawingml/2006/table">
            <a:tbl>
              <a:tblPr firstRow="1" bandRow="1">
                <a:tableStyleId>{2D5ABB26-0587-4C30-8999-92F81FD0307C}</a:tableStyleId>
              </a:tblPr>
              <a:tblGrid>
                <a:gridCol w="4608943">
                  <a:extLst>
                    <a:ext uri="{9D8B030D-6E8A-4147-A177-3AD203B41FA5}">
                      <a16:colId xmlns:a16="http://schemas.microsoft.com/office/drawing/2014/main" val="1537716266"/>
                    </a:ext>
                  </a:extLst>
                </a:gridCol>
                <a:gridCol w="1615368">
                  <a:extLst>
                    <a:ext uri="{9D8B030D-6E8A-4147-A177-3AD203B41FA5}">
                      <a16:colId xmlns:a16="http://schemas.microsoft.com/office/drawing/2014/main" val="3186846041"/>
                    </a:ext>
                  </a:extLst>
                </a:gridCol>
                <a:gridCol w="1009495">
                  <a:extLst>
                    <a:ext uri="{9D8B030D-6E8A-4147-A177-3AD203B41FA5}">
                      <a16:colId xmlns:a16="http://schemas.microsoft.com/office/drawing/2014/main" val="2298780125"/>
                    </a:ext>
                  </a:extLst>
                </a:gridCol>
                <a:gridCol w="146408">
                  <a:extLst>
                    <a:ext uri="{9D8B030D-6E8A-4147-A177-3AD203B41FA5}">
                      <a16:colId xmlns:a16="http://schemas.microsoft.com/office/drawing/2014/main" val="1093162084"/>
                    </a:ext>
                  </a:extLst>
                </a:gridCol>
                <a:gridCol w="155787">
                  <a:extLst>
                    <a:ext uri="{9D8B030D-6E8A-4147-A177-3AD203B41FA5}">
                      <a16:colId xmlns:a16="http://schemas.microsoft.com/office/drawing/2014/main" val="2216324134"/>
                    </a:ext>
                  </a:extLst>
                </a:gridCol>
              </a:tblGrid>
              <a:tr h="410890">
                <a:tc gridSpan="5">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600" b="1" kern="1200">
                          <a:solidFill>
                            <a:srgbClr val="43358B"/>
                          </a:solidFill>
                          <a:latin typeface="+mj-lt"/>
                          <a:ea typeface="+mn-ea"/>
                          <a:cs typeface="+mn-cs"/>
                        </a:rPr>
                        <a:t>Expériences pertinentes</a:t>
                      </a:r>
                    </a:p>
                  </a:txBody>
                  <a:tcPr marL="112541" marR="112541" marT="56271" marB="56271">
                    <a:lnB w="12700" cap="flat" cmpd="sng" algn="ctr">
                      <a:solidFill>
                        <a:srgbClr val="43358B"/>
                      </a:solidFill>
                      <a:prstDash val="solid"/>
                      <a:round/>
                      <a:headEnd type="none" w="med" len="med"/>
                      <a:tailEnd type="none" w="med" len="med"/>
                    </a:lnB>
                  </a:tcPr>
                </a:tc>
                <a:tc hMerge="1">
                  <a:txBody>
                    <a:bodyPr/>
                    <a:lstStyle/>
                    <a:p>
                      <a:endParaRPr lang="fr-FR"/>
                    </a:p>
                  </a:txBody>
                  <a:tcPr>
                    <a:lnB w="12700" cap="flat" cmpd="sng" algn="ctr">
                      <a:solidFill>
                        <a:srgbClr val="0070C0"/>
                      </a:solidFill>
                      <a:prstDash val="solid"/>
                      <a:round/>
                      <a:headEnd type="none" w="med" len="med"/>
                      <a:tailEnd type="none" w="med" len="med"/>
                    </a:lnB>
                  </a:tcPr>
                </a:tc>
                <a:tc hMerge="1">
                  <a:txBody>
                    <a:bodyPr/>
                    <a:lstStyle/>
                    <a:p>
                      <a:endParaRPr lang="fr-F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tc hMerge="1">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endParaRPr lang="fr-FR" sz="1200" b="1" kern="1200">
                        <a:solidFill>
                          <a:srgbClr val="43358B"/>
                        </a:solidFill>
                        <a:latin typeface="Montserrat" panose="00000500000000000000" pitchFamily="2" charset="0"/>
                        <a:ea typeface="+mn-ea"/>
                        <a:cs typeface="+mn-cs"/>
                      </a:endParaRPr>
                    </a:p>
                  </a:txBody>
                  <a:tcPr marL="84406" marR="84406" marT="42203" marB="42203">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28455178"/>
                  </a:ext>
                </a:extLst>
              </a:tr>
              <a:tr h="718503">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200" b="1" u="none" strike="noStrike" kern="1200" cap="none" spc="0" normalizeH="0" baseline="0" noProof="0">
                          <a:ln>
                            <a:noFill/>
                          </a:ln>
                          <a:solidFill>
                            <a:schemeClr val="bg2">
                              <a:lumMod val="10000"/>
                            </a:schemeClr>
                          </a:solidFill>
                          <a:effectLst/>
                          <a:uLnTx/>
                          <a:uFillTx/>
                          <a:latin typeface="+mj-lt"/>
                        </a:rPr>
                        <a:t>Accompagnement de la Direction Financement pour les Professionnels - BNP Paribas (5 mois)</a:t>
                      </a:r>
                    </a:p>
                    <a:p>
                      <a:pPr marL="0" marR="0" lvl="0" indent="0" algn="l" defTabSz="514321" rtl="0" eaLnBrk="1" fontAlgn="auto" latinLnBrk="0" hangingPunct="1">
                        <a:lnSpc>
                          <a:spcPct val="100000"/>
                        </a:lnSpc>
                        <a:spcBef>
                          <a:spcPts val="600"/>
                        </a:spcBef>
                        <a:spcAft>
                          <a:spcPts val="0"/>
                        </a:spcAft>
                        <a:buClrTx/>
                        <a:buSzTx/>
                        <a:buFontTx/>
                        <a:buNone/>
                        <a:tabLst/>
                        <a:defRPr/>
                      </a:pPr>
                      <a:endParaRPr kumimoji="0" lang="fr-FR" sz="1200" b="1" i="1" u="none" strike="noStrike" kern="1200" cap="none" spc="0" normalizeH="0" baseline="0" noProof="0">
                        <a:ln>
                          <a:noFill/>
                        </a:ln>
                        <a:solidFill>
                          <a:schemeClr val="bg2">
                            <a:lumMod val="10000"/>
                          </a:schemeClr>
                        </a:solidFill>
                        <a:effectLst/>
                        <a:uLnTx/>
                        <a:uFillTx/>
                        <a:latin typeface="+mj-lt"/>
                        <a:ea typeface="+mn-ea"/>
                        <a:cs typeface="+mn-cs"/>
                      </a:endParaRPr>
                    </a:p>
                  </a:txBody>
                  <a:tcPr marL="121920" marR="96000" marT="96000" marB="0">
                    <a:lnT w="12700" cap="flat" cmpd="sng" algn="ctr">
                      <a:solidFill>
                        <a:srgbClr val="43358B"/>
                      </a:solidFill>
                      <a:prstDash val="solid"/>
                      <a:round/>
                      <a:headEnd type="none" w="med" len="med"/>
                      <a:tailEnd type="none" w="med" len="med"/>
                    </a:lnT>
                  </a:tcPr>
                </a:tc>
                <a:tc>
                  <a:txBody>
                    <a:bodyPr/>
                    <a:lstStyle/>
                    <a:p>
                      <a:endParaRPr lang="fr-FR" sz="4300">
                        <a:ln>
                          <a:solidFill>
                            <a:srgbClr val="002060"/>
                          </a:solidFill>
                        </a:ln>
                        <a:latin typeface="+mj-lt"/>
                      </a:endParaRPr>
                    </a:p>
                  </a:txBody>
                  <a:tcPr marL="0" marR="0" marT="48000" marB="60960" anchor="ctr">
                    <a:lnT w="12700" cap="flat" cmpd="sng" algn="ctr">
                      <a:solidFill>
                        <a:srgbClr val="43358B"/>
                      </a:solidFill>
                      <a:prstDash val="solid"/>
                      <a:round/>
                      <a:headEnd type="none" w="med" len="med"/>
                      <a:tailEnd type="none" w="med" len="med"/>
                    </a:lnT>
                  </a:tcPr>
                </a:tc>
                <a:tc gridSpan="3">
                  <a:txBody>
                    <a:bodyPr/>
                    <a:lstStyle/>
                    <a:p>
                      <a:endParaRPr lang="fr-FR" sz="2700"/>
                    </a:p>
                  </a:txBody>
                  <a:tcPr marL="0" marR="0" marT="48000" marB="60960" anchor="ctr">
                    <a:lnT w="12700" cap="flat" cmpd="sng" algn="ctr">
                      <a:solidFill>
                        <a:srgbClr val="43358B"/>
                      </a:solidFill>
                      <a:prstDash val="solid"/>
                      <a:round/>
                      <a:headEnd type="none" w="med" len="med"/>
                      <a:tailEnd type="none" w="med" len="med"/>
                    </a:lnT>
                  </a:tcPr>
                </a:tc>
                <a:tc hMerge="1">
                  <a:txBody>
                    <a:bodyPr/>
                    <a:lstStyle/>
                    <a:p>
                      <a:endParaRPr lang="fr-FR"/>
                    </a:p>
                  </a:txBody>
                  <a:tcPr/>
                </a:tc>
                <a:tc hMerge="1">
                  <a:txBody>
                    <a:bodyPr/>
                    <a:lstStyle/>
                    <a:p>
                      <a:endParaRPr lang="fr-FR" sz="2000"/>
                    </a:p>
                  </a:txBody>
                  <a:tcPr marL="0" marR="0" marT="3600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223544242"/>
                  </a:ext>
                </a:extLst>
              </a:tr>
              <a:tr h="1490028">
                <a:tc gridSpan="5">
                  <a:txBody>
                    <a:bodyPr/>
                    <a:lstStyle/>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Accompagnement quotidien des sujets de la direction</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Etat des lieux et synthétisation des process crédits de la BNPP</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Recette et améliorations d’un outil de calcul de taux (iMarge)</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Création d’une grille de pondération et priorisation des  projets de la direction </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Formalisation d’une trame d’analyse dynamique au bénéfice des chargés d’affaires</a:t>
                      </a:r>
                    </a:p>
                    <a:p>
                      <a:pPr marL="0" marR="0" lvl="0" indent="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None/>
                        <a:tabLst/>
                        <a:defRPr/>
                      </a:pPr>
                      <a:endParaRPr kumimoji="0" lang="fr-FR" sz="1300" b="0" i="0" u="none" strike="noStrike" kern="1200" cap="none" spc="0" normalizeH="0" baseline="0" noProof="0">
                        <a:ln>
                          <a:noFill/>
                        </a:ln>
                        <a:solidFill>
                          <a:schemeClr val="bg2">
                            <a:lumMod val="10000"/>
                          </a:schemeClr>
                        </a:solidFill>
                        <a:effectLst/>
                        <a:uLnTx/>
                        <a:uFillTx/>
                        <a:latin typeface="+mj-lt"/>
                        <a:ea typeface="+mn-ea"/>
                        <a:cs typeface="+mn-cs"/>
                        <a:sym typeface="Arial"/>
                      </a:endParaRPr>
                    </a:p>
                  </a:txBody>
                  <a:tcPr marL="121920" marR="121920" marT="0" marB="60960">
                    <a:lnB w="12700" cap="flat" cmpd="sng" algn="ctr">
                      <a:solidFill>
                        <a:srgbClr val="43358B"/>
                      </a:solidFill>
                      <a:prstDash val="solid"/>
                      <a:round/>
                      <a:headEnd type="none" w="med" len="med"/>
                      <a:tailEnd type="none" w="med" len="med"/>
                    </a:lnB>
                  </a:tcPr>
                </a:tc>
                <a:tc hMerge="1">
                  <a:txBody>
                    <a:bodyPr/>
                    <a:lstStyle/>
                    <a:p>
                      <a:endParaRPr lang="fr-FR"/>
                    </a:p>
                  </a:txBody>
                  <a:tcPr marL="0" marR="0"/>
                </a:tc>
                <a:tc hMerge="1">
                  <a:txBody>
                    <a:bodyPr/>
                    <a:lstStyle/>
                    <a:p>
                      <a:pPr algn="ctr"/>
                      <a:endParaRPr lang="fr-FR"/>
                    </a:p>
                  </a:txBody>
                  <a:tcPr marL="0" marR="0"/>
                </a:tc>
                <a:tc hMerge="1">
                  <a:txBody>
                    <a:bodyPr/>
                    <a:lstStyle/>
                    <a:p>
                      <a:endParaRPr lang="fr-FR"/>
                    </a:p>
                  </a:txBody>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10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3064491086"/>
                  </a:ext>
                </a:extLst>
              </a:tr>
              <a:tr h="560904">
                <a:tc gridSpan="4">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a:ln>
                            <a:noFill/>
                          </a:ln>
                          <a:solidFill>
                            <a:srgbClr val="E7E6E6">
                              <a:lumMod val="10000"/>
                            </a:srgbClr>
                          </a:solidFill>
                          <a:effectLst/>
                          <a:uLnTx/>
                          <a:uFillTx/>
                          <a:latin typeface="+mj-lt"/>
                          <a:ea typeface="+mn-ea"/>
                          <a:cs typeface="+mn-cs"/>
                        </a:rPr>
                        <a:t>Chargé d’études et conseil – Direction de la stratégie – Macif (4 mois)</a:t>
                      </a:r>
                      <a:endParaRPr kumimoji="0" lang="fr-FR" sz="1200" b="1" i="1" u="none" strike="noStrike" kern="1200" cap="none" spc="0" normalizeH="0" baseline="0" noProof="0">
                        <a:ln>
                          <a:noFill/>
                        </a:ln>
                        <a:solidFill>
                          <a:srgbClr val="E7E6E6">
                            <a:lumMod val="10000"/>
                          </a:srgbClr>
                        </a:solidFill>
                        <a:effectLst/>
                        <a:uLnTx/>
                        <a:uFillTx/>
                        <a:latin typeface="+mj-lt"/>
                        <a:ea typeface="+mn-ea"/>
                        <a:cs typeface="+mn-cs"/>
                      </a:endParaRPr>
                    </a:p>
                  </a:txBody>
                  <a:tcPr marL="112541" marR="112541" marT="56271" marB="56271">
                    <a:lnT w="12700" cap="flat" cmpd="sng" algn="ctr">
                      <a:solidFill>
                        <a:srgbClr val="43358B"/>
                      </a:solidFill>
                      <a:prstDash val="solid"/>
                      <a:round/>
                      <a:headEnd type="none" w="med" len="med"/>
                      <a:tailEnd type="none" w="med" len="med"/>
                    </a:lnT>
                  </a:tcPr>
                </a:tc>
                <a:tc hMerge="1">
                  <a:txBody>
                    <a:bodyPr/>
                    <a:lstStyle/>
                    <a:p>
                      <a:endParaRPr lang="fr-FR"/>
                    </a:p>
                  </a:txBody>
                  <a:tcPr>
                    <a:lnT w="12700" cap="flat" cmpd="sng" algn="ctr">
                      <a:solidFill>
                        <a:srgbClr val="43358B"/>
                      </a:solidFill>
                      <a:prstDash val="solid"/>
                      <a:round/>
                      <a:headEnd type="none" w="med" len="med"/>
                      <a:tailEnd type="none" w="med" len="med"/>
                    </a:lnT>
                  </a:tcPr>
                </a:tc>
                <a:tc hMerge="1">
                  <a:txBody>
                    <a:bodyPr/>
                    <a:lstStyle/>
                    <a:p>
                      <a:endParaRPr lang="fr-FR"/>
                    </a:p>
                  </a:txBody>
                  <a:tcPr marL="0" marR="0" marT="36000" anchor="ctr"/>
                </a:tc>
                <a:tc hMerge="1">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endParaRPr kumimoji="0" lang="fr-FR" sz="900" b="1" u="none" strike="noStrike" kern="1200" cap="none" spc="0" normalizeH="0" baseline="0" noProof="0">
                        <a:ln>
                          <a:noFill/>
                        </a:ln>
                        <a:solidFill>
                          <a:schemeClr val="bg2">
                            <a:lumMod val="10000"/>
                          </a:schemeClr>
                        </a:solidFill>
                        <a:effectLst/>
                        <a:uLnTx/>
                        <a:uFillTx/>
                      </a:endParaRPr>
                    </a:p>
                  </a:txBody>
                  <a:tcPr marL="84406" marR="84406" marT="42203" marB="42203">
                    <a:lnT w="12700" cap="flat" cmpd="sng" algn="ctr">
                      <a:solidFill>
                        <a:srgbClr val="43358B"/>
                      </a:solidFill>
                      <a:prstDash val="solid"/>
                      <a:round/>
                      <a:headEnd type="none" w="med" len="med"/>
                      <a:tailEnd type="none" w="med" len="med"/>
                    </a:lnT>
                  </a:tcPr>
                </a:tc>
                <a:tc>
                  <a:txBody>
                    <a:bodyPr/>
                    <a:lstStyle/>
                    <a:p>
                      <a:endParaRPr lang="fr-FR" sz="3200"/>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829131408"/>
                  </a:ext>
                </a:extLst>
              </a:tr>
              <a:tr h="2025060">
                <a:tc gridSpan="3">
                  <a:txBody>
                    <a:bodyPr/>
                    <a:lstStyle/>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Elaboration et pilotage du Plan d’investissements Supports Et Transverses (Direction finance et risques, Direction de la Stratégie, DRH, Direction de l’engagement)</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Sécurisation et pilotage du Plan d’investissements 2022 (environ 150 projets par an)</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Traduction des enjeux stratégiques de la DG en projets pour le Plan 2023</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Entretiens avec les directions et rédaction de fiches synthèse (type canvas) des projets du Plan</a:t>
                      </a:r>
                    </a:p>
                    <a:p>
                      <a:pPr marL="144000" marR="0" lvl="0" indent="-144000" algn="just" defTabSz="914400" rtl="0" eaLnBrk="1" fontAlgn="auto" latinLnBrk="0" hangingPunct="1">
                        <a:lnSpc>
                          <a:spcPct val="100000"/>
                        </a:lnSpc>
                        <a:spcBef>
                          <a:spcPts val="600"/>
                        </a:spcBef>
                        <a:spcAft>
                          <a:spcPts val="0"/>
                        </a:spcAft>
                        <a:buClr>
                          <a:schemeClr val="tx1"/>
                        </a:buClr>
                        <a:buSzTx/>
                        <a:buFont typeface="Montserrat" panose="00000500000000000000" pitchFamily="2" charset="0"/>
                        <a:buChar char="›"/>
                        <a:tabLst/>
                        <a:defRPr/>
                      </a:pPr>
                      <a:r>
                        <a:rPr kumimoji="0" lang="fr-FR" sz="1200" b="0" i="0" u="none" strike="noStrike" kern="1200" cap="none" spc="0" normalizeH="0" baseline="0" noProof="0">
                          <a:ln>
                            <a:noFill/>
                          </a:ln>
                          <a:solidFill>
                            <a:schemeClr val="bg2">
                              <a:lumMod val="10000"/>
                            </a:schemeClr>
                          </a:solidFill>
                          <a:effectLst/>
                          <a:uLnTx/>
                          <a:uFillTx/>
                          <a:latin typeface="+mj-lt"/>
                          <a:ea typeface="+mn-ea"/>
                          <a:cs typeface="+mn-cs"/>
                          <a:sym typeface="Arial"/>
                        </a:rPr>
                        <a:t>Elaboration et consolidation des budgets du portefeuille de projets</a:t>
                      </a:r>
                    </a:p>
                  </a:txBody>
                  <a:tcPr marL="121920" marR="96000" marT="96000" marB="0"/>
                </a:tc>
                <a:tc hMerge="1">
                  <a:txBody>
                    <a:bodyPr/>
                    <a:lstStyle/>
                    <a:p>
                      <a:endParaRPr lang="fr-FR" sz="3200"/>
                    </a:p>
                  </a:txBody>
                  <a:tcPr marL="0" marR="0" marT="36000" anchor="ctr">
                    <a:lnB w="6350" cap="flat" cmpd="sng" algn="ctr">
                      <a:solidFill>
                        <a:srgbClr val="0070C0"/>
                      </a:solidFill>
                      <a:prstDash val="solid"/>
                      <a:round/>
                      <a:headEnd type="none" w="med" len="med"/>
                      <a:tailEnd type="none" w="med" len="med"/>
                    </a:lnB>
                  </a:tcPr>
                </a:tc>
                <a:tc hMerge="1">
                  <a:txBody>
                    <a:bodyPr/>
                    <a:lstStyle/>
                    <a:p>
                      <a:pPr algn="ctr"/>
                      <a:endParaRPr lang="fr-FR"/>
                    </a:p>
                  </a:txBody>
                  <a:tcPr marL="0" marR="0">
                    <a:lnB w="6350" cap="flat" cmpd="sng" algn="ctr">
                      <a:solidFill>
                        <a:srgbClr val="0070C0"/>
                      </a:solidFill>
                      <a:prstDash val="solid"/>
                      <a:round/>
                      <a:headEnd type="none" w="med" len="med"/>
                      <a:tailEnd type="none" w="med" len="med"/>
                    </a:lnB>
                  </a:tcPr>
                </a:tc>
                <a:tc>
                  <a:txBody>
                    <a:bodyPr/>
                    <a:lstStyle/>
                    <a:p>
                      <a:endParaRPr lang="fr-FR" sz="4300"/>
                    </a:p>
                  </a:txBody>
                  <a:tcPr marL="0" marR="0" marT="48000" marB="60960" anchor="ctr">
                    <a:lnB w="6350" cap="flat" cmpd="sng" algn="ctr">
                      <a:solidFill>
                        <a:srgbClr val="0070C0"/>
                      </a:solidFill>
                      <a:prstDash val="solid"/>
                      <a:round/>
                      <a:headEnd type="none" w="med" len="med"/>
                      <a:tailEnd type="none" w="med" len="med"/>
                    </a:lnB>
                  </a:tcPr>
                </a:tc>
                <a:tc>
                  <a:txBody>
                    <a:bodyPr/>
                    <a:lstStyle/>
                    <a:p>
                      <a:pPr algn="ctr"/>
                      <a:endParaRPr lang="fr-FR" sz="3200"/>
                    </a:p>
                  </a:txBody>
                  <a:tcPr marL="0" marR="0" marT="60960" marB="60960">
                    <a:lnB w="6350"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834542377"/>
                  </a:ext>
                </a:extLst>
              </a:tr>
            </a:tbl>
          </a:graphicData>
        </a:graphic>
      </p:graphicFrame>
      <p:pic>
        <p:nvPicPr>
          <p:cNvPr id="30" name="Graphique 66" descr="Repère">
            <a:extLst>
              <a:ext uri="{FF2B5EF4-FFF2-40B4-BE49-F238E27FC236}">
                <a16:creationId xmlns:a16="http://schemas.microsoft.com/office/drawing/2014/main" id="{CA9BF488-67E0-5E27-E524-AA04B47E6E3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0064" y="2099199"/>
            <a:ext cx="325192" cy="325192"/>
          </a:xfrm>
          <a:prstGeom prst="rect">
            <a:avLst/>
          </a:prstGeom>
        </p:spPr>
      </p:pic>
      <p:sp>
        <p:nvSpPr>
          <p:cNvPr id="31" name="ZoneTexte 30">
            <a:extLst>
              <a:ext uri="{FF2B5EF4-FFF2-40B4-BE49-F238E27FC236}">
                <a16:creationId xmlns:a16="http://schemas.microsoft.com/office/drawing/2014/main" id="{3AC823BD-1669-0CEA-1D4F-C203FEFE42B0}"/>
              </a:ext>
            </a:extLst>
          </p:cNvPr>
          <p:cNvSpPr txBox="1"/>
          <p:nvPr/>
        </p:nvSpPr>
        <p:spPr>
          <a:xfrm>
            <a:off x="10595396" y="2128426"/>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p:txBody>
      </p:sp>
      <p:pic>
        <p:nvPicPr>
          <p:cNvPr id="32" name="Graphique 65" descr="Calendrier journalier">
            <a:extLst>
              <a:ext uri="{FF2B5EF4-FFF2-40B4-BE49-F238E27FC236}">
                <a16:creationId xmlns:a16="http://schemas.microsoft.com/office/drawing/2014/main" id="{AC7CEB50-882B-A91A-5990-66B91DAB4E4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51673" y="2121120"/>
            <a:ext cx="281353" cy="281353"/>
          </a:xfrm>
          <a:prstGeom prst="rect">
            <a:avLst/>
          </a:prstGeom>
        </p:spPr>
      </p:pic>
      <p:pic>
        <p:nvPicPr>
          <p:cNvPr id="33" name="Graphique 66" descr="Repère">
            <a:extLst>
              <a:ext uri="{FF2B5EF4-FFF2-40B4-BE49-F238E27FC236}">
                <a16:creationId xmlns:a16="http://schemas.microsoft.com/office/drawing/2014/main" id="{DCE29F07-A3D0-FC2F-8466-6040D8EF7A8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0064" y="4368721"/>
            <a:ext cx="325192" cy="325192"/>
          </a:xfrm>
          <a:prstGeom prst="rect">
            <a:avLst/>
          </a:prstGeom>
        </p:spPr>
      </p:pic>
      <p:sp>
        <p:nvSpPr>
          <p:cNvPr id="34" name="ZoneTexte 33">
            <a:extLst>
              <a:ext uri="{FF2B5EF4-FFF2-40B4-BE49-F238E27FC236}">
                <a16:creationId xmlns:a16="http://schemas.microsoft.com/office/drawing/2014/main" id="{B58A50D5-7D27-C71D-FE74-6D432B95F95D}"/>
              </a:ext>
            </a:extLst>
          </p:cNvPr>
          <p:cNvSpPr txBox="1"/>
          <p:nvPr/>
        </p:nvSpPr>
        <p:spPr>
          <a:xfrm>
            <a:off x="10595396" y="4397947"/>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Niort</a:t>
            </a:r>
          </a:p>
        </p:txBody>
      </p:sp>
      <p:pic>
        <p:nvPicPr>
          <p:cNvPr id="35" name="Graphique 65" descr="Calendrier journalier">
            <a:extLst>
              <a:ext uri="{FF2B5EF4-FFF2-40B4-BE49-F238E27FC236}">
                <a16:creationId xmlns:a16="http://schemas.microsoft.com/office/drawing/2014/main" id="{7D7042DF-2F9D-6872-7CD4-918FD8C4010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351673" y="4390642"/>
            <a:ext cx="281353" cy="281353"/>
          </a:xfrm>
          <a:prstGeom prst="rect">
            <a:avLst/>
          </a:prstGeom>
        </p:spPr>
      </p:pic>
      <p:pic>
        <p:nvPicPr>
          <p:cNvPr id="36" name="Picture 2" descr="Résultat d’images pour macif">
            <a:extLst>
              <a:ext uri="{FF2B5EF4-FFF2-40B4-BE49-F238E27FC236}">
                <a16:creationId xmlns:a16="http://schemas.microsoft.com/office/drawing/2014/main" id="{CF6E7A9D-E898-894E-7A1E-5C66C3C866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96057" y="4425516"/>
            <a:ext cx="664279" cy="65237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Icônes bnp-paribas,logo">
            <a:extLst>
              <a:ext uri="{FF2B5EF4-FFF2-40B4-BE49-F238E27FC236}">
                <a16:creationId xmlns:a16="http://schemas.microsoft.com/office/drawing/2014/main" id="{0BD7BDAD-4133-3F4F-39B6-3A5CFAC0E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96855" y="2122171"/>
            <a:ext cx="462680" cy="46268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descr="Une image contenant personne, Visage humain, sourire, homme&#10;&#10;Description générée automatiquement">
            <a:extLst>
              <a:ext uri="{FF2B5EF4-FFF2-40B4-BE49-F238E27FC236}">
                <a16:creationId xmlns:a16="http://schemas.microsoft.com/office/drawing/2014/main" id="{1F97F2E4-07B6-3675-C8C4-E81734ACE36D}"/>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10052240" y="55793"/>
            <a:ext cx="645352" cy="818323"/>
          </a:xfrm>
          <a:prstGeom prst="rect">
            <a:avLst/>
          </a:prstGeom>
        </p:spPr>
      </p:pic>
      <p:sp>
        <p:nvSpPr>
          <p:cNvPr id="3" name="ZoneTexte 2">
            <a:extLst>
              <a:ext uri="{FF2B5EF4-FFF2-40B4-BE49-F238E27FC236}">
                <a16:creationId xmlns:a16="http://schemas.microsoft.com/office/drawing/2014/main" id="{CF60017C-3A32-999B-F354-16F529553FD9}"/>
              </a:ext>
            </a:extLst>
          </p:cNvPr>
          <p:cNvSpPr txBox="1"/>
          <p:nvPr/>
        </p:nvSpPr>
        <p:spPr>
          <a:xfrm>
            <a:off x="11645253" y="2128426"/>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23</a:t>
            </a:r>
          </a:p>
        </p:txBody>
      </p:sp>
      <p:sp>
        <p:nvSpPr>
          <p:cNvPr id="4" name="ZoneTexte 3">
            <a:extLst>
              <a:ext uri="{FF2B5EF4-FFF2-40B4-BE49-F238E27FC236}">
                <a16:creationId xmlns:a16="http://schemas.microsoft.com/office/drawing/2014/main" id="{6DBF4285-446D-93EE-6BCA-ECF50980FEB5}"/>
              </a:ext>
            </a:extLst>
          </p:cNvPr>
          <p:cNvSpPr txBox="1"/>
          <p:nvPr/>
        </p:nvSpPr>
        <p:spPr>
          <a:xfrm>
            <a:off x="11645253" y="4397947"/>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22</a:t>
            </a:r>
          </a:p>
        </p:txBody>
      </p:sp>
    </p:spTree>
    <p:extLst>
      <p:ext uri="{BB962C8B-B14F-4D97-AF65-F5344CB8AC3E}">
        <p14:creationId xmlns:p14="http://schemas.microsoft.com/office/powerpoint/2010/main" val="640653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6A1BA153-80DA-80C4-9ECD-5FA02B7AD001}"/>
              </a:ext>
            </a:extLst>
          </p:cNvPr>
          <p:cNvSpPr>
            <a:spLocks noGrp="1"/>
          </p:cNvSpPr>
          <p:nvPr>
            <p:ph type="title"/>
          </p:nvPr>
        </p:nvSpPr>
        <p:spPr/>
        <p:txBody>
          <a:bodyPr/>
          <a:lstStyle/>
          <a:p>
            <a:r>
              <a:rPr lang="fr-FR"/>
              <a:t>Equipe Italie et Espagne</a:t>
            </a:r>
          </a:p>
        </p:txBody>
      </p:sp>
    </p:spTree>
    <p:extLst>
      <p:ext uri="{BB962C8B-B14F-4D97-AF65-F5344CB8AC3E}">
        <p14:creationId xmlns:p14="http://schemas.microsoft.com/office/powerpoint/2010/main" val="12201646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A6D258D3-15F8-41C0-9C67-0E67B47EDD42}"/>
              </a:ext>
            </a:extLst>
          </p:cNvPr>
          <p:cNvGraphicFramePr>
            <a:graphicFrameLocks noChangeAspect="1"/>
          </p:cNvGraphicFramePr>
          <p:nvPr>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1" name="Objet 10" hidden="1">
                        <a:extLst>
                          <a:ext uri="{FF2B5EF4-FFF2-40B4-BE49-F238E27FC236}">
                            <a16:creationId xmlns:a16="http://schemas.microsoft.com/office/drawing/2014/main" id="{A6D258D3-15F8-41C0-9C67-0E67B47EDD42}"/>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BED0FA13-48E3-B060-8E22-E55B86C0C8BD}"/>
              </a:ext>
            </a:extLst>
          </p:cNvPr>
          <p:cNvPicPr>
            <a:picLocks noChangeAspect="1"/>
          </p:cNvPicPr>
          <p:nvPr/>
        </p:nvPicPr>
        <p:blipFill>
          <a:blip r:embed="rId6"/>
          <a:stretch>
            <a:fillRect/>
          </a:stretch>
        </p:blipFill>
        <p:spPr>
          <a:xfrm>
            <a:off x="4212725" y="5603508"/>
            <a:ext cx="624055" cy="298828"/>
          </a:xfrm>
          <a:prstGeom prst="rect">
            <a:avLst/>
          </a:prstGeom>
        </p:spPr>
      </p:pic>
      <p:pic>
        <p:nvPicPr>
          <p:cNvPr id="12" name="Image 11">
            <a:extLst>
              <a:ext uri="{FF2B5EF4-FFF2-40B4-BE49-F238E27FC236}">
                <a16:creationId xmlns:a16="http://schemas.microsoft.com/office/drawing/2014/main" id="{D83F7AF3-D0F4-520A-9EC8-FF505DE8F120}"/>
              </a:ext>
            </a:extLst>
          </p:cNvPr>
          <p:cNvPicPr>
            <a:picLocks noChangeAspect="1"/>
          </p:cNvPicPr>
          <p:nvPr/>
        </p:nvPicPr>
        <p:blipFill>
          <a:blip r:embed="rId7"/>
          <a:stretch>
            <a:fillRect/>
          </a:stretch>
        </p:blipFill>
        <p:spPr>
          <a:xfrm>
            <a:off x="4171282" y="2081405"/>
            <a:ext cx="638801" cy="645320"/>
          </a:xfrm>
          <a:prstGeom prst="rect">
            <a:avLst/>
          </a:prstGeom>
        </p:spPr>
      </p:pic>
      <p:pic>
        <p:nvPicPr>
          <p:cNvPr id="13" name="Picture 2" descr="Logo BNP Paribas Fortis PNG transparents - StickPNG">
            <a:extLst>
              <a:ext uri="{FF2B5EF4-FFF2-40B4-BE49-F238E27FC236}">
                <a16:creationId xmlns:a16="http://schemas.microsoft.com/office/drawing/2014/main" id="{55EAE0BE-5B8D-594F-F760-4CC52DBF142B}"/>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4056915" y="4078216"/>
            <a:ext cx="916131" cy="199075"/>
          </a:xfrm>
          <a:prstGeom prst="rect">
            <a:avLst/>
          </a:prstGeom>
          <a:noFill/>
          <a:extLst>
            <a:ext uri="{909E8E84-426E-40DD-AFC4-6F175D3DCCD1}">
              <a14:hiddenFill xmlns:a14="http://schemas.microsoft.com/office/drawing/2010/main">
                <a:solidFill>
                  <a:srgbClr val="FFFFFF"/>
                </a:solidFill>
              </a14:hiddenFill>
            </a:ext>
          </a:extLst>
        </p:spPr>
      </p:pic>
      <p:sp>
        <p:nvSpPr>
          <p:cNvPr id="14" name="Espace réservé du contenu 7">
            <a:extLst>
              <a:ext uri="{FF2B5EF4-FFF2-40B4-BE49-F238E27FC236}">
                <a16:creationId xmlns:a16="http://schemas.microsoft.com/office/drawing/2014/main" id="{87DAD0CB-BA53-0307-2077-60A506CA4FD7}"/>
              </a:ext>
            </a:extLst>
          </p:cNvPr>
          <p:cNvSpPr txBox="1">
            <a:spLocks/>
          </p:cNvSpPr>
          <p:nvPr/>
        </p:nvSpPr>
        <p:spPr>
          <a:xfrm>
            <a:off x="355243" y="1015279"/>
            <a:ext cx="11703720" cy="622521"/>
          </a:xfrm>
          <a:prstGeom prst="rect">
            <a:avLst/>
          </a:prstGeom>
          <a:noFill/>
          <a:ln>
            <a:solidFill>
              <a:schemeClr val="bg2"/>
            </a:solidFill>
          </a:ln>
        </p:spPr>
        <p:txBody>
          <a:bodyPr vert="horz" lIns="96000" tIns="96000" rIns="96000" bIns="96000" rtlCol="0" anchor="ctr">
            <a:noAutofit/>
          </a:bodyPr>
          <a:lstStyle>
            <a:defPPr marR="0" lvl="0" algn="l" rtl="0">
              <a:lnSpc>
                <a:spcPct val="100000"/>
              </a:lnSpc>
              <a:spcBef>
                <a:spcPts val="0"/>
              </a:spcBef>
              <a:spcAft>
                <a:spcPts val="0"/>
              </a:spcAft>
            </a:defPPr>
            <a:lvl1pPr marL="0" indent="0" defTabSz="514308" eaLnBrk="1" latinLnBrk="0" hangingPunct="1">
              <a:buClr>
                <a:srgbClr val="0070C0"/>
              </a:buClr>
              <a:buFont typeface="Wingdings" panose="05000000000000000000" pitchFamily="2" charset="2"/>
              <a:buNone/>
              <a:defRPr sz="800" kern="1200">
                <a:solidFill>
                  <a:srgbClr val="7F7F7F">
                    <a:lumMod val="75000"/>
                  </a:srgbClr>
                </a:solidFill>
                <a:latin typeface="Montserrat" panose="00000500000000000000" pitchFamily="2" charset="0"/>
                <a:ea typeface="+mn-ea"/>
                <a:cs typeface="+mn-cs"/>
              </a:defRPr>
            </a:lvl1pPr>
            <a:lvl2pPr marL="719996" indent="-359998" defTabSz="514321" eaLnBrk="1" latinLnBrk="0" hangingPunct="1">
              <a:spcBef>
                <a:spcPts val="600"/>
              </a:spcBef>
              <a:buClr>
                <a:schemeClr val="accent2"/>
              </a:buClr>
              <a:buFont typeface="Arial" panose="020B0604020202020204" pitchFamily="34" charset="0"/>
              <a:buChar char="•"/>
              <a:defRPr kern="1200">
                <a:solidFill>
                  <a:schemeClr val="tx1">
                    <a:lumMod val="75000"/>
                    <a:lumOff val="25000"/>
                  </a:schemeClr>
                </a:solidFill>
                <a:latin typeface="+mn-lt"/>
                <a:ea typeface="+mn-ea"/>
                <a:cs typeface="+mn-cs"/>
              </a:defRPr>
            </a:lvl2pPr>
            <a:lvl3pPr marL="1079994" indent="-359998" defTabSz="514321" eaLnBrk="1" latinLnBrk="0" hangingPunct="1">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defTabSz="514321" eaLnBrk="1" latinLnBrk="0" hangingPunct="1">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defTabSz="514321" eaLnBrk="1" latinLnBrk="0" hangingPunct="1">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defTabSz="514321"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defTabSz="514321"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defTabSz="514321"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defTabSz="514321"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defTabSz="685727">
              <a:defRPr/>
            </a:pPr>
            <a:r>
              <a:rPr lang="fr-FR" sz="1100">
                <a:solidFill>
                  <a:srgbClr val="0070C0"/>
                </a:solidFill>
                <a:latin typeface="Arial  "/>
                <a:sym typeface="Arial"/>
              </a:rPr>
              <a:t>Senior Manager avec plus de 15 ans d’expérience en transformation des organisations bancaires, Jean-Jacques est expert Black Belt et formateur en méthodologie Lean Six Sigma. Il a réalisé et piloté de multiples projets mixtes métier &amp; SI à dimension internationale.</a:t>
            </a:r>
          </a:p>
        </p:txBody>
      </p:sp>
      <p:pic>
        <p:nvPicPr>
          <p:cNvPr id="24" name="Image 23" descr="Une image contenant personne, Visage humain, portrait, habits&#10;&#10;Description générée automatiquement">
            <a:extLst>
              <a:ext uri="{FF2B5EF4-FFF2-40B4-BE49-F238E27FC236}">
                <a16:creationId xmlns:a16="http://schemas.microsoft.com/office/drawing/2014/main" id="{50C17F41-EAFC-2DCE-4472-FD52A33B0901}"/>
              </a:ext>
            </a:extLst>
          </p:cNvPr>
          <p:cNvPicPr>
            <a:picLocks noChangeAspect="1"/>
          </p:cNvPicPr>
          <p:nvPr/>
        </p:nvPicPr>
        <p:blipFill rotWithShape="1">
          <a:blip r:embed="rId9">
            <a:extLst>
              <a:ext uri="{28A0092B-C50C-407E-A947-70E740481C1C}">
                <a14:useLocalDpi xmlns:a14="http://schemas.microsoft.com/office/drawing/2010/main" val="0"/>
              </a:ext>
            </a:extLst>
          </a:blip>
          <a:srcRect b="-1356"/>
          <a:stretch/>
        </p:blipFill>
        <p:spPr>
          <a:xfrm>
            <a:off x="9904545" y="136348"/>
            <a:ext cx="792000" cy="802734"/>
          </a:xfrm>
          <a:prstGeom prst="rect">
            <a:avLst/>
          </a:prstGeom>
        </p:spPr>
      </p:pic>
      <p:sp>
        <p:nvSpPr>
          <p:cNvPr id="25" name="ZoneTexte 24">
            <a:extLst>
              <a:ext uri="{FF2B5EF4-FFF2-40B4-BE49-F238E27FC236}">
                <a16:creationId xmlns:a16="http://schemas.microsoft.com/office/drawing/2014/main" id="{8A2F8B1B-3339-38FB-F9DF-DB263BC89C15}"/>
              </a:ext>
            </a:extLst>
          </p:cNvPr>
          <p:cNvSpPr txBox="1"/>
          <p:nvPr/>
        </p:nvSpPr>
        <p:spPr>
          <a:xfrm>
            <a:off x="316683" y="309817"/>
            <a:ext cx="3947499"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srgbClr val="44398A"/>
                </a:solidFill>
                <a:effectLst/>
                <a:uLnTx/>
                <a:uFillTx/>
                <a:latin typeface="Arial Black" panose="020B0A04020102020204" pitchFamily="34" charset="0"/>
                <a:ea typeface="+mn-ea"/>
                <a:cs typeface="+mn-cs"/>
              </a:rPr>
              <a:t>Jean Jacques SCEMA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44398A"/>
                </a:solidFill>
                <a:effectLst/>
                <a:uLnTx/>
                <a:uFillTx/>
                <a:latin typeface="Arial Black" panose="020B0A04020102020204" pitchFamily="34" charset="0"/>
                <a:ea typeface="+mn-ea"/>
                <a:cs typeface="+mn-cs"/>
              </a:rPr>
              <a:t>Senior Manager (15 ans d’expérience)</a:t>
            </a:r>
            <a:endParaRPr kumimoji="0" lang="fr-FR" sz="2000" b="0" i="0" u="none" strike="noStrike" kern="1200" cap="none" spc="0" normalizeH="0" baseline="0" noProof="0">
              <a:ln>
                <a:noFill/>
              </a:ln>
              <a:solidFill>
                <a:srgbClr val="44398A"/>
              </a:solidFill>
              <a:effectLst/>
              <a:uLnTx/>
              <a:uFillTx/>
              <a:latin typeface="Arial Black" panose="020B0A04020102020204" pitchFamily="34" charset="0"/>
              <a:ea typeface="+mn-ea"/>
              <a:cs typeface="+mn-cs"/>
            </a:endParaRPr>
          </a:p>
        </p:txBody>
      </p:sp>
      <p:graphicFrame>
        <p:nvGraphicFramePr>
          <p:cNvPr id="26" name="Tableau 25">
            <a:extLst>
              <a:ext uri="{FF2B5EF4-FFF2-40B4-BE49-F238E27FC236}">
                <a16:creationId xmlns:a16="http://schemas.microsoft.com/office/drawing/2014/main" id="{E46E653B-2228-0C61-B591-32A444DFE713}"/>
              </a:ext>
            </a:extLst>
          </p:cNvPr>
          <p:cNvGraphicFramePr>
            <a:graphicFrameLocks noGrp="1"/>
          </p:cNvGraphicFramePr>
          <p:nvPr>
            <p:extLst>
              <p:ext uri="{D42A27DB-BD31-4B8C-83A1-F6EECF244321}">
                <p14:modId xmlns:p14="http://schemas.microsoft.com/office/powerpoint/2010/main" val="1917642793"/>
              </p:ext>
            </p:extLst>
          </p:nvPr>
        </p:nvGraphicFramePr>
        <p:xfrm>
          <a:off x="4021319" y="1709356"/>
          <a:ext cx="8062697" cy="5074920"/>
        </p:xfrm>
        <a:graphic>
          <a:graphicData uri="http://schemas.openxmlformats.org/drawingml/2006/table">
            <a:tbl>
              <a:tblPr firstRow="1" bandRow="1">
                <a:tableStyleId>{2D5ABB26-0587-4C30-8999-92F81FD0307C}</a:tableStyleId>
              </a:tblPr>
              <a:tblGrid>
                <a:gridCol w="1005123">
                  <a:extLst>
                    <a:ext uri="{9D8B030D-6E8A-4147-A177-3AD203B41FA5}">
                      <a16:colId xmlns:a16="http://schemas.microsoft.com/office/drawing/2014/main" val="3696629346"/>
                    </a:ext>
                  </a:extLst>
                </a:gridCol>
                <a:gridCol w="5172420">
                  <a:extLst>
                    <a:ext uri="{9D8B030D-6E8A-4147-A177-3AD203B41FA5}">
                      <a16:colId xmlns:a16="http://schemas.microsoft.com/office/drawing/2014/main" val="1537716266"/>
                    </a:ext>
                  </a:extLst>
                </a:gridCol>
                <a:gridCol w="1885154">
                  <a:extLst>
                    <a:ext uri="{9D8B030D-6E8A-4147-A177-3AD203B41FA5}">
                      <a16:colId xmlns:a16="http://schemas.microsoft.com/office/drawing/2014/main" val="2028938264"/>
                    </a:ext>
                  </a:extLst>
                </a:gridCol>
              </a:tblGrid>
              <a:tr h="314960">
                <a:tc gridSpan="3">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Expériences pertinentes</a:t>
                      </a:r>
                    </a:p>
                  </a:txBody>
                  <a:tcPr>
                    <a:lnB w="12700" cap="flat" cmpd="sng" algn="ctr">
                      <a:solidFill>
                        <a:schemeClr val="bg2"/>
                      </a:solidFill>
                      <a:prstDash val="solid"/>
                      <a:round/>
                      <a:headEnd type="none" w="med" len="med"/>
                      <a:tailEnd type="none" w="med" len="med"/>
                    </a:lnB>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0070C0"/>
                        </a:solidFill>
                        <a:latin typeface="Calibri" panose="020F0502020204030204" pitchFamily="34" charset="0"/>
                        <a:ea typeface="+mn-ea"/>
                        <a:cs typeface="+mn-cs"/>
                      </a:endParaRPr>
                    </a:p>
                  </a:txBody>
                  <a:tcPr>
                    <a:lnB w="12700" cap="flat" cmpd="sng" algn="ctr">
                      <a:solidFill>
                        <a:srgbClr val="0070C0"/>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1428455178"/>
                  </a:ext>
                </a:extLst>
              </a:tr>
              <a:tr h="167640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100" b="0" i="1"/>
                    </a:p>
                  </a:txBody>
                  <a:tcPr anchor="ct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mj-lt"/>
                          <a:ea typeface="+mn-ea"/>
                          <a:cs typeface="+mn-cs"/>
                        </a:rPr>
                        <a:t>Design du Target Operating Model des équipes Operations (CMO) de Crédit Agricole CIB</a:t>
                      </a:r>
                    </a:p>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a:ln>
                          <a:noFill/>
                        </a:ln>
                        <a:solidFill>
                          <a:srgbClr val="7F7F7F">
                            <a:lumMod val="50000"/>
                          </a:srgbClr>
                        </a:solidFill>
                        <a:effectLst/>
                        <a:uLnTx/>
                        <a:uFillTx/>
                        <a:latin typeface="+mj-lt"/>
                        <a:ea typeface="+mn-ea"/>
                        <a:cs typeface="+mn-cs"/>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Validation des axes de déploiement du TOM ( Organisation / Process / Skills / Data / Ecosystem)	</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Analyse des problématiques au regard de la transformation IT (NEMO), recherche  et factualisation des causes profondes (via mesure)</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Travaux de co-design de cibles (bottom up et top down) avec les opérationnels / les managers </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Animation d’ateliers de co-construction; formalisation de processus cible en coopération avec opérationnels et manager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Délivrance d’un booklet Target Operating Model répondant aux différents enjeux des axes de déploiement à l’international (en anglai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900" b="0" i="0" u="none" strike="noStrike" kern="1200" cap="none" spc="0" normalizeH="0" baseline="0">
                        <a:ln>
                          <a:noFill/>
                        </a:ln>
                        <a:solidFill>
                          <a:srgbClr val="7F7F7F">
                            <a:lumMod val="50000"/>
                          </a:srgbClr>
                        </a:solidFill>
                        <a:effectLst/>
                        <a:uLnTx/>
                        <a:uFillTx/>
                        <a:latin typeface="+mj-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514321" rtl="0" eaLnBrk="1" fontAlgn="auto" latinLnBrk="0" hangingPunct="1">
                        <a:lnSpc>
                          <a:spcPct val="100000"/>
                        </a:lnSpc>
                        <a:spcBef>
                          <a:spcPts val="0"/>
                        </a:spcBef>
                        <a:spcAft>
                          <a:spcPts val="0"/>
                        </a:spcAft>
                        <a:buClrTx/>
                        <a:buSzTx/>
                        <a:buFontTx/>
                        <a:buNone/>
                        <a:tabLst/>
                        <a:defRPr/>
                      </a:pPr>
                      <a:endParaRPr lang="fr-FR" sz="900" kern="1200">
                        <a:solidFill>
                          <a:schemeClr val="tx1"/>
                        </a:solidFill>
                        <a:latin typeface="+mn-lt"/>
                        <a:ea typeface="+mn-ea"/>
                        <a:cs typeface="+mn-cs"/>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68827586"/>
                  </a:ext>
                </a:extLst>
              </a:tr>
              <a:tr h="14122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100" b="0" i="1"/>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mj-lt"/>
                          <a:ea typeface="+mn-ea"/>
                          <a:cs typeface="+mn-cs"/>
                        </a:rPr>
                        <a:t>Centralisation des Middle Office Européens (BNP Paribas + Fortis)</a:t>
                      </a:r>
                    </a:p>
                    <a:p>
                      <a:pPr marL="0" marR="0" lvl="0" indent="0" algn="l" defTabSz="514321" rtl="0" eaLnBrk="1" fontAlgn="auto" latinLnBrk="0" hangingPunct="1">
                        <a:lnSpc>
                          <a:spcPct val="100000"/>
                        </a:lnSpc>
                        <a:spcBef>
                          <a:spcPts val="0"/>
                        </a:spcBef>
                        <a:spcAft>
                          <a:spcPts val="0"/>
                        </a:spcAft>
                        <a:buClrTx/>
                        <a:buSzTx/>
                        <a:buFontTx/>
                        <a:buNone/>
                        <a:tabLst/>
                        <a:defRPr/>
                      </a:pPr>
                      <a:endParaRPr lang="fr-FR" sz="1100" b="1" kern="1200">
                        <a:solidFill>
                          <a:schemeClr val="tx2">
                            <a:lumMod val="50000"/>
                          </a:schemeClr>
                        </a:solidFill>
                        <a:latin typeface="+mj-lt"/>
                        <a:ea typeface="+mn-ea"/>
                        <a:cs typeface="+mn-cs"/>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Audit des spécificités de fonctionnement des sites, et customisation de la solution de  centralisation des process et fonction (MO, BO, Finance, Risque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Déplacement sur site, investigations, analyse des problématiques in situ, et formalisation des attributions locales vs central</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Accompagnement des équipes à Paris et sur site dans le cadre des transformations des mandats et outils (formation outils, visites sur Paris, suivi des productions test)</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Suivi de l’implémentation via audit des productions historiques vs cible atteinte </a:t>
                      </a:r>
                    </a:p>
                  </a:txBody>
                  <a:tcPr anchor="ctr">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514321" rtl="0" eaLnBrk="1" fontAlgn="auto" latinLnBrk="0" hangingPunct="1">
                        <a:lnSpc>
                          <a:spcPct val="100000"/>
                        </a:lnSpc>
                        <a:spcBef>
                          <a:spcPts val="0"/>
                        </a:spcBef>
                        <a:spcAft>
                          <a:spcPts val="0"/>
                        </a:spcAft>
                        <a:buClrTx/>
                        <a:buSzTx/>
                        <a:buFontTx/>
                        <a:buNone/>
                        <a:tabLst/>
                        <a:defRPr/>
                      </a:pPr>
                      <a:endParaRPr lang="fr-FR" sz="900"/>
                    </a:p>
                  </a:txBody>
                  <a:tcPr>
                    <a:lnL w="127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80561566"/>
                  </a:ext>
                </a:extLst>
              </a:tr>
              <a:tr h="141224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100" b="0" i="1"/>
                    </a:p>
                  </a:txBody>
                  <a:tcPr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mj-lt"/>
                          <a:ea typeface="+mn-ea"/>
                          <a:cs typeface="+mn-cs"/>
                        </a:rPr>
                        <a:t>Déploiement des standards, process métier  et outils (SI) BNPP chez TEB Bank en Turquie (Tréso / ALM)</a:t>
                      </a:r>
                      <a:r>
                        <a:rPr kumimoji="0" lang="fr-FR" sz="900" b="0" i="0" u="none" strike="noStrike" kern="1200" cap="none" spc="0" normalizeH="0" baseline="0">
                          <a:ln>
                            <a:noFill/>
                          </a:ln>
                          <a:solidFill>
                            <a:schemeClr val="tx1"/>
                          </a:solidFill>
                          <a:effectLst/>
                          <a:uLnTx/>
                          <a:uFillTx/>
                          <a:latin typeface="+mj-lt"/>
                          <a:ea typeface="+mn-ea"/>
                          <a:cs typeface="+mn-cs"/>
                        </a:rPr>
                        <a:t> </a:t>
                      </a:r>
                    </a:p>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a:ln>
                          <a:noFill/>
                        </a:ln>
                        <a:solidFill>
                          <a:srgbClr val="7F7F7F">
                            <a:lumMod val="50000"/>
                          </a:srgbClr>
                        </a:solidFill>
                        <a:effectLst/>
                        <a:uLnTx/>
                        <a:uFillTx/>
                        <a:latin typeface="+mj-lt"/>
                        <a:ea typeface="+mn-ea"/>
                        <a:cs typeface="+mn-cs"/>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Audit du Gap (booking, périmètre, trading et gestion des risque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Redesign des méthodes de trading (refonte des portefeuilles, limitation du trading) et FX P&amp;L Sell Down auprès des chefs de desk</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a:ln>
                            <a:noFill/>
                          </a:ln>
                          <a:solidFill>
                            <a:schemeClr val="tx1"/>
                          </a:solidFill>
                          <a:effectLst/>
                          <a:uLnTx/>
                          <a:uFillTx/>
                          <a:latin typeface="+mj-lt"/>
                          <a:ea typeface="+mn-ea"/>
                          <a:cs typeface="+mn-cs"/>
                        </a:rPr>
                        <a:t>Accompagnement à l’exploitation des outils Risque BNPP (Warm) notamment sur le crédit et reporting Gap taux</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900" b="0" i="0" u="none" strike="noStrike" kern="1200" cap="none" spc="0" normalizeH="0" baseline="0">
                        <a:ln>
                          <a:noFill/>
                        </a:ln>
                        <a:solidFill>
                          <a:srgbClr val="7F7F7F">
                            <a:lumMod val="50000"/>
                          </a:srgbClr>
                        </a:solidFill>
                        <a:effectLst/>
                        <a:uLnTx/>
                        <a:uFillTx/>
                        <a:latin typeface="+mj-lt"/>
                        <a:ea typeface="+mn-ea"/>
                        <a:cs typeface="+mn-cs"/>
                      </a:endParaRPr>
                    </a:p>
                  </a:txBody>
                  <a:tcPr anchor="ct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ctr" defTabSz="514321" rtl="0" eaLnBrk="1" fontAlgn="auto" latinLnBrk="0" hangingPunct="1">
                        <a:lnSpc>
                          <a:spcPct val="100000"/>
                        </a:lnSpc>
                        <a:spcBef>
                          <a:spcPts val="0"/>
                        </a:spcBef>
                        <a:spcAft>
                          <a:spcPts val="0"/>
                        </a:spcAft>
                        <a:buClrTx/>
                        <a:buSzTx/>
                        <a:buFontTx/>
                        <a:buNone/>
                        <a:tabLst/>
                        <a:defRPr/>
                      </a:pPr>
                      <a:endParaRPr lang="fr-FR" sz="900"/>
                    </a:p>
                  </a:txBody>
                  <a:tcP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40697580"/>
                  </a:ext>
                </a:extLst>
              </a:tr>
            </a:tbl>
          </a:graphicData>
        </a:graphic>
      </p:graphicFrame>
      <p:graphicFrame>
        <p:nvGraphicFramePr>
          <p:cNvPr id="27" name="Tableau 26">
            <a:extLst>
              <a:ext uri="{FF2B5EF4-FFF2-40B4-BE49-F238E27FC236}">
                <a16:creationId xmlns:a16="http://schemas.microsoft.com/office/drawing/2014/main" id="{88018A84-A561-22CC-D86C-1BBF7B169F3A}"/>
              </a:ext>
            </a:extLst>
          </p:cNvPr>
          <p:cNvGraphicFramePr>
            <a:graphicFrameLocks noGrp="1"/>
          </p:cNvGraphicFramePr>
          <p:nvPr>
            <p:extLst>
              <p:ext uri="{D42A27DB-BD31-4B8C-83A1-F6EECF244321}">
                <p14:modId xmlns:p14="http://schemas.microsoft.com/office/powerpoint/2010/main" val="4175267386"/>
              </p:ext>
            </p:extLst>
          </p:nvPr>
        </p:nvGraphicFramePr>
        <p:xfrm>
          <a:off x="355245" y="1691520"/>
          <a:ext cx="3196223" cy="5456960"/>
        </p:xfrm>
        <a:graphic>
          <a:graphicData uri="http://schemas.openxmlformats.org/drawingml/2006/table">
            <a:tbl>
              <a:tblPr firstRow="1" bandRow="1">
                <a:tableStyleId>{2D5ABB26-0587-4C30-8999-92F81FD0307C}</a:tableStyleId>
              </a:tblPr>
              <a:tblGrid>
                <a:gridCol w="3196223">
                  <a:extLst>
                    <a:ext uri="{9D8B030D-6E8A-4147-A177-3AD203B41FA5}">
                      <a16:colId xmlns:a16="http://schemas.microsoft.com/office/drawing/2014/main" val="2856406043"/>
                    </a:ext>
                  </a:extLst>
                </a:gridCol>
              </a:tblGrid>
              <a:tr h="327501">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Formations</a:t>
                      </a: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204566"/>
                  </a:ext>
                </a:extLst>
              </a:tr>
              <a:tr h="1262798">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t>DESS Finance d’Entreprise et des Marchés  (</a:t>
                      </a:r>
                      <a:r>
                        <a:rPr lang="fr-FR" sz="1100" b="1"/>
                        <a:t>IAE Grenoble</a:t>
                      </a:r>
                      <a:r>
                        <a:rPr lang="fr-FR" sz="1100"/>
                        <a: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t>Ingénieur INSA (</a:t>
                      </a:r>
                      <a:r>
                        <a:rPr lang="fr-FR" sz="1100" b="1"/>
                        <a:t>INSA Strasbourg</a:t>
                      </a:r>
                      <a:r>
                        <a:rPr lang="fr-FR" sz="1100"/>
                        <a: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tab pos="1703388" algn="l"/>
                        </a:tabLst>
                        <a:defRPr/>
                      </a:pPr>
                      <a:r>
                        <a:rPr lang="en-US" sz="1100" b="1">
                          <a:solidFill>
                            <a:schemeClr val="tx1"/>
                          </a:solidFill>
                        </a:rPr>
                        <a:t>Black Belt Lean Six Sigma                    </a:t>
                      </a:r>
                      <a:r>
                        <a:rPr lang="en-US" sz="1100" b="0">
                          <a:solidFill>
                            <a:schemeClr val="tx1"/>
                          </a:solidFill>
                        </a:rPr>
                        <a:t>Praticien Agile                                                       </a:t>
                      </a:r>
                      <a:r>
                        <a:rPr lang="en-US" sz="1100"/>
                        <a:t>ITIL Foundation               ITIL Release</a:t>
                      </a:r>
                      <a:br>
                        <a:rPr lang="en-US" sz="1100"/>
                      </a:br>
                      <a:r>
                        <a:rPr lang="en-US" sz="1100"/>
                        <a:t>Control and Validation    ITIL Service Strategy</a:t>
                      </a: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691408330"/>
                  </a:ext>
                </a:extLst>
              </a:tr>
              <a:tr h="327501">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Compétences</a:t>
                      </a:r>
                      <a:endParaRPr lang="fr-FR" sz="1500" b="1" kern="1200">
                        <a:solidFill>
                          <a:schemeClr val="bg2"/>
                        </a:solidFill>
                        <a:latin typeface="+mj-lt"/>
                        <a:ea typeface="+mn-ea"/>
                        <a:cs typeface="+mn-cs"/>
                      </a:endParaRP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0446002"/>
                  </a:ext>
                </a:extLst>
              </a:tr>
              <a:tr h="1589965">
                <a:tc>
                  <a:txBody>
                    <a:body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a:t>Transformation et accompagnement des modèles d’organisation</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kern="1200">
                          <a:solidFill>
                            <a:schemeClr val="tx1"/>
                          </a:solidFill>
                          <a:latin typeface="+mn-lt"/>
                          <a:ea typeface="+mn-ea"/>
                          <a:cs typeface="+mn-cs"/>
                        </a:rPr>
                        <a:t>Projets de pilotage et transformation en mode agi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kern="1200">
                          <a:solidFill>
                            <a:schemeClr val="tx1"/>
                          </a:solidFill>
                          <a:latin typeface="+mn-lt"/>
                          <a:ea typeface="+mn-ea"/>
                          <a:cs typeface="+mn-cs"/>
                        </a:rPr>
                        <a:t>Design de Target Operating Model</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kern="1200">
                          <a:solidFill>
                            <a:schemeClr val="tx1"/>
                          </a:solidFill>
                          <a:latin typeface="+mn-lt"/>
                          <a:ea typeface="+mn-ea"/>
                          <a:cs typeface="+mn-cs"/>
                        </a:rPr>
                        <a:t>Centralisation de fonctions suppor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kern="1200">
                          <a:solidFill>
                            <a:schemeClr val="tx1"/>
                          </a:solidFill>
                          <a:latin typeface="+mn-lt"/>
                          <a:ea typeface="+mn-ea"/>
                          <a:cs typeface="+mn-cs"/>
                        </a:rPr>
                        <a:t>Projets Lean Six Sigma – DMAIC</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100" b="0" kern="1200">
                          <a:solidFill>
                            <a:schemeClr val="tx1"/>
                          </a:solidFill>
                          <a:latin typeface="+mn-lt"/>
                          <a:ea typeface="+mn-ea"/>
                          <a:cs typeface="+mn-cs"/>
                        </a:rPr>
                        <a:t>Projets Métiers ALM &amp; Fixed Income</a:t>
                      </a: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534310555"/>
                  </a:ext>
                </a:extLst>
              </a:tr>
              <a:tr h="573092">
                <a:tc>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400" b="1" i="0" u="none" strike="noStrike" kern="1200" cap="none">
                          <a:solidFill>
                            <a:schemeClr val="bg2"/>
                          </a:solidFill>
                          <a:latin typeface="+mn-lt"/>
                          <a:ea typeface="+mn-ea"/>
                          <a:cs typeface="+mn-cs"/>
                          <a:sym typeface="Arial"/>
                        </a:rPr>
                        <a:t>Langues :</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200" b="0" i="0" u="none" strike="noStrike" cap="none">
                          <a:solidFill>
                            <a:schemeClr val="tx1"/>
                          </a:solidFill>
                          <a:latin typeface="+mn-lt"/>
                          <a:ea typeface="+mn-ea"/>
                          <a:cs typeface="+mn-cs"/>
                          <a:sym typeface="Arial"/>
                        </a:rPr>
                        <a:t>Anglais</a:t>
                      </a:r>
                      <a:r>
                        <a:rPr lang="fr-FR" sz="1100" b="0" i="0" u="none" strike="noStrike" cap="none">
                          <a:solidFill>
                            <a:schemeClr val="tx1"/>
                          </a:solidFill>
                          <a:latin typeface="+mn-lt"/>
                          <a:ea typeface="+mn-ea"/>
                          <a:cs typeface="+mn-cs"/>
                          <a:sym typeface="Arial"/>
                        </a:rPr>
                        <a:t> : </a:t>
                      </a:r>
                      <a:r>
                        <a:rPr lang="fr-FR" sz="1100" b="0" i="0" u="none" strike="noStrike" cap="none">
                          <a:solidFill>
                            <a:srgbClr val="0070C0"/>
                          </a:solidFill>
                          <a:latin typeface="+mn-lt"/>
                          <a:ea typeface="+mn-ea"/>
                          <a:cs typeface="+mn-cs"/>
                          <a:sym typeface="Wingdings" panose="05000000000000000000" pitchFamily="2" charset="2"/>
                        </a:rPr>
                        <a:t></a:t>
                      </a:r>
                      <a:r>
                        <a:rPr lang="fr-FR" sz="1100" b="0" i="0" u="none" strike="noStrike" cap="none">
                          <a:solidFill>
                            <a:schemeClr val="accent2">
                              <a:lumMod val="20000"/>
                              <a:lumOff val="80000"/>
                            </a:schemeClr>
                          </a:solidFill>
                          <a:latin typeface="+mn-lt"/>
                          <a:ea typeface="+mn-ea"/>
                          <a:cs typeface="+mn-cs"/>
                          <a:sym typeface="Wingdings" panose="05000000000000000000" pitchFamily="2" charset="2"/>
                        </a:rPr>
                        <a:t></a:t>
                      </a:r>
                    </a:p>
                  </a:txBody>
                  <a:tcPr/>
                </a:tc>
                <a:extLst>
                  <a:ext uri="{0D108BD9-81ED-4DB2-BD59-A6C34878D82A}">
                    <a16:rowId xmlns:a16="http://schemas.microsoft.com/office/drawing/2014/main" val="3417318211"/>
                  </a:ext>
                </a:extLst>
              </a:tr>
              <a:tr h="327501">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Principaux</a:t>
                      </a:r>
                      <a:r>
                        <a:rPr lang="fr-FR" sz="1500" b="1" kern="1200">
                          <a:solidFill>
                            <a:schemeClr val="bg2"/>
                          </a:solidFill>
                          <a:latin typeface="Calibri" panose="020F0502020204030204" pitchFamily="34" charset="0"/>
                          <a:ea typeface="+mn-ea"/>
                          <a:cs typeface="+mn-cs"/>
                        </a:rPr>
                        <a:t> clients</a:t>
                      </a: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17742779"/>
                  </a:ext>
                </a:extLst>
              </a:tr>
              <a:tr h="1046480">
                <a:tc>
                  <a:txBody>
                    <a:bodyPr/>
                    <a:lstStyle/>
                    <a:p>
                      <a:pPr marL="0" indent="0" algn="l" defTabSz="685800" rtl="0" eaLnBrk="1" latinLnBrk="0" hangingPunct="1">
                        <a:spcBef>
                          <a:spcPts val="600"/>
                        </a:spcBef>
                        <a:buClr>
                          <a:schemeClr val="accent1"/>
                        </a:buClr>
                        <a:buFont typeface="Wingdings" panose="05000000000000000000" pitchFamily="2" charset="2"/>
                        <a:buNone/>
                      </a:pPr>
                      <a:r>
                        <a:rPr lang="fr-FR" sz="1100" kern="1200" baseline="0">
                          <a:solidFill>
                            <a:schemeClr val="tx1"/>
                          </a:solidFill>
                          <a:latin typeface="+mn-lt"/>
                          <a:ea typeface="+mn-ea"/>
                          <a:cs typeface="+mn-cs"/>
                        </a:rPr>
                        <a:t>BNP Paribas, Crédit Agricole SA, Fortis Bank, Groupe CDC</a:t>
                      </a: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655801330"/>
                  </a:ext>
                </a:extLst>
              </a:tr>
            </a:tbl>
          </a:graphicData>
        </a:graphic>
      </p:graphicFrame>
      <p:pic>
        <p:nvPicPr>
          <p:cNvPr id="2" name="Graphique 66" descr="Repère">
            <a:extLst>
              <a:ext uri="{FF2B5EF4-FFF2-40B4-BE49-F238E27FC236}">
                <a16:creationId xmlns:a16="http://schemas.microsoft.com/office/drawing/2014/main" id="{F9A6CD75-D540-5955-B30D-7A63C4841E2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28019" y="2081405"/>
            <a:ext cx="325192" cy="325192"/>
          </a:xfrm>
          <a:prstGeom prst="rect">
            <a:avLst/>
          </a:prstGeom>
        </p:spPr>
      </p:pic>
      <p:sp>
        <p:nvSpPr>
          <p:cNvPr id="3" name="ZoneTexte 2">
            <a:extLst>
              <a:ext uri="{FF2B5EF4-FFF2-40B4-BE49-F238E27FC236}">
                <a16:creationId xmlns:a16="http://schemas.microsoft.com/office/drawing/2014/main" id="{A81F6E46-88F1-4780-1C5E-4003BB1D407F}"/>
              </a:ext>
            </a:extLst>
          </p:cNvPr>
          <p:cNvSpPr txBox="1"/>
          <p:nvPr/>
        </p:nvSpPr>
        <p:spPr>
          <a:xfrm>
            <a:off x="10323351" y="2110632"/>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p:txBody>
      </p:sp>
      <p:pic>
        <p:nvPicPr>
          <p:cNvPr id="4" name="Graphique 65" descr="Calendrier journalier">
            <a:extLst>
              <a:ext uri="{FF2B5EF4-FFF2-40B4-BE49-F238E27FC236}">
                <a16:creationId xmlns:a16="http://schemas.microsoft.com/office/drawing/2014/main" id="{921531C1-1862-AF50-EC38-2361C13EA7F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79628" y="2103326"/>
            <a:ext cx="281353" cy="281353"/>
          </a:xfrm>
          <a:prstGeom prst="rect">
            <a:avLst/>
          </a:prstGeom>
        </p:spPr>
      </p:pic>
      <p:pic>
        <p:nvPicPr>
          <p:cNvPr id="7" name="Graphique 65" descr="Calendrier journalier">
            <a:extLst>
              <a:ext uri="{FF2B5EF4-FFF2-40B4-BE49-F238E27FC236}">
                <a16:creationId xmlns:a16="http://schemas.microsoft.com/office/drawing/2014/main" id="{2ECD6760-6360-CDFF-B078-7A4831FE63D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79628" y="4044375"/>
            <a:ext cx="281353" cy="281353"/>
          </a:xfrm>
          <a:prstGeom prst="rect">
            <a:avLst/>
          </a:prstGeom>
        </p:spPr>
      </p:pic>
      <p:sp>
        <p:nvSpPr>
          <p:cNvPr id="8" name="ZoneTexte 7">
            <a:extLst>
              <a:ext uri="{FF2B5EF4-FFF2-40B4-BE49-F238E27FC236}">
                <a16:creationId xmlns:a16="http://schemas.microsoft.com/office/drawing/2014/main" id="{12716885-4608-0D82-9372-F6BF41C7DA34}"/>
              </a:ext>
            </a:extLst>
          </p:cNvPr>
          <p:cNvSpPr txBox="1"/>
          <p:nvPr/>
        </p:nvSpPr>
        <p:spPr>
          <a:xfrm>
            <a:off x="11373208" y="2110632"/>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22</a:t>
            </a:r>
          </a:p>
        </p:txBody>
      </p:sp>
      <p:sp>
        <p:nvSpPr>
          <p:cNvPr id="9" name="ZoneTexte 8">
            <a:extLst>
              <a:ext uri="{FF2B5EF4-FFF2-40B4-BE49-F238E27FC236}">
                <a16:creationId xmlns:a16="http://schemas.microsoft.com/office/drawing/2014/main" id="{B38496E1-4090-CFA7-5EBE-D99B8D2F24E7}"/>
              </a:ext>
            </a:extLst>
          </p:cNvPr>
          <p:cNvSpPr txBox="1"/>
          <p:nvPr/>
        </p:nvSpPr>
        <p:spPr>
          <a:xfrm>
            <a:off x="11373208" y="4051680"/>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12</a:t>
            </a:r>
          </a:p>
        </p:txBody>
      </p:sp>
      <p:pic>
        <p:nvPicPr>
          <p:cNvPr id="17" name="Graphique 65" descr="Calendrier journalier">
            <a:extLst>
              <a:ext uri="{FF2B5EF4-FFF2-40B4-BE49-F238E27FC236}">
                <a16:creationId xmlns:a16="http://schemas.microsoft.com/office/drawing/2014/main" id="{6BA14544-AB5D-054A-9B87-62B0706BA2F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79628" y="5483655"/>
            <a:ext cx="281353" cy="281353"/>
          </a:xfrm>
          <a:prstGeom prst="rect">
            <a:avLst/>
          </a:prstGeom>
        </p:spPr>
      </p:pic>
      <p:sp>
        <p:nvSpPr>
          <p:cNvPr id="18" name="ZoneTexte 17">
            <a:extLst>
              <a:ext uri="{FF2B5EF4-FFF2-40B4-BE49-F238E27FC236}">
                <a16:creationId xmlns:a16="http://schemas.microsoft.com/office/drawing/2014/main" id="{690CB5BE-295A-7BD0-59DE-542FC4AF7F69}"/>
              </a:ext>
            </a:extLst>
          </p:cNvPr>
          <p:cNvSpPr txBox="1"/>
          <p:nvPr/>
        </p:nvSpPr>
        <p:spPr>
          <a:xfrm>
            <a:off x="11373208" y="5490960"/>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13</a:t>
            </a:r>
          </a:p>
        </p:txBody>
      </p:sp>
      <p:pic>
        <p:nvPicPr>
          <p:cNvPr id="19" name="Graphique 66" descr="Repère">
            <a:extLst>
              <a:ext uri="{FF2B5EF4-FFF2-40B4-BE49-F238E27FC236}">
                <a16:creationId xmlns:a16="http://schemas.microsoft.com/office/drawing/2014/main" id="{22BCD53D-4DF6-EE14-2B25-4C847342EAF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28019" y="4015148"/>
            <a:ext cx="325192" cy="325192"/>
          </a:xfrm>
          <a:prstGeom prst="rect">
            <a:avLst/>
          </a:prstGeom>
        </p:spPr>
      </p:pic>
      <p:sp>
        <p:nvSpPr>
          <p:cNvPr id="20" name="ZoneTexte 19">
            <a:extLst>
              <a:ext uri="{FF2B5EF4-FFF2-40B4-BE49-F238E27FC236}">
                <a16:creationId xmlns:a16="http://schemas.microsoft.com/office/drawing/2014/main" id="{4914C355-D376-33F4-1D9E-694460F82876}"/>
              </a:ext>
            </a:extLst>
          </p:cNvPr>
          <p:cNvSpPr txBox="1"/>
          <p:nvPr/>
        </p:nvSpPr>
        <p:spPr>
          <a:xfrm>
            <a:off x="10323351" y="3999985"/>
            <a:ext cx="1049857" cy="379463"/>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a:p>
            <a:pPr defTabSz="1219170">
              <a:buClr>
                <a:srgbClr val="000000"/>
              </a:buClr>
            </a:pPr>
            <a:r>
              <a:rPr lang="fr-FR" sz="933" kern="0">
                <a:solidFill>
                  <a:srgbClr val="000000"/>
                </a:solidFill>
                <a:latin typeface="Montserrat"/>
                <a:cs typeface="Arial"/>
                <a:sym typeface="Arial"/>
              </a:rPr>
              <a:t>Bruxelles</a:t>
            </a:r>
          </a:p>
        </p:txBody>
      </p:sp>
    </p:spTree>
    <p:extLst>
      <p:ext uri="{BB962C8B-B14F-4D97-AF65-F5344CB8AC3E}">
        <p14:creationId xmlns:p14="http://schemas.microsoft.com/office/powerpoint/2010/main" val="6585127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DB7EC-3599-C559-2847-18C9EFCD885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FEE6C69-7897-49F0-7AEF-DEC38AEB483B}"/>
              </a:ext>
            </a:extLst>
          </p:cNvPr>
          <p:cNvSpPr txBox="1">
            <a:spLocks/>
          </p:cNvSpPr>
          <p:nvPr/>
        </p:nvSpPr>
        <p:spPr>
          <a:xfrm>
            <a:off x="475487" y="415803"/>
            <a:ext cx="10356303" cy="470898"/>
          </a:xfrm>
          <a:prstGeom prst="rect">
            <a:avLst/>
          </a:prstGeom>
        </p:spPr>
        <p:txBody>
          <a:bodyPr vert="horz" wrap="square" lIns="0" tIns="0" rIns="0" bIns="0" rtlCol="0" anchor="t" anchorCtr="0">
            <a:spAutoFit/>
          </a:bodyPr>
          <a:lstStyle>
            <a:lvl1pPr algn="l" defTabSz="914333" rtl="0" eaLnBrk="1" latinLnBrk="0" hangingPunct="1">
              <a:lnSpc>
                <a:spcPct val="90000"/>
              </a:lnSpc>
              <a:spcBef>
                <a:spcPct val="0"/>
              </a:spcBef>
              <a:buNone/>
              <a:defRPr sz="1500" b="1" kern="1200">
                <a:solidFill>
                  <a:schemeClr val="accent5"/>
                </a:solidFill>
                <a:latin typeface="Montserrat" panose="00000500000000000000" pitchFamily="2" charset="0"/>
                <a:ea typeface="+mj-ea"/>
                <a:cs typeface="+mj-cs"/>
              </a:defRPr>
            </a:lvl1pPr>
          </a:lstStyle>
          <a:p>
            <a:pPr>
              <a:buClrTx/>
              <a:buFontTx/>
            </a:pPr>
            <a:r>
              <a:rPr lang="fr-FR" sz="2000">
                <a:solidFill>
                  <a:srgbClr val="43358B"/>
                </a:solidFill>
                <a:latin typeface="Arial Black" panose="020B0A04020102020204" pitchFamily="34" charset="0"/>
              </a:rPr>
              <a:t>Philippe LERIQUE</a:t>
            </a:r>
          </a:p>
          <a:p>
            <a:pPr>
              <a:buClrTx/>
              <a:buFontTx/>
            </a:pPr>
            <a:r>
              <a:rPr lang="fr-FR" sz="1400" b="0">
                <a:solidFill>
                  <a:schemeClr val="bg2"/>
                </a:solidFill>
                <a:latin typeface="Arial Black" panose="020B0A04020102020204" pitchFamily="34" charset="0"/>
              </a:rPr>
              <a:t>Partner (16 ans d’expérience)</a:t>
            </a:r>
            <a:endParaRPr lang="fr-FR" sz="1800" b="0">
              <a:solidFill>
                <a:schemeClr val="bg2"/>
              </a:solidFill>
              <a:latin typeface="Arial Black" panose="020B0A04020102020204" pitchFamily="34" charset="0"/>
            </a:endParaRPr>
          </a:p>
        </p:txBody>
      </p:sp>
      <p:sp>
        <p:nvSpPr>
          <p:cNvPr id="3" name="Espace réservé du contenu 7">
            <a:extLst>
              <a:ext uri="{FF2B5EF4-FFF2-40B4-BE49-F238E27FC236}">
                <a16:creationId xmlns:a16="http://schemas.microsoft.com/office/drawing/2014/main" id="{FC466FF3-69E1-489D-8492-1C11425BD16C}"/>
              </a:ext>
            </a:extLst>
          </p:cNvPr>
          <p:cNvSpPr txBox="1">
            <a:spLocks/>
          </p:cNvSpPr>
          <p:nvPr/>
        </p:nvSpPr>
        <p:spPr>
          <a:xfrm>
            <a:off x="334964" y="1032830"/>
            <a:ext cx="11737974" cy="595945"/>
          </a:xfrm>
          <a:prstGeom prst="rect">
            <a:avLst/>
          </a:prstGeom>
          <a:noFill/>
          <a:ln>
            <a:solidFill>
              <a:srgbClr val="43358B"/>
            </a:solidFill>
          </a:ln>
        </p:spPr>
        <p:txBody>
          <a:bodyPr vert="horz" lIns="96000" tIns="96000" rIns="96000" bIns="96000" rtlCol="0" anchor="ctr">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spcBef>
                <a:spcPts val="0"/>
              </a:spcBef>
              <a:buClr>
                <a:srgbClr val="0070C0"/>
              </a:buClr>
              <a:buNone/>
              <a:defRPr/>
            </a:pPr>
            <a:r>
              <a:rPr lang="fr-FR" sz="1133">
                <a:solidFill>
                  <a:srgbClr val="0070C0"/>
                </a:solidFill>
                <a:latin typeface="+mj-lt"/>
              </a:rPr>
              <a:t>Philippe est en charge du développement de l’Offre Intelligence Artificielle, DATA et Organisation DSI pour le groupe Talan. Il intervient régulièrement auprès des Directions Générales afin de leur apporter son expertise, notamment sur le levier de l’innovation dans la conduite des projets de transformation. </a:t>
            </a:r>
          </a:p>
        </p:txBody>
      </p:sp>
      <p:graphicFrame>
        <p:nvGraphicFramePr>
          <p:cNvPr id="5" name="Tableau 4">
            <a:extLst>
              <a:ext uri="{FF2B5EF4-FFF2-40B4-BE49-F238E27FC236}">
                <a16:creationId xmlns:a16="http://schemas.microsoft.com/office/drawing/2014/main" id="{23C91FC6-AA19-F227-3A53-EB9801CD6640}"/>
              </a:ext>
            </a:extLst>
          </p:cNvPr>
          <p:cNvGraphicFramePr>
            <a:graphicFrameLocks noGrp="1"/>
          </p:cNvGraphicFramePr>
          <p:nvPr>
            <p:extLst>
              <p:ext uri="{D42A27DB-BD31-4B8C-83A1-F6EECF244321}">
                <p14:modId xmlns:p14="http://schemas.microsoft.com/office/powerpoint/2010/main" val="1174044632"/>
              </p:ext>
            </p:extLst>
          </p:nvPr>
        </p:nvGraphicFramePr>
        <p:xfrm>
          <a:off x="4548188" y="1605004"/>
          <a:ext cx="7535015" cy="5026481"/>
        </p:xfrm>
        <a:graphic>
          <a:graphicData uri="http://schemas.openxmlformats.org/drawingml/2006/table">
            <a:tbl>
              <a:tblPr firstRow="1" bandRow="1">
                <a:tableStyleId>{2D5ABB26-0587-4C30-8999-92F81FD0307C}</a:tableStyleId>
              </a:tblPr>
              <a:tblGrid>
                <a:gridCol w="5545723">
                  <a:extLst>
                    <a:ext uri="{9D8B030D-6E8A-4147-A177-3AD203B41FA5}">
                      <a16:colId xmlns:a16="http://schemas.microsoft.com/office/drawing/2014/main" val="1537716266"/>
                    </a:ext>
                  </a:extLst>
                </a:gridCol>
                <a:gridCol w="1989292">
                  <a:extLst>
                    <a:ext uri="{9D8B030D-6E8A-4147-A177-3AD203B41FA5}">
                      <a16:colId xmlns:a16="http://schemas.microsoft.com/office/drawing/2014/main" val="1484638934"/>
                    </a:ext>
                  </a:extLst>
                </a:gridCol>
              </a:tblGrid>
              <a:tr h="430660">
                <a:tc gridSpan="2">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400" b="1" kern="1200">
                          <a:solidFill>
                            <a:srgbClr val="43358B"/>
                          </a:solidFill>
                          <a:latin typeface="+mj-lt"/>
                          <a:ea typeface="+mn-ea"/>
                          <a:cs typeface="+mn-cs"/>
                        </a:rPr>
                        <a:t>Expériences pertinentes</a:t>
                      </a:r>
                    </a:p>
                  </a:txBody>
                  <a:tcPr marL="112541" marR="112541" marT="56271" marB="56271">
                    <a:lnB w="12700" cap="flat" cmpd="sng" algn="ctr">
                      <a:solidFill>
                        <a:srgbClr val="43358B"/>
                      </a:solidFill>
                      <a:prstDash val="solid"/>
                      <a:round/>
                      <a:headEnd type="none" w="med" len="med"/>
                      <a:tailEnd type="none" w="med" len="med"/>
                    </a:lnB>
                  </a:tcPr>
                </a:tc>
                <a:tc hMerge="1">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endParaRPr lang="fr-FR" sz="1050" b="1" kern="1200">
                        <a:solidFill>
                          <a:srgbClr val="43358B"/>
                        </a:solidFill>
                        <a:latin typeface="Montserrat" panose="00000500000000000000" pitchFamily="2" charset="0"/>
                        <a:ea typeface="+mn-ea"/>
                        <a:cs typeface="+mn-cs"/>
                      </a:endParaRPr>
                    </a:p>
                  </a:txBody>
                  <a:tcPr marL="84406" marR="84406" marT="42203" marB="42203">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28455178"/>
                  </a:ext>
                </a:extLst>
              </a:tr>
              <a:tr h="281408">
                <a:tc>
                  <a:txBody>
                    <a:bodyPr/>
                    <a:lstStyle>
                      <a:lvl1pPr marL="0" algn="l" defTabSz="914333" rtl="0" eaLnBrk="1" latinLnBrk="0" hangingPunct="1">
                        <a:defRPr sz="1800" kern="1200">
                          <a:solidFill>
                            <a:schemeClr val="tx1"/>
                          </a:solidFill>
                          <a:latin typeface="Calibri" panose="020F0502020204030204"/>
                        </a:defRPr>
                      </a:lvl1pPr>
                      <a:lvl2pPr marL="457166" algn="l" defTabSz="914333" rtl="0" eaLnBrk="1" latinLnBrk="0" hangingPunct="1">
                        <a:defRPr sz="1800" kern="1200">
                          <a:solidFill>
                            <a:schemeClr val="tx1"/>
                          </a:solidFill>
                          <a:latin typeface="Calibri" panose="020F0502020204030204"/>
                        </a:defRPr>
                      </a:lvl2pPr>
                      <a:lvl3pPr marL="914333" algn="l" defTabSz="914333" rtl="0" eaLnBrk="1" latinLnBrk="0" hangingPunct="1">
                        <a:defRPr sz="1800" kern="1200">
                          <a:solidFill>
                            <a:schemeClr val="tx1"/>
                          </a:solidFill>
                          <a:latin typeface="Calibri" panose="020F0502020204030204"/>
                        </a:defRPr>
                      </a:lvl3pPr>
                      <a:lvl4pPr marL="1371498" algn="l" defTabSz="914333" rtl="0" eaLnBrk="1" latinLnBrk="0" hangingPunct="1">
                        <a:defRPr sz="1800" kern="1200">
                          <a:solidFill>
                            <a:schemeClr val="tx1"/>
                          </a:solidFill>
                          <a:latin typeface="Calibri" panose="020F0502020204030204"/>
                        </a:defRPr>
                      </a:lvl4pPr>
                      <a:lvl5pPr marL="1828664" algn="l" defTabSz="914333" rtl="0" eaLnBrk="1" latinLnBrk="0" hangingPunct="1">
                        <a:defRPr sz="1800" kern="1200">
                          <a:solidFill>
                            <a:schemeClr val="tx1"/>
                          </a:solidFill>
                          <a:latin typeface="Calibri" panose="020F0502020204030204"/>
                        </a:defRPr>
                      </a:lvl5pPr>
                      <a:lvl6pPr marL="2285829" algn="l" defTabSz="914333" rtl="0" eaLnBrk="1" latinLnBrk="0" hangingPunct="1">
                        <a:defRPr sz="1800" kern="1200">
                          <a:solidFill>
                            <a:schemeClr val="tx1"/>
                          </a:solidFill>
                          <a:latin typeface="Calibri" panose="020F0502020204030204"/>
                        </a:defRPr>
                      </a:lvl6pPr>
                      <a:lvl7pPr marL="2742995" algn="l" defTabSz="914333" rtl="0" eaLnBrk="1" latinLnBrk="0" hangingPunct="1">
                        <a:defRPr sz="1800" kern="1200">
                          <a:solidFill>
                            <a:schemeClr val="tx1"/>
                          </a:solidFill>
                          <a:latin typeface="Calibri" panose="020F0502020204030204"/>
                        </a:defRPr>
                      </a:lvl7pPr>
                      <a:lvl8pPr marL="3200160" algn="l" defTabSz="914333" rtl="0" eaLnBrk="1" latinLnBrk="0" hangingPunct="1">
                        <a:defRPr sz="1800" kern="1200">
                          <a:solidFill>
                            <a:schemeClr val="tx1"/>
                          </a:solidFill>
                          <a:latin typeface="Calibri" panose="020F0502020204030204"/>
                        </a:defRPr>
                      </a:lvl8pPr>
                      <a:lvl9pPr marL="3657326" algn="l" defTabSz="914333" rtl="0" eaLnBrk="1" latinLnBrk="0" hangingPunct="1">
                        <a:defRPr sz="1800" kern="1200">
                          <a:solidFill>
                            <a:schemeClr val="tx1"/>
                          </a:solidFill>
                          <a:latin typeface="Calibri" panose="020F0502020204030204"/>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a:solidFill>
                            <a:schemeClr val="tx1"/>
                          </a:solidFill>
                          <a:latin typeface="+mj-lt"/>
                          <a:cs typeface="Calibri" panose="020F0502020204030204" pitchFamily="34" charset="0"/>
                        </a:rPr>
                        <a:t>Directeur de projet : Schéma directeur IA/DATA et SI</a:t>
                      </a: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endParaRPr lang="fr-FR" sz="900" kern="1200">
                        <a:solidFill>
                          <a:schemeClr val="bg2">
                            <a:lumMod val="10000"/>
                          </a:schemeClr>
                        </a:solidFill>
                        <a:latin typeface="+mn-lt"/>
                        <a:ea typeface="+mn-ea"/>
                        <a:cs typeface="+mn-cs"/>
                      </a:endParaRPr>
                    </a:p>
                  </a:txBody>
                  <a:tcPr marL="0" marR="0" marT="48000" marB="60960" anchor="ctr">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406551106"/>
                  </a:ext>
                </a:extLst>
              </a:tr>
              <a:tr h="803272">
                <a:tc>
                  <a:txBody>
                    <a:bodyPr/>
                    <a:lstStyle>
                      <a:lvl1pPr marL="0" algn="l" defTabSz="914333" rtl="0" eaLnBrk="1" latinLnBrk="0" hangingPunct="1">
                        <a:defRPr sz="1800" kern="1200">
                          <a:solidFill>
                            <a:schemeClr val="tx1"/>
                          </a:solidFill>
                          <a:latin typeface="Calibri" panose="020F0502020204030204"/>
                        </a:defRPr>
                      </a:lvl1pPr>
                      <a:lvl2pPr marL="457166" algn="l" defTabSz="914333" rtl="0" eaLnBrk="1" latinLnBrk="0" hangingPunct="1">
                        <a:defRPr sz="1800" kern="1200">
                          <a:solidFill>
                            <a:schemeClr val="tx1"/>
                          </a:solidFill>
                          <a:latin typeface="Calibri" panose="020F0502020204030204"/>
                        </a:defRPr>
                      </a:lvl2pPr>
                      <a:lvl3pPr marL="914333" algn="l" defTabSz="914333" rtl="0" eaLnBrk="1" latinLnBrk="0" hangingPunct="1">
                        <a:defRPr sz="1800" kern="1200">
                          <a:solidFill>
                            <a:schemeClr val="tx1"/>
                          </a:solidFill>
                          <a:latin typeface="Calibri" panose="020F0502020204030204"/>
                        </a:defRPr>
                      </a:lvl3pPr>
                      <a:lvl4pPr marL="1371498" algn="l" defTabSz="914333" rtl="0" eaLnBrk="1" latinLnBrk="0" hangingPunct="1">
                        <a:defRPr sz="1800" kern="1200">
                          <a:solidFill>
                            <a:schemeClr val="tx1"/>
                          </a:solidFill>
                          <a:latin typeface="Calibri" panose="020F0502020204030204"/>
                        </a:defRPr>
                      </a:lvl4pPr>
                      <a:lvl5pPr marL="1828664" algn="l" defTabSz="914333" rtl="0" eaLnBrk="1" latinLnBrk="0" hangingPunct="1">
                        <a:defRPr sz="1800" kern="1200">
                          <a:solidFill>
                            <a:schemeClr val="tx1"/>
                          </a:solidFill>
                          <a:latin typeface="Calibri" panose="020F0502020204030204"/>
                        </a:defRPr>
                      </a:lvl5pPr>
                      <a:lvl6pPr marL="2285829" algn="l" defTabSz="914333" rtl="0" eaLnBrk="1" latinLnBrk="0" hangingPunct="1">
                        <a:defRPr sz="1800" kern="1200">
                          <a:solidFill>
                            <a:schemeClr val="tx1"/>
                          </a:solidFill>
                          <a:latin typeface="Calibri" panose="020F0502020204030204"/>
                        </a:defRPr>
                      </a:lvl6pPr>
                      <a:lvl7pPr marL="2742995" algn="l" defTabSz="914333" rtl="0" eaLnBrk="1" latinLnBrk="0" hangingPunct="1">
                        <a:defRPr sz="1800" kern="1200">
                          <a:solidFill>
                            <a:schemeClr val="tx1"/>
                          </a:solidFill>
                          <a:latin typeface="Calibri" panose="020F0502020204030204"/>
                        </a:defRPr>
                      </a:lvl7pPr>
                      <a:lvl8pPr marL="3200160" algn="l" defTabSz="914333" rtl="0" eaLnBrk="1" latinLnBrk="0" hangingPunct="1">
                        <a:defRPr sz="1800" kern="1200">
                          <a:solidFill>
                            <a:schemeClr val="tx1"/>
                          </a:solidFill>
                          <a:latin typeface="Calibri" panose="020F0502020204030204"/>
                        </a:defRPr>
                      </a:lvl8pPr>
                      <a:lvl9pPr marL="3657326" algn="l" defTabSz="914333" rtl="0" eaLnBrk="1" latinLnBrk="0" hangingPunct="1">
                        <a:defRPr sz="1800" kern="1200">
                          <a:solidFill>
                            <a:schemeClr val="tx1"/>
                          </a:solidFill>
                          <a:latin typeface="Calibri" panose="020F0502020204030204"/>
                        </a:defRPr>
                      </a:lvl9pPr>
                    </a:lstStyle>
                    <a:p>
                      <a:pPr marL="143510" marR="0" lvl="0" indent="-14351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Analyse de l’existant opérationnel (métier) et technique</a:t>
                      </a:r>
                    </a:p>
                    <a:p>
                      <a:pPr marL="143510" marR="0" lvl="0" indent="-14351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cap="none">
                          <a:solidFill>
                            <a:schemeClr val="tx1"/>
                          </a:solidFill>
                          <a:latin typeface="+mj-lt"/>
                          <a:ea typeface="+mn-ea"/>
                          <a:cs typeface="Calibri"/>
                          <a:sym typeface="Arial"/>
                        </a:rPr>
                        <a:t>Atelier de définition des besoins</a:t>
                      </a:r>
                      <a:r>
                        <a:rPr lang="fr-FR" sz="1000" b="0" i="0" u="none" strike="noStrike" cap="none">
                          <a:solidFill>
                            <a:schemeClr val="tx1"/>
                          </a:solidFill>
                          <a:latin typeface="+mj-lt"/>
                          <a:ea typeface="+mn-ea"/>
                          <a:cs typeface="Calibri"/>
                        </a:rPr>
                        <a:t> </a:t>
                      </a:r>
                      <a:endParaRPr lang="fr-FR" sz="1000" b="0" i="0" u="none" strike="noStrike" cap="none">
                        <a:solidFill>
                          <a:schemeClr val="tx1"/>
                        </a:solidFill>
                        <a:latin typeface="+mj-lt"/>
                        <a:ea typeface="+mn-ea"/>
                        <a:cs typeface="Calibri"/>
                        <a:sym typeface="Arial"/>
                      </a:endParaRPr>
                    </a:p>
                    <a:p>
                      <a:pPr marL="143510" marR="0" lvl="0" indent="-14351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Benchmark et études de Marché</a:t>
                      </a:r>
                    </a:p>
                    <a:p>
                      <a:pPr marL="143510" marR="0" lvl="0" indent="-14351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Définition de trajectoire et de budget pluriannuel</a:t>
                      </a:r>
                    </a:p>
                  </a:txBody>
                  <a:tcPr marL="121920" marR="121920" marT="0" marB="60960">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tc>
                  <a:txBody>
                    <a:bodyPr/>
                    <a:lstStyle/>
                    <a:p>
                      <a:pPr marL="2745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a:ln>
                          <a:noFill/>
                        </a:ln>
                        <a:solidFill>
                          <a:schemeClr val="bg2">
                            <a:lumMod val="10000"/>
                          </a:schemeClr>
                        </a:solidFill>
                        <a:effectLst/>
                        <a:uLnTx/>
                        <a:uFillTx/>
                        <a:latin typeface="Montserrat" panose="00000500000000000000" pitchFamily="2" charset="0"/>
                        <a:ea typeface="+mn-ea"/>
                        <a:cs typeface="+mn-cs"/>
                      </a:endParaRPr>
                    </a:p>
                  </a:txBody>
                  <a:tcPr marL="0" marR="0" marT="36000" anchor="ctr">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2543435532"/>
                  </a:ext>
                </a:extLst>
              </a:tr>
              <a:tr h="235416">
                <a:tc>
                  <a:txBody>
                    <a:bodyPr/>
                    <a:lstStyle>
                      <a:lvl1pPr marL="0" algn="l" defTabSz="914333" rtl="0" eaLnBrk="1" latinLnBrk="0" hangingPunct="1">
                        <a:defRPr sz="1800" kern="1200">
                          <a:solidFill>
                            <a:schemeClr val="tx1"/>
                          </a:solidFill>
                          <a:latin typeface="Calibri" panose="020F0502020204030204"/>
                        </a:defRPr>
                      </a:lvl1pPr>
                      <a:lvl2pPr marL="457166" algn="l" defTabSz="914333" rtl="0" eaLnBrk="1" latinLnBrk="0" hangingPunct="1">
                        <a:defRPr sz="1800" kern="1200">
                          <a:solidFill>
                            <a:schemeClr val="tx1"/>
                          </a:solidFill>
                          <a:latin typeface="Calibri" panose="020F0502020204030204"/>
                        </a:defRPr>
                      </a:lvl2pPr>
                      <a:lvl3pPr marL="914333" algn="l" defTabSz="914333" rtl="0" eaLnBrk="1" latinLnBrk="0" hangingPunct="1">
                        <a:defRPr sz="1800" kern="1200">
                          <a:solidFill>
                            <a:schemeClr val="tx1"/>
                          </a:solidFill>
                          <a:latin typeface="Calibri" panose="020F0502020204030204"/>
                        </a:defRPr>
                      </a:lvl3pPr>
                      <a:lvl4pPr marL="1371498" algn="l" defTabSz="914333" rtl="0" eaLnBrk="1" latinLnBrk="0" hangingPunct="1">
                        <a:defRPr sz="1800" kern="1200">
                          <a:solidFill>
                            <a:schemeClr val="tx1"/>
                          </a:solidFill>
                          <a:latin typeface="Calibri" panose="020F0502020204030204"/>
                        </a:defRPr>
                      </a:lvl4pPr>
                      <a:lvl5pPr marL="1828664" algn="l" defTabSz="914333" rtl="0" eaLnBrk="1" latinLnBrk="0" hangingPunct="1">
                        <a:defRPr sz="1800" kern="1200">
                          <a:solidFill>
                            <a:schemeClr val="tx1"/>
                          </a:solidFill>
                          <a:latin typeface="Calibri" panose="020F0502020204030204"/>
                        </a:defRPr>
                      </a:lvl5pPr>
                      <a:lvl6pPr marL="2285829" algn="l" defTabSz="914333" rtl="0" eaLnBrk="1" latinLnBrk="0" hangingPunct="1">
                        <a:defRPr sz="1800" kern="1200">
                          <a:solidFill>
                            <a:schemeClr val="tx1"/>
                          </a:solidFill>
                          <a:latin typeface="Calibri" panose="020F0502020204030204"/>
                        </a:defRPr>
                      </a:lvl6pPr>
                      <a:lvl7pPr marL="2742995" algn="l" defTabSz="914333" rtl="0" eaLnBrk="1" latinLnBrk="0" hangingPunct="1">
                        <a:defRPr sz="1800" kern="1200">
                          <a:solidFill>
                            <a:schemeClr val="tx1"/>
                          </a:solidFill>
                          <a:latin typeface="Calibri" panose="020F0502020204030204"/>
                        </a:defRPr>
                      </a:lvl7pPr>
                      <a:lvl8pPr marL="3200160" algn="l" defTabSz="914333" rtl="0" eaLnBrk="1" latinLnBrk="0" hangingPunct="1">
                        <a:defRPr sz="1800" kern="1200">
                          <a:solidFill>
                            <a:schemeClr val="tx1"/>
                          </a:solidFill>
                          <a:latin typeface="Calibri" panose="020F0502020204030204"/>
                        </a:defRPr>
                      </a:lvl8pPr>
                      <a:lvl9pPr marL="3657326" algn="l" defTabSz="914333" rtl="0" eaLnBrk="1" latinLnBrk="0" hangingPunct="1">
                        <a:defRPr sz="1800" kern="1200">
                          <a:solidFill>
                            <a:schemeClr val="tx1"/>
                          </a:solidFill>
                          <a:latin typeface="Calibri" panose="020F0502020204030204"/>
                        </a:defRPr>
                      </a:lvl9p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chemeClr val="tx1"/>
                          </a:solidFill>
                          <a:effectLst/>
                          <a:uLnTx/>
                          <a:uFillTx/>
                          <a:latin typeface="+mj-lt"/>
                          <a:ea typeface="+mn-ea"/>
                          <a:cs typeface="+mn-cs"/>
                        </a:rPr>
                        <a:t>Directeur de projet : </a:t>
                      </a:r>
                      <a:r>
                        <a:rPr kumimoji="0" lang="fr-FR" sz="1050" b="1" i="0" u="none" strike="noStrike" kern="1200" cap="none" spc="0" normalizeH="0" baseline="0" noProof="0">
                          <a:ln>
                            <a:noFill/>
                          </a:ln>
                          <a:solidFill>
                            <a:schemeClr val="tx1"/>
                          </a:solidFill>
                          <a:effectLst/>
                          <a:uLnTx/>
                          <a:uFillTx/>
                          <a:latin typeface="+mj-lt"/>
                          <a:ea typeface="+mn-ea"/>
                          <a:cs typeface="Calibri" panose="020F0502020204030204" pitchFamily="34" charset="0"/>
                        </a:rPr>
                        <a:t>Plan d’amélioration et d’automatisation pour 3 directions</a:t>
                      </a:r>
                      <a:endParaRPr lang="fr-FR" sz="1050" b="1" kern="1200">
                        <a:solidFill>
                          <a:schemeClr val="tx1"/>
                        </a:solidFill>
                        <a:latin typeface="+mj-lt"/>
                        <a:ea typeface="+mn-ea"/>
                        <a:cs typeface="Calibri" panose="020F0502020204030204" pitchFamily="34" charset="0"/>
                      </a:endParaRPr>
                    </a:p>
                  </a:txBody>
                  <a:tcPr marL="121920" marR="121920" marT="96000" marB="0">
                    <a:lnT w="12700" cap="flat" cmpd="sng" algn="ctr">
                      <a:solidFill>
                        <a:srgbClr val="43358B"/>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endParaRPr lang="fr-FR" sz="900" kern="1200">
                        <a:solidFill>
                          <a:schemeClr val="bg2">
                            <a:lumMod val="10000"/>
                          </a:schemeClr>
                        </a:solidFill>
                        <a:latin typeface="+mn-lt"/>
                        <a:ea typeface="+mn-ea"/>
                        <a:cs typeface="+mn-cs"/>
                      </a:endParaRPr>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2280561566"/>
                  </a:ext>
                </a:extLst>
              </a:tr>
              <a:tr h="793467">
                <a:tc>
                  <a:txBody>
                    <a:bodyPr/>
                    <a:lstStyle>
                      <a:lvl1pPr marL="0" algn="l" defTabSz="914333" rtl="0" eaLnBrk="1" latinLnBrk="0" hangingPunct="1">
                        <a:defRPr sz="1800" kern="1200">
                          <a:solidFill>
                            <a:schemeClr val="tx1"/>
                          </a:solidFill>
                          <a:latin typeface="Calibri" panose="020F0502020204030204"/>
                        </a:defRPr>
                      </a:lvl1pPr>
                      <a:lvl2pPr marL="457166" algn="l" defTabSz="914333" rtl="0" eaLnBrk="1" latinLnBrk="0" hangingPunct="1">
                        <a:defRPr sz="1800" kern="1200">
                          <a:solidFill>
                            <a:schemeClr val="tx1"/>
                          </a:solidFill>
                          <a:latin typeface="Calibri" panose="020F0502020204030204"/>
                        </a:defRPr>
                      </a:lvl2pPr>
                      <a:lvl3pPr marL="914333" algn="l" defTabSz="914333" rtl="0" eaLnBrk="1" latinLnBrk="0" hangingPunct="1">
                        <a:defRPr sz="1800" kern="1200">
                          <a:solidFill>
                            <a:schemeClr val="tx1"/>
                          </a:solidFill>
                          <a:latin typeface="Calibri" panose="020F0502020204030204"/>
                        </a:defRPr>
                      </a:lvl3pPr>
                      <a:lvl4pPr marL="1371498" algn="l" defTabSz="914333" rtl="0" eaLnBrk="1" latinLnBrk="0" hangingPunct="1">
                        <a:defRPr sz="1800" kern="1200">
                          <a:solidFill>
                            <a:schemeClr val="tx1"/>
                          </a:solidFill>
                          <a:latin typeface="Calibri" panose="020F0502020204030204"/>
                        </a:defRPr>
                      </a:lvl4pPr>
                      <a:lvl5pPr marL="1828664" algn="l" defTabSz="914333" rtl="0" eaLnBrk="1" latinLnBrk="0" hangingPunct="1">
                        <a:defRPr sz="1800" kern="1200">
                          <a:solidFill>
                            <a:schemeClr val="tx1"/>
                          </a:solidFill>
                          <a:latin typeface="Calibri" panose="020F0502020204030204"/>
                        </a:defRPr>
                      </a:lvl5pPr>
                      <a:lvl6pPr marL="2285829" algn="l" defTabSz="914333" rtl="0" eaLnBrk="1" latinLnBrk="0" hangingPunct="1">
                        <a:defRPr sz="1800" kern="1200">
                          <a:solidFill>
                            <a:schemeClr val="tx1"/>
                          </a:solidFill>
                          <a:latin typeface="Calibri" panose="020F0502020204030204"/>
                        </a:defRPr>
                      </a:lvl6pPr>
                      <a:lvl7pPr marL="2742995" algn="l" defTabSz="914333" rtl="0" eaLnBrk="1" latinLnBrk="0" hangingPunct="1">
                        <a:defRPr sz="1800" kern="1200">
                          <a:solidFill>
                            <a:schemeClr val="tx1"/>
                          </a:solidFill>
                          <a:latin typeface="Calibri" panose="020F0502020204030204"/>
                        </a:defRPr>
                      </a:lvl7pPr>
                      <a:lvl8pPr marL="3200160" algn="l" defTabSz="914333" rtl="0" eaLnBrk="1" latinLnBrk="0" hangingPunct="1">
                        <a:defRPr sz="1800" kern="1200">
                          <a:solidFill>
                            <a:schemeClr val="tx1"/>
                          </a:solidFill>
                          <a:latin typeface="Calibri" panose="020F0502020204030204"/>
                        </a:defRPr>
                      </a:lvl8pPr>
                      <a:lvl9pPr marL="3657326" algn="l" defTabSz="914333" rtl="0" eaLnBrk="1" latinLnBrk="0" hangingPunct="1">
                        <a:defRPr sz="1800" kern="1200">
                          <a:solidFill>
                            <a:schemeClr val="tx1"/>
                          </a:solidFill>
                          <a:latin typeface="Calibri" panose="020F0502020204030204"/>
                        </a:defRPr>
                      </a:lvl9pPr>
                    </a:lstStyle>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kern="1200" cap="none">
                          <a:solidFill>
                            <a:schemeClr val="tx1"/>
                          </a:solidFill>
                          <a:latin typeface="+mj-lt"/>
                          <a:ea typeface="+mn-ea"/>
                          <a:cs typeface="Calibri" panose="020F0502020204030204" pitchFamily="34" charset="0"/>
                        </a:rPr>
                        <a:t>Analyse des processus pour 3 directions DRCA, DGRE, DCCR</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CH" sz="1000" b="0" i="0" u="none" strike="noStrike" kern="1200" cap="none">
                          <a:solidFill>
                            <a:schemeClr val="tx1"/>
                          </a:solidFill>
                          <a:latin typeface="+mj-lt"/>
                          <a:ea typeface="+mn-ea"/>
                          <a:cs typeface="Calibri" panose="020F0502020204030204" pitchFamily="34" charset="0"/>
                        </a:rPr>
                        <a:t>Valorisation, sélection de cas d’usage</a:t>
                      </a:r>
                      <a:endParaRPr lang="fr-FR" sz="1000" b="0" i="0" u="none" strike="noStrike" kern="1200" cap="none">
                        <a:solidFill>
                          <a:schemeClr val="tx1"/>
                        </a:solidFill>
                        <a:latin typeface="+mj-lt"/>
                        <a:ea typeface="+mn-ea"/>
                        <a:cs typeface="Calibri" panose="020F0502020204030204" pitchFamily="34" charset="0"/>
                      </a:endParaRP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kern="1200" cap="none">
                          <a:solidFill>
                            <a:schemeClr val="tx1"/>
                          </a:solidFill>
                          <a:latin typeface="+mj-lt"/>
                          <a:ea typeface="+mn-ea"/>
                          <a:cs typeface="Calibri" panose="020F0502020204030204" pitchFamily="34" charset="0"/>
                        </a:rPr>
                        <a:t>Définition du plan de mise en œuvre (organisation, gouvernance, budget)</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kern="1200" cap="none">
                          <a:solidFill>
                            <a:schemeClr val="tx1"/>
                          </a:solidFill>
                          <a:latin typeface="+mj-lt"/>
                          <a:ea typeface="+mn-ea"/>
                          <a:cs typeface="Calibri" panose="020F0502020204030204" pitchFamily="34" charset="0"/>
                        </a:rPr>
                        <a:t>Accompagnement de la mise en place d’un centre d’automatisation et de la réalisation des premiers robots</a:t>
                      </a:r>
                    </a:p>
                  </a:txBody>
                  <a:tcPr marL="121920" marR="121920" marT="0" marB="60960">
                    <a:lnB w="12700" cap="flat" cmpd="sng" algn="ctr">
                      <a:solidFill>
                        <a:srgbClr val="43358B"/>
                      </a:solidFill>
                      <a:prstDash val="solid"/>
                      <a:round/>
                      <a:headEnd type="none" w="med" len="med"/>
                      <a:tailEnd type="none" w="med" len="med"/>
                    </a:lnB>
                  </a:tcPr>
                </a:tc>
                <a:tc>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4144559711"/>
                  </a:ext>
                </a:extLst>
              </a:tr>
              <a:tr h="431161">
                <a:tc>
                  <a:txBody>
                    <a:bodyPr/>
                    <a:lstStyle>
                      <a:lvl1pPr marL="0" algn="l" defTabSz="914333" rtl="0" eaLnBrk="1" latinLnBrk="0" hangingPunct="1">
                        <a:defRPr sz="1800" kern="1200">
                          <a:solidFill>
                            <a:schemeClr val="tx1"/>
                          </a:solidFill>
                          <a:latin typeface="Calibri" panose="020F0502020204030204"/>
                        </a:defRPr>
                      </a:lvl1pPr>
                      <a:lvl2pPr marL="457166" algn="l" defTabSz="914333" rtl="0" eaLnBrk="1" latinLnBrk="0" hangingPunct="1">
                        <a:defRPr sz="1800" kern="1200">
                          <a:solidFill>
                            <a:schemeClr val="tx1"/>
                          </a:solidFill>
                          <a:latin typeface="Calibri" panose="020F0502020204030204"/>
                        </a:defRPr>
                      </a:lvl2pPr>
                      <a:lvl3pPr marL="914333" algn="l" defTabSz="914333" rtl="0" eaLnBrk="1" latinLnBrk="0" hangingPunct="1">
                        <a:defRPr sz="1800" kern="1200">
                          <a:solidFill>
                            <a:schemeClr val="tx1"/>
                          </a:solidFill>
                          <a:latin typeface="Calibri" panose="020F0502020204030204"/>
                        </a:defRPr>
                      </a:lvl3pPr>
                      <a:lvl4pPr marL="1371498" algn="l" defTabSz="914333" rtl="0" eaLnBrk="1" latinLnBrk="0" hangingPunct="1">
                        <a:defRPr sz="1800" kern="1200">
                          <a:solidFill>
                            <a:schemeClr val="tx1"/>
                          </a:solidFill>
                          <a:latin typeface="Calibri" panose="020F0502020204030204"/>
                        </a:defRPr>
                      </a:lvl4pPr>
                      <a:lvl5pPr marL="1828664" algn="l" defTabSz="914333" rtl="0" eaLnBrk="1" latinLnBrk="0" hangingPunct="1">
                        <a:defRPr sz="1800" kern="1200">
                          <a:solidFill>
                            <a:schemeClr val="tx1"/>
                          </a:solidFill>
                          <a:latin typeface="Calibri" panose="020F0502020204030204"/>
                        </a:defRPr>
                      </a:lvl5pPr>
                      <a:lvl6pPr marL="2285829" algn="l" defTabSz="914333" rtl="0" eaLnBrk="1" latinLnBrk="0" hangingPunct="1">
                        <a:defRPr sz="1800" kern="1200">
                          <a:solidFill>
                            <a:schemeClr val="tx1"/>
                          </a:solidFill>
                          <a:latin typeface="Calibri" panose="020F0502020204030204"/>
                        </a:defRPr>
                      </a:lvl6pPr>
                      <a:lvl7pPr marL="2742995" algn="l" defTabSz="914333" rtl="0" eaLnBrk="1" latinLnBrk="0" hangingPunct="1">
                        <a:defRPr sz="1800" kern="1200">
                          <a:solidFill>
                            <a:schemeClr val="tx1"/>
                          </a:solidFill>
                          <a:latin typeface="Calibri" panose="020F0502020204030204"/>
                        </a:defRPr>
                      </a:lvl7pPr>
                      <a:lvl8pPr marL="3200160" algn="l" defTabSz="914333" rtl="0" eaLnBrk="1" latinLnBrk="0" hangingPunct="1">
                        <a:defRPr sz="1800" kern="1200">
                          <a:solidFill>
                            <a:schemeClr val="tx1"/>
                          </a:solidFill>
                          <a:latin typeface="Calibri" panose="020F0502020204030204"/>
                        </a:defRPr>
                      </a:lvl8pPr>
                      <a:lvl9pPr marL="3657326" algn="l" defTabSz="914333" rtl="0" eaLnBrk="1" latinLnBrk="0" hangingPunct="1">
                        <a:defRPr sz="1800" kern="1200">
                          <a:solidFill>
                            <a:schemeClr val="tx1"/>
                          </a:solidFill>
                          <a:latin typeface="Calibri" panose="020F0502020204030204"/>
                        </a:defRPr>
                      </a:lvl9p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chemeClr val="tx1"/>
                          </a:solidFill>
                          <a:effectLst/>
                          <a:uLnTx/>
                          <a:uFillTx/>
                          <a:latin typeface="+mj-lt"/>
                          <a:ea typeface="+mn-ea"/>
                          <a:cs typeface="+mn-cs"/>
                        </a:rPr>
                        <a:t>Directeur de projet : </a:t>
                      </a:r>
                      <a:r>
                        <a:rPr lang="fr-FR" sz="1050" b="1">
                          <a:solidFill>
                            <a:schemeClr val="tx1"/>
                          </a:solidFill>
                          <a:latin typeface="+mj-lt"/>
                          <a:cs typeface="Calibri" panose="020F0502020204030204" pitchFamily="34" charset="0"/>
                        </a:rPr>
                        <a:t>Définition et accompagnement  de la trajectoire IA et DATA de la DSI du marché d’affaire (activités BtoB)</a:t>
                      </a:r>
                    </a:p>
                  </a:txBody>
                  <a:tcPr marL="121920" marR="121920" marT="96000" marB="0">
                    <a:lnT w="12700" cap="flat" cmpd="sng" algn="ctr">
                      <a:solidFill>
                        <a:srgbClr val="43358B"/>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endParaRPr lang="fr-FR" sz="900" kern="1200">
                        <a:solidFill>
                          <a:schemeClr val="bg2">
                            <a:lumMod val="10000"/>
                          </a:schemeClr>
                        </a:solidFill>
                        <a:latin typeface="+mn-lt"/>
                        <a:ea typeface="+mn-ea"/>
                        <a:cs typeface="+mn-cs"/>
                      </a:endParaRPr>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223544242"/>
                  </a:ext>
                </a:extLst>
              </a:tr>
              <a:tr h="794481">
                <a:tc>
                  <a:txBody>
                    <a:bodyPr/>
                    <a:lstStyle>
                      <a:lvl1pPr marL="0" algn="l" defTabSz="914333" rtl="0" eaLnBrk="1" latinLnBrk="0" hangingPunct="1">
                        <a:defRPr sz="1800" kern="1200">
                          <a:solidFill>
                            <a:schemeClr val="tx1"/>
                          </a:solidFill>
                          <a:latin typeface="Calibri" panose="020F0502020204030204"/>
                        </a:defRPr>
                      </a:lvl1pPr>
                      <a:lvl2pPr marL="457166" algn="l" defTabSz="914333" rtl="0" eaLnBrk="1" latinLnBrk="0" hangingPunct="1">
                        <a:defRPr sz="1800" kern="1200">
                          <a:solidFill>
                            <a:schemeClr val="tx1"/>
                          </a:solidFill>
                          <a:latin typeface="Calibri" panose="020F0502020204030204"/>
                        </a:defRPr>
                      </a:lvl2pPr>
                      <a:lvl3pPr marL="914333" algn="l" defTabSz="914333" rtl="0" eaLnBrk="1" latinLnBrk="0" hangingPunct="1">
                        <a:defRPr sz="1800" kern="1200">
                          <a:solidFill>
                            <a:schemeClr val="tx1"/>
                          </a:solidFill>
                          <a:latin typeface="Calibri" panose="020F0502020204030204"/>
                        </a:defRPr>
                      </a:lvl3pPr>
                      <a:lvl4pPr marL="1371498" algn="l" defTabSz="914333" rtl="0" eaLnBrk="1" latinLnBrk="0" hangingPunct="1">
                        <a:defRPr sz="1800" kern="1200">
                          <a:solidFill>
                            <a:schemeClr val="tx1"/>
                          </a:solidFill>
                          <a:latin typeface="Calibri" panose="020F0502020204030204"/>
                        </a:defRPr>
                      </a:lvl4pPr>
                      <a:lvl5pPr marL="1828664" algn="l" defTabSz="914333" rtl="0" eaLnBrk="1" latinLnBrk="0" hangingPunct="1">
                        <a:defRPr sz="1800" kern="1200">
                          <a:solidFill>
                            <a:schemeClr val="tx1"/>
                          </a:solidFill>
                          <a:latin typeface="Calibri" panose="020F0502020204030204"/>
                        </a:defRPr>
                      </a:lvl5pPr>
                      <a:lvl6pPr marL="2285829" algn="l" defTabSz="914333" rtl="0" eaLnBrk="1" latinLnBrk="0" hangingPunct="1">
                        <a:defRPr sz="1800" kern="1200">
                          <a:solidFill>
                            <a:schemeClr val="tx1"/>
                          </a:solidFill>
                          <a:latin typeface="Calibri" panose="020F0502020204030204"/>
                        </a:defRPr>
                      </a:lvl6pPr>
                      <a:lvl7pPr marL="2742995" algn="l" defTabSz="914333" rtl="0" eaLnBrk="1" latinLnBrk="0" hangingPunct="1">
                        <a:defRPr sz="1800" kern="1200">
                          <a:solidFill>
                            <a:schemeClr val="tx1"/>
                          </a:solidFill>
                          <a:latin typeface="Calibri" panose="020F0502020204030204"/>
                        </a:defRPr>
                      </a:lvl7pPr>
                      <a:lvl8pPr marL="3200160" algn="l" defTabSz="914333" rtl="0" eaLnBrk="1" latinLnBrk="0" hangingPunct="1">
                        <a:defRPr sz="1800" kern="1200">
                          <a:solidFill>
                            <a:schemeClr val="tx1"/>
                          </a:solidFill>
                          <a:latin typeface="Calibri" panose="020F0502020204030204"/>
                        </a:defRPr>
                      </a:lvl8pPr>
                      <a:lvl9pPr marL="3657326" algn="l" defTabSz="914333"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
                          <a:srgbClr val="FF33CC"/>
                        </a:buClr>
                        <a:buSzTx/>
                        <a:buFont typeface="Montserrat" panose="00000500000000000000" pitchFamily="2" charset="0"/>
                        <a:buNone/>
                        <a:tabLst/>
                        <a:defRPr/>
                      </a:pPr>
                      <a:r>
                        <a:rPr lang="fr-FR" sz="1000" b="0" i="0" u="none" strike="noStrike" cap="none">
                          <a:solidFill>
                            <a:schemeClr val="tx1"/>
                          </a:solidFill>
                          <a:latin typeface="+mj-lt"/>
                          <a:ea typeface="+mn-ea"/>
                          <a:cs typeface="Calibri" panose="020F0502020204030204" pitchFamily="34" charset="0"/>
                          <a:sym typeface="Arial"/>
                        </a:rPr>
                        <a:t>Sessions d’acculturation des équipes SI et métier d’EDF ( Séminaires et session de formation,</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Identification de cas d’usage et des business case associés</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Analyse de l’existant SI et data</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Définition des trajectoires applicatives et  de l’évolution des socles techniques</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Plan d’évolution et de montée en compétence RH métier et SI</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Accompagnement de la mise en œuvre des premiers cas d’usage et de l’évolution du socle data</a:t>
                      </a:r>
                    </a:p>
                  </a:txBody>
                  <a:tcPr marL="121920" marR="121920" marT="0" marB="60960">
                    <a:lnB w="12700" cap="flat" cmpd="sng" algn="ctr">
                      <a:solidFill>
                        <a:schemeClr val="bg2"/>
                      </a:solidFill>
                      <a:prstDash val="solid"/>
                      <a:round/>
                      <a:headEnd type="none" w="med" len="med"/>
                      <a:tailEnd type="none" w="med" len="med"/>
                    </a:lnB>
                  </a:tcPr>
                </a:tc>
                <a:tc>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64491086"/>
                  </a:ext>
                </a:extLst>
              </a:tr>
              <a:tr h="869600">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chemeClr val="tx1"/>
                          </a:solidFill>
                          <a:effectLst/>
                          <a:uLnTx/>
                          <a:uFillTx/>
                          <a:latin typeface="+mj-lt"/>
                          <a:ea typeface="+mn-ea"/>
                          <a:cs typeface="+mn-cs"/>
                        </a:rPr>
                        <a:t>Directeur de projet : </a:t>
                      </a:r>
                      <a:r>
                        <a:rPr lang="fr-FR" sz="1050" b="1">
                          <a:solidFill>
                            <a:schemeClr val="tx1"/>
                          </a:solidFill>
                          <a:latin typeface="+mj-lt"/>
                          <a:cs typeface="Calibri" panose="020F0502020204030204" pitchFamily="34" charset="0"/>
                        </a:rPr>
                        <a:t>Schéma directeur SI et DATA pour plusieurs hôpitaux publics (ANAP)</a:t>
                      </a:r>
                      <a:endParaRPr kumimoji="0" lang="fr-FR" sz="1050" b="0" i="0" u="none" strike="noStrike" kern="1200" cap="none" spc="0" normalizeH="0" baseline="0">
                        <a:ln>
                          <a:noFill/>
                        </a:ln>
                        <a:solidFill>
                          <a:schemeClr val="tx1"/>
                        </a:solidFill>
                        <a:effectLst/>
                        <a:uLnTx/>
                        <a:uFillTx/>
                        <a:latin typeface="+mj-lt"/>
                        <a:ea typeface="+mn-ea"/>
                        <a:cs typeface="+mn-cs"/>
                        <a:sym typeface="Calibri"/>
                      </a:endParaRP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Définition d’une démarche et d’un référentiel de diagnostic flash</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Constitution d’une équipe d’expert (DSI hôpitaux et expertise inter cabinets)</a:t>
                      </a:r>
                    </a:p>
                    <a:p>
                      <a:pPr marL="143510" marR="0" lvl="0" indent="-143510" algn="l" defTabSz="914400" rtl="0" eaLnBrk="1" fontAlgn="auto" latinLnBrk="0" hangingPunct="1">
                        <a:lnSpc>
                          <a:spcPct val="100000"/>
                        </a:lnSpc>
                        <a:spcBef>
                          <a:spcPts val="0"/>
                        </a:spcBef>
                        <a:spcAft>
                          <a:spcPts val="0"/>
                        </a:spcAft>
                        <a:buClrTx/>
                        <a:buSzTx/>
                        <a:buFont typeface="Montserrat" panose="00000500000000000000" pitchFamily="2" charset="0"/>
                        <a:buChar char="›"/>
                        <a:tabLst/>
                        <a:defRPr/>
                      </a:pPr>
                      <a:r>
                        <a:rPr lang="fr-FR" sz="1000" b="0" i="0" u="none" strike="noStrike" cap="none">
                          <a:solidFill>
                            <a:schemeClr val="tx1"/>
                          </a:solidFill>
                          <a:latin typeface="+mj-lt"/>
                          <a:ea typeface="+mn-ea"/>
                          <a:cs typeface="Calibri" panose="020F0502020204030204" pitchFamily="34" charset="0"/>
                          <a:sym typeface="Arial"/>
                        </a:rPr>
                        <a:t>Mise en œuvre et industrialisation de la démarche sur une 30 aine d’hôpitaux</a:t>
                      </a:r>
                      <a:endParaRPr lang="fr-FR" sz="900" b="1">
                        <a:solidFill>
                          <a:schemeClr val="tx1"/>
                        </a:solidFill>
                        <a:latin typeface="+mj-lt"/>
                        <a:cs typeface="Calibri" panose="020F0502020204030204" pitchFamily="34" charset="0"/>
                      </a:endParaRPr>
                    </a:p>
                  </a:txBody>
                  <a:tcPr marL="121920" marR="121920" marT="96000"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fr-FR"/>
                    </a:p>
                  </a:txBody>
                  <a:tcPr marL="0" marR="0" marT="48000" marB="6096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3355738"/>
                  </a:ext>
                </a:extLst>
              </a:tr>
            </a:tbl>
          </a:graphicData>
        </a:graphic>
      </p:graphicFrame>
      <p:graphicFrame>
        <p:nvGraphicFramePr>
          <p:cNvPr id="28" name="Tableau 27">
            <a:extLst>
              <a:ext uri="{FF2B5EF4-FFF2-40B4-BE49-F238E27FC236}">
                <a16:creationId xmlns:a16="http://schemas.microsoft.com/office/drawing/2014/main" id="{325430F4-DFF6-4179-6403-420FC4DA74C7}"/>
              </a:ext>
            </a:extLst>
          </p:cNvPr>
          <p:cNvGraphicFramePr>
            <a:graphicFrameLocks noGrp="1"/>
          </p:cNvGraphicFramePr>
          <p:nvPr>
            <p:extLst>
              <p:ext uri="{D42A27DB-BD31-4B8C-83A1-F6EECF244321}">
                <p14:modId xmlns:p14="http://schemas.microsoft.com/office/powerpoint/2010/main" val="2330228419"/>
              </p:ext>
            </p:extLst>
          </p:nvPr>
        </p:nvGraphicFramePr>
        <p:xfrm>
          <a:off x="345167" y="1724365"/>
          <a:ext cx="3366835" cy="4968240"/>
        </p:xfrm>
        <a:graphic>
          <a:graphicData uri="http://schemas.openxmlformats.org/drawingml/2006/table">
            <a:tbl>
              <a:tblPr firstRow="1" bandRow="1"/>
              <a:tblGrid>
                <a:gridCol w="3366835">
                  <a:extLst>
                    <a:ext uri="{9D8B030D-6E8A-4147-A177-3AD203B41FA5}">
                      <a16:colId xmlns:a16="http://schemas.microsoft.com/office/drawing/2014/main" val="2856406043"/>
                    </a:ext>
                  </a:extLst>
                </a:gridCol>
              </a:tblGrid>
              <a:tr h="273709">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5398B"/>
                          </a:solidFill>
                          <a:latin typeface="+mn-lt"/>
                          <a:ea typeface="+mn-ea"/>
                          <a:cs typeface="+mn-cs"/>
                        </a:rPr>
                        <a:t>Formations</a:t>
                      </a:r>
                    </a:p>
                  </a:txBody>
                  <a:tcPr marL="45720" marR="4572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1204566"/>
                  </a:ext>
                </a:extLst>
              </a:tr>
              <a:tr h="0">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80975" marR="0" lvl="0" indent="-1809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MBA HEC</a:t>
                      </a:r>
                    </a:p>
                    <a:p>
                      <a:pPr marL="180975" marR="0" lvl="0" indent="-1809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HKUST (Hong Kong University for Science &amp; Technologies) </a:t>
                      </a:r>
                    </a:p>
                    <a:p>
                      <a:pPr marL="180975" marR="0" lvl="0" indent="-1809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Master en Systèmes Experts &amp; Intelligence artificielle</a:t>
                      </a:r>
                    </a:p>
                    <a:p>
                      <a:pPr marL="180975" marR="0" lvl="0" indent="-1809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Certification ITIL V3</a:t>
                      </a:r>
                    </a:p>
                  </a:txBody>
                  <a:tcPr marL="45720" marR="45720">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691408330"/>
                  </a:ext>
                </a:extLst>
              </a:tr>
              <a:tr h="273709">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5398B"/>
                          </a:solidFill>
                          <a:latin typeface="+mn-lt"/>
                          <a:ea typeface="+mn-ea"/>
                          <a:cs typeface="+mn-cs"/>
                        </a:rPr>
                        <a:t>Compétences</a:t>
                      </a:r>
                    </a:p>
                  </a:txBody>
                  <a:tcPr marL="45720" marR="4572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60446002"/>
                  </a:ext>
                </a:extLst>
              </a:tr>
              <a:tr h="218967">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Agile/Scrum</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Schémas directeur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Audi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Cadrage et pilotag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Innovation</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Intelligence Artificiell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0" i="0" u="none" strike="noStrike" kern="1200" cap="none">
                          <a:solidFill>
                            <a:schemeClr val="tx1"/>
                          </a:solidFill>
                          <a:latin typeface="Arial"/>
                          <a:ea typeface="+mn-ea"/>
                          <a:cs typeface="+mn-cs"/>
                          <a:sym typeface="Arial"/>
                        </a:rPr>
                        <a:t>Machine Learning</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4310555"/>
                  </a:ext>
                </a:extLst>
              </a:tr>
              <a:tr h="587573">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i="0" u="none" strike="noStrike" kern="1200" cap="none">
                        <a:solidFill>
                          <a:srgbClr val="45398B"/>
                        </a:solidFill>
                        <a:latin typeface="+mn-lt"/>
                        <a:ea typeface="+mn-ea"/>
                        <a:cs typeface="+mn-cs"/>
                        <a:sym typeface="Arial"/>
                      </a:endParaRPr>
                    </a:p>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i="0" u="none" strike="noStrike" kern="1200" cap="none">
                          <a:solidFill>
                            <a:srgbClr val="45398B"/>
                          </a:solidFill>
                          <a:latin typeface="+mn-lt"/>
                          <a:ea typeface="+mn-ea"/>
                          <a:cs typeface="+mn-cs"/>
                          <a:sym typeface="Arial"/>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717550" algn="l"/>
                        </a:tabLst>
                        <a:defRPr/>
                      </a:pPr>
                      <a:r>
                        <a:rPr lang="fr-FR" sz="1000">
                          <a:solidFill>
                            <a:srgbClr val="000000"/>
                          </a:solidFill>
                          <a:latin typeface="+mn-lt"/>
                        </a:rPr>
                        <a:t>Italien :</a:t>
                      </a:r>
                      <a:r>
                        <a:rPr lang="fr-FR" sz="1000" b="0" i="0" u="none" strike="noStrike" cap="none">
                          <a:solidFill>
                            <a:schemeClr val="tx1"/>
                          </a:solidFill>
                          <a:latin typeface="Arial"/>
                          <a:ea typeface="+mn-ea"/>
                          <a:cs typeface="+mn-cs"/>
                          <a:sym typeface="Arial"/>
                        </a:rPr>
                        <a:t>	</a:t>
                      </a:r>
                      <a:r>
                        <a:rPr lang="fr-FR" sz="1000" b="0" i="0" u="none" strike="noStrike" cap="none">
                          <a:solidFill>
                            <a:srgbClr val="0070C0"/>
                          </a:solidFill>
                          <a:latin typeface="Arial"/>
                          <a:ea typeface="+mn-ea"/>
                          <a:cs typeface="+mn-cs"/>
                          <a:sym typeface="Wingdings" panose="05000000000000000000" pitchFamily="2" charset="2"/>
                        </a:rPr>
                        <a:t></a:t>
                      </a:r>
                      <a:endParaRPr lang="fr-FR" sz="1000">
                        <a:solidFill>
                          <a:srgbClr val="0070C0"/>
                        </a:solidFill>
                        <a:latin typeface="+mn-lt"/>
                      </a:endParaRP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717550" algn="l"/>
                        </a:tabLst>
                        <a:defRPr/>
                      </a:pPr>
                      <a:r>
                        <a:rPr lang="fr-FR" sz="1000">
                          <a:solidFill>
                            <a:srgbClr val="000000"/>
                          </a:solidFill>
                          <a:latin typeface="+mn-lt"/>
                        </a:rPr>
                        <a:t>Anglais :</a:t>
                      </a:r>
                      <a:r>
                        <a:rPr lang="fr-FR" sz="1000">
                          <a:latin typeface="+mn-lt"/>
                        </a:rPr>
                        <a:t>	</a:t>
                      </a:r>
                      <a:r>
                        <a:rPr lang="fr-FR" sz="1000">
                          <a:solidFill>
                            <a:srgbClr val="0070C0"/>
                          </a:solidFill>
                          <a:latin typeface="+mn-lt"/>
                          <a:sym typeface="Wingdings" panose="05000000000000000000" pitchFamily="2" charset="2"/>
                        </a:rPr>
                        <a:t></a:t>
                      </a:r>
                      <a:r>
                        <a:rPr lang="fr-FR" sz="1000" b="0" i="0" u="none" strike="noStrike" cap="none">
                          <a:solidFill>
                            <a:srgbClr val="0070C0"/>
                          </a:solidFill>
                          <a:latin typeface="+mn-lt"/>
                          <a:ea typeface="+mn-ea"/>
                          <a:cs typeface="+mn-cs"/>
                          <a:sym typeface="Wingdings" panose="05000000000000000000" pitchFamily="2" charset="2"/>
                        </a:rPr>
                        <a:t></a:t>
                      </a:r>
                      <a:r>
                        <a:rPr lang="fr-FR" sz="1000" b="0" i="0" u="none" strike="noStrike" cap="none">
                          <a:solidFill>
                            <a:schemeClr val="tx2">
                              <a:lumMod val="20000"/>
                              <a:lumOff val="80000"/>
                            </a:schemeClr>
                          </a:solidFill>
                          <a:latin typeface="+mn-lt"/>
                          <a:ea typeface="+mn-ea"/>
                          <a:cs typeface="+mn-cs"/>
                          <a:sym typeface="Wingdings" panose="05000000000000000000" pitchFamily="2" charset="2"/>
                        </a:rPr>
                        <a:t></a:t>
                      </a:r>
                      <a:r>
                        <a:rPr lang="fr-FR" sz="1000">
                          <a:solidFill>
                            <a:schemeClr val="tx2">
                              <a:lumMod val="20000"/>
                              <a:lumOff val="80000"/>
                            </a:schemeClr>
                          </a:solidFill>
                          <a:latin typeface="+mn-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717550" algn="l"/>
                        </a:tabLst>
                        <a:defRPr/>
                      </a:pPr>
                      <a:r>
                        <a:rPr lang="fr-FR" sz="1000">
                          <a:latin typeface="+mj-lt"/>
                          <a:cs typeface="Calibri" panose="020F0502020204030204" pitchFamily="34" charset="0"/>
                        </a:rPr>
                        <a:t>Allemand :    </a:t>
                      </a:r>
                      <a:r>
                        <a:rPr lang="fr-FR" sz="1000">
                          <a:solidFill>
                            <a:srgbClr val="0070C0"/>
                          </a:solidFill>
                          <a:latin typeface="+mj-lt"/>
                          <a:cs typeface="Calibri" panose="020F0502020204030204" pitchFamily="34" charset="0"/>
                          <a:sym typeface="Wingdings" panose="05000000000000000000" pitchFamily="2" charset="2"/>
                        </a:rPr>
                        <a:t></a:t>
                      </a:r>
                      <a:r>
                        <a:rPr lang="fr-FR" sz="1000" b="0" i="0" u="none" strike="noStrike" cap="none">
                          <a:solidFill>
                            <a:schemeClr val="tx2">
                              <a:lumMod val="20000"/>
                              <a:lumOff val="80000"/>
                            </a:schemeClr>
                          </a:solidFill>
                          <a:latin typeface="Arial"/>
                          <a:ea typeface="+mn-ea"/>
                          <a:cs typeface="+mn-cs"/>
                          <a:sym typeface="Wingdings" panose="05000000000000000000" pitchFamily="2" charset="2"/>
                        </a:rPr>
                        <a:t></a:t>
                      </a:r>
                      <a:endParaRPr lang="fr-FR" sz="1000">
                        <a:solidFill>
                          <a:schemeClr val="tx2">
                            <a:lumMod val="20000"/>
                            <a:lumOff val="80000"/>
                          </a:schemeClr>
                        </a:solidFill>
                        <a:latin typeface="+mj-lt"/>
                        <a:sym typeface="Wingdings" panose="05000000000000000000" pitchFamily="2" charset="2"/>
                      </a:endParaRPr>
                    </a:p>
                  </a:txBody>
                  <a:tcPr marL="45720" marR="45720">
                    <a:lnL>
                      <a:noFill/>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718782"/>
                  </a:ext>
                </a:extLst>
              </a:tr>
              <a:tr h="273709">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45398B"/>
                        </a:solidFill>
                        <a:latin typeface="+mn-lt"/>
                        <a:ea typeface="+mn-ea"/>
                        <a:cs typeface="+mn-cs"/>
                      </a:endParaRPr>
                    </a:p>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5398B"/>
                          </a:solidFill>
                          <a:latin typeface="+mn-lt"/>
                          <a:ea typeface="+mn-ea"/>
                          <a:cs typeface="+mn-cs"/>
                        </a:rPr>
                        <a:t>Principaux clients</a:t>
                      </a:r>
                    </a:p>
                  </a:txBody>
                  <a:tcPr marL="45720" marR="4572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17742779"/>
                  </a:ext>
                </a:extLst>
              </a:tr>
              <a:tr h="766384">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CA, LCL, BNPP, EDF , Groupe La Poste,, Société Générale, Groupe Covea, Thelem, Macif, Henner, Diot, Orange,</a:t>
                      </a:r>
                    </a:p>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APHP, Hôpitaux , Institut pasteur, Merck</a:t>
                      </a:r>
                    </a:p>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Groupe Lisi, Albea, PCD</a:t>
                      </a:r>
                    </a:p>
                  </a:txBody>
                  <a:tcPr marL="45720" marR="45720">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55801330"/>
                  </a:ext>
                </a:extLst>
              </a:tr>
            </a:tbl>
          </a:graphicData>
        </a:graphic>
      </p:graphicFrame>
      <p:pic>
        <p:nvPicPr>
          <p:cNvPr id="4" name="Graphique 3" descr="Calendrier journalier">
            <a:extLst>
              <a:ext uri="{FF2B5EF4-FFF2-40B4-BE49-F238E27FC236}">
                <a16:creationId xmlns:a16="http://schemas.microsoft.com/office/drawing/2014/main" id="{0B19BA0A-6576-915E-D6CE-F0377A4E907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0756" y="2120819"/>
            <a:ext cx="228600" cy="228600"/>
          </a:xfrm>
          <a:prstGeom prst="rect">
            <a:avLst/>
          </a:prstGeom>
        </p:spPr>
      </p:pic>
      <p:pic>
        <p:nvPicPr>
          <p:cNvPr id="6" name="Graphique 5" descr="Repère">
            <a:extLst>
              <a:ext uri="{FF2B5EF4-FFF2-40B4-BE49-F238E27FC236}">
                <a16:creationId xmlns:a16="http://schemas.microsoft.com/office/drawing/2014/main" id="{1A167B89-7C28-F65C-BE5B-4066FC7F061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97037" y="2103010"/>
            <a:ext cx="264219" cy="264219"/>
          </a:xfrm>
          <a:prstGeom prst="rect">
            <a:avLst/>
          </a:prstGeom>
        </p:spPr>
      </p:pic>
      <p:sp>
        <p:nvSpPr>
          <p:cNvPr id="13" name="ZoneTexte 12">
            <a:extLst>
              <a:ext uri="{FF2B5EF4-FFF2-40B4-BE49-F238E27FC236}">
                <a16:creationId xmlns:a16="http://schemas.microsoft.com/office/drawing/2014/main" id="{5C8B8B7F-5EF0-C25A-3AEA-51EAD8B690F3}"/>
              </a:ext>
            </a:extLst>
          </p:cNvPr>
          <p:cNvSpPr txBox="1"/>
          <p:nvPr/>
        </p:nvSpPr>
        <p:spPr>
          <a:xfrm>
            <a:off x="10425141" y="2117170"/>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p:txBody>
      </p:sp>
      <p:sp>
        <p:nvSpPr>
          <p:cNvPr id="14" name="ZoneTexte 13">
            <a:extLst>
              <a:ext uri="{FF2B5EF4-FFF2-40B4-BE49-F238E27FC236}">
                <a16:creationId xmlns:a16="http://schemas.microsoft.com/office/drawing/2014/main" id="{B2F0F65E-19E5-DFF0-9820-698D5DD97F81}"/>
              </a:ext>
            </a:extLst>
          </p:cNvPr>
          <p:cNvSpPr txBox="1"/>
          <p:nvPr/>
        </p:nvSpPr>
        <p:spPr>
          <a:xfrm>
            <a:off x="11297442" y="2117170"/>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21-2020</a:t>
            </a:r>
          </a:p>
        </p:txBody>
      </p:sp>
      <p:pic>
        <p:nvPicPr>
          <p:cNvPr id="15" name="Graphique 14" descr="Calendrier journalier">
            <a:extLst>
              <a:ext uri="{FF2B5EF4-FFF2-40B4-BE49-F238E27FC236}">
                <a16:creationId xmlns:a16="http://schemas.microsoft.com/office/drawing/2014/main" id="{AAE44414-6B09-601E-9724-2A00F1C9B4C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0756" y="3191957"/>
            <a:ext cx="228600" cy="228600"/>
          </a:xfrm>
          <a:prstGeom prst="rect">
            <a:avLst/>
          </a:prstGeom>
        </p:spPr>
      </p:pic>
      <p:pic>
        <p:nvPicPr>
          <p:cNvPr id="16" name="Graphique 15" descr="Repère">
            <a:extLst>
              <a:ext uri="{FF2B5EF4-FFF2-40B4-BE49-F238E27FC236}">
                <a16:creationId xmlns:a16="http://schemas.microsoft.com/office/drawing/2014/main" id="{07F74299-8E14-D24B-0ADE-1298BC73829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97037" y="3174148"/>
            <a:ext cx="264219" cy="264219"/>
          </a:xfrm>
          <a:prstGeom prst="rect">
            <a:avLst/>
          </a:prstGeom>
        </p:spPr>
      </p:pic>
      <p:sp>
        <p:nvSpPr>
          <p:cNvPr id="17" name="ZoneTexte 16">
            <a:extLst>
              <a:ext uri="{FF2B5EF4-FFF2-40B4-BE49-F238E27FC236}">
                <a16:creationId xmlns:a16="http://schemas.microsoft.com/office/drawing/2014/main" id="{28435EB3-3625-7431-2C91-1E7024A9F108}"/>
              </a:ext>
            </a:extLst>
          </p:cNvPr>
          <p:cNvSpPr txBox="1"/>
          <p:nvPr/>
        </p:nvSpPr>
        <p:spPr>
          <a:xfrm>
            <a:off x="10425141" y="3188308"/>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p:txBody>
      </p:sp>
      <p:sp>
        <p:nvSpPr>
          <p:cNvPr id="18" name="ZoneTexte 17">
            <a:extLst>
              <a:ext uri="{FF2B5EF4-FFF2-40B4-BE49-F238E27FC236}">
                <a16:creationId xmlns:a16="http://schemas.microsoft.com/office/drawing/2014/main" id="{12A62F87-3FCE-FDF4-A3E8-FD91D5B7B87D}"/>
              </a:ext>
            </a:extLst>
          </p:cNvPr>
          <p:cNvSpPr txBox="1"/>
          <p:nvPr/>
        </p:nvSpPr>
        <p:spPr>
          <a:xfrm>
            <a:off x="11297442" y="3188308"/>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21</a:t>
            </a:r>
          </a:p>
        </p:txBody>
      </p:sp>
      <p:pic>
        <p:nvPicPr>
          <p:cNvPr id="19" name="Graphique 18" descr="Calendrier journalier">
            <a:extLst>
              <a:ext uri="{FF2B5EF4-FFF2-40B4-BE49-F238E27FC236}">
                <a16:creationId xmlns:a16="http://schemas.microsoft.com/office/drawing/2014/main" id="{A6FFFE5E-0337-1217-7707-A86B56891EF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0756" y="4337710"/>
            <a:ext cx="228600" cy="228600"/>
          </a:xfrm>
          <a:prstGeom prst="rect">
            <a:avLst/>
          </a:prstGeom>
        </p:spPr>
      </p:pic>
      <p:pic>
        <p:nvPicPr>
          <p:cNvPr id="20" name="Graphique 19" descr="Repère">
            <a:extLst>
              <a:ext uri="{FF2B5EF4-FFF2-40B4-BE49-F238E27FC236}">
                <a16:creationId xmlns:a16="http://schemas.microsoft.com/office/drawing/2014/main" id="{0EFFD495-FF89-CBEF-F20B-5DF09A87DB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97037" y="4319901"/>
            <a:ext cx="264219" cy="264219"/>
          </a:xfrm>
          <a:prstGeom prst="rect">
            <a:avLst/>
          </a:prstGeom>
        </p:spPr>
      </p:pic>
      <p:sp>
        <p:nvSpPr>
          <p:cNvPr id="21" name="ZoneTexte 20">
            <a:extLst>
              <a:ext uri="{FF2B5EF4-FFF2-40B4-BE49-F238E27FC236}">
                <a16:creationId xmlns:a16="http://schemas.microsoft.com/office/drawing/2014/main" id="{9610D408-93CA-AA6C-35AD-AC0384DA3081}"/>
              </a:ext>
            </a:extLst>
          </p:cNvPr>
          <p:cNvSpPr txBox="1"/>
          <p:nvPr/>
        </p:nvSpPr>
        <p:spPr>
          <a:xfrm>
            <a:off x="10425141" y="4334061"/>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p:txBody>
      </p:sp>
      <p:sp>
        <p:nvSpPr>
          <p:cNvPr id="22" name="ZoneTexte 21">
            <a:extLst>
              <a:ext uri="{FF2B5EF4-FFF2-40B4-BE49-F238E27FC236}">
                <a16:creationId xmlns:a16="http://schemas.microsoft.com/office/drawing/2014/main" id="{382CD4CF-97E3-13A8-131C-1C6742EFCF3D}"/>
              </a:ext>
            </a:extLst>
          </p:cNvPr>
          <p:cNvSpPr txBox="1"/>
          <p:nvPr/>
        </p:nvSpPr>
        <p:spPr>
          <a:xfrm>
            <a:off x="11297442" y="4334061"/>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19</a:t>
            </a:r>
          </a:p>
        </p:txBody>
      </p:sp>
      <p:pic>
        <p:nvPicPr>
          <p:cNvPr id="23" name="Graphique 22" descr="Calendrier journalier">
            <a:extLst>
              <a:ext uri="{FF2B5EF4-FFF2-40B4-BE49-F238E27FC236}">
                <a16:creationId xmlns:a16="http://schemas.microsoft.com/office/drawing/2014/main" id="{4A5A2F60-4AAB-28BA-5C67-21D6F734F40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0756" y="5819943"/>
            <a:ext cx="228600" cy="228600"/>
          </a:xfrm>
          <a:prstGeom prst="rect">
            <a:avLst/>
          </a:prstGeom>
        </p:spPr>
      </p:pic>
      <p:pic>
        <p:nvPicPr>
          <p:cNvPr id="24" name="Graphique 23" descr="Repère">
            <a:extLst>
              <a:ext uri="{FF2B5EF4-FFF2-40B4-BE49-F238E27FC236}">
                <a16:creationId xmlns:a16="http://schemas.microsoft.com/office/drawing/2014/main" id="{2BA40E29-D3E2-EC73-692A-21DEFD2B0F1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97037" y="5802134"/>
            <a:ext cx="264219" cy="264219"/>
          </a:xfrm>
          <a:prstGeom prst="rect">
            <a:avLst/>
          </a:prstGeom>
        </p:spPr>
      </p:pic>
      <p:sp>
        <p:nvSpPr>
          <p:cNvPr id="25" name="ZoneTexte 24">
            <a:extLst>
              <a:ext uri="{FF2B5EF4-FFF2-40B4-BE49-F238E27FC236}">
                <a16:creationId xmlns:a16="http://schemas.microsoft.com/office/drawing/2014/main" id="{1E5915D7-C85D-823E-9883-4EFC981B52ED}"/>
              </a:ext>
            </a:extLst>
          </p:cNvPr>
          <p:cNvSpPr txBox="1"/>
          <p:nvPr/>
        </p:nvSpPr>
        <p:spPr>
          <a:xfrm>
            <a:off x="10425141" y="5816294"/>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Paris</a:t>
            </a:r>
          </a:p>
        </p:txBody>
      </p:sp>
      <p:sp>
        <p:nvSpPr>
          <p:cNvPr id="26" name="ZoneTexte 25">
            <a:extLst>
              <a:ext uri="{FF2B5EF4-FFF2-40B4-BE49-F238E27FC236}">
                <a16:creationId xmlns:a16="http://schemas.microsoft.com/office/drawing/2014/main" id="{35DE9C13-A3CE-9245-B91B-BC10FBBE45FE}"/>
              </a:ext>
            </a:extLst>
          </p:cNvPr>
          <p:cNvSpPr txBox="1"/>
          <p:nvPr/>
        </p:nvSpPr>
        <p:spPr>
          <a:xfrm>
            <a:off x="11297442" y="5816294"/>
            <a:ext cx="1049857" cy="235898"/>
          </a:xfrm>
          <a:prstGeom prst="rect">
            <a:avLst/>
          </a:prstGeom>
          <a:noFill/>
        </p:spPr>
        <p:txBody>
          <a:bodyPr wrap="square" rtlCol="0">
            <a:spAutoFit/>
          </a:bodyPr>
          <a:lstStyle/>
          <a:p>
            <a:pPr defTabSz="1219170">
              <a:buClr>
                <a:srgbClr val="000000"/>
              </a:buClr>
            </a:pPr>
            <a:r>
              <a:rPr lang="fr-FR" sz="933" kern="0">
                <a:solidFill>
                  <a:srgbClr val="000000"/>
                </a:solidFill>
                <a:latin typeface="Montserrat"/>
                <a:cs typeface="Arial"/>
                <a:sym typeface="Arial"/>
              </a:rPr>
              <a:t>2019</a:t>
            </a:r>
          </a:p>
        </p:txBody>
      </p:sp>
      <p:pic>
        <p:nvPicPr>
          <p:cNvPr id="7" name="Image 8">
            <a:extLst>
              <a:ext uri="{FF2B5EF4-FFF2-40B4-BE49-F238E27FC236}">
                <a16:creationId xmlns:a16="http://schemas.microsoft.com/office/drawing/2014/main" id="{F410F6D0-7964-9675-10FA-48B047073189}"/>
              </a:ext>
            </a:extLst>
          </p:cNvPr>
          <p:cNvPicPr>
            <a:picLocks noChangeAspect="1"/>
          </p:cNvPicPr>
          <p:nvPr/>
        </p:nvPicPr>
        <p:blipFill>
          <a:blip r:embed="rId6"/>
          <a:stretch>
            <a:fillRect/>
          </a:stretch>
        </p:blipFill>
        <p:spPr>
          <a:xfrm>
            <a:off x="3586482" y="6042725"/>
            <a:ext cx="1071814" cy="213600"/>
          </a:xfrm>
          <a:prstGeom prst="rect">
            <a:avLst/>
          </a:prstGeom>
        </p:spPr>
      </p:pic>
      <p:pic>
        <p:nvPicPr>
          <p:cNvPr id="8" name="Picture 2" descr="Résultat de recherche d'images pour &quot;covéa&quot;">
            <a:extLst>
              <a:ext uri="{FF2B5EF4-FFF2-40B4-BE49-F238E27FC236}">
                <a16:creationId xmlns:a16="http://schemas.microsoft.com/office/drawing/2014/main" id="{B6667420-E8FF-5A86-1002-65D940323E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8787" y="2235119"/>
            <a:ext cx="601315" cy="6013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9">
            <a:extLst>
              <a:ext uri="{FF2B5EF4-FFF2-40B4-BE49-F238E27FC236}">
                <a16:creationId xmlns:a16="http://schemas.microsoft.com/office/drawing/2014/main" id="{000A58D3-1E6A-7B9E-FF1F-F1C019293895}"/>
              </a:ext>
            </a:extLst>
          </p:cNvPr>
          <p:cNvPicPr>
            <a:picLocks noChangeAspect="1"/>
          </p:cNvPicPr>
          <p:nvPr/>
        </p:nvPicPr>
        <p:blipFill>
          <a:blip r:embed="rId8"/>
          <a:stretch>
            <a:fillRect/>
          </a:stretch>
        </p:blipFill>
        <p:spPr>
          <a:xfrm>
            <a:off x="3719106" y="4865462"/>
            <a:ext cx="903888" cy="491623"/>
          </a:xfrm>
          <a:prstGeom prst="rect">
            <a:avLst/>
          </a:prstGeom>
        </p:spPr>
      </p:pic>
      <p:pic>
        <p:nvPicPr>
          <p:cNvPr id="10" name="Picture 4">
            <a:extLst>
              <a:ext uri="{FF2B5EF4-FFF2-40B4-BE49-F238E27FC236}">
                <a16:creationId xmlns:a16="http://schemas.microsoft.com/office/drawing/2014/main" id="{38E4F184-2DF0-FC2D-3A3D-ABFDD46159F8}"/>
              </a:ext>
            </a:extLst>
          </p:cNvPr>
          <p:cNvPicPr>
            <a:picLocks noChangeAspect="1"/>
          </p:cNvPicPr>
          <p:nvPr/>
        </p:nvPicPr>
        <p:blipFill>
          <a:blip r:embed="rId9"/>
          <a:stretch>
            <a:fillRect/>
          </a:stretch>
        </p:blipFill>
        <p:spPr>
          <a:xfrm>
            <a:off x="3660591" y="3765293"/>
            <a:ext cx="997705" cy="256274"/>
          </a:xfrm>
          <a:prstGeom prst="rect">
            <a:avLst/>
          </a:prstGeom>
        </p:spPr>
      </p:pic>
      <p:sp>
        <p:nvSpPr>
          <p:cNvPr id="11" name="Rectangle 10">
            <a:extLst>
              <a:ext uri="{FF2B5EF4-FFF2-40B4-BE49-F238E27FC236}">
                <a16:creationId xmlns:a16="http://schemas.microsoft.com/office/drawing/2014/main" id="{DCDF0A8D-27A4-0226-E8D8-8291B32C19B1}"/>
              </a:ext>
            </a:extLst>
          </p:cNvPr>
          <p:cNvSpPr/>
          <p:nvPr/>
        </p:nvSpPr>
        <p:spPr>
          <a:xfrm>
            <a:off x="4548188" y="6622060"/>
            <a:ext cx="7560000"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2" name="Tableau 11">
            <a:extLst>
              <a:ext uri="{FF2B5EF4-FFF2-40B4-BE49-F238E27FC236}">
                <a16:creationId xmlns:a16="http://schemas.microsoft.com/office/drawing/2014/main" id="{0A45BEEE-9370-373D-E058-3DE30F8E79C9}"/>
              </a:ext>
            </a:extLst>
          </p:cNvPr>
          <p:cNvGraphicFramePr>
            <a:graphicFrameLocks noGrp="1"/>
          </p:cNvGraphicFramePr>
          <p:nvPr>
            <p:extLst>
              <p:ext uri="{D42A27DB-BD31-4B8C-83A1-F6EECF244321}">
                <p14:modId xmlns:p14="http://schemas.microsoft.com/office/powerpoint/2010/main" val="472878671"/>
              </p:ext>
            </p:extLst>
          </p:nvPr>
        </p:nvGraphicFramePr>
        <p:xfrm>
          <a:off x="11573843" y="6448543"/>
          <a:ext cx="208280" cy="304800"/>
        </p:xfrm>
        <a:graphic>
          <a:graphicData uri="http://schemas.openxmlformats.org/drawingml/2006/table">
            <a:tbl>
              <a:tblPr/>
              <a:tblGrid>
                <a:gridCol w="208280">
                  <a:extLst>
                    <a:ext uri="{9D8B030D-6E8A-4147-A177-3AD203B41FA5}">
                      <a16:colId xmlns:a16="http://schemas.microsoft.com/office/drawing/2014/main" val="1723452528"/>
                    </a:ext>
                  </a:extLst>
                </a:gridCol>
              </a:tblGrid>
              <a:tr h="0">
                <a:tc>
                  <a:txBody>
                    <a:bodyPr/>
                    <a:lstStyle/>
                    <a:p>
                      <a:endParaRPr lang="fr-F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9053379"/>
                  </a:ext>
                </a:extLst>
              </a:tr>
            </a:tbl>
          </a:graphicData>
        </a:graphic>
      </p:graphicFrame>
      <p:pic>
        <p:nvPicPr>
          <p:cNvPr id="29" name="Image 28">
            <a:extLst>
              <a:ext uri="{FF2B5EF4-FFF2-40B4-BE49-F238E27FC236}">
                <a16:creationId xmlns:a16="http://schemas.microsoft.com/office/drawing/2014/main" id="{6FF8758F-202B-2C9B-3456-30395113F3EF}"/>
              </a:ext>
            </a:extLst>
          </p:cNvPr>
          <p:cNvPicPr>
            <a:picLocks/>
          </p:cNvPicPr>
          <p:nvPr/>
        </p:nvPicPr>
        <p:blipFill>
          <a:blip r:embed="rId10">
            <a:extLst>
              <a:ext uri="{28A0092B-C50C-407E-A947-70E740481C1C}">
                <a14:useLocalDpi xmlns:a14="http://schemas.microsoft.com/office/drawing/2010/main" val="0"/>
              </a:ext>
            </a:extLst>
          </a:blip>
          <a:srcRect t="962" b="962"/>
          <a:stretch/>
        </p:blipFill>
        <p:spPr>
          <a:xfrm>
            <a:off x="10227256" y="171123"/>
            <a:ext cx="468000" cy="612000"/>
          </a:xfrm>
          <a:prstGeom prst="rect">
            <a:avLst/>
          </a:prstGeom>
        </p:spPr>
      </p:pic>
    </p:spTree>
    <p:extLst>
      <p:ext uri="{BB962C8B-B14F-4D97-AF65-F5344CB8AC3E}">
        <p14:creationId xmlns:p14="http://schemas.microsoft.com/office/powerpoint/2010/main" val="18425834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DB7EC-3599-C559-2847-18C9EFCD885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AFEE6C69-7897-49F0-7AEF-DEC38AEB483B}"/>
              </a:ext>
            </a:extLst>
          </p:cNvPr>
          <p:cNvSpPr txBox="1">
            <a:spLocks/>
          </p:cNvSpPr>
          <p:nvPr/>
        </p:nvSpPr>
        <p:spPr>
          <a:xfrm>
            <a:off x="475487" y="415803"/>
            <a:ext cx="10356303" cy="470898"/>
          </a:xfrm>
          <a:prstGeom prst="rect">
            <a:avLst/>
          </a:prstGeom>
        </p:spPr>
        <p:txBody>
          <a:bodyPr vert="horz" wrap="square" lIns="0" tIns="0" rIns="0" bIns="0" rtlCol="0" anchor="t" anchorCtr="0">
            <a:spAutoFit/>
          </a:bodyPr>
          <a:lstStyle>
            <a:lvl1pPr algn="l" defTabSz="914333" rtl="0" eaLnBrk="1" latinLnBrk="0" hangingPunct="1">
              <a:lnSpc>
                <a:spcPct val="90000"/>
              </a:lnSpc>
              <a:spcBef>
                <a:spcPct val="0"/>
              </a:spcBef>
              <a:buNone/>
              <a:defRPr sz="1500" b="1" kern="1200">
                <a:solidFill>
                  <a:schemeClr val="accent5"/>
                </a:solidFill>
                <a:latin typeface="Montserrat" panose="00000500000000000000" pitchFamily="2" charset="0"/>
                <a:ea typeface="+mj-ea"/>
                <a:cs typeface="+mj-cs"/>
              </a:defRPr>
            </a:lvl1pPr>
          </a:lstStyle>
          <a:p>
            <a:pPr>
              <a:buClrTx/>
              <a:buFontTx/>
            </a:pPr>
            <a:r>
              <a:rPr lang="fr-FR" sz="2000">
                <a:solidFill>
                  <a:srgbClr val="43358B"/>
                </a:solidFill>
                <a:latin typeface="Arial Black" panose="020B0A04020102020204" pitchFamily="34" charset="0"/>
              </a:rPr>
              <a:t>Simone NERI</a:t>
            </a:r>
          </a:p>
          <a:p>
            <a:pPr>
              <a:buClrTx/>
              <a:buFontTx/>
            </a:pPr>
            <a:r>
              <a:rPr lang="fr-FR" sz="1400" b="0">
                <a:solidFill>
                  <a:schemeClr val="bg2"/>
                </a:solidFill>
                <a:latin typeface="Arial Black" panose="020B0A04020102020204" pitchFamily="34" charset="0"/>
              </a:rPr>
              <a:t>Senior Manager (16 ans d’expérience)</a:t>
            </a:r>
            <a:endParaRPr lang="fr-FR" sz="1800" b="0">
              <a:solidFill>
                <a:schemeClr val="bg2"/>
              </a:solidFill>
              <a:latin typeface="Arial Black" panose="020B0A04020102020204" pitchFamily="34" charset="0"/>
            </a:endParaRPr>
          </a:p>
        </p:txBody>
      </p:sp>
      <p:sp>
        <p:nvSpPr>
          <p:cNvPr id="3" name="Espace réservé du contenu 7">
            <a:extLst>
              <a:ext uri="{FF2B5EF4-FFF2-40B4-BE49-F238E27FC236}">
                <a16:creationId xmlns:a16="http://schemas.microsoft.com/office/drawing/2014/main" id="{FC466FF3-69E1-489D-8492-1C11425BD16C}"/>
              </a:ext>
            </a:extLst>
          </p:cNvPr>
          <p:cNvSpPr txBox="1">
            <a:spLocks/>
          </p:cNvSpPr>
          <p:nvPr/>
        </p:nvSpPr>
        <p:spPr>
          <a:xfrm>
            <a:off x="333124" y="1019240"/>
            <a:ext cx="11739813" cy="602714"/>
          </a:xfrm>
          <a:prstGeom prst="rect">
            <a:avLst/>
          </a:prstGeom>
          <a:noFill/>
          <a:ln>
            <a:solidFill>
              <a:srgbClr val="43358B"/>
            </a:solidFill>
          </a:ln>
        </p:spPr>
        <p:txBody>
          <a:bodyPr vert="horz" lIns="96000" tIns="96000" rIns="96000" bIns="96000" rtlCol="0" anchor="ctr">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spcBef>
                <a:spcPts val="0"/>
              </a:spcBef>
              <a:buClr>
                <a:srgbClr val="0070C0"/>
              </a:buClr>
              <a:buNone/>
              <a:defRPr/>
            </a:pPr>
            <a:r>
              <a:rPr lang="fr-FR" sz="1133">
                <a:solidFill>
                  <a:srgbClr val="0070C0"/>
                </a:solidFill>
                <a:latin typeface="+mj-lt"/>
              </a:rPr>
              <a:t>Grâce à sa double expérience Métier et Conseil, Simone a acquis de fortes compétences dans le domaine du transport, en particulier sur la gestion des ressources d’exploitation. Il sait piloter des projets de transformation complexes, suggérer la trajectoire et animer les parties prenantes. Il a par le passé travaillé dans 2 EF privées en Italie, Veolia cargo Italia et Captrain Italia</a:t>
            </a:r>
            <a:r>
              <a:rPr lang="fr-FR" sz="1133">
                <a:solidFill>
                  <a:schemeClr val="tx1"/>
                </a:solidFill>
                <a:latin typeface="+mj-lt"/>
              </a:rPr>
              <a:t>.</a:t>
            </a:r>
          </a:p>
        </p:txBody>
      </p:sp>
      <p:graphicFrame>
        <p:nvGraphicFramePr>
          <p:cNvPr id="5" name="Tableau 4">
            <a:extLst>
              <a:ext uri="{FF2B5EF4-FFF2-40B4-BE49-F238E27FC236}">
                <a16:creationId xmlns:a16="http://schemas.microsoft.com/office/drawing/2014/main" id="{23C91FC6-AA19-F227-3A53-EB9801CD6640}"/>
              </a:ext>
            </a:extLst>
          </p:cNvPr>
          <p:cNvGraphicFramePr>
            <a:graphicFrameLocks noGrp="1"/>
          </p:cNvGraphicFramePr>
          <p:nvPr>
            <p:extLst>
              <p:ext uri="{D42A27DB-BD31-4B8C-83A1-F6EECF244321}">
                <p14:modId xmlns:p14="http://schemas.microsoft.com/office/powerpoint/2010/main" val="2868329269"/>
              </p:ext>
            </p:extLst>
          </p:nvPr>
        </p:nvGraphicFramePr>
        <p:xfrm>
          <a:off x="4559239" y="1637837"/>
          <a:ext cx="7348600" cy="5495228"/>
        </p:xfrm>
        <a:graphic>
          <a:graphicData uri="http://schemas.openxmlformats.org/drawingml/2006/table">
            <a:tbl>
              <a:tblPr firstRow="1" bandRow="1">
                <a:tableStyleId>{2D5ABB26-0587-4C30-8999-92F81FD0307C}</a:tableStyleId>
              </a:tblPr>
              <a:tblGrid>
                <a:gridCol w="6360983">
                  <a:extLst>
                    <a:ext uri="{9D8B030D-6E8A-4147-A177-3AD203B41FA5}">
                      <a16:colId xmlns:a16="http://schemas.microsoft.com/office/drawing/2014/main" val="1537716266"/>
                    </a:ext>
                  </a:extLst>
                </a:gridCol>
                <a:gridCol w="987617">
                  <a:extLst>
                    <a:ext uri="{9D8B030D-6E8A-4147-A177-3AD203B41FA5}">
                      <a16:colId xmlns:a16="http://schemas.microsoft.com/office/drawing/2014/main" val="1484638934"/>
                    </a:ext>
                  </a:extLst>
                </a:gridCol>
              </a:tblGrid>
              <a:tr h="380739">
                <a:tc gridSpan="2">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400" b="1" kern="1200">
                          <a:solidFill>
                            <a:srgbClr val="43358B"/>
                          </a:solidFill>
                          <a:latin typeface="+mj-lt"/>
                          <a:ea typeface="+mn-ea"/>
                          <a:cs typeface="+mn-cs"/>
                        </a:rPr>
                        <a:t>Expériences pertinentes</a:t>
                      </a:r>
                    </a:p>
                  </a:txBody>
                  <a:tcPr marL="112541" marR="112541" marT="56271" marB="56271">
                    <a:lnB w="12700" cap="flat" cmpd="sng" algn="ctr">
                      <a:solidFill>
                        <a:srgbClr val="43358B"/>
                      </a:solidFill>
                      <a:prstDash val="solid"/>
                      <a:round/>
                      <a:headEnd type="none" w="med" len="med"/>
                      <a:tailEnd type="none" w="med" len="med"/>
                    </a:lnB>
                  </a:tcPr>
                </a:tc>
                <a:tc hMerge="1">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endParaRPr lang="fr-FR" sz="1050" b="1" kern="1200">
                        <a:solidFill>
                          <a:srgbClr val="43358B"/>
                        </a:solidFill>
                        <a:latin typeface="Montserrat" panose="00000500000000000000" pitchFamily="2" charset="0"/>
                        <a:ea typeface="+mn-ea"/>
                        <a:cs typeface="+mn-cs"/>
                      </a:endParaRPr>
                    </a:p>
                  </a:txBody>
                  <a:tcPr marL="84406" marR="84406" marT="42203" marB="42203">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28455178"/>
                  </a:ext>
                </a:extLst>
              </a:tr>
              <a:tr h="238428">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RATP RER – Aide à la conduite de projet</a:t>
                      </a: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2023</a:t>
                      </a:r>
                    </a:p>
                  </a:txBody>
                  <a:tcPr marL="0" marR="0" marT="48000" marB="60960" anchor="ctr">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406551106"/>
                  </a:ext>
                </a:extLst>
              </a:tr>
              <a:tr h="491620">
                <a:tc gridSpan="2">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Structuration des chantiers projet, de leur planning et des rôles et responsabilité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Création et animation de la comitologie</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Gestion de la relation avec l’éditeur GIRO</a:t>
                      </a:r>
                    </a:p>
                  </a:txBody>
                  <a:tcPr marL="121920" marR="96000" marT="96000" marB="0">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tc hMerge="1">
                  <a:txBody>
                    <a:bodyPr/>
                    <a:lstStyle/>
                    <a:p>
                      <a:pPr marL="2745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a:ln>
                          <a:noFill/>
                        </a:ln>
                        <a:solidFill>
                          <a:schemeClr val="bg2">
                            <a:lumMod val="10000"/>
                          </a:schemeClr>
                        </a:solidFill>
                        <a:effectLst/>
                        <a:uLnTx/>
                        <a:uFillTx/>
                        <a:latin typeface="Montserrat" panose="00000500000000000000" pitchFamily="2" charset="0"/>
                        <a:ea typeface="+mn-ea"/>
                        <a:cs typeface="+mn-cs"/>
                      </a:endParaRPr>
                    </a:p>
                  </a:txBody>
                  <a:tcPr marL="0" marR="0" marT="36000" anchor="ctr">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2543435532"/>
                  </a:ext>
                </a:extLst>
              </a:tr>
              <a:tr h="238428">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KEOLIS – Accompagnement formalisation Comité Des Engagement sur le choix des outils d’exploitation</a:t>
                      </a:r>
                    </a:p>
                  </a:txBody>
                  <a:tcPr marL="121920" marR="96000" marT="96000" marB="0">
                    <a:lnT w="12700" cap="flat" cmpd="sng" algn="ctr">
                      <a:solidFill>
                        <a:srgbClr val="43358B"/>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2023</a:t>
                      </a:r>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2280561566"/>
                  </a:ext>
                </a:extLst>
              </a:tr>
              <a:tr h="457675">
                <a:tc gridSpan="2">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Cadrage de la démarche de travail</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réparation et réalisation des interviews des parties prenante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Formalisation du dossier pour présentation en CDE</a:t>
                      </a:r>
                    </a:p>
                  </a:txBody>
                  <a:tcPr marL="121920" marR="121920" marT="0" marB="60960">
                    <a:lnB w="12700" cap="flat" cmpd="sng" algn="ctr">
                      <a:solidFill>
                        <a:srgbClr val="43358B"/>
                      </a:solidFill>
                      <a:prstDash val="solid"/>
                      <a:round/>
                      <a:headEnd type="none" w="med" len="med"/>
                      <a:tailEnd type="none" w="med" len="med"/>
                    </a:lnB>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4144559711"/>
                  </a:ext>
                </a:extLst>
              </a:tr>
              <a:tr h="238428">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SNCF TER – Aide à la conduite de projet – Projet OSCAR</a:t>
                      </a:r>
                    </a:p>
                  </a:txBody>
                  <a:tcPr marL="121920" marR="96000" marT="96000" marB="0">
                    <a:lnT w="12700" cap="flat" cmpd="sng" algn="ctr">
                      <a:solidFill>
                        <a:srgbClr val="43358B"/>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2019 / 2022</a:t>
                      </a:r>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223544242"/>
                  </a:ext>
                </a:extLst>
              </a:tr>
              <a:tr h="481898">
                <a:tc gridSpan="2">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ilotage du projet de transformation métier et de mise en œuvre de la solution HASTU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Suivi du planning, des risques et réalisation de la comitologie</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Amélioration continue de l’animation des équipes (Conception fonctionnelle, SI et Déploiement)</a:t>
                      </a:r>
                    </a:p>
                  </a:txBody>
                  <a:tcPr marL="121920" marR="121920" marT="0" marB="60960">
                    <a:lnB w="12700" cap="flat" cmpd="sng" algn="ctr">
                      <a:solidFill>
                        <a:schemeClr val="bg2"/>
                      </a:solidFill>
                      <a:prstDash val="solid"/>
                      <a:round/>
                      <a:headEnd type="none" w="med" len="med"/>
                      <a:tailEnd type="none" w="med" len="med"/>
                    </a:lnB>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tc>
                <a:extLst>
                  <a:ext uri="{0D108BD9-81ED-4DB2-BD59-A6C34878D82A}">
                    <a16:rowId xmlns:a16="http://schemas.microsoft.com/office/drawing/2014/main" val="3064491086"/>
                  </a:ext>
                </a:extLst>
              </a:tr>
              <a:tr h="266505">
                <a:tc>
                  <a:txBody>
                    <a:bodyPr/>
                    <a:lstStyle/>
                    <a:p>
                      <a:pPr marR="0" algn="l" rtl="0">
                        <a:lnSpc>
                          <a:spcPct val="100000"/>
                        </a:lnSpc>
                        <a:spcBef>
                          <a:spcPts val="0"/>
                        </a:spcBef>
                        <a:spcAft>
                          <a:spcPts val="0"/>
                        </a:spcAft>
                        <a:buClr>
                          <a:srgbClr val="000000"/>
                        </a:buClr>
                        <a:buFont typeface="Arial"/>
                      </a:pPr>
                      <a:r>
                        <a:rPr lang="fr-FR" sz="900" b="1" i="0" u="none" strike="noStrike" cap="none">
                          <a:solidFill>
                            <a:srgbClr val="000000"/>
                          </a:solidFill>
                          <a:latin typeface="+mn-lt"/>
                          <a:ea typeface="+mn-ea"/>
                          <a:cs typeface="+mn-cs"/>
                          <a:sym typeface="Arial"/>
                        </a:rPr>
                        <a:t>SNCF TRANSILIEN – Accompagnement AO, Cadrage projet et Réalisation – Projet NET</a:t>
                      </a:r>
                    </a:p>
                  </a:txBody>
                  <a:tcPr marL="121920" marR="96000" marT="96000" marB="0">
                    <a:lnT w="12700" cap="flat" cmpd="sng" algn="ctr">
                      <a:solidFill>
                        <a:schemeClr val="bg2"/>
                      </a:solidFill>
                      <a:prstDash val="solid"/>
                      <a:round/>
                      <a:headEnd type="none" w="med" len="med"/>
                      <a:tailEnd type="none" w="med" len="med"/>
                    </a:lnT>
                  </a:tcPr>
                </a:tc>
                <a:tc>
                  <a:txBody>
                    <a:bodyPr/>
                    <a:lstStyle/>
                    <a:p>
                      <a:r>
                        <a:rPr lang="fr-FR" sz="900" b="0" i="0" u="none" strike="noStrike" kern="1200" cap="none">
                          <a:solidFill>
                            <a:schemeClr val="bg2">
                              <a:lumMod val="10000"/>
                            </a:schemeClr>
                          </a:solidFill>
                          <a:latin typeface="+mn-lt"/>
                          <a:ea typeface="+mn-ea"/>
                          <a:cs typeface="+mn-cs"/>
                          <a:sym typeface="Arial"/>
                        </a:rPr>
                        <a:t>2017/2019</a:t>
                      </a:r>
                    </a:p>
                  </a:txBody>
                  <a:tcPr marL="0" marR="0" marT="48000" marB="6096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03355738"/>
                  </a:ext>
                </a:extLst>
              </a:tr>
              <a:tr h="624493">
                <a:tc gridSpan="2">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ilotage de l’appel d’offres d’un progiciel de type AP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Définition et mise en œuvre de la méthodologie projet</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Accompagnement au paramétrage et déploiement de HASTUS</a:t>
                      </a:r>
                    </a:p>
                    <a:p>
                      <a:pPr marL="0" marR="0" lvl="0" indent="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None/>
                        <a:tabLst/>
                        <a:defRPr/>
                      </a:pPr>
                      <a:endPar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endParaRPr>
                    </a:p>
                  </a:txBody>
                  <a:tcPr marL="121920" marR="96000" marT="96000" marB="0">
                    <a:lnB w="12700" cap="flat" cmpd="sng" algn="ctr">
                      <a:solidFill>
                        <a:schemeClr val="bg2"/>
                      </a:solidFill>
                      <a:prstDash val="solid"/>
                      <a:round/>
                      <a:headEnd type="none" w="med" len="med"/>
                      <a:tailEnd type="none" w="med" len="med"/>
                    </a:lnB>
                  </a:tcPr>
                </a:tc>
                <a:tc hMerge="1">
                  <a:txBody>
                    <a:bodyPr/>
                    <a:lstStyle/>
                    <a:p>
                      <a:pPr marL="2745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a:ln>
                          <a:noFill/>
                        </a:ln>
                        <a:solidFill>
                          <a:schemeClr val="bg2">
                            <a:lumMod val="10000"/>
                          </a:schemeClr>
                        </a:solidFill>
                        <a:effectLst/>
                        <a:uLnTx/>
                        <a:uFillTx/>
                        <a:latin typeface="Montserrat" panose="00000500000000000000" pitchFamily="2" charset="0"/>
                        <a:ea typeface="+mn-ea"/>
                        <a:cs typeface="+mn-cs"/>
                      </a:endParaRPr>
                    </a:p>
                  </a:txBody>
                  <a:tcPr marL="0" marR="0" marT="36000" anchor="ctr"/>
                </a:tc>
                <a:extLst>
                  <a:ext uri="{0D108BD9-81ED-4DB2-BD59-A6C34878D82A}">
                    <a16:rowId xmlns:a16="http://schemas.microsoft.com/office/drawing/2014/main" val="2360670603"/>
                  </a:ext>
                </a:extLst>
              </a:tr>
              <a:tr h="302401">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SNCF RESEAU – PMO/AMO – Outil de suivi de la production des sillons et des travaux (KP)</a:t>
                      </a:r>
                    </a:p>
                  </a:txBody>
                  <a:tcPr marL="121920" marR="96000" marT="96000" marB="0">
                    <a:lnT w="12700" cap="flat" cmpd="sng" algn="ctr">
                      <a:solidFill>
                        <a:schemeClr val="bg2"/>
                      </a:solidFill>
                      <a:prstDash val="solid"/>
                      <a:round/>
                      <a:headEnd type="none" w="med" len="med"/>
                      <a:tailEnd type="none" w="med" len="med"/>
                    </a:lnT>
                  </a:tcPr>
                </a:tc>
                <a:tc>
                  <a:txBody>
                    <a:bodyPr/>
                    <a:lstStyle/>
                    <a:p>
                      <a:r>
                        <a:rPr lang="fr-FR" sz="900" b="0" i="0" u="none" strike="noStrike" kern="1200" cap="none">
                          <a:solidFill>
                            <a:schemeClr val="bg2">
                              <a:lumMod val="10000"/>
                            </a:schemeClr>
                          </a:solidFill>
                          <a:latin typeface="+mn-lt"/>
                          <a:ea typeface="+mn-ea"/>
                          <a:cs typeface="+mn-cs"/>
                          <a:sym typeface="Arial"/>
                        </a:rPr>
                        <a:t>2016</a:t>
                      </a:r>
                    </a:p>
                  </a:txBody>
                  <a:tcPr marL="0" marR="0" marT="48000" marB="6096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562360220"/>
                  </a:ext>
                </a:extLst>
              </a:tr>
              <a:tr h="516730">
                <a:tc gridSpan="2">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ilotage et synchronisation des plannings SI et Métier</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articipations aux instances Métier pour définition et formalisation des besoin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Réalisation du plan des formations et accompagnement à la conduite du changement</a:t>
                      </a:r>
                    </a:p>
                  </a:txBody>
                  <a:tcPr marL="121920" marR="121920" marT="0" marB="60960">
                    <a:lnB w="12700" cap="flat" cmpd="sng" algn="ctr">
                      <a:solidFill>
                        <a:schemeClr val="bg2"/>
                      </a:solidFill>
                      <a:prstDash val="solid"/>
                      <a:round/>
                      <a:headEnd type="none" w="med" len="med"/>
                      <a:tailEnd type="none" w="med" len="med"/>
                    </a:lnB>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tc>
                <a:extLst>
                  <a:ext uri="{0D108BD9-81ED-4DB2-BD59-A6C34878D82A}">
                    <a16:rowId xmlns:a16="http://schemas.microsoft.com/office/drawing/2014/main" val="4111189264"/>
                  </a:ext>
                </a:extLst>
              </a:tr>
              <a:tr h="428557">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SNCF TRANSILIEN : Rédaction d’un Cahier des Charges pour étudier l’adéquation des solutions du marché au besoin de Transilien d’outiller la partie Étude roulements</a:t>
                      </a:r>
                    </a:p>
                  </a:txBody>
                  <a:tcPr marL="121920" marR="96000" marT="96000" marB="0">
                    <a:lnT w="12700" cap="flat" cmpd="sng" algn="ctr">
                      <a:solidFill>
                        <a:schemeClr val="bg2"/>
                      </a:solidFill>
                      <a:prstDash val="solid"/>
                      <a:round/>
                      <a:headEnd type="none" w="med" len="med"/>
                      <a:tailEnd type="none" w="med" len="med"/>
                    </a:lnT>
                  </a:tcPr>
                </a:tc>
                <a:tc>
                  <a:txBody>
                    <a:bodyPr/>
                    <a:lstStyle/>
                    <a:p>
                      <a:r>
                        <a:rPr lang="fr-FR" sz="900" b="0" i="0" u="none" strike="noStrike" kern="1200" cap="none">
                          <a:solidFill>
                            <a:schemeClr val="bg2">
                              <a:lumMod val="10000"/>
                            </a:schemeClr>
                          </a:solidFill>
                          <a:latin typeface="+mn-lt"/>
                          <a:ea typeface="+mn-ea"/>
                          <a:cs typeface="+mn-cs"/>
                          <a:sym typeface="Arial"/>
                        </a:rPr>
                        <a:t>2015</a:t>
                      </a:r>
                    </a:p>
                  </a:txBody>
                  <a:tcPr marL="0" marR="0" marT="48000" marB="60960">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471460427"/>
                  </a:ext>
                </a:extLst>
              </a:tr>
              <a:tr h="743195">
                <a:tc gridSpan="2">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Formalisation du processus de Conception des roulement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Identifications des contraintes des Agents ainsi que du Matériel roulant</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Clarification des prérequis techniques et des prestations complémentaires</a:t>
                      </a:r>
                    </a:p>
                  </a:txBody>
                  <a:tcPr marL="121920" marR="121920" marT="0" marB="60960"/>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tc>
                <a:extLst>
                  <a:ext uri="{0D108BD9-81ED-4DB2-BD59-A6C34878D82A}">
                    <a16:rowId xmlns:a16="http://schemas.microsoft.com/office/drawing/2014/main" val="3283685594"/>
                  </a:ext>
                </a:extLst>
              </a:tr>
            </a:tbl>
          </a:graphicData>
        </a:graphic>
      </p:graphicFrame>
      <p:pic>
        <p:nvPicPr>
          <p:cNvPr id="7" name="Graphique 65" descr="Calendrier journalier">
            <a:extLst>
              <a:ext uri="{FF2B5EF4-FFF2-40B4-BE49-F238E27FC236}">
                <a16:creationId xmlns:a16="http://schemas.microsoft.com/office/drawing/2014/main" id="{0482B796-A1B5-75DC-EA4C-50AED882A43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9207" y="2037675"/>
            <a:ext cx="234979" cy="234979"/>
          </a:xfrm>
          <a:prstGeom prst="rect">
            <a:avLst/>
          </a:prstGeom>
        </p:spPr>
      </p:pic>
      <p:graphicFrame>
        <p:nvGraphicFramePr>
          <p:cNvPr id="28" name="Tableau 27">
            <a:extLst>
              <a:ext uri="{FF2B5EF4-FFF2-40B4-BE49-F238E27FC236}">
                <a16:creationId xmlns:a16="http://schemas.microsoft.com/office/drawing/2014/main" id="{325430F4-DFF6-4179-6403-420FC4DA74C7}"/>
              </a:ext>
            </a:extLst>
          </p:cNvPr>
          <p:cNvGraphicFramePr>
            <a:graphicFrameLocks noGrp="1"/>
          </p:cNvGraphicFramePr>
          <p:nvPr>
            <p:extLst>
              <p:ext uri="{D42A27DB-BD31-4B8C-83A1-F6EECF244321}">
                <p14:modId xmlns:p14="http://schemas.microsoft.com/office/powerpoint/2010/main" val="3622530480"/>
              </p:ext>
            </p:extLst>
          </p:nvPr>
        </p:nvGraphicFramePr>
        <p:xfrm>
          <a:off x="333125" y="1724365"/>
          <a:ext cx="3493809" cy="5251940"/>
        </p:xfrm>
        <a:graphic>
          <a:graphicData uri="http://schemas.openxmlformats.org/drawingml/2006/table">
            <a:tbl>
              <a:tblPr firstRow="1" bandRow="1"/>
              <a:tblGrid>
                <a:gridCol w="1752768">
                  <a:extLst>
                    <a:ext uri="{9D8B030D-6E8A-4147-A177-3AD203B41FA5}">
                      <a16:colId xmlns:a16="http://schemas.microsoft.com/office/drawing/2014/main" val="2856406043"/>
                    </a:ext>
                  </a:extLst>
                </a:gridCol>
                <a:gridCol w="1741041">
                  <a:extLst>
                    <a:ext uri="{9D8B030D-6E8A-4147-A177-3AD203B41FA5}">
                      <a16:colId xmlns:a16="http://schemas.microsoft.com/office/drawing/2014/main" val="1435566215"/>
                    </a:ext>
                  </a:extLst>
                </a:gridCol>
              </a:tblGrid>
              <a:tr h="27370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5398B"/>
                          </a:solidFill>
                          <a:latin typeface="+mn-lt"/>
                          <a:ea typeface="+mn-ea"/>
                          <a:cs typeface="+mn-cs"/>
                        </a:rPr>
                        <a:t>Formations</a:t>
                      </a:r>
                    </a:p>
                  </a:txBody>
                  <a:tcPr marL="45720" marR="4572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20408E"/>
                        </a:solidFill>
                        <a:latin typeface="+mn-lt"/>
                        <a:ea typeface="+mn-ea"/>
                        <a:cs typeface="+mn-cs"/>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1204566"/>
                  </a:ext>
                </a:extLst>
              </a:tr>
              <a:tr h="0">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914400" rtl="0" eaLnBrk="1" fontAlgn="auto" latinLnBrk="0" hangingPunct="1">
                        <a:lnSpc>
                          <a:spcPct val="100000"/>
                        </a:lnSpc>
                        <a:spcBef>
                          <a:spcPts val="600"/>
                        </a:spcBef>
                        <a:spcAft>
                          <a:spcPts val="0"/>
                        </a:spcAft>
                        <a:buClr>
                          <a:schemeClr val="tx2"/>
                        </a:buClr>
                        <a:buSzTx/>
                        <a:buFont typeface="Wingdings" panose="05000000000000000000" pitchFamily="2" charset="2"/>
                        <a:buNone/>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Ingénieur - </a:t>
                      </a:r>
                      <a:r>
                        <a:rPr kumimoji="0" lang="fr-FR" sz="1000" b="1" i="0" u="none" strike="noStrike" kern="1200" cap="none" spc="0" normalizeH="0" baseline="0" noProof="0">
                          <a:ln>
                            <a:noFill/>
                          </a:ln>
                          <a:solidFill>
                            <a:srgbClr val="000000"/>
                          </a:solidFill>
                          <a:effectLst/>
                          <a:uLnTx/>
                          <a:uFillTx/>
                          <a:latin typeface="+mn-lt"/>
                          <a:ea typeface="+mn-ea"/>
                          <a:cs typeface="+mn-cs"/>
                        </a:rPr>
                        <a:t>Université de Gênes</a:t>
                      </a:r>
                    </a:p>
                    <a:p>
                      <a:pPr marL="180975" marR="0" lvl="0" indent="-1809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Transports et logistique (2012)</a:t>
                      </a:r>
                    </a:p>
                    <a:p>
                      <a:pPr marL="180975" marR="0" lvl="0" indent="-180975"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Génie civil (2008)</a:t>
                      </a:r>
                    </a:p>
                  </a:txBody>
                  <a:tcPr marL="45720" marR="45720">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180975" marR="0" lvl="0" indent="-180975" algn="l" defTabSz="914400" rtl="0" eaLnBrk="1" fontAlgn="auto" latinLnBrk="0" hangingPunct="1">
                        <a:lnSpc>
                          <a:spcPct val="100000"/>
                        </a:lnSpc>
                        <a:spcBef>
                          <a:spcPts val="600"/>
                        </a:spcBef>
                        <a:spcAft>
                          <a:spcPts val="0"/>
                        </a:spcAft>
                        <a:buClr>
                          <a:schemeClr val="tx2"/>
                        </a:buClr>
                        <a:buSzTx/>
                        <a:buFont typeface="Wingdings" panose="05000000000000000000" pitchFamily="2" charset="2"/>
                        <a:buChar char="§"/>
                        <a:tabLst/>
                        <a:defRPr/>
                      </a:pP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45720" marR="4572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1408330"/>
                  </a:ext>
                </a:extLst>
              </a:tr>
              <a:tr h="27370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5398B"/>
                          </a:solidFill>
                          <a:latin typeface="+mn-lt"/>
                          <a:ea typeface="+mn-ea"/>
                          <a:cs typeface="+mn-cs"/>
                        </a:rPr>
                        <a:t>Compétences</a:t>
                      </a:r>
                    </a:p>
                  </a:txBody>
                  <a:tcPr marL="45720" marR="4572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20408E"/>
                        </a:solidFill>
                        <a:latin typeface="+mn-lt"/>
                        <a:ea typeface="+mn-ea"/>
                        <a:cs typeface="+mn-cs"/>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60446002"/>
                  </a:ext>
                </a:extLst>
              </a:tr>
              <a:tr h="218967">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000" b="1" kern="1200">
                          <a:solidFill>
                            <a:srgbClr val="000000"/>
                          </a:solidFill>
                          <a:latin typeface="+mn-lt"/>
                          <a:ea typeface="+mn-ea"/>
                          <a:cs typeface="+mn-cs"/>
                        </a:rPr>
                        <a:t>Compétences méthodologiques</a:t>
                      </a:r>
                      <a:endParaRPr lang="fr-FR" sz="1000" b="1" kern="1200" baseline="0">
                        <a:solidFill>
                          <a:srgbClr val="000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180975" marR="0" lvl="0" indent="-180975"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endParaRPr lang="fr-FR" sz="1000" b="1" kern="1200" baseline="0">
                        <a:solidFill>
                          <a:srgbClr val="000000"/>
                        </a:solidFill>
                        <a:latin typeface="+mn-lt"/>
                        <a:ea typeface="+mn-ea"/>
                        <a:cs typeface="+mn-cs"/>
                      </a:endParaRPr>
                    </a:p>
                  </a:txBody>
                  <a:tcPr marL="45720" marR="45720">
                    <a:lnL>
                      <a:noFill/>
                    </a:lnL>
                    <a:lnR>
                      <a:noFill/>
                    </a:lnR>
                    <a:lnT w="12700" cap="flat" cmpd="sng" algn="ctr">
                      <a:solidFill>
                        <a:schemeClr val="tx2"/>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4310555"/>
                  </a:ext>
                </a:extLst>
              </a:tr>
              <a:tr h="454188">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71450" marR="0" lvl="3" indent="-171450" algn="l" defTabSz="514321"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fr-FR" sz="1000" b="0" kern="1200">
                          <a:solidFill>
                            <a:schemeClr val="tx1"/>
                          </a:solidFill>
                          <a:latin typeface="+mn-lt"/>
                          <a:ea typeface="+mn-ea"/>
                          <a:cs typeface="+mn-cs"/>
                        </a:rPr>
                        <a:t>Cadrage et pilotage de programme</a:t>
                      </a:r>
                    </a:p>
                    <a:p>
                      <a:pPr marL="171450" marR="0" lvl="3" indent="-171450" algn="l" defTabSz="514321"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fr-FR" sz="1000" b="0" kern="1200">
                          <a:solidFill>
                            <a:schemeClr val="tx1"/>
                          </a:solidFill>
                          <a:latin typeface="+mn-lt"/>
                          <a:ea typeface="+mn-ea"/>
                          <a:cs typeface="+mn-cs"/>
                        </a:rPr>
                        <a:t>Pilotage consultation</a:t>
                      </a:r>
                    </a:p>
                  </a:txBody>
                  <a:tcPr marL="45720" marR="45720" anchor="ctr">
                    <a:lnL>
                      <a:noFill/>
                    </a:lnL>
                    <a:lnR w="12700" cap="flat" cmpd="sng" algn="ctr">
                      <a:solidFill>
                        <a:schemeClr val="tx2">
                          <a:lumMod val="20000"/>
                          <a:lumOff val="8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p>
                      <a:pPr marL="171450" marR="0" lvl="3" indent="-171450" algn="l" defTabSz="514321"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fr-FR" sz="1000" b="0" kern="1200">
                          <a:solidFill>
                            <a:schemeClr val="tx1"/>
                          </a:solidFill>
                          <a:latin typeface="+mn-lt"/>
                          <a:ea typeface="+mn-ea"/>
                          <a:cs typeface="+mn-cs"/>
                        </a:rPr>
                        <a:t>Lean Management</a:t>
                      </a:r>
                    </a:p>
                    <a:p>
                      <a:pPr marL="171450" marR="0" lvl="3" indent="-171450" algn="l" defTabSz="514321"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fr-FR" sz="1000" b="0" kern="1200">
                          <a:solidFill>
                            <a:schemeClr val="tx1"/>
                          </a:solidFill>
                          <a:latin typeface="+mn-lt"/>
                          <a:ea typeface="+mn-ea"/>
                          <a:cs typeface="+mn-cs"/>
                        </a:rPr>
                        <a:t>Méthode agile</a:t>
                      </a:r>
                    </a:p>
                  </a:txBody>
                  <a:tcPr marL="45720" marR="45720" anchor="ctr">
                    <a:lnL w="12700" cap="flat" cmpd="sng" algn="ctr">
                      <a:solidFill>
                        <a:schemeClr val="tx2">
                          <a:lumMod val="20000"/>
                          <a:lumOff val="80000"/>
                        </a:scheme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70576448"/>
                  </a:ext>
                </a:extLst>
              </a:tr>
              <a:tr h="218967">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1000" b="1" kern="1200">
                        <a:solidFill>
                          <a:srgbClr val="000000"/>
                        </a:solidFill>
                        <a:latin typeface="+mn-lt"/>
                        <a:ea typeface="+mn-ea"/>
                        <a:cs typeface="+mn-cs"/>
                      </a:endParaRP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000" b="1" kern="1200">
                          <a:solidFill>
                            <a:srgbClr val="000000"/>
                          </a:solidFill>
                          <a:latin typeface="+mn-lt"/>
                          <a:ea typeface="+mn-ea"/>
                          <a:cs typeface="+mn-cs"/>
                        </a:rPr>
                        <a:t>Compétences métier / fonctionnelles</a:t>
                      </a:r>
                    </a:p>
                  </a:txBody>
                  <a:tcPr marL="45720" marR="45720">
                    <a:lnL>
                      <a:noFill/>
                    </a:lnL>
                    <a:lnR>
                      <a:noFill/>
                    </a:lnR>
                    <a:lnT>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180975" marR="0" lvl="0" indent="-180975"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endParaRPr lang="fr-FR" sz="1000" b="1" kern="1200">
                        <a:solidFill>
                          <a:srgbClr val="000000"/>
                        </a:solidFill>
                        <a:latin typeface="+mn-lt"/>
                        <a:ea typeface="+mn-ea"/>
                        <a:cs typeface="+mn-cs"/>
                      </a:endParaRPr>
                    </a:p>
                  </a:txBody>
                  <a:tcPr marL="45720" marR="45720">
                    <a:lnL>
                      <a:noFill/>
                    </a:lnL>
                    <a:lnR>
                      <a:noFill/>
                    </a:lnR>
                    <a:lnT>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17318211"/>
                  </a:ext>
                </a:extLst>
              </a:tr>
              <a:tr h="492676">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71450" marR="0" lvl="0" indent="-171450" algn="l" defTabSz="514321"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fr-FR" sz="1000" b="0" i="0" u="none" strike="noStrike" kern="1200" cap="none">
                          <a:solidFill>
                            <a:schemeClr val="tx1"/>
                          </a:solidFill>
                          <a:latin typeface="+mn-lt"/>
                          <a:ea typeface="+mn-ea"/>
                          <a:cs typeface="+mn-cs"/>
                          <a:sym typeface="Arial"/>
                        </a:rPr>
                        <a:t>Expertise métier ferroviaire</a:t>
                      </a:r>
                    </a:p>
                  </a:txBody>
                  <a:tcPr marL="45720" marR="45720" anchor="ctr">
                    <a:lnL>
                      <a:noFill/>
                    </a:lnL>
                    <a:lnR w="12700" cap="flat" cmpd="sng" algn="ctr">
                      <a:solidFill>
                        <a:schemeClr val="tx2">
                          <a:lumMod val="20000"/>
                          <a:lumOff val="8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p>
                      <a:pPr marL="171450" marR="0" lvl="0" indent="-171450" algn="l" defTabSz="514321" rtl="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lang="fr-FR" sz="1000" b="0" i="0" u="none" strike="noStrike" kern="1200" cap="none">
                          <a:solidFill>
                            <a:schemeClr val="tx1"/>
                          </a:solidFill>
                          <a:latin typeface="+mn-lt"/>
                          <a:ea typeface="+mn-ea"/>
                          <a:cs typeface="+mn-cs"/>
                          <a:sym typeface="Arial"/>
                        </a:rPr>
                        <a:t>Progiciels de planification des ressources</a:t>
                      </a:r>
                    </a:p>
                  </a:txBody>
                  <a:tcPr marL="45720" marR="45720" anchor="ctr">
                    <a:lnL w="12700" cap="flat" cmpd="sng" algn="ctr">
                      <a:solidFill>
                        <a:schemeClr val="tx2">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2011651"/>
                  </a:ext>
                </a:extLst>
              </a:tr>
              <a:tr h="587573">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i="0" u="none" strike="noStrike" kern="1200" cap="none">
                        <a:solidFill>
                          <a:srgbClr val="45398B"/>
                        </a:solidFill>
                        <a:latin typeface="+mn-lt"/>
                        <a:ea typeface="+mn-ea"/>
                        <a:cs typeface="+mn-cs"/>
                        <a:sym typeface="Arial"/>
                      </a:endParaRPr>
                    </a:p>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i="0" u="none" strike="noStrike" kern="1200" cap="none">
                          <a:solidFill>
                            <a:srgbClr val="45398B"/>
                          </a:solidFill>
                          <a:latin typeface="+mn-lt"/>
                          <a:ea typeface="+mn-ea"/>
                          <a:cs typeface="+mn-cs"/>
                          <a:sym typeface="Arial"/>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717550" algn="l"/>
                        </a:tabLst>
                        <a:defRPr/>
                      </a:pPr>
                      <a:r>
                        <a:rPr lang="fr-FR" sz="1000">
                          <a:solidFill>
                            <a:srgbClr val="000000"/>
                          </a:solidFill>
                          <a:latin typeface="+mn-lt"/>
                        </a:rPr>
                        <a:t>Italien :</a:t>
                      </a:r>
                      <a:r>
                        <a:rPr lang="fr-FR" sz="1000" b="0" i="0" u="none" strike="noStrike" cap="none">
                          <a:solidFill>
                            <a:schemeClr val="tx1"/>
                          </a:solidFill>
                          <a:latin typeface="Arial"/>
                          <a:ea typeface="+mn-ea"/>
                          <a:cs typeface="+mn-cs"/>
                          <a:sym typeface="Arial"/>
                        </a:rPr>
                        <a:t>	</a:t>
                      </a:r>
                      <a:r>
                        <a:rPr lang="fr-FR" sz="1000" b="0" i="0" u="none" strike="noStrike" cap="none">
                          <a:solidFill>
                            <a:srgbClr val="0070C0"/>
                          </a:solidFill>
                          <a:latin typeface="Arial"/>
                          <a:ea typeface="+mn-ea"/>
                          <a:cs typeface="+mn-cs"/>
                          <a:sym typeface="Wingdings" panose="05000000000000000000" pitchFamily="2" charset="2"/>
                        </a:rPr>
                        <a:t></a:t>
                      </a:r>
                      <a:endParaRPr lang="fr-FR" sz="1000">
                        <a:solidFill>
                          <a:srgbClr val="0070C0"/>
                        </a:solidFill>
                        <a:latin typeface="+mn-lt"/>
                      </a:endParaRP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717550" algn="l"/>
                        </a:tabLst>
                        <a:defRPr/>
                      </a:pPr>
                      <a:r>
                        <a:rPr lang="fr-FR" sz="1000">
                          <a:solidFill>
                            <a:srgbClr val="000000"/>
                          </a:solidFill>
                          <a:latin typeface="+mn-lt"/>
                        </a:rPr>
                        <a:t>Français :</a:t>
                      </a:r>
                      <a:r>
                        <a:rPr lang="fr-FR" sz="1000">
                          <a:latin typeface="+mn-lt"/>
                        </a:rPr>
                        <a:t>	</a:t>
                      </a:r>
                      <a:r>
                        <a:rPr lang="fr-FR" sz="1000">
                          <a:solidFill>
                            <a:srgbClr val="0070C0"/>
                          </a:solidFill>
                          <a:latin typeface="+mn-lt"/>
                          <a:sym typeface="Wingdings" panose="05000000000000000000" pitchFamily="2" charset="2"/>
                        </a:rPr>
                        <a:t></a:t>
                      </a:r>
                      <a:r>
                        <a:rPr lang="fr-FR" sz="1000" b="0" i="0" u="none" strike="noStrike" cap="none">
                          <a:solidFill>
                            <a:srgbClr val="0070C0"/>
                          </a:solidFill>
                          <a:latin typeface="+mn-lt"/>
                          <a:ea typeface="+mn-ea"/>
                          <a:cs typeface="+mn-cs"/>
                          <a:sym typeface="Wingdings" panose="05000000000000000000" pitchFamily="2" charset="2"/>
                        </a:rPr>
                        <a:t></a:t>
                      </a:r>
                      <a:r>
                        <a:rPr lang="fr-FR" sz="1000" b="0" i="0" u="none" strike="noStrike" cap="none">
                          <a:solidFill>
                            <a:srgbClr val="0070C0"/>
                          </a:solidFill>
                          <a:latin typeface="Arial"/>
                          <a:ea typeface="+mn-ea"/>
                          <a:cs typeface="+mn-cs"/>
                          <a:sym typeface="Wingdings" panose="05000000000000000000" pitchFamily="2" charset="2"/>
                        </a:rPr>
                        <a:t></a:t>
                      </a:r>
                      <a:endParaRPr lang="fr-FR" sz="1000" b="0" i="0" u="none" strike="noStrike" cap="none">
                        <a:solidFill>
                          <a:srgbClr val="0070C0"/>
                        </a:solidFill>
                        <a:latin typeface="+mn-lt"/>
                        <a:ea typeface="+mn-ea"/>
                        <a:cs typeface="+mn-cs"/>
                        <a:sym typeface="Wingdings" panose="05000000000000000000" pitchFamily="2" charset="2"/>
                      </a:endParaRP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tab pos="717550" algn="l"/>
                        </a:tabLst>
                        <a:defRPr/>
                      </a:pPr>
                      <a:r>
                        <a:rPr lang="fr-FR" sz="1000">
                          <a:solidFill>
                            <a:srgbClr val="000000"/>
                          </a:solidFill>
                          <a:latin typeface="+mn-lt"/>
                        </a:rPr>
                        <a:t>Anglais :</a:t>
                      </a:r>
                      <a:r>
                        <a:rPr lang="fr-FR" sz="1000">
                          <a:latin typeface="+mn-lt"/>
                        </a:rPr>
                        <a:t>	</a:t>
                      </a:r>
                      <a:r>
                        <a:rPr lang="fr-FR" sz="1000">
                          <a:solidFill>
                            <a:srgbClr val="0070C0"/>
                          </a:solidFill>
                          <a:latin typeface="+mn-lt"/>
                          <a:sym typeface="Wingdings" panose="05000000000000000000" pitchFamily="2" charset="2"/>
                        </a:rPr>
                        <a:t></a:t>
                      </a:r>
                      <a:r>
                        <a:rPr lang="fr-FR" sz="1000" b="0" i="0" u="none" strike="noStrike" cap="none">
                          <a:solidFill>
                            <a:srgbClr val="0070C0"/>
                          </a:solidFill>
                          <a:latin typeface="+mn-lt"/>
                          <a:ea typeface="+mn-ea"/>
                          <a:cs typeface="+mn-cs"/>
                          <a:sym typeface="Wingdings" panose="05000000000000000000" pitchFamily="2" charset="2"/>
                        </a:rPr>
                        <a:t></a:t>
                      </a:r>
                      <a:r>
                        <a:rPr lang="fr-FR" sz="1000" b="0" i="0" u="none" strike="noStrike" cap="none">
                          <a:solidFill>
                            <a:schemeClr val="tx2">
                              <a:lumMod val="20000"/>
                              <a:lumOff val="80000"/>
                            </a:schemeClr>
                          </a:solidFill>
                          <a:latin typeface="+mn-lt"/>
                          <a:ea typeface="+mn-ea"/>
                          <a:cs typeface="+mn-cs"/>
                          <a:sym typeface="Wingdings" panose="05000000000000000000" pitchFamily="2" charset="2"/>
                        </a:rPr>
                        <a:t></a:t>
                      </a:r>
                      <a:r>
                        <a:rPr lang="fr-FR" sz="1000">
                          <a:solidFill>
                            <a:schemeClr val="tx2">
                              <a:lumMod val="20000"/>
                              <a:lumOff val="80000"/>
                            </a:schemeClr>
                          </a:solidFill>
                          <a:latin typeface="+mn-lt"/>
                          <a:sym typeface="Wingdings" panose="05000000000000000000" pitchFamily="2" charset="2"/>
                        </a:rPr>
                        <a:t></a:t>
                      </a:r>
                    </a:p>
                  </a:txBody>
                  <a:tcPr marL="45720" marR="45720">
                    <a:lnL>
                      <a:noFill/>
                    </a:lnL>
                    <a:lnR>
                      <a:noFill/>
                    </a:lnR>
                    <a:lnT>
                      <a:noFill/>
                    </a:lnT>
                    <a:lnB>
                      <a:noFill/>
                    </a:lnB>
                    <a:lnTlToBr w="12700" cmpd="sng">
                      <a:noFill/>
                      <a:prstDash val="solid"/>
                    </a:lnTlToBr>
                    <a:lnBlToTr w="12700" cmpd="sng">
                      <a:noFill/>
                      <a:prstDash val="solid"/>
                    </a:lnBlToTr>
                    <a:solidFill>
                      <a:srgbClr val="FFFFFF"/>
                    </a:solidFill>
                  </a:tcPr>
                </a:tc>
                <a:tc hMerge="1">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tab pos="717550" algn="l"/>
                        </a:tabLst>
                        <a:defRPr/>
                      </a:pPr>
                      <a:endParaRPr lang="fr-FR" sz="1000">
                        <a:solidFill>
                          <a:schemeClr val="tx2">
                            <a:lumMod val="20000"/>
                            <a:lumOff val="80000"/>
                          </a:schemeClr>
                        </a:solidFill>
                        <a:latin typeface="+mn-lt"/>
                        <a:sym typeface="Wingdings" panose="05000000000000000000" pitchFamily="2" charset="2"/>
                      </a:endParaRPr>
                    </a:p>
                  </a:txBody>
                  <a:tcPr marL="45720" marR="45720">
                    <a:lnL>
                      <a:noFill/>
                    </a:lnL>
                    <a:lnR>
                      <a:noFill/>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718782"/>
                  </a:ext>
                </a:extLst>
              </a:tr>
              <a:tr h="27370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45398B"/>
                        </a:solidFill>
                        <a:latin typeface="+mn-lt"/>
                        <a:ea typeface="+mn-ea"/>
                        <a:cs typeface="+mn-cs"/>
                      </a:endParaRPr>
                    </a:p>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5398B"/>
                          </a:solidFill>
                          <a:latin typeface="+mn-lt"/>
                          <a:ea typeface="+mn-ea"/>
                          <a:cs typeface="+mn-cs"/>
                        </a:rPr>
                        <a:t>Principaux clients</a:t>
                      </a:r>
                    </a:p>
                  </a:txBody>
                  <a:tcPr marL="45720" marR="4572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lang="fr-FR" sz="1400" b="1" kern="1200">
                        <a:solidFill>
                          <a:srgbClr val="20408E"/>
                        </a:solidFill>
                        <a:latin typeface="+mn-lt"/>
                        <a:ea typeface="+mn-ea"/>
                        <a:cs typeface="+mn-cs"/>
                      </a:endParaRPr>
                    </a:p>
                  </a:txBody>
                  <a:tcPr marL="45720" marR="45720">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17742779"/>
                  </a:ext>
                </a:extLst>
              </a:tr>
              <a:tr h="766384">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kumimoji="0" lang="fr-FR" sz="1000" b="0" i="0" u="none" strike="noStrike" kern="1200" cap="none" spc="0" normalizeH="0" baseline="0" noProof="0">
                          <a:ln>
                            <a:noFill/>
                          </a:ln>
                          <a:solidFill>
                            <a:srgbClr val="000000"/>
                          </a:solidFill>
                          <a:effectLst/>
                          <a:uLnTx/>
                          <a:uFillTx/>
                          <a:latin typeface="+mn-lt"/>
                          <a:ea typeface="+mn-ea"/>
                          <a:cs typeface="+mn-cs"/>
                        </a:rPr>
                        <a:t>RATP, SNCF TER, SNCF Transilien, SNCF Réseau, SNCF Fret</a:t>
                      </a:r>
                    </a:p>
                  </a:txBody>
                  <a:tcPr marL="45720" marR="45720">
                    <a:lnL>
                      <a:noFill/>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360000" marR="0" lvl="0" indent="-360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45720" marR="45720">
                    <a:lnL>
                      <a:noFill/>
                    </a:lnL>
                    <a:lnR>
                      <a:noFill/>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801330"/>
                  </a:ext>
                </a:extLst>
              </a:tr>
            </a:tbl>
          </a:graphicData>
        </a:graphic>
      </p:graphicFrame>
      <p:pic>
        <p:nvPicPr>
          <p:cNvPr id="29" name="Graphique 65" descr="Calendrier journalier">
            <a:extLst>
              <a:ext uri="{FF2B5EF4-FFF2-40B4-BE49-F238E27FC236}">
                <a16:creationId xmlns:a16="http://schemas.microsoft.com/office/drawing/2014/main" id="{E26A1F60-CB47-8E92-4344-FDBF4FB3568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9207" y="2776582"/>
            <a:ext cx="234979" cy="234979"/>
          </a:xfrm>
          <a:prstGeom prst="rect">
            <a:avLst/>
          </a:prstGeom>
        </p:spPr>
      </p:pic>
      <p:pic>
        <p:nvPicPr>
          <p:cNvPr id="30" name="Graphique 65" descr="Calendrier journalier">
            <a:extLst>
              <a:ext uri="{FF2B5EF4-FFF2-40B4-BE49-F238E27FC236}">
                <a16:creationId xmlns:a16="http://schemas.microsoft.com/office/drawing/2014/main" id="{EA93F607-D90A-BF1F-092F-F4504908271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9207" y="3507868"/>
            <a:ext cx="234979" cy="234979"/>
          </a:xfrm>
          <a:prstGeom prst="rect">
            <a:avLst/>
          </a:prstGeom>
        </p:spPr>
      </p:pic>
      <p:pic>
        <p:nvPicPr>
          <p:cNvPr id="31" name="Graphique 65" descr="Calendrier journalier">
            <a:extLst>
              <a:ext uri="{FF2B5EF4-FFF2-40B4-BE49-F238E27FC236}">
                <a16:creationId xmlns:a16="http://schemas.microsoft.com/office/drawing/2014/main" id="{4D44A480-EC59-AD19-738D-4D519C89E9F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9207" y="4233582"/>
            <a:ext cx="234979" cy="234979"/>
          </a:xfrm>
          <a:prstGeom prst="rect">
            <a:avLst/>
          </a:prstGeom>
        </p:spPr>
      </p:pic>
      <p:pic>
        <p:nvPicPr>
          <p:cNvPr id="32" name="Graphique 65" descr="Calendrier journalier">
            <a:extLst>
              <a:ext uri="{FF2B5EF4-FFF2-40B4-BE49-F238E27FC236}">
                <a16:creationId xmlns:a16="http://schemas.microsoft.com/office/drawing/2014/main" id="{CD394441-B67D-06E8-62F6-AF6E69EF778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9207" y="5165134"/>
            <a:ext cx="234979" cy="234979"/>
          </a:xfrm>
          <a:prstGeom prst="rect">
            <a:avLst/>
          </a:prstGeom>
        </p:spPr>
      </p:pic>
      <p:pic>
        <p:nvPicPr>
          <p:cNvPr id="33" name="Graphique 65" descr="Calendrier journalier">
            <a:extLst>
              <a:ext uri="{FF2B5EF4-FFF2-40B4-BE49-F238E27FC236}">
                <a16:creationId xmlns:a16="http://schemas.microsoft.com/office/drawing/2014/main" id="{B0CD840E-9E1E-AA89-E777-EB5BD6417E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9207" y="5967542"/>
            <a:ext cx="234979" cy="234979"/>
          </a:xfrm>
          <a:prstGeom prst="rect">
            <a:avLst/>
          </a:prstGeom>
        </p:spPr>
      </p:pic>
      <p:pic>
        <p:nvPicPr>
          <p:cNvPr id="2050" name="Picture 2" descr="Présentation KEOLIS">
            <a:extLst>
              <a:ext uri="{FF2B5EF4-FFF2-40B4-BE49-F238E27FC236}">
                <a16:creationId xmlns:a16="http://schemas.microsoft.com/office/drawing/2014/main" id="{12FB3EDA-76F9-ED54-718F-0F408E8548A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481" t="27940" r="11460" b="24753"/>
          <a:stretch/>
        </p:blipFill>
        <p:spPr bwMode="auto">
          <a:xfrm>
            <a:off x="4030830" y="2851670"/>
            <a:ext cx="524774" cy="15724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Logo-RATP - Fer-play">
            <a:extLst>
              <a:ext uri="{FF2B5EF4-FFF2-40B4-BE49-F238E27FC236}">
                <a16:creationId xmlns:a16="http://schemas.microsoft.com/office/drawing/2014/main" id="{1ECC0582-4EB6-A74C-4490-62FAC82681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10874" y="2134930"/>
            <a:ext cx="564687" cy="38550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75% de réduction sur les trains et autocars TER en Lorraine avec la SNCF  pour les chômeurs et les demandeurs d'emploi">
            <a:extLst>
              <a:ext uri="{FF2B5EF4-FFF2-40B4-BE49-F238E27FC236}">
                <a16:creationId xmlns:a16="http://schemas.microsoft.com/office/drawing/2014/main" id="{DE3AF6C2-F7D1-62F9-AC28-C534E7CCD6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0109" y="3593551"/>
            <a:ext cx="326217" cy="35458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B4113694-B817-133E-C00D-F3EAD802AC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9507" y="4286850"/>
            <a:ext cx="327420" cy="43215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D9DAD584-2171-B6A9-0028-1F932C89B9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19177" y="5276790"/>
            <a:ext cx="349243" cy="24664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a:extLst>
              <a:ext uri="{FF2B5EF4-FFF2-40B4-BE49-F238E27FC236}">
                <a16:creationId xmlns:a16="http://schemas.microsoft.com/office/drawing/2014/main" id="{62FA64E1-D4B3-B67A-3899-D4BC9F9C5D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9507" y="6036413"/>
            <a:ext cx="327420" cy="432159"/>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2B2C8AB1-09B2-D685-4648-33BCEECA158A}"/>
              </a:ext>
            </a:extLst>
          </p:cNvPr>
          <p:cNvPicPr>
            <a:picLocks/>
          </p:cNvPicPr>
          <p:nvPr/>
        </p:nvPicPr>
        <p:blipFill>
          <a:blip r:embed="rId9"/>
          <a:stretch>
            <a:fillRect/>
          </a:stretch>
        </p:blipFill>
        <p:spPr>
          <a:xfrm>
            <a:off x="10221207" y="141282"/>
            <a:ext cx="468000" cy="612000"/>
          </a:xfrm>
          <a:prstGeom prst="rect">
            <a:avLst/>
          </a:prstGeom>
        </p:spPr>
      </p:pic>
    </p:spTree>
    <p:extLst>
      <p:ext uri="{BB962C8B-B14F-4D97-AF65-F5344CB8AC3E}">
        <p14:creationId xmlns:p14="http://schemas.microsoft.com/office/powerpoint/2010/main" val="2989955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6CB09-E64F-2E02-4A4B-AF64A56B5C88}"/>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084B46FB-EF76-6DA6-BAC9-4388B3A948CB}"/>
              </a:ext>
            </a:extLst>
          </p:cNvPr>
          <p:cNvSpPr>
            <a:spLocks noGrp="1"/>
          </p:cNvSpPr>
          <p:nvPr>
            <p:ph type="title"/>
          </p:nvPr>
        </p:nvSpPr>
        <p:spPr>
          <a:xfrm>
            <a:off x="396655" y="152112"/>
            <a:ext cx="9907072" cy="407795"/>
          </a:xfrm>
          <a:solidFill>
            <a:schemeClr val="bg1"/>
          </a:solidFill>
        </p:spPr>
        <p:txBody>
          <a:bodyPr/>
          <a:lstStyle/>
          <a:p>
            <a:r>
              <a:rPr lang="fr-FR" sz="1800"/>
              <a:t>GRÂCE À UNE MÉTHODE ÉPROUVÉE, </a:t>
            </a:r>
            <a:r>
              <a:rPr lang="fr-FR" sz="1800" u="sng"/>
              <a:t>DIAGNOSTIQUER</a:t>
            </a:r>
            <a:r>
              <a:rPr lang="fr-FR" sz="1800"/>
              <a:t> VOS SERVICES DE GESTION ET </a:t>
            </a:r>
            <a:r>
              <a:rPr lang="fr-FR" sz="1800" u="sng"/>
              <a:t>DÉFINIR</a:t>
            </a:r>
            <a:r>
              <a:rPr lang="fr-FR" sz="1800"/>
              <a:t> UNE CIBLE DE TRANSFORMATION ET LA FEUILLE DE ROUTE ASSOCIÉE</a:t>
            </a:r>
            <a:endParaRPr lang="fr-FR" sz="1800" i="1"/>
          </a:p>
        </p:txBody>
      </p:sp>
      <p:sp>
        <p:nvSpPr>
          <p:cNvPr id="55" name="Google Shape;590;p27">
            <a:extLst>
              <a:ext uri="{FF2B5EF4-FFF2-40B4-BE49-F238E27FC236}">
                <a16:creationId xmlns:a16="http://schemas.microsoft.com/office/drawing/2014/main" id="{C0315A4E-E1F9-19A7-1063-B8C3FB0A0D87}"/>
              </a:ext>
            </a:extLst>
          </p:cNvPr>
          <p:cNvSpPr txBox="1"/>
          <p:nvPr/>
        </p:nvSpPr>
        <p:spPr>
          <a:xfrm>
            <a:off x="1433243" y="4463774"/>
            <a:ext cx="2160000" cy="1377086"/>
          </a:xfrm>
          <a:prstGeom prst="rect">
            <a:avLst/>
          </a:prstGeom>
          <a:noFill/>
          <a:ln>
            <a:noFill/>
          </a:ln>
        </p:spPr>
        <p:txBody>
          <a:bodyPr spcFirstLastPara="1" wrap="square" lIns="36000" tIns="36000" rIns="36000" bIns="3600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000" b="0" i="0" u="none" strike="noStrike" kern="0" cap="none" spc="0" normalizeH="0" baseline="0" noProof="0">
                <a:ln>
                  <a:noFill/>
                </a:ln>
                <a:solidFill>
                  <a:srgbClr val="000000"/>
                </a:solidFill>
                <a:effectLst/>
                <a:uLnTx/>
                <a:uFillTx/>
                <a:latin typeface="Arial"/>
                <a:ea typeface="Roboto"/>
                <a:cs typeface="Roboto"/>
                <a:sym typeface="Roboto"/>
              </a:rPr>
              <a:t>Analyser les volumétries (actes, coûts...) pour </a:t>
            </a:r>
            <a:r>
              <a:rPr lang="fr-FR" sz="1000" b="1" kern="0">
                <a:solidFill>
                  <a:srgbClr val="006EB7"/>
                </a:solidFill>
                <a:latin typeface="Arial"/>
                <a:ea typeface="Roboto"/>
                <a:cs typeface="Roboto"/>
                <a:sym typeface="Roboto"/>
              </a:rPr>
              <a:t>prioriser les processus à traiter</a:t>
            </a: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000" b="0" i="0" u="none" strike="noStrike" kern="0" cap="none" spc="0" normalizeH="0" baseline="0" noProof="0">
                <a:ln>
                  <a:noFill/>
                </a:ln>
                <a:solidFill>
                  <a:srgbClr val="000000"/>
                </a:solidFill>
                <a:effectLst/>
                <a:uLnTx/>
                <a:uFillTx/>
                <a:latin typeface="Arial"/>
                <a:ea typeface="Roboto"/>
                <a:cs typeface="Roboto"/>
                <a:sym typeface="Roboto"/>
              </a:rPr>
              <a:t>Valider le périmètre des processus à traiter et l’effort</a:t>
            </a: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endParaRPr kumimoji="0" lang="fr-FR" sz="1000" b="0" i="0" u="none" strike="noStrike" kern="0" cap="none" spc="0" normalizeH="0" baseline="0" noProof="0">
              <a:ln>
                <a:noFill/>
              </a:ln>
              <a:solidFill>
                <a:srgbClr val="000000"/>
              </a:solidFill>
              <a:effectLst/>
              <a:uLnTx/>
              <a:uFillTx/>
              <a:latin typeface="Arial"/>
              <a:ea typeface="Roboto"/>
              <a:cs typeface="Roboto"/>
              <a:sym typeface="Roboto"/>
            </a:endParaRPr>
          </a:p>
        </p:txBody>
      </p:sp>
      <p:sp>
        <p:nvSpPr>
          <p:cNvPr id="57" name="Google Shape;592;p27">
            <a:extLst>
              <a:ext uri="{FF2B5EF4-FFF2-40B4-BE49-F238E27FC236}">
                <a16:creationId xmlns:a16="http://schemas.microsoft.com/office/drawing/2014/main" id="{DC39C9CA-AAAC-033E-C86E-01B5FE2B1AFA}"/>
              </a:ext>
            </a:extLst>
          </p:cNvPr>
          <p:cNvSpPr txBox="1"/>
          <p:nvPr/>
        </p:nvSpPr>
        <p:spPr>
          <a:xfrm>
            <a:off x="3844433" y="4463774"/>
            <a:ext cx="2160000" cy="1377086"/>
          </a:xfrm>
          <a:prstGeom prst="rect">
            <a:avLst/>
          </a:prstGeom>
          <a:noFill/>
          <a:ln>
            <a:noFill/>
          </a:ln>
        </p:spPr>
        <p:txBody>
          <a:bodyPr spcFirstLastPara="1" wrap="square" lIns="36000" tIns="36000" rIns="36000" bIns="3600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lang="fr-FR" sz="1000" b="1" kern="0">
                <a:solidFill>
                  <a:srgbClr val="006EB7"/>
                </a:solidFill>
                <a:latin typeface="Arial"/>
                <a:ea typeface="Roboto"/>
                <a:cs typeface="Roboto"/>
                <a:sym typeface="Roboto"/>
              </a:rPr>
              <a:t>Modéliser les processus et identifier les dysfonctionnements et axes d’amélioration </a:t>
            </a:r>
            <a:r>
              <a:rPr kumimoji="0" lang="fr-FR" sz="1000" b="0" i="0" u="none" strike="noStrike" kern="0" cap="none" spc="0" normalizeH="0" baseline="0" noProof="0">
                <a:ln>
                  <a:noFill/>
                </a:ln>
                <a:solidFill>
                  <a:srgbClr val="000000"/>
                </a:solidFill>
                <a:effectLst/>
                <a:uLnTx/>
                <a:uFillTx/>
                <a:latin typeface="Arial"/>
                <a:ea typeface="Roboto"/>
                <a:cs typeface="Roboto"/>
                <a:sym typeface="Roboto"/>
              </a:rPr>
              <a:t>avec les acteurs des process concernés</a:t>
            </a:r>
          </a:p>
          <a:p>
            <a:pPr algn="ctr">
              <a:spcAft>
                <a:spcPts val="600"/>
              </a:spcAft>
              <a:buClr>
                <a:srgbClr val="000000"/>
              </a:buClr>
              <a:defRPr/>
            </a:pPr>
            <a:r>
              <a:rPr lang="fr-FR" sz="1000" b="1" kern="0">
                <a:solidFill>
                  <a:srgbClr val="006EB7"/>
                </a:solidFill>
                <a:latin typeface="Arial"/>
                <a:cs typeface="Roboto"/>
              </a:rPr>
              <a:t>Définir les données clés à mesurer </a:t>
            </a:r>
            <a:r>
              <a:rPr lang="fr-FR" sz="1000" kern="0">
                <a:latin typeface="Arial"/>
                <a:cs typeface="Roboto"/>
              </a:rPr>
              <a:t>et</a:t>
            </a:r>
            <a:r>
              <a:rPr lang="fr-FR" sz="1000" b="1" kern="0">
                <a:solidFill>
                  <a:srgbClr val="006EB7"/>
                </a:solidFill>
                <a:latin typeface="Arial"/>
                <a:cs typeface="Roboto"/>
              </a:rPr>
              <a:t> établir un plan de collecte </a:t>
            </a:r>
            <a:r>
              <a:rPr lang="fr-FR" sz="1000" kern="0">
                <a:latin typeface="Arial"/>
                <a:cs typeface="Roboto"/>
              </a:rPr>
              <a:t>adapté au contexte</a:t>
            </a:r>
          </a:p>
        </p:txBody>
      </p:sp>
      <p:sp>
        <p:nvSpPr>
          <p:cNvPr id="58" name="Google Shape;593;p27">
            <a:extLst>
              <a:ext uri="{FF2B5EF4-FFF2-40B4-BE49-F238E27FC236}">
                <a16:creationId xmlns:a16="http://schemas.microsoft.com/office/drawing/2014/main" id="{794B039B-049B-372E-7021-4F8C1030565D}"/>
              </a:ext>
            </a:extLst>
          </p:cNvPr>
          <p:cNvSpPr txBox="1"/>
          <p:nvPr/>
        </p:nvSpPr>
        <p:spPr>
          <a:xfrm>
            <a:off x="6165780" y="4454914"/>
            <a:ext cx="2160000" cy="1377086"/>
          </a:xfrm>
          <a:prstGeom prst="rect">
            <a:avLst/>
          </a:prstGeom>
          <a:noFill/>
          <a:ln>
            <a:noFill/>
          </a:ln>
        </p:spPr>
        <p:txBody>
          <a:bodyPr spcFirstLastPara="1" wrap="square" lIns="36000" tIns="36000" rIns="36000" bIns="3600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lang="fr-FR" sz="1000" b="1" kern="0">
                <a:solidFill>
                  <a:srgbClr val="006EB7"/>
                </a:solidFill>
                <a:latin typeface="Arial"/>
                <a:ea typeface="Roboto"/>
                <a:cs typeface="Roboto"/>
                <a:sym typeface="Roboto"/>
              </a:rPr>
              <a:t>Déterminer les causes fondamentales et racines </a:t>
            </a:r>
            <a:r>
              <a:rPr kumimoji="0" lang="fr-FR" sz="1000" b="0" i="0" u="none" strike="noStrike" kern="0" cap="none" spc="0" normalizeH="0" baseline="0" noProof="0">
                <a:ln>
                  <a:noFill/>
                </a:ln>
                <a:solidFill>
                  <a:srgbClr val="000000"/>
                </a:solidFill>
                <a:effectLst/>
                <a:uLnTx/>
                <a:uFillTx/>
                <a:latin typeface="Arial"/>
                <a:cs typeface="Roboto"/>
                <a:sym typeface="Roboto"/>
              </a:rPr>
              <a:t>des dysfonctionnements (coûts, qualité, délai) et les catégoriser avec ces mêmes acteurs</a:t>
            </a: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lang="fr-FR" sz="1000" b="1" kern="0">
                <a:solidFill>
                  <a:srgbClr val="006EB7"/>
                </a:solidFill>
                <a:latin typeface="Arial"/>
                <a:ea typeface="Roboto"/>
                <a:cs typeface="Roboto"/>
                <a:sym typeface="Roboto"/>
              </a:rPr>
              <a:t>Prioriser les causes racines à éliminer</a:t>
            </a:r>
            <a:endParaRPr lang="fr-FR" sz="1000" b="1" kern="0">
              <a:solidFill>
                <a:srgbClr val="006EB7"/>
              </a:solidFill>
              <a:latin typeface="Arial"/>
              <a:ea typeface="Roboto"/>
              <a:cs typeface="Roboto"/>
            </a:endParaRPr>
          </a:p>
        </p:txBody>
      </p:sp>
      <p:sp>
        <p:nvSpPr>
          <p:cNvPr id="59" name="Google Shape;594;p27">
            <a:extLst>
              <a:ext uri="{FF2B5EF4-FFF2-40B4-BE49-F238E27FC236}">
                <a16:creationId xmlns:a16="http://schemas.microsoft.com/office/drawing/2014/main" id="{D5C3EC31-015B-82A6-D34D-974DB7C3E510}"/>
              </a:ext>
            </a:extLst>
          </p:cNvPr>
          <p:cNvSpPr txBox="1"/>
          <p:nvPr/>
        </p:nvSpPr>
        <p:spPr>
          <a:xfrm>
            <a:off x="8605992" y="4463774"/>
            <a:ext cx="2160000" cy="1377086"/>
          </a:xfrm>
          <a:prstGeom prst="rect">
            <a:avLst/>
          </a:prstGeom>
          <a:noFill/>
          <a:ln>
            <a:noFill/>
          </a:ln>
        </p:spPr>
        <p:txBody>
          <a:bodyPr spcFirstLastPara="1" wrap="square" lIns="36000" tIns="36000" rIns="36000" bIns="3600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lang="fr-FR" sz="1000" b="1" kern="0">
                <a:solidFill>
                  <a:srgbClr val="26AAAF"/>
                </a:solidFill>
                <a:latin typeface="Arial"/>
                <a:ea typeface="Roboto"/>
                <a:cs typeface="Roboto"/>
                <a:sym typeface="Roboto"/>
              </a:rPr>
              <a:t>Identifier les solutions </a:t>
            </a:r>
            <a:r>
              <a:rPr kumimoji="0" lang="fr-FR" sz="1000" i="0" u="none" strike="noStrike" kern="0" cap="none" spc="0" normalizeH="0" baseline="0" noProof="0">
                <a:ln>
                  <a:noFill/>
                </a:ln>
                <a:solidFill>
                  <a:srgbClr val="000000"/>
                </a:solidFill>
                <a:effectLst/>
                <a:uLnTx/>
                <a:uFillTx/>
                <a:latin typeface="Arial"/>
                <a:ea typeface="Roboto"/>
                <a:cs typeface="Roboto"/>
                <a:sym typeface="Roboto"/>
              </a:rPr>
              <a:t>pour éliminer les causes racines et mettre en œuvre des améliorations en rapport des coûts et impacts attendus</a:t>
            </a: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lang="fr-FR" sz="1000" b="1" kern="0">
                <a:solidFill>
                  <a:srgbClr val="26AAAF"/>
                </a:solidFill>
                <a:latin typeface="Arial"/>
                <a:ea typeface="Roboto"/>
                <a:cs typeface="Roboto"/>
                <a:sym typeface="Roboto"/>
              </a:rPr>
              <a:t>Prioriser les solutions </a:t>
            </a:r>
            <a:r>
              <a:rPr kumimoji="0" lang="fr-FR" sz="1000" i="0" u="none" strike="noStrike" kern="0" cap="none" spc="0" normalizeH="0" baseline="0" noProof="0">
                <a:ln>
                  <a:noFill/>
                </a:ln>
                <a:solidFill>
                  <a:srgbClr val="000000"/>
                </a:solidFill>
                <a:effectLst/>
                <a:uLnTx/>
                <a:uFillTx/>
                <a:latin typeface="Arial"/>
                <a:ea typeface="Roboto"/>
                <a:cs typeface="Roboto"/>
                <a:sym typeface="Roboto"/>
              </a:rPr>
              <a:t>en fonction de leur bénéfice vs. coût de mise en œuvre et effort</a:t>
            </a:r>
            <a:endParaRPr lang="fr-FR" sz="1000" i="0" u="none" strike="noStrike" kern="0" cap="none" spc="0" normalizeH="0" baseline="0" noProof="0">
              <a:ln>
                <a:noFill/>
              </a:ln>
              <a:solidFill>
                <a:srgbClr val="000000"/>
              </a:solidFill>
              <a:effectLst/>
              <a:uLnTx/>
              <a:uFillTx/>
              <a:latin typeface="Arial"/>
              <a:ea typeface="Roboto"/>
              <a:cs typeface="Roboto"/>
            </a:endParaRP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lang="fr-FR" sz="1000" b="1" kern="0">
                <a:solidFill>
                  <a:srgbClr val="26AAAF"/>
                </a:solidFill>
                <a:latin typeface="Arial"/>
                <a:ea typeface="Roboto"/>
                <a:cs typeface="Roboto"/>
                <a:sym typeface="Roboto"/>
              </a:rPr>
              <a:t>Établir la feuille de route</a:t>
            </a:r>
            <a:endParaRPr lang="fr-FR" sz="1000" b="1" kern="0">
              <a:solidFill>
                <a:srgbClr val="26AAAF"/>
              </a:solidFill>
              <a:latin typeface="Arial"/>
              <a:ea typeface="Roboto"/>
              <a:cs typeface="Roboto"/>
            </a:endParaRP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endParaRPr kumimoji="0" lang="fr-FR" sz="1000" i="0" u="none" strike="noStrike" kern="0" cap="none" spc="0" normalizeH="0" baseline="0" noProof="0">
              <a:ln>
                <a:noFill/>
              </a:ln>
              <a:solidFill>
                <a:srgbClr val="000000"/>
              </a:solidFill>
              <a:effectLst/>
              <a:uLnTx/>
              <a:uFillTx/>
              <a:latin typeface="Arial"/>
              <a:ea typeface="Roboto"/>
              <a:cs typeface="Roboto"/>
              <a:sym typeface="Roboto"/>
            </a:endParaRP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endParaRPr kumimoji="0" lang="fr-FR" sz="1000" i="0" u="none" strike="noStrike" kern="0" cap="none" spc="0" normalizeH="0" baseline="0" noProof="0">
              <a:ln>
                <a:noFill/>
              </a:ln>
              <a:solidFill>
                <a:srgbClr val="000000"/>
              </a:solidFill>
              <a:effectLst/>
              <a:uLnTx/>
              <a:uFillTx/>
              <a:latin typeface="Arial"/>
              <a:ea typeface="Roboto"/>
              <a:cs typeface="Roboto"/>
              <a:sym typeface="Roboto"/>
            </a:endParaRPr>
          </a:p>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endParaRPr kumimoji="0" lang="fr-FR" sz="1000" b="1" i="0" u="none" strike="noStrike" kern="0" cap="none" spc="0" normalizeH="0" baseline="0" noProof="0">
              <a:ln>
                <a:noFill/>
              </a:ln>
              <a:solidFill>
                <a:srgbClr val="000000"/>
              </a:solidFill>
              <a:effectLst/>
              <a:uLnTx/>
              <a:uFillTx/>
              <a:latin typeface="Arial"/>
              <a:ea typeface="Roboto"/>
              <a:cs typeface="Roboto"/>
              <a:sym typeface="Roboto"/>
            </a:endParaRPr>
          </a:p>
        </p:txBody>
      </p:sp>
      <p:sp>
        <p:nvSpPr>
          <p:cNvPr id="108" name="Rectangle 107">
            <a:extLst>
              <a:ext uri="{FF2B5EF4-FFF2-40B4-BE49-F238E27FC236}">
                <a16:creationId xmlns:a16="http://schemas.microsoft.com/office/drawing/2014/main" id="{07EB4ECF-1F20-A7B0-5770-99A198F1C4E9}"/>
              </a:ext>
            </a:extLst>
          </p:cNvPr>
          <p:cNvSpPr/>
          <p:nvPr/>
        </p:nvSpPr>
        <p:spPr>
          <a:xfrm>
            <a:off x="1515822" y="6201311"/>
            <a:ext cx="9160356" cy="504577"/>
          </a:xfrm>
          <a:prstGeom prst="rect">
            <a:avLst/>
          </a:prstGeom>
          <a:solidFill>
            <a:srgbClr val="E3E1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a:ln>
                  <a:noFill/>
                </a:ln>
                <a:solidFill>
                  <a:srgbClr val="000000"/>
                </a:solidFill>
                <a:effectLst/>
                <a:uLnTx/>
                <a:uFillTx/>
                <a:latin typeface="Arial"/>
                <a:ea typeface="+mn-ea"/>
                <a:cs typeface="+mn-cs"/>
                <a:sym typeface="Arial"/>
              </a:rPr>
              <a:t>L’objectif de ces travaux est de </a:t>
            </a:r>
            <a:r>
              <a:rPr kumimoji="0" lang="fr-FR" sz="1200" b="1" i="0" u="none" strike="noStrike" kern="0" cap="none" spc="0" normalizeH="0" baseline="0" noProof="0">
                <a:ln>
                  <a:noFill/>
                </a:ln>
                <a:solidFill>
                  <a:srgbClr val="000000"/>
                </a:solidFill>
                <a:effectLst/>
                <a:uLnTx/>
                <a:uFillTx/>
                <a:latin typeface="Arial"/>
                <a:ea typeface="+mn-ea"/>
                <a:cs typeface="+mn-cs"/>
                <a:sym typeface="Arial"/>
              </a:rPr>
              <a:t>réaliser un état des lieux exhaustif </a:t>
            </a:r>
            <a:r>
              <a:rPr kumimoji="0" lang="fr-FR" sz="1200" b="0" i="0" u="none" strike="noStrike" kern="0" cap="none" spc="0" normalizeH="0" baseline="0" noProof="0">
                <a:ln>
                  <a:noFill/>
                </a:ln>
                <a:solidFill>
                  <a:srgbClr val="000000"/>
                </a:solidFill>
                <a:effectLst/>
                <a:uLnTx/>
                <a:uFillTx/>
                <a:latin typeface="Arial"/>
                <a:ea typeface="+mn-ea"/>
                <a:cs typeface="+mn-cs"/>
                <a:sym typeface="Arial"/>
              </a:rPr>
              <a:t>et concret des </a:t>
            </a:r>
            <a:r>
              <a:rPr kumimoji="0" lang="fr-FR" sz="1200" b="1" i="0" u="none" strike="noStrike" kern="0" cap="none" spc="0" normalizeH="0" baseline="0" noProof="0">
                <a:ln>
                  <a:noFill/>
                </a:ln>
                <a:solidFill>
                  <a:srgbClr val="000000"/>
                </a:solidFill>
                <a:effectLst/>
                <a:uLnTx/>
                <a:uFillTx/>
                <a:latin typeface="Arial"/>
                <a:ea typeface="+mn-ea"/>
                <a:cs typeface="+mn-cs"/>
                <a:sym typeface="Arial"/>
              </a:rPr>
              <a:t>points forts et pistes d’améliorations </a:t>
            </a:r>
            <a:br>
              <a:rPr kumimoji="0" lang="fr-FR" sz="1200" b="1" i="0" u="none" strike="noStrike" kern="0" cap="none" spc="0" normalizeH="0" baseline="0" noProof="0">
                <a:ln>
                  <a:noFill/>
                </a:ln>
                <a:solidFill>
                  <a:srgbClr val="000000"/>
                </a:solidFill>
                <a:effectLst/>
                <a:uLnTx/>
                <a:uFillTx/>
                <a:latin typeface="Arial"/>
                <a:ea typeface="+mn-ea"/>
                <a:cs typeface="+mn-cs"/>
                <a:sym typeface="Arial"/>
              </a:rPr>
            </a:br>
            <a:r>
              <a:rPr kumimoji="0" lang="fr-FR" sz="1200" b="1" i="0" u="none" strike="noStrike" kern="0" cap="none" spc="0" normalizeH="0" baseline="0" noProof="0">
                <a:ln>
                  <a:noFill/>
                </a:ln>
                <a:solidFill>
                  <a:srgbClr val="000000"/>
                </a:solidFill>
                <a:effectLst/>
                <a:uLnTx/>
                <a:uFillTx/>
                <a:latin typeface="Arial"/>
                <a:ea typeface="+mn-ea"/>
                <a:cs typeface="+mn-cs"/>
                <a:sym typeface="Arial"/>
              </a:rPr>
              <a:t>de l’efficacité opérationnelle</a:t>
            </a:r>
            <a:r>
              <a:rPr kumimoji="0" lang="fr-FR" sz="1200" i="0" u="none" strike="noStrike" kern="0" cap="none" spc="0" normalizeH="0" baseline="0" noProof="0">
                <a:ln>
                  <a:noFill/>
                </a:ln>
                <a:solidFill>
                  <a:srgbClr val="000000"/>
                </a:solidFill>
                <a:effectLst/>
                <a:uLnTx/>
                <a:uFillTx/>
                <a:latin typeface="Arial"/>
                <a:ea typeface="+mn-ea"/>
                <a:cs typeface="+mn-cs"/>
                <a:sym typeface="Arial"/>
              </a:rPr>
              <a:t>, afin de poser les bases de la déclinaison de votre transformation sur les 24 prochains mois.</a:t>
            </a:r>
            <a:endParaRPr kumimoji="0" lang="fr-FR" sz="12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36" name="Google Shape;580;p27">
            <a:extLst>
              <a:ext uri="{FF2B5EF4-FFF2-40B4-BE49-F238E27FC236}">
                <a16:creationId xmlns:a16="http://schemas.microsoft.com/office/drawing/2014/main" id="{D987B0C3-56F9-2BDC-E1DF-0CF163D68854}"/>
              </a:ext>
            </a:extLst>
          </p:cNvPr>
          <p:cNvSpPr/>
          <p:nvPr/>
        </p:nvSpPr>
        <p:spPr>
          <a:xfrm>
            <a:off x="2464797" y="4172020"/>
            <a:ext cx="96893" cy="95716"/>
          </a:xfrm>
          <a:custGeom>
            <a:avLst/>
            <a:gdLst/>
            <a:ahLst/>
            <a:cxnLst/>
            <a:rect l="l" t="t" r="r" b="b"/>
            <a:pathLst>
              <a:path w="2179" h="2168" extrusionOk="0">
                <a:moveTo>
                  <a:pt x="1084" y="1"/>
                </a:moveTo>
                <a:cubicBezTo>
                  <a:pt x="488" y="1"/>
                  <a:pt x="0" y="477"/>
                  <a:pt x="0" y="1084"/>
                </a:cubicBezTo>
                <a:cubicBezTo>
                  <a:pt x="0" y="1680"/>
                  <a:pt x="488" y="2168"/>
                  <a:pt x="1084" y="2168"/>
                </a:cubicBezTo>
                <a:cubicBezTo>
                  <a:pt x="1679" y="2168"/>
                  <a:pt x="2179" y="1692"/>
                  <a:pt x="2179" y="1084"/>
                </a:cubicBezTo>
                <a:cubicBezTo>
                  <a:pt x="2179" y="477"/>
                  <a:pt x="1679" y="1"/>
                  <a:pt x="1084"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9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581;p27">
            <a:extLst>
              <a:ext uri="{FF2B5EF4-FFF2-40B4-BE49-F238E27FC236}">
                <a16:creationId xmlns:a16="http://schemas.microsoft.com/office/drawing/2014/main" id="{BFD2E105-0DCB-45FE-BAB9-72FA0F573475}"/>
              </a:ext>
            </a:extLst>
          </p:cNvPr>
          <p:cNvSpPr/>
          <p:nvPr/>
        </p:nvSpPr>
        <p:spPr>
          <a:xfrm>
            <a:off x="4885321" y="4172020"/>
            <a:ext cx="96937" cy="95716"/>
          </a:xfrm>
          <a:custGeom>
            <a:avLst/>
            <a:gdLst/>
            <a:ahLst/>
            <a:cxnLst/>
            <a:rect l="l" t="t" r="r" b="b"/>
            <a:pathLst>
              <a:path w="2180" h="2168" extrusionOk="0">
                <a:moveTo>
                  <a:pt x="1096" y="1"/>
                </a:moveTo>
                <a:cubicBezTo>
                  <a:pt x="501" y="1"/>
                  <a:pt x="1" y="477"/>
                  <a:pt x="1" y="1084"/>
                </a:cubicBezTo>
                <a:cubicBezTo>
                  <a:pt x="1" y="1680"/>
                  <a:pt x="477" y="2168"/>
                  <a:pt x="1096" y="2168"/>
                </a:cubicBezTo>
                <a:cubicBezTo>
                  <a:pt x="1691" y="2168"/>
                  <a:pt x="2180" y="1692"/>
                  <a:pt x="2180" y="1084"/>
                </a:cubicBezTo>
                <a:cubicBezTo>
                  <a:pt x="2168" y="477"/>
                  <a:pt x="1691" y="1"/>
                  <a:pt x="1096"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9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582;p27">
            <a:extLst>
              <a:ext uri="{FF2B5EF4-FFF2-40B4-BE49-F238E27FC236}">
                <a16:creationId xmlns:a16="http://schemas.microsoft.com/office/drawing/2014/main" id="{C20A85F7-3FDE-0197-3100-F52CCB089718}"/>
              </a:ext>
            </a:extLst>
          </p:cNvPr>
          <p:cNvSpPr/>
          <p:nvPr/>
        </p:nvSpPr>
        <p:spPr>
          <a:xfrm>
            <a:off x="7197334" y="4172020"/>
            <a:ext cx="96893" cy="95716"/>
          </a:xfrm>
          <a:custGeom>
            <a:avLst/>
            <a:gdLst/>
            <a:ahLst/>
            <a:cxnLst/>
            <a:rect l="l" t="t" r="r" b="b"/>
            <a:pathLst>
              <a:path w="2179" h="2168" extrusionOk="0">
                <a:moveTo>
                  <a:pt x="1095" y="1"/>
                </a:moveTo>
                <a:cubicBezTo>
                  <a:pt x="500" y="1"/>
                  <a:pt x="0" y="477"/>
                  <a:pt x="0" y="1084"/>
                </a:cubicBezTo>
                <a:cubicBezTo>
                  <a:pt x="0" y="1680"/>
                  <a:pt x="476" y="2168"/>
                  <a:pt x="1095" y="2168"/>
                </a:cubicBezTo>
                <a:cubicBezTo>
                  <a:pt x="1691" y="2168"/>
                  <a:pt x="2179" y="1692"/>
                  <a:pt x="2179" y="1084"/>
                </a:cubicBezTo>
                <a:cubicBezTo>
                  <a:pt x="2179" y="477"/>
                  <a:pt x="1691" y="1"/>
                  <a:pt x="1095" y="1"/>
                </a:cubicBezTo>
                <a:close/>
              </a:path>
            </a:pathLst>
          </a:custGeom>
          <a:solidFill>
            <a:schemeClr val="accent6"/>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9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583;p27">
            <a:extLst>
              <a:ext uri="{FF2B5EF4-FFF2-40B4-BE49-F238E27FC236}">
                <a16:creationId xmlns:a16="http://schemas.microsoft.com/office/drawing/2014/main" id="{71E279F2-EE82-8B2A-0090-5F1404A99FC1}"/>
              </a:ext>
            </a:extLst>
          </p:cNvPr>
          <p:cNvSpPr/>
          <p:nvPr/>
        </p:nvSpPr>
        <p:spPr>
          <a:xfrm>
            <a:off x="7197579" y="4172020"/>
            <a:ext cx="96403" cy="95716"/>
          </a:xfrm>
          <a:custGeom>
            <a:avLst/>
            <a:gdLst/>
            <a:ahLst/>
            <a:cxnLst/>
            <a:rect l="l" t="t" r="r" b="b"/>
            <a:pathLst>
              <a:path w="2168" h="2168" extrusionOk="0">
                <a:moveTo>
                  <a:pt x="1084" y="1"/>
                </a:moveTo>
                <a:cubicBezTo>
                  <a:pt x="489" y="1"/>
                  <a:pt x="1" y="477"/>
                  <a:pt x="1" y="1084"/>
                </a:cubicBezTo>
                <a:cubicBezTo>
                  <a:pt x="1" y="1680"/>
                  <a:pt x="477" y="2168"/>
                  <a:pt x="1084" y="2168"/>
                </a:cubicBezTo>
                <a:cubicBezTo>
                  <a:pt x="1680" y="2168"/>
                  <a:pt x="2168" y="1692"/>
                  <a:pt x="2168" y="1084"/>
                </a:cubicBezTo>
                <a:cubicBezTo>
                  <a:pt x="2168" y="477"/>
                  <a:pt x="1680" y="1"/>
                  <a:pt x="1084"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900" b="0" i="0" u="none" strike="noStrike" kern="0" cap="none" spc="0" normalizeH="0" baseline="0" noProof="0">
              <a:ln>
                <a:noFill/>
              </a:ln>
              <a:solidFill>
                <a:srgbClr val="000000"/>
              </a:solidFill>
              <a:effectLst/>
              <a:uLnTx/>
              <a:uFillTx/>
              <a:latin typeface="Arial"/>
              <a:cs typeface="Arial"/>
              <a:sym typeface="Arial"/>
            </a:endParaRPr>
          </a:p>
        </p:txBody>
      </p:sp>
      <p:sp>
        <p:nvSpPr>
          <p:cNvPr id="18" name="Google Shape;575;p27">
            <a:extLst>
              <a:ext uri="{FF2B5EF4-FFF2-40B4-BE49-F238E27FC236}">
                <a16:creationId xmlns:a16="http://schemas.microsoft.com/office/drawing/2014/main" id="{BDC18CB0-C423-8802-9064-6BDF28FAD023}"/>
              </a:ext>
            </a:extLst>
          </p:cNvPr>
          <p:cNvSpPr/>
          <p:nvPr/>
        </p:nvSpPr>
        <p:spPr>
          <a:xfrm>
            <a:off x="2218695" y="2120035"/>
            <a:ext cx="589097" cy="589097"/>
          </a:xfrm>
          <a:custGeom>
            <a:avLst/>
            <a:gdLst/>
            <a:ahLst/>
            <a:cxnLst/>
            <a:rect l="l" t="t" r="r" b="b"/>
            <a:pathLst>
              <a:path w="12943" h="12943" extrusionOk="0">
                <a:moveTo>
                  <a:pt x="6466" y="1"/>
                </a:moveTo>
                <a:cubicBezTo>
                  <a:pt x="10037" y="1"/>
                  <a:pt x="12943" y="2894"/>
                  <a:pt x="12943" y="6466"/>
                </a:cubicBezTo>
                <a:cubicBezTo>
                  <a:pt x="12943" y="10038"/>
                  <a:pt x="10037" y="12943"/>
                  <a:pt x="6466" y="12943"/>
                </a:cubicBezTo>
                <a:cubicBezTo>
                  <a:pt x="2894" y="12943"/>
                  <a:pt x="1" y="10038"/>
                  <a:pt x="1" y="6466"/>
                </a:cubicBezTo>
                <a:cubicBezTo>
                  <a:pt x="1" y="2894"/>
                  <a:pt x="2894" y="1"/>
                  <a:pt x="6466"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cs typeface="Arial"/>
                <a:sym typeface="Arial"/>
              </a:rPr>
              <a:t>#</a:t>
            </a:r>
            <a:r>
              <a:rPr kumimoji="0" lang="fr-FR" b="1" i="0" u="none" strike="noStrike" kern="0" cap="none" spc="0" normalizeH="0" baseline="0" noProof="0">
                <a:ln>
                  <a:noFill/>
                </a:ln>
                <a:solidFill>
                  <a:srgbClr val="FFFFFF"/>
                </a:solidFill>
                <a:effectLst/>
                <a:uLnTx/>
                <a:uFillTx/>
                <a:latin typeface="Arial"/>
                <a:cs typeface="Arial"/>
                <a:sym typeface="Arial"/>
              </a:rPr>
              <a:t>1</a:t>
            </a:r>
            <a:endParaRPr kumimoji="0" lang="fr-FR" sz="1400" b="1" i="0" u="none" strike="noStrike" kern="0" cap="none" spc="0" normalizeH="0" baseline="0" noProof="0">
              <a:ln>
                <a:noFill/>
              </a:ln>
              <a:solidFill>
                <a:srgbClr val="FFFFFF"/>
              </a:solidFill>
              <a:effectLst/>
              <a:uLnTx/>
              <a:uFillTx/>
              <a:latin typeface="Arial"/>
              <a:cs typeface="Arial"/>
              <a:sym typeface="Arial"/>
            </a:endParaRPr>
          </a:p>
        </p:txBody>
      </p:sp>
      <p:sp>
        <p:nvSpPr>
          <p:cNvPr id="20" name="Google Shape;576;p27">
            <a:extLst>
              <a:ext uri="{FF2B5EF4-FFF2-40B4-BE49-F238E27FC236}">
                <a16:creationId xmlns:a16="http://schemas.microsoft.com/office/drawing/2014/main" id="{3DEDE969-5FF1-B404-1EB2-DC1824AD2087}"/>
              </a:ext>
            </a:extLst>
          </p:cNvPr>
          <p:cNvSpPr/>
          <p:nvPr/>
        </p:nvSpPr>
        <p:spPr>
          <a:xfrm>
            <a:off x="4639241" y="2120035"/>
            <a:ext cx="589097" cy="589097"/>
          </a:xfrm>
          <a:custGeom>
            <a:avLst/>
            <a:gdLst/>
            <a:ahLst/>
            <a:cxnLst/>
            <a:rect l="l" t="t" r="r" b="b"/>
            <a:pathLst>
              <a:path w="12967" h="12943" extrusionOk="0">
                <a:moveTo>
                  <a:pt x="6501" y="1"/>
                </a:moveTo>
                <a:cubicBezTo>
                  <a:pt x="10073" y="1"/>
                  <a:pt x="12966" y="2894"/>
                  <a:pt x="12966" y="6466"/>
                </a:cubicBezTo>
                <a:cubicBezTo>
                  <a:pt x="12966" y="10038"/>
                  <a:pt x="10073" y="12943"/>
                  <a:pt x="6501" y="12943"/>
                </a:cubicBezTo>
                <a:cubicBezTo>
                  <a:pt x="2929" y="12943"/>
                  <a:pt x="24" y="10038"/>
                  <a:pt x="24" y="6466"/>
                </a:cubicBezTo>
                <a:cubicBezTo>
                  <a:pt x="0" y="2894"/>
                  <a:pt x="2905" y="1"/>
                  <a:pt x="6501"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cs typeface="Arial"/>
                <a:sym typeface="Arial"/>
              </a:rPr>
              <a:t>#</a:t>
            </a:r>
            <a:r>
              <a:rPr kumimoji="0" lang="fr-FR" b="1" i="0" u="none" strike="noStrike" kern="0" cap="none" spc="0" normalizeH="0" baseline="0" noProof="0">
                <a:ln>
                  <a:noFill/>
                </a:ln>
                <a:solidFill>
                  <a:srgbClr val="FFFFFF"/>
                </a:solidFill>
                <a:effectLst/>
                <a:uLnTx/>
                <a:uFillTx/>
                <a:latin typeface="Arial"/>
                <a:cs typeface="Arial"/>
                <a:sym typeface="Arial"/>
              </a:rPr>
              <a:t>2</a:t>
            </a:r>
            <a:endParaRPr kumimoji="0" lang="fr-FR" sz="1400" b="1" i="0" u="none" strike="noStrike" kern="0" cap="none" spc="0" normalizeH="0" baseline="0" noProof="0">
              <a:ln>
                <a:noFill/>
              </a:ln>
              <a:solidFill>
                <a:srgbClr val="FFFFFF"/>
              </a:solidFill>
              <a:effectLst/>
              <a:uLnTx/>
              <a:uFillTx/>
              <a:latin typeface="Arial"/>
              <a:cs typeface="Arial"/>
              <a:sym typeface="Arial"/>
            </a:endParaRPr>
          </a:p>
        </p:txBody>
      </p:sp>
      <p:sp>
        <p:nvSpPr>
          <p:cNvPr id="21" name="Google Shape;577;p27">
            <a:extLst>
              <a:ext uri="{FF2B5EF4-FFF2-40B4-BE49-F238E27FC236}">
                <a16:creationId xmlns:a16="http://schemas.microsoft.com/office/drawing/2014/main" id="{26D093E9-3D48-AA96-047D-91A092C13E86}"/>
              </a:ext>
            </a:extLst>
          </p:cNvPr>
          <p:cNvSpPr/>
          <p:nvPr/>
        </p:nvSpPr>
        <p:spPr>
          <a:xfrm>
            <a:off x="6951232" y="2120035"/>
            <a:ext cx="589097" cy="589097"/>
          </a:xfrm>
          <a:custGeom>
            <a:avLst/>
            <a:gdLst/>
            <a:ahLst/>
            <a:cxnLst/>
            <a:rect l="l" t="t" r="r" b="b"/>
            <a:pathLst>
              <a:path w="12943" h="12943" extrusionOk="0">
                <a:moveTo>
                  <a:pt x="6477" y="1"/>
                </a:moveTo>
                <a:cubicBezTo>
                  <a:pt x="10049" y="1"/>
                  <a:pt x="12942" y="2894"/>
                  <a:pt x="12942" y="6466"/>
                </a:cubicBezTo>
                <a:cubicBezTo>
                  <a:pt x="12942" y="10038"/>
                  <a:pt x="10049" y="12943"/>
                  <a:pt x="6477" y="12943"/>
                </a:cubicBezTo>
                <a:cubicBezTo>
                  <a:pt x="2906" y="12943"/>
                  <a:pt x="0" y="10038"/>
                  <a:pt x="0" y="6466"/>
                </a:cubicBezTo>
                <a:cubicBezTo>
                  <a:pt x="0" y="2894"/>
                  <a:pt x="2906" y="1"/>
                  <a:pt x="6477"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cs typeface="Arial"/>
                <a:sym typeface="Arial"/>
              </a:rPr>
              <a:t>#</a:t>
            </a:r>
            <a:r>
              <a:rPr kumimoji="0" lang="fr-FR" b="1" i="0" u="none" strike="noStrike" kern="0" cap="none" spc="0" normalizeH="0" baseline="0" noProof="0">
                <a:ln>
                  <a:noFill/>
                </a:ln>
                <a:solidFill>
                  <a:srgbClr val="FFFFFF"/>
                </a:solidFill>
                <a:effectLst/>
                <a:uLnTx/>
                <a:uFillTx/>
                <a:latin typeface="Arial"/>
                <a:cs typeface="Arial"/>
                <a:sym typeface="Arial"/>
              </a:rPr>
              <a:t>3</a:t>
            </a:r>
            <a:endParaRPr kumimoji="0" lang="fr-FR" sz="1400" b="1" i="0" u="none" strike="noStrike" kern="0" cap="none" spc="0" normalizeH="0" baseline="0" noProof="0">
              <a:ln>
                <a:noFill/>
              </a:ln>
              <a:solidFill>
                <a:srgbClr val="FFFFFF"/>
              </a:solidFill>
              <a:effectLst/>
              <a:uLnTx/>
              <a:uFillTx/>
              <a:latin typeface="Arial"/>
              <a:cs typeface="Arial"/>
              <a:sym typeface="Arial"/>
            </a:endParaRPr>
          </a:p>
        </p:txBody>
      </p:sp>
      <p:sp>
        <p:nvSpPr>
          <p:cNvPr id="22" name="Google Shape;578;p27">
            <a:extLst>
              <a:ext uri="{FF2B5EF4-FFF2-40B4-BE49-F238E27FC236}">
                <a16:creationId xmlns:a16="http://schemas.microsoft.com/office/drawing/2014/main" id="{CA273E3E-35AF-6E1B-26B6-F50D3D1118FF}"/>
              </a:ext>
            </a:extLst>
          </p:cNvPr>
          <p:cNvSpPr/>
          <p:nvPr/>
        </p:nvSpPr>
        <p:spPr>
          <a:xfrm>
            <a:off x="9391444" y="2120035"/>
            <a:ext cx="589097" cy="589097"/>
          </a:xfrm>
          <a:custGeom>
            <a:avLst/>
            <a:gdLst/>
            <a:ahLst/>
            <a:cxnLst/>
            <a:rect l="l" t="t" r="r" b="b"/>
            <a:pathLst>
              <a:path w="12955" h="12943" extrusionOk="0">
                <a:moveTo>
                  <a:pt x="6477" y="1"/>
                </a:moveTo>
                <a:cubicBezTo>
                  <a:pt x="10049" y="1"/>
                  <a:pt x="12954" y="2894"/>
                  <a:pt x="12954" y="6466"/>
                </a:cubicBezTo>
                <a:cubicBezTo>
                  <a:pt x="12954" y="10038"/>
                  <a:pt x="10049" y="12943"/>
                  <a:pt x="6477" y="12943"/>
                </a:cubicBezTo>
                <a:cubicBezTo>
                  <a:pt x="2906" y="12943"/>
                  <a:pt x="0" y="10038"/>
                  <a:pt x="0" y="6466"/>
                </a:cubicBezTo>
                <a:cubicBezTo>
                  <a:pt x="0" y="2894"/>
                  <a:pt x="2906" y="1"/>
                  <a:pt x="6477" y="1"/>
                </a:cubicBezTo>
                <a:close/>
              </a:path>
            </a:pathLst>
          </a:custGeom>
          <a:solidFill>
            <a:srgbClr val="26AAAF"/>
          </a:solid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cs typeface="Arial"/>
                <a:sym typeface="Arial"/>
              </a:rPr>
              <a:t>#</a:t>
            </a:r>
            <a:r>
              <a:rPr kumimoji="0" lang="fr-FR" b="1" i="0" u="none" strike="noStrike" kern="0" cap="none" spc="0" normalizeH="0" baseline="0" noProof="0">
                <a:ln>
                  <a:noFill/>
                </a:ln>
                <a:solidFill>
                  <a:srgbClr val="FFFFFF"/>
                </a:solidFill>
                <a:effectLst/>
                <a:uLnTx/>
                <a:uFillTx/>
                <a:latin typeface="Arial"/>
                <a:cs typeface="Arial"/>
                <a:sym typeface="Arial"/>
              </a:rPr>
              <a:t>4</a:t>
            </a:r>
            <a:endParaRPr kumimoji="0" lang="fr-FR" sz="1400" b="1" i="0" u="none" strike="noStrike" kern="0" cap="none" spc="0" normalizeH="0" baseline="0" noProof="0">
              <a:ln>
                <a:noFill/>
              </a:ln>
              <a:solidFill>
                <a:srgbClr val="FFFFFF"/>
              </a:solidFill>
              <a:effectLst/>
              <a:uLnTx/>
              <a:uFillTx/>
              <a:latin typeface="Arial"/>
              <a:cs typeface="Arial"/>
              <a:sym typeface="Arial"/>
            </a:endParaRPr>
          </a:p>
        </p:txBody>
      </p:sp>
      <p:grpSp>
        <p:nvGrpSpPr>
          <p:cNvPr id="60" name="Google Shape;595;p27">
            <a:extLst>
              <a:ext uri="{FF2B5EF4-FFF2-40B4-BE49-F238E27FC236}">
                <a16:creationId xmlns:a16="http://schemas.microsoft.com/office/drawing/2014/main" id="{DB1FD381-D66E-7825-0BCF-6FA4D2B63DC4}"/>
              </a:ext>
            </a:extLst>
          </p:cNvPr>
          <p:cNvGrpSpPr/>
          <p:nvPr/>
        </p:nvGrpSpPr>
        <p:grpSpPr>
          <a:xfrm>
            <a:off x="4717366" y="3492337"/>
            <a:ext cx="432847" cy="430910"/>
            <a:chOff x="-1333200" y="2770450"/>
            <a:chExt cx="291450" cy="292225"/>
          </a:xfrm>
          <a:solidFill>
            <a:srgbClr val="006EB7"/>
          </a:solidFill>
        </p:grpSpPr>
        <p:sp>
          <p:nvSpPr>
            <p:cNvPr id="61" name="Google Shape;596;p27">
              <a:extLst>
                <a:ext uri="{FF2B5EF4-FFF2-40B4-BE49-F238E27FC236}">
                  <a16:creationId xmlns:a16="http://schemas.microsoft.com/office/drawing/2014/main" id="{F3A82C8B-2F5E-34CB-7147-68D65D16111F}"/>
                </a:ext>
              </a:extLst>
            </p:cNvPr>
            <p:cNvSpPr/>
            <p:nvPr/>
          </p:nvSpPr>
          <p:spPr>
            <a:xfrm>
              <a:off x="-1299325" y="2808250"/>
              <a:ext cx="222925" cy="134725"/>
            </a:xfrm>
            <a:custGeom>
              <a:avLst/>
              <a:gdLst/>
              <a:ahLst/>
              <a:cxnLst/>
              <a:rect l="l" t="t" r="r" b="b"/>
              <a:pathLst>
                <a:path w="8917" h="5389" extrusionOk="0">
                  <a:moveTo>
                    <a:pt x="7877" y="631"/>
                  </a:moveTo>
                  <a:cubicBezTo>
                    <a:pt x="8066" y="631"/>
                    <a:pt x="8223" y="789"/>
                    <a:pt x="8223" y="978"/>
                  </a:cubicBezTo>
                  <a:cubicBezTo>
                    <a:pt x="8223" y="1167"/>
                    <a:pt x="8066" y="1324"/>
                    <a:pt x="7877" y="1324"/>
                  </a:cubicBezTo>
                  <a:cubicBezTo>
                    <a:pt x="7656" y="1324"/>
                    <a:pt x="7498" y="1167"/>
                    <a:pt x="7498" y="978"/>
                  </a:cubicBezTo>
                  <a:cubicBezTo>
                    <a:pt x="7498" y="789"/>
                    <a:pt x="7656" y="631"/>
                    <a:pt x="7877" y="631"/>
                  </a:cubicBezTo>
                  <a:close/>
                  <a:moveTo>
                    <a:pt x="3056" y="1293"/>
                  </a:moveTo>
                  <a:cubicBezTo>
                    <a:pt x="3245" y="1293"/>
                    <a:pt x="3403" y="1450"/>
                    <a:pt x="3403" y="1639"/>
                  </a:cubicBezTo>
                  <a:cubicBezTo>
                    <a:pt x="3403" y="1828"/>
                    <a:pt x="3245" y="1986"/>
                    <a:pt x="3056" y="1986"/>
                  </a:cubicBezTo>
                  <a:cubicBezTo>
                    <a:pt x="2867" y="1986"/>
                    <a:pt x="2710" y="1828"/>
                    <a:pt x="2710" y="1639"/>
                  </a:cubicBezTo>
                  <a:cubicBezTo>
                    <a:pt x="2741" y="1450"/>
                    <a:pt x="2899" y="1293"/>
                    <a:pt x="3056" y="1293"/>
                  </a:cubicBezTo>
                  <a:close/>
                  <a:moveTo>
                    <a:pt x="5797" y="3340"/>
                  </a:moveTo>
                  <a:cubicBezTo>
                    <a:pt x="6018" y="3340"/>
                    <a:pt x="6175" y="3498"/>
                    <a:pt x="6175" y="3687"/>
                  </a:cubicBezTo>
                  <a:cubicBezTo>
                    <a:pt x="6175" y="3876"/>
                    <a:pt x="6018" y="4034"/>
                    <a:pt x="5797" y="4034"/>
                  </a:cubicBezTo>
                  <a:cubicBezTo>
                    <a:pt x="5608" y="4034"/>
                    <a:pt x="5451" y="3876"/>
                    <a:pt x="5451" y="3687"/>
                  </a:cubicBezTo>
                  <a:cubicBezTo>
                    <a:pt x="5451" y="3498"/>
                    <a:pt x="5608" y="3340"/>
                    <a:pt x="5797" y="3340"/>
                  </a:cubicBezTo>
                  <a:close/>
                  <a:moveTo>
                    <a:pt x="1008" y="4034"/>
                  </a:moveTo>
                  <a:cubicBezTo>
                    <a:pt x="1198" y="4034"/>
                    <a:pt x="1355" y="4191"/>
                    <a:pt x="1355" y="4412"/>
                  </a:cubicBezTo>
                  <a:cubicBezTo>
                    <a:pt x="1355" y="4601"/>
                    <a:pt x="1198" y="4758"/>
                    <a:pt x="1008" y="4758"/>
                  </a:cubicBezTo>
                  <a:cubicBezTo>
                    <a:pt x="819" y="4758"/>
                    <a:pt x="662" y="4601"/>
                    <a:pt x="662" y="4412"/>
                  </a:cubicBezTo>
                  <a:cubicBezTo>
                    <a:pt x="662" y="4191"/>
                    <a:pt x="819" y="4034"/>
                    <a:pt x="1008" y="4034"/>
                  </a:cubicBezTo>
                  <a:close/>
                  <a:moveTo>
                    <a:pt x="7908" y="1"/>
                  </a:moveTo>
                  <a:cubicBezTo>
                    <a:pt x="7341" y="1"/>
                    <a:pt x="6868" y="474"/>
                    <a:pt x="6868" y="1009"/>
                  </a:cubicBezTo>
                  <a:cubicBezTo>
                    <a:pt x="6868" y="1198"/>
                    <a:pt x="6963" y="1419"/>
                    <a:pt x="7026" y="1576"/>
                  </a:cubicBezTo>
                  <a:lnTo>
                    <a:pt x="6112" y="2742"/>
                  </a:lnTo>
                  <a:cubicBezTo>
                    <a:pt x="6032" y="2722"/>
                    <a:pt x="5943" y="2711"/>
                    <a:pt x="5850" y="2711"/>
                  </a:cubicBezTo>
                  <a:cubicBezTo>
                    <a:pt x="5650" y="2711"/>
                    <a:pt x="5434" y="2760"/>
                    <a:pt x="5262" y="2868"/>
                  </a:cubicBezTo>
                  <a:lnTo>
                    <a:pt x="4096" y="1954"/>
                  </a:lnTo>
                  <a:cubicBezTo>
                    <a:pt x="4127" y="1891"/>
                    <a:pt x="4127" y="1765"/>
                    <a:pt x="4127" y="1639"/>
                  </a:cubicBezTo>
                  <a:cubicBezTo>
                    <a:pt x="4127" y="1104"/>
                    <a:pt x="3655" y="631"/>
                    <a:pt x="3088" y="631"/>
                  </a:cubicBezTo>
                  <a:cubicBezTo>
                    <a:pt x="2552" y="631"/>
                    <a:pt x="2080" y="1104"/>
                    <a:pt x="2080" y="1639"/>
                  </a:cubicBezTo>
                  <a:cubicBezTo>
                    <a:pt x="2080" y="1828"/>
                    <a:pt x="2143" y="2049"/>
                    <a:pt x="2237" y="2206"/>
                  </a:cubicBezTo>
                  <a:lnTo>
                    <a:pt x="1324" y="3372"/>
                  </a:lnTo>
                  <a:cubicBezTo>
                    <a:pt x="1261" y="3340"/>
                    <a:pt x="1134" y="3340"/>
                    <a:pt x="1008" y="3340"/>
                  </a:cubicBezTo>
                  <a:cubicBezTo>
                    <a:pt x="441" y="3340"/>
                    <a:pt x="0" y="3813"/>
                    <a:pt x="0" y="4349"/>
                  </a:cubicBezTo>
                  <a:cubicBezTo>
                    <a:pt x="0" y="4947"/>
                    <a:pt x="441" y="5388"/>
                    <a:pt x="1008" y="5388"/>
                  </a:cubicBezTo>
                  <a:cubicBezTo>
                    <a:pt x="1576" y="5388"/>
                    <a:pt x="2017" y="4916"/>
                    <a:pt x="2017" y="4349"/>
                  </a:cubicBezTo>
                  <a:cubicBezTo>
                    <a:pt x="2017" y="4160"/>
                    <a:pt x="1954" y="3971"/>
                    <a:pt x="1859" y="3813"/>
                  </a:cubicBezTo>
                  <a:lnTo>
                    <a:pt x="2773" y="2616"/>
                  </a:lnTo>
                  <a:cubicBezTo>
                    <a:pt x="2875" y="2650"/>
                    <a:pt x="2980" y="2667"/>
                    <a:pt x="3087" y="2667"/>
                  </a:cubicBezTo>
                  <a:cubicBezTo>
                    <a:pt x="3278" y="2667"/>
                    <a:pt x="3473" y="2611"/>
                    <a:pt x="3655" y="2490"/>
                  </a:cubicBezTo>
                  <a:lnTo>
                    <a:pt x="4821" y="3403"/>
                  </a:lnTo>
                  <a:cubicBezTo>
                    <a:pt x="4789" y="3498"/>
                    <a:pt x="4789" y="3624"/>
                    <a:pt x="4789" y="3719"/>
                  </a:cubicBezTo>
                  <a:cubicBezTo>
                    <a:pt x="4789" y="4286"/>
                    <a:pt x="5262" y="4758"/>
                    <a:pt x="5797" y="4758"/>
                  </a:cubicBezTo>
                  <a:cubicBezTo>
                    <a:pt x="6364" y="4758"/>
                    <a:pt x="6837" y="4286"/>
                    <a:pt x="6837" y="3719"/>
                  </a:cubicBezTo>
                  <a:cubicBezTo>
                    <a:pt x="6837" y="3529"/>
                    <a:pt x="6742" y="3340"/>
                    <a:pt x="6679" y="3183"/>
                  </a:cubicBezTo>
                  <a:lnTo>
                    <a:pt x="7593" y="1986"/>
                  </a:lnTo>
                  <a:cubicBezTo>
                    <a:pt x="7656" y="2049"/>
                    <a:pt x="7782" y="2049"/>
                    <a:pt x="7908" y="2049"/>
                  </a:cubicBezTo>
                  <a:cubicBezTo>
                    <a:pt x="8444" y="2049"/>
                    <a:pt x="8916" y="1576"/>
                    <a:pt x="8916" y="1009"/>
                  </a:cubicBezTo>
                  <a:cubicBezTo>
                    <a:pt x="8916" y="474"/>
                    <a:pt x="8444" y="1"/>
                    <a:pt x="7908" y="1"/>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597;p27">
              <a:extLst>
                <a:ext uri="{FF2B5EF4-FFF2-40B4-BE49-F238E27FC236}">
                  <a16:creationId xmlns:a16="http://schemas.microsoft.com/office/drawing/2014/main" id="{86377AE0-3A16-0A85-972E-74CCEDC037A1}"/>
                </a:ext>
              </a:extLst>
            </p:cNvPr>
            <p:cNvSpPr/>
            <p:nvPr/>
          </p:nvSpPr>
          <p:spPr>
            <a:xfrm>
              <a:off x="-1333200" y="2770450"/>
              <a:ext cx="291450" cy="292225"/>
            </a:xfrm>
            <a:custGeom>
              <a:avLst/>
              <a:gdLst/>
              <a:ahLst/>
              <a:cxnLst/>
              <a:rect l="l" t="t" r="r" b="b"/>
              <a:pathLst>
                <a:path w="11658" h="11689" extrusionOk="0">
                  <a:moveTo>
                    <a:pt x="10586" y="725"/>
                  </a:moveTo>
                  <a:cubicBezTo>
                    <a:pt x="10807" y="725"/>
                    <a:pt x="10964" y="883"/>
                    <a:pt x="10964" y="1072"/>
                  </a:cubicBezTo>
                  <a:lnTo>
                    <a:pt x="10964" y="7593"/>
                  </a:lnTo>
                  <a:lnTo>
                    <a:pt x="631" y="7593"/>
                  </a:lnTo>
                  <a:lnTo>
                    <a:pt x="631" y="1072"/>
                  </a:lnTo>
                  <a:cubicBezTo>
                    <a:pt x="662" y="883"/>
                    <a:pt x="820" y="725"/>
                    <a:pt x="977" y="725"/>
                  </a:cubicBezTo>
                  <a:close/>
                  <a:moveTo>
                    <a:pt x="10996" y="8286"/>
                  </a:moveTo>
                  <a:lnTo>
                    <a:pt x="10996" y="8633"/>
                  </a:lnTo>
                  <a:cubicBezTo>
                    <a:pt x="10996" y="8822"/>
                    <a:pt x="10838" y="8980"/>
                    <a:pt x="10618" y="8980"/>
                  </a:cubicBezTo>
                  <a:lnTo>
                    <a:pt x="1009" y="8980"/>
                  </a:lnTo>
                  <a:cubicBezTo>
                    <a:pt x="820" y="8980"/>
                    <a:pt x="662" y="8822"/>
                    <a:pt x="662" y="8633"/>
                  </a:cubicBezTo>
                  <a:lnTo>
                    <a:pt x="662" y="8286"/>
                  </a:lnTo>
                  <a:close/>
                  <a:moveTo>
                    <a:pt x="6617" y="9641"/>
                  </a:moveTo>
                  <a:lnTo>
                    <a:pt x="6932" y="11027"/>
                  </a:lnTo>
                  <a:lnTo>
                    <a:pt x="4632" y="11027"/>
                  </a:lnTo>
                  <a:lnTo>
                    <a:pt x="4947" y="9641"/>
                  </a:lnTo>
                  <a:close/>
                  <a:moveTo>
                    <a:pt x="1009" y="1"/>
                  </a:moveTo>
                  <a:cubicBezTo>
                    <a:pt x="473" y="1"/>
                    <a:pt x="1" y="473"/>
                    <a:pt x="1" y="1040"/>
                  </a:cubicBezTo>
                  <a:lnTo>
                    <a:pt x="1" y="8570"/>
                  </a:lnTo>
                  <a:cubicBezTo>
                    <a:pt x="1" y="9137"/>
                    <a:pt x="473" y="9610"/>
                    <a:pt x="1009" y="9610"/>
                  </a:cubicBezTo>
                  <a:lnTo>
                    <a:pt x="4285" y="9610"/>
                  </a:lnTo>
                  <a:lnTo>
                    <a:pt x="3970" y="10996"/>
                  </a:lnTo>
                  <a:lnTo>
                    <a:pt x="3057" y="10996"/>
                  </a:lnTo>
                  <a:cubicBezTo>
                    <a:pt x="2868" y="10996"/>
                    <a:pt x="2710" y="11153"/>
                    <a:pt x="2710" y="11342"/>
                  </a:cubicBezTo>
                  <a:cubicBezTo>
                    <a:pt x="2710" y="11531"/>
                    <a:pt x="2868" y="11689"/>
                    <a:pt x="3057" y="11689"/>
                  </a:cubicBezTo>
                  <a:lnTo>
                    <a:pt x="8538" y="11689"/>
                  </a:lnTo>
                  <a:cubicBezTo>
                    <a:pt x="8727" y="11689"/>
                    <a:pt x="8885" y="11531"/>
                    <a:pt x="8885" y="11342"/>
                  </a:cubicBezTo>
                  <a:cubicBezTo>
                    <a:pt x="8885" y="11153"/>
                    <a:pt x="8727" y="10996"/>
                    <a:pt x="8538" y="10996"/>
                  </a:cubicBezTo>
                  <a:lnTo>
                    <a:pt x="7625" y="10996"/>
                  </a:lnTo>
                  <a:lnTo>
                    <a:pt x="7310" y="9610"/>
                  </a:lnTo>
                  <a:lnTo>
                    <a:pt x="10618" y="9610"/>
                  </a:lnTo>
                  <a:cubicBezTo>
                    <a:pt x="11185" y="9610"/>
                    <a:pt x="11657" y="9137"/>
                    <a:pt x="11657" y="8570"/>
                  </a:cubicBezTo>
                  <a:lnTo>
                    <a:pt x="11657" y="1040"/>
                  </a:lnTo>
                  <a:cubicBezTo>
                    <a:pt x="11657" y="473"/>
                    <a:pt x="11185" y="1"/>
                    <a:pt x="10618" y="1"/>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0" name="Google Shape;602;p27">
            <a:extLst>
              <a:ext uri="{FF2B5EF4-FFF2-40B4-BE49-F238E27FC236}">
                <a16:creationId xmlns:a16="http://schemas.microsoft.com/office/drawing/2014/main" id="{AA2893BA-6E7F-EC13-1BED-CA7789ADDF52}"/>
              </a:ext>
            </a:extLst>
          </p:cNvPr>
          <p:cNvGrpSpPr/>
          <p:nvPr/>
        </p:nvGrpSpPr>
        <p:grpSpPr>
          <a:xfrm>
            <a:off x="7064472" y="3474146"/>
            <a:ext cx="362617" cy="467322"/>
            <a:chOff x="-3462178" y="2046630"/>
            <a:chExt cx="224502" cy="291451"/>
          </a:xfrm>
          <a:solidFill>
            <a:srgbClr val="006EB7"/>
          </a:solidFill>
        </p:grpSpPr>
        <p:sp>
          <p:nvSpPr>
            <p:cNvPr id="72" name="Google Shape;603;p27">
              <a:extLst>
                <a:ext uri="{FF2B5EF4-FFF2-40B4-BE49-F238E27FC236}">
                  <a16:creationId xmlns:a16="http://schemas.microsoft.com/office/drawing/2014/main" id="{D589CE66-6773-0C63-E0D8-7B89E4EC2B8F}"/>
                </a:ext>
              </a:extLst>
            </p:cNvPr>
            <p:cNvSpPr/>
            <p:nvPr/>
          </p:nvSpPr>
          <p:spPr>
            <a:xfrm>
              <a:off x="-3425157" y="2253007"/>
              <a:ext cx="51225" cy="50425"/>
            </a:xfrm>
            <a:custGeom>
              <a:avLst/>
              <a:gdLst/>
              <a:ahLst/>
              <a:cxnLst/>
              <a:rect l="l" t="t" r="r" b="b"/>
              <a:pathLst>
                <a:path w="2049" h="2017" extrusionOk="0">
                  <a:moveTo>
                    <a:pt x="1009" y="662"/>
                  </a:moveTo>
                  <a:cubicBezTo>
                    <a:pt x="1198" y="662"/>
                    <a:pt x="1355" y="819"/>
                    <a:pt x="1355" y="1008"/>
                  </a:cubicBezTo>
                  <a:cubicBezTo>
                    <a:pt x="1355" y="1197"/>
                    <a:pt x="1166" y="1355"/>
                    <a:pt x="1009" y="1355"/>
                  </a:cubicBezTo>
                  <a:cubicBezTo>
                    <a:pt x="820" y="1355"/>
                    <a:pt x="662" y="1197"/>
                    <a:pt x="662" y="1008"/>
                  </a:cubicBezTo>
                  <a:cubicBezTo>
                    <a:pt x="662" y="819"/>
                    <a:pt x="820" y="662"/>
                    <a:pt x="1009" y="662"/>
                  </a:cubicBezTo>
                  <a:close/>
                  <a:moveTo>
                    <a:pt x="1009" y="0"/>
                  </a:moveTo>
                  <a:cubicBezTo>
                    <a:pt x="473" y="0"/>
                    <a:pt x="0" y="441"/>
                    <a:pt x="0" y="1008"/>
                  </a:cubicBezTo>
                  <a:cubicBezTo>
                    <a:pt x="0" y="1575"/>
                    <a:pt x="473" y="2016"/>
                    <a:pt x="1009" y="2016"/>
                  </a:cubicBezTo>
                  <a:cubicBezTo>
                    <a:pt x="1576" y="2016"/>
                    <a:pt x="2048" y="1575"/>
                    <a:pt x="2048" y="1008"/>
                  </a:cubicBezTo>
                  <a:cubicBezTo>
                    <a:pt x="2048" y="441"/>
                    <a:pt x="1576" y="0"/>
                    <a:pt x="1009" y="0"/>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604;p27">
              <a:extLst>
                <a:ext uri="{FF2B5EF4-FFF2-40B4-BE49-F238E27FC236}">
                  <a16:creationId xmlns:a16="http://schemas.microsoft.com/office/drawing/2014/main" id="{AB57BDBD-AC62-9CD0-33A1-34603EFD38C2}"/>
                </a:ext>
              </a:extLst>
            </p:cNvPr>
            <p:cNvSpPr/>
            <p:nvPr/>
          </p:nvSpPr>
          <p:spPr>
            <a:xfrm>
              <a:off x="-3425157" y="2116732"/>
              <a:ext cx="51225" cy="49650"/>
            </a:xfrm>
            <a:custGeom>
              <a:avLst/>
              <a:gdLst/>
              <a:ahLst/>
              <a:cxnLst/>
              <a:rect l="l" t="t" r="r" b="b"/>
              <a:pathLst>
                <a:path w="2049" h="1986" extrusionOk="0">
                  <a:moveTo>
                    <a:pt x="343" y="1"/>
                  </a:moveTo>
                  <a:cubicBezTo>
                    <a:pt x="252" y="1"/>
                    <a:pt x="158" y="32"/>
                    <a:pt x="95" y="95"/>
                  </a:cubicBezTo>
                  <a:cubicBezTo>
                    <a:pt x="0" y="190"/>
                    <a:pt x="0" y="442"/>
                    <a:pt x="95" y="536"/>
                  </a:cubicBezTo>
                  <a:lnTo>
                    <a:pt x="536" y="977"/>
                  </a:lnTo>
                  <a:lnTo>
                    <a:pt x="95" y="1418"/>
                  </a:lnTo>
                  <a:cubicBezTo>
                    <a:pt x="0" y="1544"/>
                    <a:pt x="0" y="1765"/>
                    <a:pt x="95" y="1891"/>
                  </a:cubicBezTo>
                  <a:cubicBezTo>
                    <a:pt x="158" y="1954"/>
                    <a:pt x="252" y="1986"/>
                    <a:pt x="343" y="1986"/>
                  </a:cubicBezTo>
                  <a:cubicBezTo>
                    <a:pt x="434" y="1986"/>
                    <a:pt x="520" y="1954"/>
                    <a:pt x="568" y="1891"/>
                  </a:cubicBezTo>
                  <a:lnTo>
                    <a:pt x="1009" y="1450"/>
                  </a:lnTo>
                  <a:lnTo>
                    <a:pt x="1450" y="1891"/>
                  </a:lnTo>
                  <a:cubicBezTo>
                    <a:pt x="1513" y="1954"/>
                    <a:pt x="1599" y="1986"/>
                    <a:pt x="1686" y="1986"/>
                  </a:cubicBezTo>
                  <a:cubicBezTo>
                    <a:pt x="1773" y="1986"/>
                    <a:pt x="1859" y="1954"/>
                    <a:pt x="1922" y="1891"/>
                  </a:cubicBezTo>
                  <a:cubicBezTo>
                    <a:pt x="2048" y="1765"/>
                    <a:pt x="2048" y="1544"/>
                    <a:pt x="1922" y="1418"/>
                  </a:cubicBezTo>
                  <a:lnTo>
                    <a:pt x="1481" y="977"/>
                  </a:lnTo>
                  <a:lnTo>
                    <a:pt x="1922" y="536"/>
                  </a:lnTo>
                  <a:cubicBezTo>
                    <a:pt x="2048" y="442"/>
                    <a:pt x="2048" y="190"/>
                    <a:pt x="1922" y="95"/>
                  </a:cubicBezTo>
                  <a:cubicBezTo>
                    <a:pt x="1859" y="32"/>
                    <a:pt x="1773" y="1"/>
                    <a:pt x="1686" y="1"/>
                  </a:cubicBezTo>
                  <a:cubicBezTo>
                    <a:pt x="1599" y="1"/>
                    <a:pt x="1513" y="32"/>
                    <a:pt x="1450" y="95"/>
                  </a:cubicBezTo>
                  <a:lnTo>
                    <a:pt x="1009" y="505"/>
                  </a:lnTo>
                  <a:lnTo>
                    <a:pt x="568" y="95"/>
                  </a:lnTo>
                  <a:cubicBezTo>
                    <a:pt x="520" y="32"/>
                    <a:pt x="434" y="1"/>
                    <a:pt x="343" y="1"/>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605;p27">
              <a:extLst>
                <a:ext uri="{FF2B5EF4-FFF2-40B4-BE49-F238E27FC236}">
                  <a16:creationId xmlns:a16="http://schemas.microsoft.com/office/drawing/2014/main" id="{9426B42F-CF2D-1066-3757-BB6CC4ACEC79}"/>
                </a:ext>
              </a:extLst>
            </p:cNvPr>
            <p:cNvSpPr/>
            <p:nvPr/>
          </p:nvSpPr>
          <p:spPr>
            <a:xfrm>
              <a:off x="-3425157" y="2185257"/>
              <a:ext cx="51225" cy="49650"/>
            </a:xfrm>
            <a:custGeom>
              <a:avLst/>
              <a:gdLst/>
              <a:ahLst/>
              <a:cxnLst/>
              <a:rect l="l" t="t" r="r" b="b"/>
              <a:pathLst>
                <a:path w="2049" h="1986" extrusionOk="0">
                  <a:moveTo>
                    <a:pt x="343" y="1"/>
                  </a:moveTo>
                  <a:cubicBezTo>
                    <a:pt x="252" y="1"/>
                    <a:pt x="158" y="32"/>
                    <a:pt x="95" y="95"/>
                  </a:cubicBezTo>
                  <a:cubicBezTo>
                    <a:pt x="0" y="221"/>
                    <a:pt x="0" y="442"/>
                    <a:pt x="95" y="568"/>
                  </a:cubicBezTo>
                  <a:lnTo>
                    <a:pt x="536" y="1009"/>
                  </a:lnTo>
                  <a:lnTo>
                    <a:pt x="95" y="1418"/>
                  </a:lnTo>
                  <a:cubicBezTo>
                    <a:pt x="0" y="1544"/>
                    <a:pt x="0" y="1796"/>
                    <a:pt x="95" y="1891"/>
                  </a:cubicBezTo>
                  <a:cubicBezTo>
                    <a:pt x="158" y="1954"/>
                    <a:pt x="252" y="1985"/>
                    <a:pt x="343" y="1985"/>
                  </a:cubicBezTo>
                  <a:cubicBezTo>
                    <a:pt x="434" y="1985"/>
                    <a:pt x="520" y="1954"/>
                    <a:pt x="568" y="1891"/>
                  </a:cubicBezTo>
                  <a:lnTo>
                    <a:pt x="1009" y="1481"/>
                  </a:lnTo>
                  <a:lnTo>
                    <a:pt x="1450" y="1891"/>
                  </a:lnTo>
                  <a:cubicBezTo>
                    <a:pt x="1513" y="1954"/>
                    <a:pt x="1599" y="1985"/>
                    <a:pt x="1686" y="1985"/>
                  </a:cubicBezTo>
                  <a:cubicBezTo>
                    <a:pt x="1773" y="1985"/>
                    <a:pt x="1859" y="1954"/>
                    <a:pt x="1922" y="1891"/>
                  </a:cubicBezTo>
                  <a:cubicBezTo>
                    <a:pt x="2048" y="1796"/>
                    <a:pt x="2048" y="1544"/>
                    <a:pt x="1922" y="1418"/>
                  </a:cubicBezTo>
                  <a:lnTo>
                    <a:pt x="1481" y="1009"/>
                  </a:lnTo>
                  <a:lnTo>
                    <a:pt x="1922" y="568"/>
                  </a:lnTo>
                  <a:cubicBezTo>
                    <a:pt x="2048" y="410"/>
                    <a:pt x="2048" y="221"/>
                    <a:pt x="1922" y="95"/>
                  </a:cubicBezTo>
                  <a:cubicBezTo>
                    <a:pt x="1859" y="32"/>
                    <a:pt x="1773" y="1"/>
                    <a:pt x="1686" y="1"/>
                  </a:cubicBezTo>
                  <a:cubicBezTo>
                    <a:pt x="1599" y="1"/>
                    <a:pt x="1513" y="32"/>
                    <a:pt x="1450" y="95"/>
                  </a:cubicBezTo>
                  <a:lnTo>
                    <a:pt x="1009" y="536"/>
                  </a:lnTo>
                  <a:lnTo>
                    <a:pt x="568" y="95"/>
                  </a:lnTo>
                  <a:cubicBezTo>
                    <a:pt x="520" y="32"/>
                    <a:pt x="434" y="1"/>
                    <a:pt x="343" y="1"/>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606;p27">
              <a:extLst>
                <a:ext uri="{FF2B5EF4-FFF2-40B4-BE49-F238E27FC236}">
                  <a16:creationId xmlns:a16="http://schemas.microsoft.com/office/drawing/2014/main" id="{8EA46152-2053-8C48-F9CE-1BA27EBD5FEF}"/>
                </a:ext>
              </a:extLst>
            </p:cNvPr>
            <p:cNvSpPr/>
            <p:nvPr/>
          </p:nvSpPr>
          <p:spPr>
            <a:xfrm>
              <a:off x="-3462178" y="2046630"/>
              <a:ext cx="224502" cy="291451"/>
            </a:xfrm>
            <a:custGeom>
              <a:avLst/>
              <a:gdLst/>
              <a:ahLst/>
              <a:cxnLst/>
              <a:rect l="l" t="t" r="r" b="b"/>
              <a:pathLst>
                <a:path w="8980" h="11658" extrusionOk="0">
                  <a:moveTo>
                    <a:pt x="5924" y="694"/>
                  </a:moveTo>
                  <a:cubicBezTo>
                    <a:pt x="6113" y="694"/>
                    <a:pt x="6270" y="851"/>
                    <a:pt x="6270" y="1040"/>
                  </a:cubicBezTo>
                  <a:cubicBezTo>
                    <a:pt x="6270" y="1229"/>
                    <a:pt x="6113" y="1387"/>
                    <a:pt x="5924" y="1387"/>
                  </a:cubicBezTo>
                  <a:lnTo>
                    <a:pt x="3151" y="1387"/>
                  </a:lnTo>
                  <a:cubicBezTo>
                    <a:pt x="2962" y="1387"/>
                    <a:pt x="2805" y="1229"/>
                    <a:pt x="2805" y="1040"/>
                  </a:cubicBezTo>
                  <a:cubicBezTo>
                    <a:pt x="2805" y="851"/>
                    <a:pt x="2962" y="694"/>
                    <a:pt x="3151" y="694"/>
                  </a:cubicBezTo>
                  <a:close/>
                  <a:moveTo>
                    <a:pt x="8034" y="1356"/>
                  </a:moveTo>
                  <a:cubicBezTo>
                    <a:pt x="8255" y="1356"/>
                    <a:pt x="8413" y="1513"/>
                    <a:pt x="8413" y="1702"/>
                  </a:cubicBezTo>
                  <a:lnTo>
                    <a:pt x="8413" y="10649"/>
                  </a:lnTo>
                  <a:lnTo>
                    <a:pt x="8287" y="10649"/>
                  </a:lnTo>
                  <a:cubicBezTo>
                    <a:pt x="8287" y="10838"/>
                    <a:pt x="8129" y="10996"/>
                    <a:pt x="7940" y="10996"/>
                  </a:cubicBezTo>
                  <a:lnTo>
                    <a:pt x="1103" y="10996"/>
                  </a:lnTo>
                  <a:cubicBezTo>
                    <a:pt x="914" y="10996"/>
                    <a:pt x="757" y="10838"/>
                    <a:pt x="757" y="10649"/>
                  </a:cubicBezTo>
                  <a:lnTo>
                    <a:pt x="757" y="1702"/>
                  </a:lnTo>
                  <a:cubicBezTo>
                    <a:pt x="757" y="1513"/>
                    <a:pt x="914" y="1356"/>
                    <a:pt x="1103" y="1356"/>
                  </a:cubicBezTo>
                  <a:lnTo>
                    <a:pt x="2206" y="1356"/>
                  </a:lnTo>
                  <a:cubicBezTo>
                    <a:pt x="2364" y="1734"/>
                    <a:pt x="2742" y="2017"/>
                    <a:pt x="3214" y="2017"/>
                  </a:cubicBezTo>
                  <a:lnTo>
                    <a:pt x="5955" y="2017"/>
                  </a:lnTo>
                  <a:cubicBezTo>
                    <a:pt x="6396" y="2017"/>
                    <a:pt x="6774" y="1734"/>
                    <a:pt x="6932" y="1356"/>
                  </a:cubicBezTo>
                  <a:close/>
                  <a:moveTo>
                    <a:pt x="3120" y="1"/>
                  </a:moveTo>
                  <a:cubicBezTo>
                    <a:pt x="2679" y="1"/>
                    <a:pt x="2301" y="284"/>
                    <a:pt x="2143" y="694"/>
                  </a:cubicBezTo>
                  <a:lnTo>
                    <a:pt x="1040" y="694"/>
                  </a:lnTo>
                  <a:cubicBezTo>
                    <a:pt x="473" y="694"/>
                    <a:pt x="1" y="1166"/>
                    <a:pt x="1" y="1702"/>
                  </a:cubicBezTo>
                  <a:lnTo>
                    <a:pt x="1" y="10649"/>
                  </a:lnTo>
                  <a:cubicBezTo>
                    <a:pt x="1" y="11185"/>
                    <a:pt x="473" y="11658"/>
                    <a:pt x="1040" y="11658"/>
                  </a:cubicBezTo>
                  <a:lnTo>
                    <a:pt x="7877" y="11658"/>
                  </a:lnTo>
                  <a:cubicBezTo>
                    <a:pt x="8444" y="11658"/>
                    <a:pt x="8917" y="11185"/>
                    <a:pt x="8917" y="10649"/>
                  </a:cubicBezTo>
                  <a:lnTo>
                    <a:pt x="8917" y="1702"/>
                  </a:lnTo>
                  <a:cubicBezTo>
                    <a:pt x="8980" y="1166"/>
                    <a:pt x="8507" y="694"/>
                    <a:pt x="7971" y="694"/>
                  </a:cubicBezTo>
                  <a:lnTo>
                    <a:pt x="6869" y="694"/>
                  </a:lnTo>
                  <a:cubicBezTo>
                    <a:pt x="6711" y="284"/>
                    <a:pt x="6365" y="1"/>
                    <a:pt x="5892" y="1"/>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607;p27">
              <a:extLst>
                <a:ext uri="{FF2B5EF4-FFF2-40B4-BE49-F238E27FC236}">
                  <a16:creationId xmlns:a16="http://schemas.microsoft.com/office/drawing/2014/main" id="{E1B8385A-1237-F315-3166-C6412E99B884}"/>
                </a:ext>
              </a:extLst>
            </p:cNvPr>
            <p:cNvSpPr/>
            <p:nvPr/>
          </p:nvSpPr>
          <p:spPr>
            <a:xfrm>
              <a:off x="-3358193" y="2133283"/>
              <a:ext cx="86650" cy="18125"/>
            </a:xfrm>
            <a:custGeom>
              <a:avLst/>
              <a:gdLst/>
              <a:ahLst/>
              <a:cxnLst/>
              <a:rect l="l" t="t" r="r" b="b"/>
              <a:pathLst>
                <a:path w="3466" h="725" extrusionOk="0">
                  <a:moveTo>
                    <a:pt x="347" y="0"/>
                  </a:moveTo>
                  <a:cubicBezTo>
                    <a:pt x="158" y="0"/>
                    <a:pt x="0" y="158"/>
                    <a:pt x="0" y="378"/>
                  </a:cubicBezTo>
                  <a:cubicBezTo>
                    <a:pt x="0" y="567"/>
                    <a:pt x="158" y="725"/>
                    <a:pt x="347" y="725"/>
                  </a:cubicBezTo>
                  <a:lnTo>
                    <a:pt x="3088" y="725"/>
                  </a:lnTo>
                  <a:cubicBezTo>
                    <a:pt x="3308" y="725"/>
                    <a:pt x="3466" y="567"/>
                    <a:pt x="3466" y="378"/>
                  </a:cubicBezTo>
                  <a:cubicBezTo>
                    <a:pt x="3466" y="158"/>
                    <a:pt x="3308" y="0"/>
                    <a:pt x="3088" y="0"/>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608;p27">
              <a:extLst>
                <a:ext uri="{FF2B5EF4-FFF2-40B4-BE49-F238E27FC236}">
                  <a16:creationId xmlns:a16="http://schemas.microsoft.com/office/drawing/2014/main" id="{D60A4341-8B83-C346-F12C-EDBA51719BBA}"/>
                </a:ext>
              </a:extLst>
            </p:cNvPr>
            <p:cNvSpPr/>
            <p:nvPr/>
          </p:nvSpPr>
          <p:spPr>
            <a:xfrm>
              <a:off x="-3358191" y="220181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088" y="693"/>
                  </a:lnTo>
                  <a:cubicBezTo>
                    <a:pt x="3308" y="693"/>
                    <a:pt x="3466" y="536"/>
                    <a:pt x="3466" y="347"/>
                  </a:cubicBezTo>
                  <a:cubicBezTo>
                    <a:pt x="3466" y="158"/>
                    <a:pt x="3308" y="0"/>
                    <a:pt x="3088" y="0"/>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609;p27">
              <a:extLst>
                <a:ext uri="{FF2B5EF4-FFF2-40B4-BE49-F238E27FC236}">
                  <a16:creationId xmlns:a16="http://schemas.microsoft.com/office/drawing/2014/main" id="{8B5A994F-83AF-77CC-243D-735876DD2DEA}"/>
                </a:ext>
              </a:extLst>
            </p:cNvPr>
            <p:cNvSpPr/>
            <p:nvPr/>
          </p:nvSpPr>
          <p:spPr>
            <a:xfrm>
              <a:off x="-3358175" y="2270325"/>
              <a:ext cx="86650" cy="18125"/>
            </a:xfrm>
            <a:custGeom>
              <a:avLst/>
              <a:gdLst/>
              <a:ahLst/>
              <a:cxnLst/>
              <a:rect l="l" t="t" r="r" b="b"/>
              <a:pathLst>
                <a:path w="3466" h="725" extrusionOk="0">
                  <a:moveTo>
                    <a:pt x="347" y="0"/>
                  </a:moveTo>
                  <a:cubicBezTo>
                    <a:pt x="158" y="0"/>
                    <a:pt x="0" y="158"/>
                    <a:pt x="0" y="347"/>
                  </a:cubicBezTo>
                  <a:cubicBezTo>
                    <a:pt x="0" y="567"/>
                    <a:pt x="158" y="725"/>
                    <a:pt x="347" y="725"/>
                  </a:cubicBezTo>
                  <a:lnTo>
                    <a:pt x="3088" y="725"/>
                  </a:lnTo>
                  <a:cubicBezTo>
                    <a:pt x="3308" y="725"/>
                    <a:pt x="3466" y="567"/>
                    <a:pt x="3466" y="347"/>
                  </a:cubicBezTo>
                  <a:cubicBezTo>
                    <a:pt x="3466" y="158"/>
                    <a:pt x="3308" y="0"/>
                    <a:pt x="3088" y="0"/>
                  </a:cubicBezTo>
                  <a:close/>
                </a:path>
              </a:pathLst>
            </a:custGeom>
            <a:grp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pic>
        <p:nvPicPr>
          <p:cNvPr id="97" name="Graphique 96" descr="Salle de conseil contour">
            <a:extLst>
              <a:ext uri="{FF2B5EF4-FFF2-40B4-BE49-F238E27FC236}">
                <a16:creationId xmlns:a16="http://schemas.microsoft.com/office/drawing/2014/main" id="{DE0C2A3B-476D-2DCE-82A9-271E18FA04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42353" y="3364153"/>
            <a:ext cx="687279" cy="687279"/>
          </a:xfrm>
          <a:prstGeom prst="rect">
            <a:avLst/>
          </a:prstGeom>
        </p:spPr>
      </p:pic>
      <p:pic>
        <p:nvPicPr>
          <p:cNvPr id="107" name="Graphique 106" descr="Livre ouvert contour">
            <a:extLst>
              <a:ext uri="{FF2B5EF4-FFF2-40B4-BE49-F238E27FC236}">
                <a16:creationId xmlns:a16="http://schemas.microsoft.com/office/drawing/2014/main" id="{615F0EE2-5343-621E-A16A-65EDA9B80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27855" y="3422404"/>
            <a:ext cx="570776" cy="570776"/>
          </a:xfrm>
          <a:prstGeom prst="rect">
            <a:avLst/>
          </a:prstGeom>
        </p:spPr>
      </p:pic>
      <p:sp>
        <p:nvSpPr>
          <p:cNvPr id="50" name="Google Shape;585;p27">
            <a:extLst>
              <a:ext uri="{FF2B5EF4-FFF2-40B4-BE49-F238E27FC236}">
                <a16:creationId xmlns:a16="http://schemas.microsoft.com/office/drawing/2014/main" id="{01D7800D-7DEF-44B5-B6A1-9C6E433B660E}"/>
              </a:ext>
            </a:extLst>
          </p:cNvPr>
          <p:cNvSpPr/>
          <p:nvPr/>
        </p:nvSpPr>
        <p:spPr>
          <a:xfrm>
            <a:off x="1531246" y="2823669"/>
            <a:ext cx="1963994" cy="589097"/>
          </a:xfrm>
          <a:prstGeom prst="rect">
            <a:avLst/>
          </a:prstGeom>
          <a:no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Définir </a:t>
            </a:r>
            <a:br>
              <a:rPr kumimoji="0" lang="fr-FR" sz="1100" b="1" i="0" u="none" strike="noStrike" kern="0" cap="none" spc="0" normalizeH="0" baseline="0" noProof="0">
                <a:ln>
                  <a:noFill/>
                </a:ln>
                <a:solidFill>
                  <a:srgbClr val="006EB7"/>
                </a:solidFill>
                <a:effectLst/>
                <a:uLnTx/>
                <a:uFillTx/>
                <a:latin typeface="Arial"/>
                <a:ea typeface="Roboto"/>
                <a:cs typeface="Roboto"/>
                <a:sym typeface="Roboto"/>
              </a:rPr>
            </a:b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l’objectif prioritaire</a:t>
            </a:r>
          </a:p>
        </p:txBody>
      </p:sp>
      <p:sp>
        <p:nvSpPr>
          <p:cNvPr id="51" name="Google Shape;586;p27">
            <a:extLst>
              <a:ext uri="{FF2B5EF4-FFF2-40B4-BE49-F238E27FC236}">
                <a16:creationId xmlns:a16="http://schemas.microsoft.com/office/drawing/2014/main" id="{BC9D0164-D080-A053-9E8C-8AC8EC2A4D5D}"/>
              </a:ext>
            </a:extLst>
          </p:cNvPr>
          <p:cNvSpPr/>
          <p:nvPr/>
        </p:nvSpPr>
        <p:spPr>
          <a:xfrm>
            <a:off x="3951792" y="2823669"/>
            <a:ext cx="1963994" cy="589097"/>
          </a:xfrm>
          <a:prstGeom prst="rect">
            <a:avLst/>
          </a:prstGeom>
          <a:no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Décrire les processus </a:t>
            </a:r>
            <a:br>
              <a:rPr kumimoji="0" lang="fr-FR" sz="1100" b="1" i="0" u="none" strike="noStrike" kern="0" cap="none" spc="0" normalizeH="0" baseline="0" noProof="0">
                <a:ln>
                  <a:noFill/>
                </a:ln>
                <a:solidFill>
                  <a:srgbClr val="006EB7"/>
                </a:solidFill>
                <a:effectLst/>
                <a:uLnTx/>
                <a:uFillTx/>
                <a:latin typeface="Arial"/>
                <a:ea typeface="Roboto"/>
                <a:cs typeface="Roboto"/>
                <a:sym typeface="Roboto"/>
              </a:rPr>
            </a:b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et identifier leurs dysfonctionnements</a:t>
            </a:r>
            <a:br>
              <a:rPr kumimoji="0" lang="fr-FR" sz="1100" b="1" i="0" u="none" strike="noStrike" kern="0" cap="none" spc="0" normalizeH="0" baseline="0" noProof="0">
                <a:ln>
                  <a:noFill/>
                </a:ln>
                <a:solidFill>
                  <a:srgbClr val="006EB7"/>
                </a:solidFill>
                <a:effectLst/>
                <a:uLnTx/>
                <a:uFillTx/>
                <a:latin typeface="Arial"/>
                <a:ea typeface="Roboto"/>
                <a:cs typeface="Roboto"/>
                <a:sym typeface="Roboto"/>
              </a:rPr>
            </a:b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 et améliorations possibles</a:t>
            </a:r>
          </a:p>
        </p:txBody>
      </p:sp>
      <p:sp>
        <p:nvSpPr>
          <p:cNvPr id="52" name="Google Shape;587;p27">
            <a:extLst>
              <a:ext uri="{FF2B5EF4-FFF2-40B4-BE49-F238E27FC236}">
                <a16:creationId xmlns:a16="http://schemas.microsoft.com/office/drawing/2014/main" id="{39A48470-DC4E-B1FC-73FB-6E3C5F76FC28}"/>
              </a:ext>
            </a:extLst>
          </p:cNvPr>
          <p:cNvSpPr/>
          <p:nvPr/>
        </p:nvSpPr>
        <p:spPr>
          <a:xfrm>
            <a:off x="6263783" y="2823669"/>
            <a:ext cx="1963994" cy="589097"/>
          </a:xfrm>
          <a:prstGeom prst="rect">
            <a:avLst/>
          </a:prstGeom>
          <a:no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Identifier </a:t>
            </a:r>
            <a:br>
              <a:rPr kumimoji="0" lang="fr-FR" sz="1100" b="1" i="0" u="none" strike="noStrike" kern="0" cap="none" spc="0" normalizeH="0" baseline="0" noProof="0">
                <a:ln>
                  <a:noFill/>
                </a:ln>
                <a:solidFill>
                  <a:srgbClr val="006EB7"/>
                </a:solidFill>
                <a:effectLst/>
                <a:uLnTx/>
                <a:uFillTx/>
                <a:latin typeface="Arial"/>
                <a:ea typeface="Roboto"/>
                <a:cs typeface="Roboto"/>
                <a:sym typeface="Roboto"/>
              </a:rPr>
            </a:br>
            <a:r>
              <a:rPr kumimoji="0" lang="fr-FR" sz="1100" b="1" i="0" u="none" strike="noStrike" kern="0" cap="none" spc="0" normalizeH="0" baseline="0" noProof="0">
                <a:ln>
                  <a:noFill/>
                </a:ln>
                <a:solidFill>
                  <a:srgbClr val="006EB7"/>
                </a:solidFill>
                <a:effectLst/>
                <a:uLnTx/>
                <a:uFillTx/>
                <a:latin typeface="Arial"/>
                <a:ea typeface="Roboto"/>
                <a:cs typeface="Roboto"/>
                <a:sym typeface="Roboto"/>
              </a:rPr>
              <a:t>les causes des dysfonctionnements</a:t>
            </a:r>
          </a:p>
        </p:txBody>
      </p:sp>
      <p:sp>
        <p:nvSpPr>
          <p:cNvPr id="53" name="Google Shape;588;p27">
            <a:extLst>
              <a:ext uri="{FF2B5EF4-FFF2-40B4-BE49-F238E27FC236}">
                <a16:creationId xmlns:a16="http://schemas.microsoft.com/office/drawing/2014/main" id="{5B6052BF-0EE7-C292-A8F4-F6DD1EE89551}"/>
              </a:ext>
            </a:extLst>
          </p:cNvPr>
          <p:cNvSpPr/>
          <p:nvPr/>
        </p:nvSpPr>
        <p:spPr>
          <a:xfrm>
            <a:off x="8703995" y="2823669"/>
            <a:ext cx="1963994" cy="589097"/>
          </a:xfrm>
          <a:prstGeom prst="rect">
            <a:avLst/>
          </a:prstGeom>
          <a:noFill/>
          <a:ln>
            <a:noFill/>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noProof="0">
                <a:ln>
                  <a:noFill/>
                </a:ln>
                <a:solidFill>
                  <a:srgbClr val="26AAAF"/>
                </a:solidFill>
                <a:effectLst/>
                <a:uLnTx/>
                <a:uFillTx/>
                <a:latin typeface="Arial"/>
                <a:ea typeface="Roboto"/>
                <a:cs typeface="Roboto"/>
                <a:sym typeface="Roboto"/>
              </a:rPr>
              <a:t>Définir </a:t>
            </a:r>
            <a:br>
              <a:rPr kumimoji="0" lang="fr-FR" sz="1100" b="1" i="0" u="none" strike="noStrike" kern="0" cap="none" spc="0" normalizeH="0" baseline="0" noProof="0">
                <a:ln>
                  <a:noFill/>
                </a:ln>
                <a:solidFill>
                  <a:srgbClr val="26AAAF"/>
                </a:solidFill>
                <a:effectLst/>
                <a:uLnTx/>
                <a:uFillTx/>
                <a:latin typeface="Arial"/>
                <a:ea typeface="Roboto"/>
                <a:cs typeface="Roboto"/>
                <a:sym typeface="Roboto"/>
              </a:rPr>
            </a:br>
            <a:r>
              <a:rPr kumimoji="0" lang="fr-FR" sz="1100" b="1" i="0" u="none" strike="noStrike" kern="0" cap="none" spc="0" normalizeH="0" baseline="0" noProof="0">
                <a:ln>
                  <a:noFill/>
                </a:ln>
                <a:solidFill>
                  <a:srgbClr val="26AAAF"/>
                </a:solidFill>
                <a:effectLst/>
                <a:uLnTx/>
                <a:uFillTx/>
                <a:latin typeface="Arial"/>
                <a:ea typeface="Roboto"/>
                <a:cs typeface="Roboto"/>
                <a:sym typeface="Roboto"/>
              </a:rPr>
              <a:t>la feuille de route d’amélioration</a:t>
            </a:r>
          </a:p>
        </p:txBody>
      </p:sp>
      <p:sp>
        <p:nvSpPr>
          <p:cNvPr id="26" name="Google Shape;570;p27">
            <a:extLst>
              <a:ext uri="{FF2B5EF4-FFF2-40B4-BE49-F238E27FC236}">
                <a16:creationId xmlns:a16="http://schemas.microsoft.com/office/drawing/2014/main" id="{3D4B3A41-FEBB-2E51-C616-E1896C45EE55}"/>
              </a:ext>
            </a:extLst>
          </p:cNvPr>
          <p:cNvSpPr/>
          <p:nvPr/>
        </p:nvSpPr>
        <p:spPr>
          <a:xfrm>
            <a:off x="1125639" y="1889266"/>
            <a:ext cx="2775208" cy="2108110"/>
          </a:xfrm>
          <a:custGeom>
            <a:avLst/>
            <a:gdLst/>
            <a:ahLst/>
            <a:cxnLst/>
            <a:rect l="l" t="t" r="r" b="b"/>
            <a:pathLst>
              <a:path w="47603" h="50900" extrusionOk="0">
                <a:moveTo>
                  <a:pt x="44649" y="17050"/>
                </a:moveTo>
                <a:cubicBezTo>
                  <a:pt x="42256" y="23944"/>
                  <a:pt x="42959" y="31659"/>
                  <a:pt x="46554" y="37993"/>
                </a:cubicBezTo>
                <a:cubicBezTo>
                  <a:pt x="46340" y="38351"/>
                  <a:pt x="46114" y="38708"/>
                  <a:pt x="45888" y="39053"/>
                </a:cubicBezTo>
                <a:cubicBezTo>
                  <a:pt x="46066" y="39315"/>
                  <a:pt x="46257" y="39577"/>
                  <a:pt x="46459" y="39827"/>
                </a:cubicBezTo>
                <a:cubicBezTo>
                  <a:pt x="46876" y="39232"/>
                  <a:pt x="47245" y="38636"/>
                  <a:pt x="47602" y="38005"/>
                </a:cubicBezTo>
                <a:cubicBezTo>
                  <a:pt x="44114" y="32052"/>
                  <a:pt x="43185" y="25135"/>
                  <a:pt x="45126" y="18515"/>
                </a:cubicBezTo>
                <a:cubicBezTo>
                  <a:pt x="44983" y="18039"/>
                  <a:pt x="44816" y="17562"/>
                  <a:pt x="44649" y="17050"/>
                </a:cubicBezTo>
                <a:close/>
                <a:moveTo>
                  <a:pt x="25457" y="1"/>
                </a:moveTo>
                <a:cubicBezTo>
                  <a:pt x="11407" y="1"/>
                  <a:pt x="1" y="11383"/>
                  <a:pt x="1" y="25444"/>
                </a:cubicBezTo>
                <a:cubicBezTo>
                  <a:pt x="1" y="39494"/>
                  <a:pt x="11407" y="50900"/>
                  <a:pt x="25457" y="50900"/>
                </a:cubicBezTo>
                <a:cubicBezTo>
                  <a:pt x="33065" y="50900"/>
                  <a:pt x="40185" y="47530"/>
                  <a:pt x="45042" y="41696"/>
                </a:cubicBezTo>
                <a:cubicBezTo>
                  <a:pt x="44852" y="41458"/>
                  <a:pt x="44649" y="41220"/>
                  <a:pt x="44471" y="40970"/>
                </a:cubicBezTo>
                <a:cubicBezTo>
                  <a:pt x="39804" y="46697"/>
                  <a:pt x="32862" y="50007"/>
                  <a:pt x="25457" y="50007"/>
                </a:cubicBezTo>
                <a:cubicBezTo>
                  <a:pt x="11895" y="50007"/>
                  <a:pt x="894" y="39006"/>
                  <a:pt x="894" y="25444"/>
                </a:cubicBezTo>
                <a:cubicBezTo>
                  <a:pt x="894" y="11895"/>
                  <a:pt x="11895" y="894"/>
                  <a:pt x="25457" y="894"/>
                </a:cubicBezTo>
                <a:cubicBezTo>
                  <a:pt x="34136" y="894"/>
                  <a:pt x="42113" y="5430"/>
                  <a:pt x="46542" y="12883"/>
                </a:cubicBezTo>
                <a:cubicBezTo>
                  <a:pt x="46292" y="13324"/>
                  <a:pt x="46066" y="13752"/>
                  <a:pt x="45840" y="14193"/>
                </a:cubicBezTo>
                <a:cubicBezTo>
                  <a:pt x="46019" y="14550"/>
                  <a:pt x="46185" y="14907"/>
                  <a:pt x="46340" y="15265"/>
                </a:cubicBezTo>
                <a:cubicBezTo>
                  <a:pt x="46709" y="14431"/>
                  <a:pt x="47126" y="13657"/>
                  <a:pt x="47590" y="12871"/>
                </a:cubicBezTo>
                <a:cubicBezTo>
                  <a:pt x="42935" y="4894"/>
                  <a:pt x="34731" y="1"/>
                  <a:pt x="25457" y="1"/>
                </a:cubicBezTo>
                <a:close/>
              </a:path>
            </a:pathLst>
          </a:custGeom>
          <a:solidFill>
            <a:srgbClr val="006EB8"/>
          </a:solidFill>
          <a:ln>
            <a:solidFill>
              <a:srgbClr val="006EB8"/>
            </a:solid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Google Shape;571;p27">
            <a:extLst>
              <a:ext uri="{FF2B5EF4-FFF2-40B4-BE49-F238E27FC236}">
                <a16:creationId xmlns:a16="http://schemas.microsoft.com/office/drawing/2014/main" id="{9D5B1F1A-F793-A073-E536-BBC5F93B5036}"/>
              </a:ext>
            </a:extLst>
          </p:cNvPr>
          <p:cNvSpPr/>
          <p:nvPr/>
        </p:nvSpPr>
        <p:spPr>
          <a:xfrm>
            <a:off x="3038856" y="1885071"/>
            <a:ext cx="3771155" cy="2108110"/>
          </a:xfrm>
          <a:custGeom>
            <a:avLst/>
            <a:gdLst/>
            <a:ahLst/>
            <a:cxnLst/>
            <a:rect l="l" t="t" r="r" b="b"/>
            <a:pathLst>
              <a:path w="65009" h="50995" extrusionOk="0">
                <a:moveTo>
                  <a:pt x="32540" y="0"/>
                </a:moveTo>
                <a:cubicBezTo>
                  <a:pt x="25027" y="0"/>
                  <a:pt x="17883" y="3322"/>
                  <a:pt x="13026" y="9073"/>
                </a:cubicBezTo>
                <a:lnTo>
                  <a:pt x="13573" y="9823"/>
                </a:lnTo>
                <a:cubicBezTo>
                  <a:pt x="18324" y="4203"/>
                  <a:pt x="25170" y="917"/>
                  <a:pt x="32552" y="917"/>
                </a:cubicBezTo>
                <a:cubicBezTo>
                  <a:pt x="39981" y="917"/>
                  <a:pt x="46970" y="4275"/>
                  <a:pt x="51697" y="10002"/>
                </a:cubicBezTo>
                <a:lnTo>
                  <a:pt x="52257" y="9311"/>
                </a:lnTo>
                <a:cubicBezTo>
                  <a:pt x="47411" y="3429"/>
                  <a:pt x="40172" y="0"/>
                  <a:pt x="32540" y="0"/>
                </a:cubicBezTo>
                <a:close/>
                <a:moveTo>
                  <a:pt x="53519" y="11073"/>
                </a:moveTo>
                <a:lnTo>
                  <a:pt x="53519" y="11073"/>
                </a:lnTo>
                <a:cubicBezTo>
                  <a:pt x="53328" y="11335"/>
                  <a:pt x="53150" y="11597"/>
                  <a:pt x="52971" y="11835"/>
                </a:cubicBezTo>
                <a:cubicBezTo>
                  <a:pt x="53221" y="12192"/>
                  <a:pt x="53459" y="12562"/>
                  <a:pt x="53686" y="12954"/>
                </a:cubicBezTo>
                <a:cubicBezTo>
                  <a:pt x="50066" y="19324"/>
                  <a:pt x="49387" y="27075"/>
                  <a:pt x="51804" y="33981"/>
                </a:cubicBezTo>
                <a:cubicBezTo>
                  <a:pt x="51983" y="33517"/>
                  <a:pt x="52150" y="33040"/>
                  <a:pt x="52304" y="32564"/>
                </a:cubicBezTo>
                <a:cubicBezTo>
                  <a:pt x="50423" y="26289"/>
                  <a:pt x="51138" y="19610"/>
                  <a:pt x="54233" y="13836"/>
                </a:cubicBezTo>
                <a:lnTo>
                  <a:pt x="54233" y="13836"/>
                </a:lnTo>
                <a:cubicBezTo>
                  <a:pt x="58115" y="21063"/>
                  <a:pt x="58103" y="29909"/>
                  <a:pt x="54186" y="37124"/>
                </a:cubicBezTo>
                <a:cubicBezTo>
                  <a:pt x="53947" y="36672"/>
                  <a:pt x="53733" y="36231"/>
                  <a:pt x="53519" y="35767"/>
                </a:cubicBezTo>
                <a:lnTo>
                  <a:pt x="53031" y="36838"/>
                </a:lnTo>
                <a:cubicBezTo>
                  <a:pt x="53233" y="37255"/>
                  <a:pt x="53447" y="37660"/>
                  <a:pt x="53674" y="38041"/>
                </a:cubicBezTo>
                <a:cubicBezTo>
                  <a:pt x="49245" y="45423"/>
                  <a:pt x="41482" y="50066"/>
                  <a:pt x="32600" y="50066"/>
                </a:cubicBezTo>
                <a:cubicBezTo>
                  <a:pt x="23872" y="50066"/>
                  <a:pt x="15836" y="45470"/>
                  <a:pt x="11418" y="37946"/>
                </a:cubicBezTo>
                <a:cubicBezTo>
                  <a:pt x="11656" y="37505"/>
                  <a:pt x="11883" y="37076"/>
                  <a:pt x="12085" y="36648"/>
                </a:cubicBezTo>
                <a:cubicBezTo>
                  <a:pt x="11907" y="36291"/>
                  <a:pt x="11740" y="35933"/>
                  <a:pt x="11597" y="35564"/>
                </a:cubicBezTo>
                <a:cubicBezTo>
                  <a:pt x="11359" y="36076"/>
                  <a:pt x="11121" y="36576"/>
                  <a:pt x="10847" y="37065"/>
                </a:cubicBezTo>
                <a:cubicBezTo>
                  <a:pt x="7001" y="29873"/>
                  <a:pt x="7001" y="21134"/>
                  <a:pt x="10823" y="13931"/>
                </a:cubicBezTo>
                <a:lnTo>
                  <a:pt x="10823" y="13931"/>
                </a:lnTo>
                <a:cubicBezTo>
                  <a:pt x="13812" y="19586"/>
                  <a:pt x="14538" y="26099"/>
                  <a:pt x="12799" y="32243"/>
                </a:cubicBezTo>
                <a:cubicBezTo>
                  <a:pt x="12930" y="32743"/>
                  <a:pt x="13097" y="33243"/>
                  <a:pt x="13276" y="33719"/>
                </a:cubicBezTo>
                <a:cubicBezTo>
                  <a:pt x="15574" y="26944"/>
                  <a:pt x="14883" y="19372"/>
                  <a:pt x="11383" y="13121"/>
                </a:cubicBezTo>
                <a:cubicBezTo>
                  <a:pt x="11645" y="12704"/>
                  <a:pt x="11895" y="12300"/>
                  <a:pt x="12157" y="11895"/>
                </a:cubicBezTo>
                <a:cubicBezTo>
                  <a:pt x="11990" y="11633"/>
                  <a:pt x="11787" y="11371"/>
                  <a:pt x="11597" y="11121"/>
                </a:cubicBezTo>
                <a:lnTo>
                  <a:pt x="11597" y="11121"/>
                </a:lnTo>
                <a:cubicBezTo>
                  <a:pt x="0" y="27980"/>
                  <a:pt x="11954" y="50995"/>
                  <a:pt x="32588" y="50995"/>
                </a:cubicBezTo>
                <a:cubicBezTo>
                  <a:pt x="53269" y="50995"/>
                  <a:pt x="65008" y="27671"/>
                  <a:pt x="53519" y="11073"/>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Google Shape;572;p27">
            <a:extLst>
              <a:ext uri="{FF2B5EF4-FFF2-40B4-BE49-F238E27FC236}">
                <a16:creationId xmlns:a16="http://schemas.microsoft.com/office/drawing/2014/main" id="{D29B3F74-2428-BF29-5D37-7CD9F9493CA3}"/>
              </a:ext>
            </a:extLst>
          </p:cNvPr>
          <p:cNvSpPr/>
          <p:nvPr/>
        </p:nvSpPr>
        <p:spPr>
          <a:xfrm>
            <a:off x="5385757" y="1889266"/>
            <a:ext cx="3720047" cy="2108110"/>
          </a:xfrm>
          <a:custGeom>
            <a:avLst/>
            <a:gdLst/>
            <a:ahLst/>
            <a:cxnLst/>
            <a:rect l="l" t="t" r="r" b="b"/>
            <a:pathLst>
              <a:path w="64128" h="50900" extrusionOk="0">
                <a:moveTo>
                  <a:pt x="32279" y="894"/>
                </a:moveTo>
                <a:cubicBezTo>
                  <a:pt x="40958" y="894"/>
                  <a:pt x="48935" y="5430"/>
                  <a:pt x="53388" y="12871"/>
                </a:cubicBezTo>
                <a:cubicBezTo>
                  <a:pt x="53150" y="13300"/>
                  <a:pt x="52912" y="13741"/>
                  <a:pt x="52686" y="14181"/>
                </a:cubicBezTo>
                <a:lnTo>
                  <a:pt x="53174" y="15253"/>
                </a:lnTo>
                <a:cubicBezTo>
                  <a:pt x="53400" y="14753"/>
                  <a:pt x="53650" y="14252"/>
                  <a:pt x="53900" y="13776"/>
                </a:cubicBezTo>
                <a:cubicBezTo>
                  <a:pt x="57806" y="21003"/>
                  <a:pt x="57806" y="29850"/>
                  <a:pt x="53900" y="37089"/>
                </a:cubicBezTo>
                <a:cubicBezTo>
                  <a:pt x="50852" y="31362"/>
                  <a:pt x="50126" y="24730"/>
                  <a:pt x="51960" y="18515"/>
                </a:cubicBezTo>
                <a:cubicBezTo>
                  <a:pt x="51805" y="18015"/>
                  <a:pt x="51638" y="17551"/>
                  <a:pt x="51460" y="17086"/>
                </a:cubicBezTo>
                <a:lnTo>
                  <a:pt x="51460" y="17086"/>
                </a:lnTo>
                <a:cubicBezTo>
                  <a:pt x="49066" y="23956"/>
                  <a:pt x="49769" y="31683"/>
                  <a:pt x="53365" y="38017"/>
                </a:cubicBezTo>
                <a:cubicBezTo>
                  <a:pt x="48947" y="45423"/>
                  <a:pt x="40899" y="50007"/>
                  <a:pt x="32279" y="50007"/>
                </a:cubicBezTo>
                <a:cubicBezTo>
                  <a:pt x="23587" y="50007"/>
                  <a:pt x="15622" y="45447"/>
                  <a:pt x="11181" y="38017"/>
                </a:cubicBezTo>
                <a:cubicBezTo>
                  <a:pt x="14776" y="31683"/>
                  <a:pt x="15479" y="23968"/>
                  <a:pt x="13086" y="17086"/>
                </a:cubicBezTo>
                <a:lnTo>
                  <a:pt x="13086" y="17086"/>
                </a:lnTo>
                <a:cubicBezTo>
                  <a:pt x="12907" y="17562"/>
                  <a:pt x="12740" y="18039"/>
                  <a:pt x="12586" y="18515"/>
                </a:cubicBezTo>
                <a:cubicBezTo>
                  <a:pt x="14419" y="24730"/>
                  <a:pt x="13693" y="31362"/>
                  <a:pt x="10645" y="37089"/>
                </a:cubicBezTo>
                <a:cubicBezTo>
                  <a:pt x="6740" y="29850"/>
                  <a:pt x="6752" y="21015"/>
                  <a:pt x="10645" y="13800"/>
                </a:cubicBezTo>
                <a:cubicBezTo>
                  <a:pt x="10895" y="14276"/>
                  <a:pt x="11145" y="14764"/>
                  <a:pt x="11371" y="15265"/>
                </a:cubicBezTo>
                <a:cubicBezTo>
                  <a:pt x="11514" y="14907"/>
                  <a:pt x="11681" y="14550"/>
                  <a:pt x="11859" y="14193"/>
                </a:cubicBezTo>
                <a:cubicBezTo>
                  <a:pt x="11633" y="13752"/>
                  <a:pt x="11419" y="13324"/>
                  <a:pt x="11157" y="12883"/>
                </a:cubicBezTo>
                <a:cubicBezTo>
                  <a:pt x="15586" y="5442"/>
                  <a:pt x="23647" y="894"/>
                  <a:pt x="32279" y="894"/>
                </a:cubicBezTo>
                <a:close/>
                <a:moveTo>
                  <a:pt x="32279" y="1"/>
                </a:moveTo>
                <a:cubicBezTo>
                  <a:pt x="11871" y="1"/>
                  <a:pt x="1" y="22825"/>
                  <a:pt x="11014" y="39434"/>
                </a:cubicBezTo>
                <a:cubicBezTo>
                  <a:pt x="15610" y="46435"/>
                  <a:pt x="23897" y="50900"/>
                  <a:pt x="32279" y="50900"/>
                </a:cubicBezTo>
                <a:cubicBezTo>
                  <a:pt x="41196" y="50900"/>
                  <a:pt x="49769" y="45959"/>
                  <a:pt x="54246" y="38303"/>
                </a:cubicBezTo>
                <a:cubicBezTo>
                  <a:pt x="64128" y="21694"/>
                  <a:pt x="51995" y="1"/>
                  <a:pt x="32279" y="1"/>
                </a:cubicBezTo>
                <a:close/>
              </a:path>
            </a:pathLst>
          </a:custGeom>
          <a:solidFill>
            <a:srgbClr val="006EB7"/>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574;p27">
            <a:extLst>
              <a:ext uri="{FF2B5EF4-FFF2-40B4-BE49-F238E27FC236}">
                <a16:creationId xmlns:a16="http://schemas.microsoft.com/office/drawing/2014/main" id="{2ACEE416-D6DB-03D8-A979-B30FBBC1D250}"/>
              </a:ext>
            </a:extLst>
          </p:cNvPr>
          <p:cNvSpPr/>
          <p:nvPr/>
        </p:nvSpPr>
        <p:spPr>
          <a:xfrm>
            <a:off x="8305621" y="1889266"/>
            <a:ext cx="2760742" cy="2108110"/>
          </a:xfrm>
          <a:custGeom>
            <a:avLst/>
            <a:gdLst/>
            <a:ahLst/>
            <a:cxnLst/>
            <a:rect l="l" t="t" r="r" b="b"/>
            <a:pathLst>
              <a:path w="47591" h="50900" extrusionOk="0">
                <a:moveTo>
                  <a:pt x="2942" y="17050"/>
                </a:moveTo>
                <a:lnTo>
                  <a:pt x="2942" y="17050"/>
                </a:lnTo>
                <a:cubicBezTo>
                  <a:pt x="2775" y="17562"/>
                  <a:pt x="2620" y="18039"/>
                  <a:pt x="2465" y="18515"/>
                </a:cubicBezTo>
                <a:cubicBezTo>
                  <a:pt x="4418" y="25135"/>
                  <a:pt x="3477" y="32052"/>
                  <a:pt x="1" y="38005"/>
                </a:cubicBezTo>
                <a:cubicBezTo>
                  <a:pt x="358" y="38636"/>
                  <a:pt x="727" y="39232"/>
                  <a:pt x="1144" y="39827"/>
                </a:cubicBezTo>
                <a:cubicBezTo>
                  <a:pt x="1334" y="39577"/>
                  <a:pt x="1525" y="39315"/>
                  <a:pt x="1703" y="39053"/>
                </a:cubicBezTo>
                <a:cubicBezTo>
                  <a:pt x="1489" y="38708"/>
                  <a:pt x="1263" y="38351"/>
                  <a:pt x="1037" y="37993"/>
                </a:cubicBezTo>
                <a:cubicBezTo>
                  <a:pt x="4644" y="31659"/>
                  <a:pt x="5335" y="23944"/>
                  <a:pt x="2942" y="17050"/>
                </a:cubicBezTo>
                <a:close/>
                <a:moveTo>
                  <a:pt x="22146" y="1"/>
                </a:moveTo>
                <a:cubicBezTo>
                  <a:pt x="12871" y="1"/>
                  <a:pt x="4656" y="4894"/>
                  <a:pt x="13" y="12871"/>
                </a:cubicBezTo>
                <a:cubicBezTo>
                  <a:pt x="477" y="13657"/>
                  <a:pt x="894" y="14431"/>
                  <a:pt x="1263" y="15265"/>
                </a:cubicBezTo>
                <a:cubicBezTo>
                  <a:pt x="1406" y="14907"/>
                  <a:pt x="1572" y="14550"/>
                  <a:pt x="1751" y="14193"/>
                </a:cubicBezTo>
                <a:cubicBezTo>
                  <a:pt x="1525" y="13752"/>
                  <a:pt x="1310" y="13324"/>
                  <a:pt x="1049" y="12883"/>
                </a:cubicBezTo>
                <a:cubicBezTo>
                  <a:pt x="5490" y="5430"/>
                  <a:pt x="13467" y="894"/>
                  <a:pt x="22146" y="894"/>
                </a:cubicBezTo>
                <a:cubicBezTo>
                  <a:pt x="35696" y="894"/>
                  <a:pt x="46697" y="11895"/>
                  <a:pt x="46697" y="25444"/>
                </a:cubicBezTo>
                <a:cubicBezTo>
                  <a:pt x="46697" y="39006"/>
                  <a:pt x="35696" y="50007"/>
                  <a:pt x="22146" y="50007"/>
                </a:cubicBezTo>
                <a:cubicBezTo>
                  <a:pt x="14729" y="50007"/>
                  <a:pt x="7799" y="46697"/>
                  <a:pt x="3120" y="40970"/>
                </a:cubicBezTo>
                <a:cubicBezTo>
                  <a:pt x="2942" y="41220"/>
                  <a:pt x="2751" y="41458"/>
                  <a:pt x="2561" y="41696"/>
                </a:cubicBezTo>
                <a:cubicBezTo>
                  <a:pt x="7406" y="47530"/>
                  <a:pt x="14538" y="50900"/>
                  <a:pt x="22146" y="50900"/>
                </a:cubicBezTo>
                <a:cubicBezTo>
                  <a:pt x="36208" y="50900"/>
                  <a:pt x="47590" y="39494"/>
                  <a:pt x="47590" y="25444"/>
                </a:cubicBezTo>
                <a:cubicBezTo>
                  <a:pt x="47590" y="11383"/>
                  <a:pt x="36196" y="1"/>
                  <a:pt x="22146" y="1"/>
                </a:cubicBezTo>
                <a:close/>
              </a:path>
            </a:pathLst>
          </a:custGeom>
          <a:solidFill>
            <a:srgbClr val="26AAAF"/>
          </a:solidFill>
          <a:ln>
            <a:solidFill>
              <a:srgbClr val="26AAAF"/>
            </a:solid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583;p27">
            <a:extLst>
              <a:ext uri="{FF2B5EF4-FFF2-40B4-BE49-F238E27FC236}">
                <a16:creationId xmlns:a16="http://schemas.microsoft.com/office/drawing/2014/main" id="{873DF73A-C1D1-4942-3E9B-0A321A9BDD13}"/>
              </a:ext>
            </a:extLst>
          </p:cNvPr>
          <p:cNvSpPr/>
          <p:nvPr/>
        </p:nvSpPr>
        <p:spPr>
          <a:xfrm>
            <a:off x="9637791" y="4172020"/>
            <a:ext cx="96403" cy="95716"/>
          </a:xfrm>
          <a:custGeom>
            <a:avLst/>
            <a:gdLst/>
            <a:ahLst/>
            <a:cxnLst/>
            <a:rect l="l" t="t" r="r" b="b"/>
            <a:pathLst>
              <a:path w="2168" h="2168" extrusionOk="0">
                <a:moveTo>
                  <a:pt x="1084" y="1"/>
                </a:moveTo>
                <a:cubicBezTo>
                  <a:pt x="489" y="1"/>
                  <a:pt x="1" y="477"/>
                  <a:pt x="1" y="1084"/>
                </a:cubicBezTo>
                <a:cubicBezTo>
                  <a:pt x="1" y="1680"/>
                  <a:pt x="477" y="2168"/>
                  <a:pt x="1084" y="2168"/>
                </a:cubicBezTo>
                <a:cubicBezTo>
                  <a:pt x="1680" y="2168"/>
                  <a:pt x="2168" y="1692"/>
                  <a:pt x="2168" y="1084"/>
                </a:cubicBezTo>
                <a:cubicBezTo>
                  <a:pt x="2168" y="477"/>
                  <a:pt x="1680" y="1"/>
                  <a:pt x="1084" y="1"/>
                </a:cubicBezTo>
                <a:close/>
              </a:path>
            </a:pathLst>
          </a:custGeom>
          <a:solidFill>
            <a:srgbClr val="FFFFFF"/>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900" b="0" i="0" u="none" strike="noStrike" kern="0" cap="none" spc="0" normalizeH="0" baseline="0" noProof="0">
              <a:ln>
                <a:noFill/>
              </a:ln>
              <a:solidFill>
                <a:srgbClr val="000000"/>
              </a:solidFill>
              <a:effectLst/>
              <a:uLnTx/>
              <a:uFillTx/>
              <a:latin typeface="Arial"/>
              <a:cs typeface="Arial"/>
              <a:sym typeface="Arial"/>
            </a:endParaRPr>
          </a:p>
        </p:txBody>
      </p:sp>
      <p:grpSp>
        <p:nvGrpSpPr>
          <p:cNvPr id="35" name="Groupe 34">
            <a:extLst>
              <a:ext uri="{FF2B5EF4-FFF2-40B4-BE49-F238E27FC236}">
                <a16:creationId xmlns:a16="http://schemas.microsoft.com/office/drawing/2014/main" id="{C0579C96-C93C-8985-168C-EFA900056AE3}"/>
              </a:ext>
            </a:extLst>
          </p:cNvPr>
          <p:cNvGrpSpPr/>
          <p:nvPr/>
        </p:nvGrpSpPr>
        <p:grpSpPr>
          <a:xfrm>
            <a:off x="1356779" y="1447511"/>
            <a:ext cx="2312928" cy="313347"/>
            <a:chOff x="1393510" y="1447511"/>
            <a:chExt cx="2239467" cy="313347"/>
          </a:xfrm>
        </p:grpSpPr>
        <p:grpSp>
          <p:nvGrpSpPr>
            <p:cNvPr id="4" name="Groupe 3">
              <a:extLst>
                <a:ext uri="{FF2B5EF4-FFF2-40B4-BE49-F238E27FC236}">
                  <a16:creationId xmlns:a16="http://schemas.microsoft.com/office/drawing/2014/main" id="{7A02CAA6-2050-762E-7EE7-B4A191A334A6}"/>
                </a:ext>
              </a:extLst>
            </p:cNvPr>
            <p:cNvGrpSpPr/>
            <p:nvPr/>
          </p:nvGrpSpPr>
          <p:grpSpPr>
            <a:xfrm>
              <a:off x="1393510" y="1447511"/>
              <a:ext cx="2239467" cy="313347"/>
              <a:chOff x="638999" y="1171595"/>
              <a:chExt cx="2121942" cy="344677"/>
            </a:xfrm>
            <a:solidFill>
              <a:srgbClr val="006EB7"/>
            </a:solidFill>
          </p:grpSpPr>
          <p:sp>
            <p:nvSpPr>
              <p:cNvPr id="5" name="Google Shape;421;p37">
                <a:extLst>
                  <a:ext uri="{FF2B5EF4-FFF2-40B4-BE49-F238E27FC236}">
                    <a16:creationId xmlns:a16="http://schemas.microsoft.com/office/drawing/2014/main" id="{D35E04FC-D891-243D-A86C-3448119F9392}"/>
                  </a:ext>
                </a:extLst>
              </p:cNvPr>
              <p:cNvSpPr/>
              <p:nvPr/>
            </p:nvSpPr>
            <p:spPr>
              <a:xfrm>
                <a:off x="638999" y="1171595"/>
                <a:ext cx="2121942" cy="344677"/>
              </a:xfrm>
              <a:prstGeom prst="roundRect">
                <a:avLst>
                  <a:gd name="adj" fmla="val 50000"/>
                </a:avLst>
              </a:prstGeom>
              <a:grpFill/>
              <a:ln>
                <a:noFill/>
              </a:ln>
            </p:spPr>
            <p:txBody>
              <a:bodyPr spcFirstLastPara="1" wrap="square" lIns="91425" tIns="91425" rIns="91425" bIns="91425" anchor="ctr" anchorCtr="0">
                <a:noAutofit/>
              </a:bodyPr>
              <a:lstStyle/>
              <a:p>
                <a:r>
                  <a:rPr lang="fr-FR" sz="1400" b="1">
                    <a:solidFill>
                      <a:schemeClr val="lt1"/>
                    </a:solidFill>
                    <a:latin typeface="+mj-lt"/>
                    <a:ea typeface="Fira Sans Extra Condensed"/>
                    <a:cs typeface="Fira Sans Extra Condensed"/>
                    <a:sym typeface="Fira Sans Extra Condensed"/>
                  </a:rPr>
                  <a:t>1. </a:t>
                </a:r>
                <a:r>
                  <a:rPr lang="fr-FR" sz="1400" b="1" err="1">
                    <a:solidFill>
                      <a:schemeClr val="lt1"/>
                    </a:solidFill>
                    <a:latin typeface="+mj-lt"/>
                    <a:ea typeface="Fira Sans Extra Condensed"/>
                    <a:cs typeface="Fira Sans Extra Condensed"/>
                    <a:sym typeface="Fira Sans Extra Condensed"/>
                  </a:rPr>
                  <a:t>Define</a:t>
                </a:r>
                <a:r>
                  <a:rPr lang="fr-FR" sz="1400" b="1">
                    <a:solidFill>
                      <a:schemeClr val="lt1"/>
                    </a:solidFill>
                    <a:latin typeface="+mj-lt"/>
                    <a:ea typeface="Fira Sans Extra Condensed"/>
                    <a:cs typeface="Fira Sans Extra Condensed"/>
                    <a:sym typeface="Fira Sans Extra Condensed"/>
                  </a:rPr>
                  <a:t>/Définir</a:t>
                </a:r>
              </a:p>
            </p:txBody>
          </p:sp>
          <p:grpSp>
            <p:nvGrpSpPr>
              <p:cNvPr id="6" name="Google Shape;426;p37">
                <a:extLst>
                  <a:ext uri="{FF2B5EF4-FFF2-40B4-BE49-F238E27FC236}">
                    <a16:creationId xmlns:a16="http://schemas.microsoft.com/office/drawing/2014/main" id="{174FDDC4-2F88-2A16-B931-B10F7689A629}"/>
                  </a:ext>
                </a:extLst>
              </p:cNvPr>
              <p:cNvGrpSpPr>
                <a:grpSpLocks noChangeAspect="1"/>
              </p:cNvGrpSpPr>
              <p:nvPr/>
            </p:nvGrpSpPr>
            <p:grpSpPr>
              <a:xfrm>
                <a:off x="2190133" y="1233193"/>
                <a:ext cx="226286" cy="224100"/>
                <a:chOff x="5049725" y="1435050"/>
                <a:chExt cx="486550" cy="481850"/>
              </a:xfrm>
              <a:grpFill/>
            </p:grpSpPr>
            <p:sp>
              <p:nvSpPr>
                <p:cNvPr id="7" name="Google Shape;427;p37">
                  <a:extLst>
                    <a:ext uri="{FF2B5EF4-FFF2-40B4-BE49-F238E27FC236}">
                      <a16:creationId xmlns:a16="http://schemas.microsoft.com/office/drawing/2014/main" id="{415A9B2F-7974-4681-774C-2107BF8EA1D9}"/>
                    </a:ext>
                  </a:extLst>
                </p:cNvPr>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 name="Google Shape;428;p37">
                  <a:extLst>
                    <a:ext uri="{FF2B5EF4-FFF2-40B4-BE49-F238E27FC236}">
                      <a16:creationId xmlns:a16="http://schemas.microsoft.com/office/drawing/2014/main" id="{230C58B5-926C-B62B-BC44-F65CC839BEEC}"/>
                    </a:ext>
                  </a:extLst>
                </p:cNvPr>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 name="Google Shape;429;p37">
                  <a:extLst>
                    <a:ext uri="{FF2B5EF4-FFF2-40B4-BE49-F238E27FC236}">
                      <a16:creationId xmlns:a16="http://schemas.microsoft.com/office/drawing/2014/main" id="{16BA1B3E-4411-667A-9432-63ABD2A5957F}"/>
                    </a:ext>
                  </a:extLst>
                </p:cNvPr>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0" name="Google Shape;430;p37">
                  <a:extLst>
                    <a:ext uri="{FF2B5EF4-FFF2-40B4-BE49-F238E27FC236}">
                      <a16:creationId xmlns:a16="http://schemas.microsoft.com/office/drawing/2014/main" id="{CEDFEDB7-D158-A09A-AA63-8B135DA5E536}"/>
                    </a:ext>
                  </a:extLst>
                </p:cNvPr>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grpSp>
          <p:nvGrpSpPr>
            <p:cNvPr id="131" name="Google Shape;426;p37">
              <a:extLst>
                <a:ext uri="{FF2B5EF4-FFF2-40B4-BE49-F238E27FC236}">
                  <a16:creationId xmlns:a16="http://schemas.microsoft.com/office/drawing/2014/main" id="{640A122F-8A6B-4122-E45A-F5D85F265713}"/>
                </a:ext>
              </a:extLst>
            </p:cNvPr>
            <p:cNvGrpSpPr>
              <a:grpSpLocks noChangeAspect="1"/>
            </p:cNvGrpSpPr>
            <p:nvPr/>
          </p:nvGrpSpPr>
          <p:grpSpPr>
            <a:xfrm>
              <a:off x="3343736" y="1493878"/>
              <a:ext cx="196640" cy="196200"/>
              <a:chOff x="5049727" y="1435050"/>
              <a:chExt cx="486548" cy="481851"/>
            </a:xfrm>
            <a:solidFill>
              <a:schemeClr val="bg1"/>
            </a:solidFill>
          </p:grpSpPr>
          <p:sp>
            <p:nvSpPr>
              <p:cNvPr id="132" name="Google Shape;427;p37">
                <a:extLst>
                  <a:ext uri="{FF2B5EF4-FFF2-40B4-BE49-F238E27FC236}">
                    <a16:creationId xmlns:a16="http://schemas.microsoft.com/office/drawing/2014/main" id="{849B8D13-9ABF-687E-882E-E65963571767}"/>
                  </a:ext>
                </a:extLst>
              </p:cNvPr>
              <p:cNvSpPr/>
              <p:nvPr/>
            </p:nvSpPr>
            <p:spPr>
              <a:xfrm>
                <a:off x="5136306" y="1519777"/>
                <a:ext cx="310550" cy="310551"/>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33" name="Google Shape;428;p37">
                <a:extLst>
                  <a:ext uri="{FF2B5EF4-FFF2-40B4-BE49-F238E27FC236}">
                    <a16:creationId xmlns:a16="http://schemas.microsoft.com/office/drawing/2014/main" id="{F2B6B5BA-B962-9AE3-03DA-99C689BE65AE}"/>
                  </a:ext>
                </a:extLst>
              </p:cNvPr>
              <p:cNvSpPr/>
              <p:nvPr/>
            </p:nvSpPr>
            <p:spPr>
              <a:xfrm>
                <a:off x="5184931" y="1576253"/>
                <a:ext cx="205474"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34" name="Google Shape;429;p37">
                <a:extLst>
                  <a:ext uri="{FF2B5EF4-FFF2-40B4-BE49-F238E27FC236}">
                    <a16:creationId xmlns:a16="http://schemas.microsoft.com/office/drawing/2014/main" id="{10F011AC-A95D-74F3-9308-C987802A086B}"/>
                  </a:ext>
                </a:extLst>
              </p:cNvPr>
              <p:cNvSpPr/>
              <p:nvPr/>
            </p:nvSpPr>
            <p:spPr>
              <a:xfrm>
                <a:off x="5049727" y="1435075"/>
                <a:ext cx="481824" cy="481826"/>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35" name="Google Shape;430;p37">
                <a:extLst>
                  <a:ext uri="{FF2B5EF4-FFF2-40B4-BE49-F238E27FC236}">
                    <a16:creationId xmlns:a16="http://schemas.microsoft.com/office/drawing/2014/main" id="{BE647A1D-93C2-5F26-739B-0E3FC45A9370}"/>
                  </a:ext>
                </a:extLst>
              </p:cNvPr>
              <p:cNvSpPr/>
              <p:nvPr/>
            </p:nvSpPr>
            <p:spPr>
              <a:xfrm>
                <a:off x="5245826" y="1435050"/>
                <a:ext cx="290449" cy="282349"/>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grpSp>
        <p:nvGrpSpPr>
          <p:cNvPr id="42" name="Groupe 41">
            <a:extLst>
              <a:ext uri="{FF2B5EF4-FFF2-40B4-BE49-F238E27FC236}">
                <a16:creationId xmlns:a16="http://schemas.microsoft.com/office/drawing/2014/main" id="{5A7F8C3F-4F30-6A12-EEB6-1DF835A309D6}"/>
              </a:ext>
            </a:extLst>
          </p:cNvPr>
          <p:cNvGrpSpPr/>
          <p:nvPr/>
        </p:nvGrpSpPr>
        <p:grpSpPr>
          <a:xfrm>
            <a:off x="3747695" y="1444653"/>
            <a:ext cx="2312928" cy="313347"/>
            <a:chOff x="3784426" y="1444653"/>
            <a:chExt cx="2239467" cy="313347"/>
          </a:xfrm>
        </p:grpSpPr>
        <p:sp>
          <p:nvSpPr>
            <p:cNvPr id="41" name="Google Shape;449;p37">
              <a:extLst>
                <a:ext uri="{FF2B5EF4-FFF2-40B4-BE49-F238E27FC236}">
                  <a16:creationId xmlns:a16="http://schemas.microsoft.com/office/drawing/2014/main" id="{BA70E30A-414A-3112-C3CC-F436709A434A}"/>
                </a:ext>
              </a:extLst>
            </p:cNvPr>
            <p:cNvSpPr/>
            <p:nvPr/>
          </p:nvSpPr>
          <p:spPr>
            <a:xfrm>
              <a:off x="3784426" y="1444653"/>
              <a:ext cx="2239467" cy="313347"/>
            </a:xfrm>
            <a:prstGeom prst="roundRect">
              <a:avLst>
                <a:gd name="adj" fmla="val 50000"/>
              </a:avLst>
            </a:prstGeom>
            <a:solidFill>
              <a:srgbClr val="006EB7"/>
            </a:solidFill>
            <a:ln>
              <a:noFill/>
            </a:ln>
          </p:spPr>
          <p:txBody>
            <a:bodyPr spcFirstLastPara="1" wrap="square" lIns="91425" tIns="91425" rIns="91425" bIns="91425" anchor="ctr" anchorCtr="0">
              <a:noAutofit/>
            </a:bodyPr>
            <a:lstStyle/>
            <a:p>
              <a:r>
                <a:rPr lang="fr-FR" sz="1400" b="1">
                  <a:solidFill>
                    <a:schemeClr val="lt1"/>
                  </a:solidFill>
                  <a:latin typeface="+mj-lt"/>
                  <a:ea typeface="Fira Sans Extra Condensed"/>
                  <a:cs typeface="Fira Sans Extra Condensed"/>
                  <a:sym typeface="Fira Sans Extra Condensed"/>
                </a:rPr>
                <a:t>2. </a:t>
              </a:r>
              <a:r>
                <a:rPr lang="fr-FR" sz="1400" b="1" err="1">
                  <a:solidFill>
                    <a:schemeClr val="lt1"/>
                  </a:solidFill>
                  <a:latin typeface="+mj-lt"/>
                  <a:ea typeface="Fira Sans Extra Condensed"/>
                  <a:cs typeface="Fira Sans Extra Condensed"/>
                  <a:sym typeface="Fira Sans Extra Condensed"/>
                </a:rPr>
                <a:t>Measure</a:t>
              </a:r>
              <a:r>
                <a:rPr lang="fr-FR" sz="1400" b="1">
                  <a:solidFill>
                    <a:schemeClr val="lt1"/>
                  </a:solidFill>
                  <a:latin typeface="+mj-lt"/>
                  <a:ea typeface="Fira Sans Extra Condensed"/>
                  <a:cs typeface="Fira Sans Extra Condensed"/>
                  <a:sym typeface="Fira Sans Extra Condensed"/>
                </a:rPr>
                <a:t>/Mesurer</a:t>
              </a:r>
            </a:p>
          </p:txBody>
        </p:sp>
        <p:sp>
          <p:nvSpPr>
            <p:cNvPr id="138" name="Google Shape;431;p37">
              <a:extLst>
                <a:ext uri="{FF2B5EF4-FFF2-40B4-BE49-F238E27FC236}">
                  <a16:creationId xmlns:a16="http://schemas.microsoft.com/office/drawing/2014/main" id="{751E8FB7-9496-A827-78CE-67BFBBE7F236}"/>
                </a:ext>
              </a:extLst>
            </p:cNvPr>
            <p:cNvSpPr>
              <a:spLocks noChangeAspect="1"/>
            </p:cNvSpPr>
            <p:nvPr/>
          </p:nvSpPr>
          <p:spPr>
            <a:xfrm rot="2700000">
              <a:off x="5777519" y="1499211"/>
              <a:ext cx="59852" cy="204468"/>
            </a:xfrm>
            <a:custGeom>
              <a:avLst/>
              <a:gdLst/>
              <a:ahLst/>
              <a:cxnLst/>
              <a:rect l="l" t="t" r="r" b="b"/>
              <a:pathLst>
                <a:path w="3497" h="12036" extrusionOk="0">
                  <a:moveTo>
                    <a:pt x="347" y="1"/>
                  </a:moveTo>
                  <a:cubicBezTo>
                    <a:pt x="158" y="1"/>
                    <a:pt x="0" y="158"/>
                    <a:pt x="0" y="347"/>
                  </a:cubicBezTo>
                  <a:lnTo>
                    <a:pt x="0" y="1418"/>
                  </a:lnTo>
                  <a:lnTo>
                    <a:pt x="1764" y="1418"/>
                  </a:lnTo>
                  <a:cubicBezTo>
                    <a:pt x="1953" y="1418"/>
                    <a:pt x="2111" y="1576"/>
                    <a:pt x="2111" y="1765"/>
                  </a:cubicBezTo>
                  <a:cubicBezTo>
                    <a:pt x="2111" y="1954"/>
                    <a:pt x="1953" y="2112"/>
                    <a:pt x="1764" y="2112"/>
                  </a:cubicBezTo>
                  <a:lnTo>
                    <a:pt x="0" y="2112"/>
                  </a:lnTo>
                  <a:lnTo>
                    <a:pt x="0" y="2836"/>
                  </a:lnTo>
                  <a:lnTo>
                    <a:pt x="1071" y="2836"/>
                  </a:lnTo>
                  <a:cubicBezTo>
                    <a:pt x="1260" y="2836"/>
                    <a:pt x="1418" y="2994"/>
                    <a:pt x="1418" y="3183"/>
                  </a:cubicBezTo>
                  <a:cubicBezTo>
                    <a:pt x="1418" y="3372"/>
                    <a:pt x="1260" y="3529"/>
                    <a:pt x="1071" y="3529"/>
                  </a:cubicBezTo>
                  <a:lnTo>
                    <a:pt x="0" y="3529"/>
                  </a:lnTo>
                  <a:lnTo>
                    <a:pt x="0" y="4254"/>
                  </a:lnTo>
                  <a:lnTo>
                    <a:pt x="1764" y="4254"/>
                  </a:lnTo>
                  <a:cubicBezTo>
                    <a:pt x="1953" y="4254"/>
                    <a:pt x="2111" y="4411"/>
                    <a:pt x="2111" y="4600"/>
                  </a:cubicBezTo>
                  <a:cubicBezTo>
                    <a:pt x="2111" y="4789"/>
                    <a:pt x="1953" y="4947"/>
                    <a:pt x="1764" y="4947"/>
                  </a:cubicBezTo>
                  <a:lnTo>
                    <a:pt x="0" y="4947"/>
                  </a:lnTo>
                  <a:lnTo>
                    <a:pt x="0" y="5672"/>
                  </a:lnTo>
                  <a:lnTo>
                    <a:pt x="1071" y="5672"/>
                  </a:lnTo>
                  <a:cubicBezTo>
                    <a:pt x="1260" y="5672"/>
                    <a:pt x="1418" y="5829"/>
                    <a:pt x="1418" y="6018"/>
                  </a:cubicBezTo>
                  <a:cubicBezTo>
                    <a:pt x="1418" y="6207"/>
                    <a:pt x="1260" y="6365"/>
                    <a:pt x="1071" y="6365"/>
                  </a:cubicBezTo>
                  <a:lnTo>
                    <a:pt x="0" y="6365"/>
                  </a:lnTo>
                  <a:lnTo>
                    <a:pt x="0" y="7089"/>
                  </a:lnTo>
                  <a:lnTo>
                    <a:pt x="1764" y="7089"/>
                  </a:lnTo>
                  <a:cubicBezTo>
                    <a:pt x="1953" y="7089"/>
                    <a:pt x="2111" y="7247"/>
                    <a:pt x="2111" y="7436"/>
                  </a:cubicBezTo>
                  <a:cubicBezTo>
                    <a:pt x="2111" y="7625"/>
                    <a:pt x="1953" y="7782"/>
                    <a:pt x="1764" y="7782"/>
                  </a:cubicBezTo>
                  <a:lnTo>
                    <a:pt x="0" y="7782"/>
                  </a:lnTo>
                  <a:lnTo>
                    <a:pt x="0" y="8507"/>
                  </a:lnTo>
                  <a:lnTo>
                    <a:pt x="1071" y="8507"/>
                  </a:lnTo>
                  <a:cubicBezTo>
                    <a:pt x="1260" y="8507"/>
                    <a:pt x="1418" y="8665"/>
                    <a:pt x="1418" y="8854"/>
                  </a:cubicBezTo>
                  <a:cubicBezTo>
                    <a:pt x="1418" y="9043"/>
                    <a:pt x="1260" y="9200"/>
                    <a:pt x="1071" y="9200"/>
                  </a:cubicBezTo>
                  <a:lnTo>
                    <a:pt x="0" y="9200"/>
                  </a:lnTo>
                  <a:lnTo>
                    <a:pt x="0" y="9925"/>
                  </a:lnTo>
                  <a:lnTo>
                    <a:pt x="1764" y="9925"/>
                  </a:lnTo>
                  <a:cubicBezTo>
                    <a:pt x="1953" y="9925"/>
                    <a:pt x="2111" y="10082"/>
                    <a:pt x="2111" y="10271"/>
                  </a:cubicBezTo>
                  <a:cubicBezTo>
                    <a:pt x="2111" y="10460"/>
                    <a:pt x="1953" y="10618"/>
                    <a:pt x="1764" y="10618"/>
                  </a:cubicBezTo>
                  <a:lnTo>
                    <a:pt x="0" y="10618"/>
                  </a:lnTo>
                  <a:lnTo>
                    <a:pt x="0" y="11689"/>
                  </a:lnTo>
                  <a:cubicBezTo>
                    <a:pt x="0" y="11878"/>
                    <a:pt x="158" y="12036"/>
                    <a:pt x="347" y="12036"/>
                  </a:cubicBezTo>
                  <a:lnTo>
                    <a:pt x="3151" y="12036"/>
                  </a:lnTo>
                  <a:cubicBezTo>
                    <a:pt x="3340" y="12036"/>
                    <a:pt x="3497" y="11878"/>
                    <a:pt x="3497" y="11689"/>
                  </a:cubicBezTo>
                  <a:lnTo>
                    <a:pt x="3497" y="379"/>
                  </a:lnTo>
                  <a:cubicBezTo>
                    <a:pt x="3497" y="158"/>
                    <a:pt x="3340" y="1"/>
                    <a:pt x="3151"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 name="Groupe 93">
            <a:extLst>
              <a:ext uri="{FF2B5EF4-FFF2-40B4-BE49-F238E27FC236}">
                <a16:creationId xmlns:a16="http://schemas.microsoft.com/office/drawing/2014/main" id="{00B02165-ECA6-4E65-3693-6BF1EFFF1CBD}"/>
              </a:ext>
            </a:extLst>
          </p:cNvPr>
          <p:cNvGrpSpPr/>
          <p:nvPr/>
        </p:nvGrpSpPr>
        <p:grpSpPr>
          <a:xfrm>
            <a:off x="6138611" y="1447510"/>
            <a:ext cx="2312928" cy="313347"/>
            <a:chOff x="6177826" y="1447510"/>
            <a:chExt cx="2312928" cy="313347"/>
          </a:xfrm>
        </p:grpSpPr>
        <p:sp>
          <p:nvSpPr>
            <p:cNvPr id="15" name="Google Shape;453;p37">
              <a:extLst>
                <a:ext uri="{FF2B5EF4-FFF2-40B4-BE49-F238E27FC236}">
                  <a16:creationId xmlns:a16="http://schemas.microsoft.com/office/drawing/2014/main" id="{0F8D4CE3-4DF4-F869-7693-E7B4E45033E2}"/>
                </a:ext>
              </a:extLst>
            </p:cNvPr>
            <p:cNvSpPr/>
            <p:nvPr/>
          </p:nvSpPr>
          <p:spPr>
            <a:xfrm>
              <a:off x="6177826" y="1447510"/>
              <a:ext cx="2312928" cy="313347"/>
            </a:xfrm>
            <a:prstGeom prst="roundRect">
              <a:avLst>
                <a:gd name="adj" fmla="val 50000"/>
              </a:avLst>
            </a:prstGeom>
            <a:solidFill>
              <a:srgbClr val="006EB7"/>
            </a:solidFill>
            <a:ln>
              <a:noFill/>
            </a:ln>
          </p:spPr>
          <p:txBody>
            <a:bodyPr spcFirstLastPara="1" wrap="square" lIns="91425" tIns="91425" rIns="91425" bIns="91425" anchor="ctr" anchorCtr="0">
              <a:noAutofit/>
            </a:bodyPr>
            <a:lstStyle/>
            <a:p>
              <a:r>
                <a:rPr lang="fr-FR" sz="1400" b="1">
                  <a:solidFill>
                    <a:schemeClr val="lt1"/>
                  </a:solidFill>
                  <a:latin typeface="+mj-lt"/>
                  <a:ea typeface="Fira Sans Extra Condensed"/>
                  <a:cs typeface="Fira Sans Extra Condensed"/>
                  <a:sym typeface="Fira Sans Extra Condensed"/>
                </a:rPr>
                <a:t>3. </a:t>
              </a:r>
              <a:r>
                <a:rPr lang="fr-FR" sz="1400" b="1" err="1">
                  <a:solidFill>
                    <a:schemeClr val="lt1"/>
                  </a:solidFill>
                  <a:latin typeface="+mj-lt"/>
                  <a:ea typeface="Fira Sans Extra Condensed"/>
                  <a:cs typeface="Fira Sans Extra Condensed"/>
                  <a:sym typeface="Fira Sans Extra Condensed"/>
                </a:rPr>
                <a:t>Analyze</a:t>
              </a:r>
              <a:r>
                <a:rPr lang="fr-FR" sz="1400" b="1">
                  <a:solidFill>
                    <a:schemeClr val="lt1"/>
                  </a:solidFill>
                  <a:latin typeface="+mj-lt"/>
                  <a:ea typeface="Fira Sans Extra Condensed"/>
                  <a:cs typeface="Fira Sans Extra Condensed"/>
                  <a:sym typeface="Fira Sans Extra Condensed"/>
                </a:rPr>
                <a:t>/Analyser</a:t>
              </a:r>
            </a:p>
          </p:txBody>
        </p:sp>
        <p:grpSp>
          <p:nvGrpSpPr>
            <p:cNvPr id="16" name="Google Shape;432;p37">
              <a:extLst>
                <a:ext uri="{FF2B5EF4-FFF2-40B4-BE49-F238E27FC236}">
                  <a16:creationId xmlns:a16="http://schemas.microsoft.com/office/drawing/2014/main" id="{C27E012A-403A-F41D-4315-0486DF82097F}"/>
                </a:ext>
              </a:extLst>
            </p:cNvPr>
            <p:cNvGrpSpPr>
              <a:grpSpLocks noChangeAspect="1"/>
            </p:cNvGrpSpPr>
            <p:nvPr/>
          </p:nvGrpSpPr>
          <p:grpSpPr>
            <a:xfrm>
              <a:off x="8035517" y="1503517"/>
              <a:ext cx="255434" cy="203729"/>
              <a:chOff x="5045491" y="842250"/>
              <a:chExt cx="503874" cy="481850"/>
            </a:xfrm>
            <a:solidFill>
              <a:srgbClr val="006EB7"/>
            </a:solidFill>
          </p:grpSpPr>
          <p:sp>
            <p:nvSpPr>
              <p:cNvPr id="17" name="Google Shape;433;p37">
                <a:extLst>
                  <a:ext uri="{FF2B5EF4-FFF2-40B4-BE49-F238E27FC236}">
                    <a16:creationId xmlns:a16="http://schemas.microsoft.com/office/drawing/2014/main" id="{674FA070-6C4D-EA73-8492-408070F90129}"/>
                  </a:ext>
                </a:extLst>
              </p:cNvPr>
              <p:cNvSpPr/>
              <p:nvPr/>
            </p:nvSpPr>
            <p:spPr>
              <a:xfrm>
                <a:off x="5045491" y="842250"/>
                <a:ext cx="503874"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9" name="Google Shape;434;p37">
                <a:extLst>
                  <a:ext uri="{FF2B5EF4-FFF2-40B4-BE49-F238E27FC236}">
                    <a16:creationId xmlns:a16="http://schemas.microsoft.com/office/drawing/2014/main" id="{5C166BBB-1E33-BC39-D5E4-4A60401E0B0D}"/>
                  </a:ext>
                </a:extLst>
              </p:cNvPr>
              <p:cNvSpPr/>
              <p:nvPr/>
            </p:nvSpPr>
            <p:spPr>
              <a:xfrm>
                <a:off x="5221050" y="898626"/>
                <a:ext cx="254099"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41" name="Google Shape;432;p37">
              <a:extLst>
                <a:ext uri="{FF2B5EF4-FFF2-40B4-BE49-F238E27FC236}">
                  <a16:creationId xmlns:a16="http://schemas.microsoft.com/office/drawing/2014/main" id="{A514B220-DA58-D15D-E03A-2A3C5BCB4BEA}"/>
                </a:ext>
              </a:extLst>
            </p:cNvPr>
            <p:cNvGrpSpPr>
              <a:grpSpLocks noChangeAspect="1"/>
            </p:cNvGrpSpPr>
            <p:nvPr/>
          </p:nvGrpSpPr>
          <p:grpSpPr>
            <a:xfrm>
              <a:off x="8131423" y="1500593"/>
              <a:ext cx="210322" cy="196200"/>
              <a:chOff x="4758039" y="842250"/>
              <a:chExt cx="503875" cy="481850"/>
            </a:xfrm>
            <a:solidFill>
              <a:schemeClr val="bg1"/>
            </a:solidFill>
          </p:grpSpPr>
          <p:sp>
            <p:nvSpPr>
              <p:cNvPr id="142" name="Google Shape;433;p37">
                <a:extLst>
                  <a:ext uri="{FF2B5EF4-FFF2-40B4-BE49-F238E27FC236}">
                    <a16:creationId xmlns:a16="http://schemas.microsoft.com/office/drawing/2014/main" id="{84B7D9E3-C474-1FA9-01AE-91DC03AFFE73}"/>
                  </a:ext>
                </a:extLst>
              </p:cNvPr>
              <p:cNvSpPr/>
              <p:nvPr/>
            </p:nvSpPr>
            <p:spPr>
              <a:xfrm>
                <a:off x="4758039"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43" name="Google Shape;434;p37">
                <a:extLst>
                  <a:ext uri="{FF2B5EF4-FFF2-40B4-BE49-F238E27FC236}">
                    <a16:creationId xmlns:a16="http://schemas.microsoft.com/office/drawing/2014/main" id="{5C56C02C-3FE0-A558-3638-8DAF5599A6C4}"/>
                  </a:ext>
                </a:extLst>
              </p:cNvPr>
              <p:cNvSpPr/>
              <p:nvPr/>
            </p:nvSpPr>
            <p:spPr>
              <a:xfrm>
                <a:off x="4933586" y="898625"/>
                <a:ext cx="254101" cy="254101"/>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grpSp>
        <p:nvGrpSpPr>
          <p:cNvPr id="92" name="Groupe 91">
            <a:extLst>
              <a:ext uri="{FF2B5EF4-FFF2-40B4-BE49-F238E27FC236}">
                <a16:creationId xmlns:a16="http://schemas.microsoft.com/office/drawing/2014/main" id="{F8BA0EE8-3ACF-4092-A270-AFF5FA91EAAD}"/>
              </a:ext>
            </a:extLst>
          </p:cNvPr>
          <p:cNvGrpSpPr/>
          <p:nvPr/>
        </p:nvGrpSpPr>
        <p:grpSpPr>
          <a:xfrm>
            <a:off x="8529528" y="1447322"/>
            <a:ext cx="2312928" cy="313347"/>
            <a:chOff x="8647172" y="1447322"/>
            <a:chExt cx="2312928" cy="313347"/>
          </a:xfrm>
        </p:grpSpPr>
        <p:sp>
          <p:nvSpPr>
            <p:cNvPr id="24" name="Google Shape;457;p37">
              <a:extLst>
                <a:ext uri="{FF2B5EF4-FFF2-40B4-BE49-F238E27FC236}">
                  <a16:creationId xmlns:a16="http://schemas.microsoft.com/office/drawing/2014/main" id="{2649774D-DCD3-7B54-D728-FC4F269DA2A8}"/>
                </a:ext>
              </a:extLst>
            </p:cNvPr>
            <p:cNvSpPr/>
            <p:nvPr/>
          </p:nvSpPr>
          <p:spPr>
            <a:xfrm>
              <a:off x="8647172" y="1447322"/>
              <a:ext cx="2312928" cy="313347"/>
            </a:xfrm>
            <a:prstGeom prst="roundRect">
              <a:avLst>
                <a:gd name="adj" fmla="val 50000"/>
              </a:avLst>
            </a:prstGeom>
            <a:solidFill>
              <a:srgbClr val="26AAAF"/>
            </a:solidFill>
            <a:ln>
              <a:noFill/>
            </a:ln>
          </p:spPr>
          <p:txBody>
            <a:bodyPr spcFirstLastPara="1" wrap="square" lIns="91425" tIns="91425" rIns="91425" bIns="91425" anchor="ctr" anchorCtr="0">
              <a:noAutofit/>
            </a:bodyPr>
            <a:lstStyle/>
            <a:p>
              <a:r>
                <a:rPr lang="fr-FR" sz="1400" b="1">
                  <a:solidFill>
                    <a:schemeClr val="lt1"/>
                  </a:solidFill>
                  <a:latin typeface="+mj-lt"/>
                  <a:ea typeface="Fira Sans Extra Condensed"/>
                  <a:cs typeface="Fira Sans Extra Condensed"/>
                  <a:sym typeface="Fira Sans Extra Condensed"/>
                </a:rPr>
                <a:t>4. </a:t>
              </a:r>
              <a:r>
                <a:rPr lang="fr-FR" sz="1400" b="1" err="1">
                  <a:solidFill>
                    <a:schemeClr val="lt1"/>
                  </a:solidFill>
                  <a:latin typeface="+mj-lt"/>
                  <a:ea typeface="Fira Sans Extra Condensed"/>
                  <a:cs typeface="Fira Sans Extra Condensed"/>
                  <a:sym typeface="Fira Sans Extra Condensed"/>
                </a:rPr>
                <a:t>Improve</a:t>
              </a:r>
              <a:r>
                <a:rPr lang="fr-FR" sz="1400" b="1">
                  <a:solidFill>
                    <a:schemeClr val="lt1"/>
                  </a:solidFill>
                  <a:latin typeface="+mj-lt"/>
                  <a:ea typeface="Fira Sans Extra Condensed"/>
                  <a:cs typeface="Fira Sans Extra Condensed"/>
                  <a:sym typeface="Fira Sans Extra Condensed"/>
                </a:rPr>
                <a:t>/Améliorer</a:t>
              </a:r>
            </a:p>
          </p:txBody>
        </p:sp>
        <p:grpSp>
          <p:nvGrpSpPr>
            <p:cNvPr id="27" name="Google Shape;435;p37">
              <a:extLst>
                <a:ext uri="{FF2B5EF4-FFF2-40B4-BE49-F238E27FC236}">
                  <a16:creationId xmlns:a16="http://schemas.microsoft.com/office/drawing/2014/main" id="{77BF9604-9485-F922-CA2C-38C87FA59156}"/>
                </a:ext>
              </a:extLst>
            </p:cNvPr>
            <p:cNvGrpSpPr>
              <a:grpSpLocks noChangeAspect="1"/>
            </p:cNvGrpSpPr>
            <p:nvPr/>
          </p:nvGrpSpPr>
          <p:grpSpPr>
            <a:xfrm>
              <a:off x="10581540" y="1503803"/>
              <a:ext cx="144224" cy="203159"/>
              <a:chOff x="3471225" y="2093500"/>
              <a:chExt cx="197625" cy="322825"/>
            </a:xfrm>
            <a:solidFill>
              <a:srgbClr val="26AAAF"/>
            </a:solidFill>
          </p:grpSpPr>
          <p:sp>
            <p:nvSpPr>
              <p:cNvPr id="31" name="Google Shape;437;p37">
                <a:extLst>
                  <a:ext uri="{FF2B5EF4-FFF2-40B4-BE49-F238E27FC236}">
                    <a16:creationId xmlns:a16="http://schemas.microsoft.com/office/drawing/2014/main" id="{4DB85F2E-0789-7812-8780-466F4FCB41A0}"/>
                  </a:ext>
                </a:extLst>
              </p:cNvPr>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3" name="Google Shape;438;p37">
                <a:extLst>
                  <a:ext uri="{FF2B5EF4-FFF2-40B4-BE49-F238E27FC236}">
                    <a16:creationId xmlns:a16="http://schemas.microsoft.com/office/drawing/2014/main" id="{D980C66E-5C3D-D99F-323B-20DE9AAC1A5B}"/>
                  </a:ext>
                </a:extLst>
              </p:cNvPr>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46" name="Google Shape;435;p37">
              <a:extLst>
                <a:ext uri="{FF2B5EF4-FFF2-40B4-BE49-F238E27FC236}">
                  <a16:creationId xmlns:a16="http://schemas.microsoft.com/office/drawing/2014/main" id="{AEEF124A-3131-F44C-5090-994A29C4EA33}"/>
                </a:ext>
              </a:extLst>
            </p:cNvPr>
            <p:cNvGrpSpPr>
              <a:grpSpLocks noChangeAspect="1"/>
            </p:cNvGrpSpPr>
            <p:nvPr/>
          </p:nvGrpSpPr>
          <p:grpSpPr>
            <a:xfrm>
              <a:off x="10677246" y="1501049"/>
              <a:ext cx="187191" cy="195651"/>
              <a:chOff x="3357325" y="2093500"/>
              <a:chExt cx="311525" cy="322825"/>
            </a:xfrm>
            <a:solidFill>
              <a:schemeClr val="bg1"/>
            </a:solidFill>
          </p:grpSpPr>
          <p:sp>
            <p:nvSpPr>
              <p:cNvPr id="147" name="Google Shape;436;p37">
                <a:extLst>
                  <a:ext uri="{FF2B5EF4-FFF2-40B4-BE49-F238E27FC236}">
                    <a16:creationId xmlns:a16="http://schemas.microsoft.com/office/drawing/2014/main" id="{1685AA7C-A7AC-D578-4916-C468D7FBC302}"/>
                  </a:ext>
                </a:extLst>
              </p:cNvPr>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48" name="Google Shape;437;p37">
                <a:extLst>
                  <a:ext uri="{FF2B5EF4-FFF2-40B4-BE49-F238E27FC236}">
                    <a16:creationId xmlns:a16="http://schemas.microsoft.com/office/drawing/2014/main" id="{487BA063-8969-D7AB-75E2-A9B9AAAB36A0}"/>
                  </a:ext>
                </a:extLst>
              </p:cNvPr>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49" name="Google Shape;438;p37">
                <a:extLst>
                  <a:ext uri="{FF2B5EF4-FFF2-40B4-BE49-F238E27FC236}">
                    <a16:creationId xmlns:a16="http://schemas.microsoft.com/office/drawing/2014/main" id="{1238092A-B2F2-ADA0-48F7-E9ABD89C05D8}"/>
                  </a:ext>
                </a:extLst>
              </p:cNvPr>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sp>
        <p:nvSpPr>
          <p:cNvPr id="2" name="Google Shape;583;p27">
            <a:extLst>
              <a:ext uri="{FF2B5EF4-FFF2-40B4-BE49-F238E27FC236}">
                <a16:creationId xmlns:a16="http://schemas.microsoft.com/office/drawing/2014/main" id="{86A7019D-60C1-D261-8205-F05D8036FA45}"/>
              </a:ext>
            </a:extLst>
          </p:cNvPr>
          <p:cNvSpPr/>
          <p:nvPr/>
        </p:nvSpPr>
        <p:spPr>
          <a:xfrm>
            <a:off x="9630800" y="4172020"/>
            <a:ext cx="96403" cy="95716"/>
          </a:xfrm>
          <a:custGeom>
            <a:avLst/>
            <a:gdLst/>
            <a:ahLst/>
            <a:cxnLst/>
            <a:rect l="l" t="t" r="r" b="b"/>
            <a:pathLst>
              <a:path w="2168" h="2168" extrusionOk="0">
                <a:moveTo>
                  <a:pt x="1084" y="1"/>
                </a:moveTo>
                <a:cubicBezTo>
                  <a:pt x="489" y="1"/>
                  <a:pt x="1" y="477"/>
                  <a:pt x="1" y="1084"/>
                </a:cubicBezTo>
                <a:cubicBezTo>
                  <a:pt x="1" y="1680"/>
                  <a:pt x="477" y="2168"/>
                  <a:pt x="1084" y="2168"/>
                </a:cubicBezTo>
                <a:cubicBezTo>
                  <a:pt x="1680" y="2168"/>
                  <a:pt x="2168" y="1692"/>
                  <a:pt x="2168" y="1084"/>
                </a:cubicBezTo>
                <a:cubicBezTo>
                  <a:pt x="2168" y="477"/>
                  <a:pt x="1680" y="1"/>
                  <a:pt x="1084" y="1"/>
                </a:cubicBezTo>
                <a:close/>
              </a:path>
            </a:pathLst>
          </a:custGeom>
          <a:solidFill>
            <a:srgbClr val="26AAAF"/>
          </a:solidFill>
          <a:ln>
            <a:noFill/>
          </a:ln>
        </p:spPr>
        <p:txBody>
          <a:bodyPr spcFirstLastPara="1" wrap="square" lIns="36000" tIns="36000" rIns="36000" bIns="36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900" b="0" i="0" u="none" strike="noStrike" kern="0" cap="none" spc="0" normalizeH="0" baseline="0" noProof="0">
              <a:ln>
                <a:noFill/>
              </a:ln>
              <a:solidFill>
                <a:srgbClr val="000000"/>
              </a:solidFill>
              <a:effectLst/>
              <a:uLnTx/>
              <a:uFillTx/>
              <a:latin typeface="Arial"/>
              <a:cs typeface="Arial"/>
              <a:sym typeface="Arial"/>
            </a:endParaRPr>
          </a:p>
        </p:txBody>
      </p:sp>
      <p:pic>
        <p:nvPicPr>
          <p:cNvPr id="1026" name="Picture 2" descr="Six Sigma and Business Analytics: Lean Six Sigma Analytics">
            <a:extLst>
              <a:ext uri="{FF2B5EF4-FFF2-40B4-BE49-F238E27FC236}">
                <a16:creationId xmlns:a16="http://schemas.microsoft.com/office/drawing/2014/main" id="{F231700B-8C94-C0EE-8695-7125E77282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272" y="1301162"/>
            <a:ext cx="595179" cy="602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91378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A6D258D3-15F8-41C0-9C67-0E67B47EDD42}"/>
              </a:ext>
            </a:extLst>
          </p:cNvPr>
          <p:cNvGraphicFramePr>
            <a:graphicFrameLocks noChangeAspect="1"/>
          </p:cNvGraphicFramePr>
          <p:nvPr>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1" name="Objet 10" hidden="1">
                        <a:extLst>
                          <a:ext uri="{FF2B5EF4-FFF2-40B4-BE49-F238E27FC236}">
                            <a16:creationId xmlns:a16="http://schemas.microsoft.com/office/drawing/2014/main" id="{A6D258D3-15F8-41C0-9C67-0E67B47EDD42}"/>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19" name="Titre 1">
            <a:extLst>
              <a:ext uri="{FF2B5EF4-FFF2-40B4-BE49-F238E27FC236}">
                <a16:creationId xmlns:a16="http://schemas.microsoft.com/office/drawing/2014/main" id="{BBC93055-643A-4775-93A0-1BD0C9CA9394}"/>
              </a:ext>
            </a:extLst>
          </p:cNvPr>
          <p:cNvSpPr txBox="1">
            <a:spLocks/>
          </p:cNvSpPr>
          <p:nvPr/>
        </p:nvSpPr>
        <p:spPr>
          <a:xfrm>
            <a:off x="459621" y="332491"/>
            <a:ext cx="10515600" cy="470898"/>
          </a:xfrm>
          <a:prstGeom prst="rect">
            <a:avLst/>
          </a:prstGeom>
        </p:spPr>
        <p:txBody>
          <a:bodyPr vert="horz" wrap="square" lIns="0" tIns="0" rIns="0" bIns="0" rtlCol="0" anchor="t" anchorCtr="0">
            <a:spAutoFit/>
          </a:bodyPr>
          <a:lstStyle>
            <a:lvl1pPr algn="l" defTabSz="914333" rtl="0" eaLnBrk="1" latinLnBrk="0" hangingPunct="1">
              <a:lnSpc>
                <a:spcPct val="90000"/>
              </a:lnSpc>
              <a:spcBef>
                <a:spcPct val="0"/>
              </a:spcBef>
              <a:buNone/>
              <a:defRPr sz="1500" b="1" kern="1200">
                <a:solidFill>
                  <a:schemeClr val="accent5"/>
                </a:solidFill>
                <a:latin typeface="Montserrat" panose="00000500000000000000" pitchFamily="2" charset="0"/>
                <a:ea typeface="+mj-ea"/>
                <a:cs typeface="+mj-cs"/>
              </a:defRPr>
            </a:lvl1pPr>
          </a:lstStyle>
          <a:p>
            <a:pPr>
              <a:buClrTx/>
              <a:buFontTx/>
            </a:pPr>
            <a:r>
              <a:rPr lang="fr-FR" sz="2000">
                <a:solidFill>
                  <a:schemeClr val="bg2"/>
                </a:solidFill>
                <a:latin typeface="Arial Black" panose="020B0A04020102020204" pitchFamily="34" charset="0"/>
              </a:rPr>
              <a:t>Marine</a:t>
            </a:r>
            <a:r>
              <a:rPr lang="fr-FR" sz="1800">
                <a:solidFill>
                  <a:schemeClr val="bg2"/>
                </a:solidFill>
                <a:latin typeface="Arial Black" panose="020B0A04020102020204" pitchFamily="34" charset="0"/>
              </a:rPr>
              <a:t> </a:t>
            </a:r>
            <a:r>
              <a:rPr lang="fr-FR" sz="2000">
                <a:solidFill>
                  <a:schemeClr val="bg2"/>
                </a:solidFill>
                <a:latin typeface="Arial Black" panose="020B0A04020102020204" pitchFamily="34" charset="0"/>
              </a:rPr>
              <a:t>GILANTON</a:t>
            </a:r>
            <a:br>
              <a:rPr lang="fr-FR" sz="1200" b="0">
                <a:solidFill>
                  <a:schemeClr val="bg2"/>
                </a:solidFill>
                <a:latin typeface="Arial Black" panose="020B0A04020102020204" pitchFamily="34" charset="0"/>
              </a:rPr>
            </a:br>
            <a:r>
              <a:rPr lang="fr-FR" sz="1400" b="0">
                <a:solidFill>
                  <a:schemeClr val="bg2"/>
                </a:solidFill>
                <a:latin typeface="Arial Black" panose="020B0A04020102020204" pitchFamily="34" charset="0"/>
              </a:rPr>
              <a:t>Consultante Senior (4 ans d’expérience</a:t>
            </a:r>
            <a:r>
              <a:rPr lang="fr-FR" sz="1200" b="0">
                <a:solidFill>
                  <a:schemeClr val="bg2"/>
                </a:solidFill>
                <a:latin typeface="Arial Black" panose="020B0A04020102020204" pitchFamily="34" charset="0"/>
              </a:rPr>
              <a:t>)</a:t>
            </a:r>
            <a:endParaRPr lang="fr-FR" sz="1600" b="0">
              <a:solidFill>
                <a:schemeClr val="bg2"/>
              </a:solidFill>
              <a:latin typeface="Arial Black" panose="020B0A04020102020204" pitchFamily="34" charset="0"/>
            </a:endParaRPr>
          </a:p>
        </p:txBody>
      </p:sp>
      <p:graphicFrame>
        <p:nvGraphicFramePr>
          <p:cNvPr id="21" name="Tableau 20">
            <a:extLst>
              <a:ext uri="{FF2B5EF4-FFF2-40B4-BE49-F238E27FC236}">
                <a16:creationId xmlns:a16="http://schemas.microsoft.com/office/drawing/2014/main" id="{187B67DD-4F81-4889-A8FC-7A0CDB82050E}"/>
              </a:ext>
            </a:extLst>
          </p:cNvPr>
          <p:cNvGraphicFramePr>
            <a:graphicFrameLocks noGrp="1"/>
          </p:cNvGraphicFramePr>
          <p:nvPr>
            <p:extLst>
              <p:ext uri="{D42A27DB-BD31-4B8C-83A1-F6EECF244321}">
                <p14:modId xmlns:p14="http://schemas.microsoft.com/office/powerpoint/2010/main" val="3375364273"/>
              </p:ext>
            </p:extLst>
          </p:nvPr>
        </p:nvGraphicFramePr>
        <p:xfrm>
          <a:off x="346887" y="1438356"/>
          <a:ext cx="2440951" cy="4868976"/>
        </p:xfrm>
        <a:graphic>
          <a:graphicData uri="http://schemas.openxmlformats.org/drawingml/2006/table">
            <a:tbl>
              <a:tblPr firstRow="1" bandRow="1">
                <a:tableStyleId>{2D5ABB26-0587-4C30-8999-92F81FD0307C}</a:tableStyleId>
              </a:tblPr>
              <a:tblGrid>
                <a:gridCol w="1207556">
                  <a:extLst>
                    <a:ext uri="{9D8B030D-6E8A-4147-A177-3AD203B41FA5}">
                      <a16:colId xmlns:a16="http://schemas.microsoft.com/office/drawing/2014/main" val="2856406043"/>
                    </a:ext>
                  </a:extLst>
                </a:gridCol>
                <a:gridCol w="1233395">
                  <a:extLst>
                    <a:ext uri="{9D8B030D-6E8A-4147-A177-3AD203B41FA5}">
                      <a16:colId xmlns:a16="http://schemas.microsoft.com/office/drawing/2014/main" val="82845910"/>
                    </a:ext>
                  </a:extLst>
                </a:gridCol>
              </a:tblGrid>
              <a:tr h="280623">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Formation</a:t>
                      </a:r>
                      <a:endParaRPr lang="fr-FR" sz="1200" b="1" kern="1200">
                        <a:solidFill>
                          <a:schemeClr val="bg2"/>
                        </a:solidFill>
                        <a:latin typeface="+mj-lt"/>
                        <a:ea typeface="+mn-ea"/>
                        <a:cs typeface="+mn-cs"/>
                      </a:endParaRPr>
                    </a:p>
                  </a:txBody>
                  <a:tcPr marL="121920" marR="121920" marT="60960" marB="60960">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3341204566"/>
                  </a:ext>
                </a:extLst>
              </a:tr>
              <a:tr h="1270186">
                <a:tc gridSpan="2">
                  <a:txBody>
                    <a:bodyPr/>
                    <a:lstStyle/>
                    <a:p>
                      <a:pPr marL="180975" indent="-180975">
                        <a:spcBef>
                          <a:spcPts val="0"/>
                        </a:spcBef>
                        <a:buClr>
                          <a:schemeClr val="tx1"/>
                        </a:buClr>
                        <a:buFont typeface="Montserrat" panose="00000500000000000000" pitchFamily="2" charset="0"/>
                        <a:buChar char="›"/>
                      </a:pPr>
                      <a:r>
                        <a:rPr lang="fr-FR" sz="1000" b="1">
                          <a:solidFill>
                            <a:schemeClr val="tx1"/>
                          </a:solidFill>
                          <a:latin typeface="+mj-lt"/>
                        </a:rPr>
                        <a:t>Master 2, Consulting - </a:t>
                      </a:r>
                      <a:r>
                        <a:rPr lang="fr-FR" sz="1000" b="0">
                          <a:solidFill>
                            <a:schemeClr val="tx1"/>
                          </a:solidFill>
                          <a:latin typeface="+mj-lt"/>
                        </a:rPr>
                        <a:t>ESSCA, école de management, Boulogne Billancourt</a:t>
                      </a:r>
                    </a:p>
                    <a:p>
                      <a:pPr marL="0" indent="0">
                        <a:spcBef>
                          <a:spcPts val="0"/>
                        </a:spcBef>
                        <a:buClr>
                          <a:schemeClr val="tx1"/>
                        </a:buClr>
                        <a:buFont typeface="Montserrat" panose="00000500000000000000" pitchFamily="2" charset="0"/>
                        <a:buNone/>
                      </a:pPr>
                      <a:endParaRPr lang="fr-FR" sz="1000" b="0">
                        <a:solidFill>
                          <a:schemeClr val="tx1"/>
                        </a:solidFill>
                        <a:latin typeface="+mj-lt"/>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00" b="1">
                          <a:solidFill>
                            <a:schemeClr val="tx1"/>
                          </a:solidFill>
                          <a:latin typeface="+mj-lt"/>
                        </a:rPr>
                        <a:t>Licence Management - </a:t>
                      </a:r>
                      <a:r>
                        <a:rPr lang="fr-FR" sz="1000" b="0">
                          <a:solidFill>
                            <a:schemeClr val="tx1"/>
                          </a:solidFill>
                          <a:latin typeface="+mj-lt"/>
                        </a:rPr>
                        <a:t>ESSCA, école de management, Angers</a:t>
                      </a:r>
                    </a:p>
                  </a:txBody>
                  <a:tcPr marL="121920" marR="121920" marT="60960" marB="60960">
                    <a:lnT w="12700" cap="flat" cmpd="sng" algn="ctr">
                      <a:solidFill>
                        <a:schemeClr val="bg2"/>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3691408330"/>
                  </a:ext>
                </a:extLst>
              </a:tr>
              <a:tr h="280623">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Compétences</a:t>
                      </a:r>
                    </a:p>
                  </a:txBody>
                  <a:tcPr marL="121920" marR="121920" marT="60960" marB="60960">
                    <a:lnB w="12700" cap="flat" cmpd="sng" algn="ctr">
                      <a:solidFill>
                        <a:schemeClr val="bg2"/>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2760446002"/>
                  </a:ext>
                </a:extLst>
              </a:tr>
              <a:tr h="1353069">
                <a:tc>
                  <a:txBody>
                    <a:bodyPr/>
                    <a:lstStyle/>
                    <a:p>
                      <a:pPr marL="180975" indent="-180975">
                        <a:spcBef>
                          <a:spcPts val="0"/>
                        </a:spcBef>
                        <a:buClr>
                          <a:schemeClr val="tx1"/>
                        </a:buClr>
                        <a:buFont typeface="Montserrat" panose="00000500000000000000" pitchFamily="2" charset="0"/>
                        <a:buChar char="›"/>
                      </a:pPr>
                      <a:endParaRPr lang="fr-FR" sz="800" b="0">
                        <a:solidFill>
                          <a:schemeClr val="tx1"/>
                        </a:solidFill>
                        <a:latin typeface="+mj-lt"/>
                      </a:endParaRPr>
                    </a:p>
                    <a:p>
                      <a:pPr marL="180975" indent="-180975">
                        <a:spcBef>
                          <a:spcPts val="0"/>
                        </a:spcBef>
                        <a:buClr>
                          <a:schemeClr val="tx1"/>
                        </a:buClr>
                        <a:buFont typeface="Montserrat" panose="00000500000000000000" pitchFamily="2" charset="0"/>
                        <a:buChar char="›"/>
                      </a:pPr>
                      <a:r>
                        <a:rPr lang="fr-FR" sz="800" b="0">
                          <a:solidFill>
                            <a:schemeClr val="tx1"/>
                          </a:solidFill>
                          <a:latin typeface="+mj-lt"/>
                        </a:rPr>
                        <a:t>Conduite du changement</a:t>
                      </a:r>
                    </a:p>
                    <a:p>
                      <a:pPr marL="180975" indent="-180975">
                        <a:spcBef>
                          <a:spcPts val="0"/>
                        </a:spcBef>
                        <a:buClr>
                          <a:schemeClr val="tx1"/>
                        </a:buClr>
                        <a:buFont typeface="Montserrat" panose="00000500000000000000" pitchFamily="2" charset="0"/>
                        <a:buChar char="›"/>
                      </a:pPr>
                      <a:endParaRPr lang="fr-FR" sz="800" b="0">
                        <a:solidFill>
                          <a:schemeClr val="tx1"/>
                        </a:solidFill>
                        <a:latin typeface="+mj-lt"/>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800" b="0" kern="1200">
                          <a:solidFill>
                            <a:schemeClr val="tx1"/>
                          </a:solidFill>
                          <a:latin typeface="+mj-lt"/>
                          <a:ea typeface="+mn-ea"/>
                          <a:cs typeface="+mn-cs"/>
                        </a:rPr>
                        <a:t>Conduite d’entretiens</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lang="fr-FR" sz="800" b="0" kern="1200">
                        <a:solidFill>
                          <a:schemeClr val="tx1"/>
                        </a:solidFill>
                        <a:latin typeface="+mj-lt"/>
                        <a:ea typeface="+mn-ea"/>
                        <a:cs typeface="+mn-cs"/>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800" b="0" kern="1200">
                          <a:solidFill>
                            <a:schemeClr val="tx1"/>
                          </a:solidFill>
                          <a:latin typeface="+mj-lt"/>
                          <a:ea typeface="+mn-ea"/>
                          <a:cs typeface="+mn-cs"/>
                        </a:rPr>
                        <a:t>Méthode Agile</a:t>
                      </a:r>
                      <a:endParaRPr lang="fr-FR" sz="800" b="0" kern="1200">
                        <a:solidFill>
                          <a:schemeClr val="tx1"/>
                        </a:solidFill>
                        <a:latin typeface="+mj-lt"/>
                        <a:ea typeface="+mn-ea"/>
                        <a:cs typeface="+mn-cs"/>
                        <a:sym typeface="Arial"/>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lang="fr-FR" sz="800" b="0" kern="1200">
                        <a:solidFill>
                          <a:schemeClr val="tx1"/>
                        </a:solidFill>
                        <a:latin typeface="+mj-lt"/>
                        <a:ea typeface="+mn-ea"/>
                        <a:cs typeface="+mn-cs"/>
                        <a:sym typeface="Arial"/>
                      </a:endParaRPr>
                    </a:p>
                  </a:txBody>
                  <a:tcPr marL="121920" marR="121920" marT="60960" marB="60960">
                    <a:lnT w="12700" cap="flat" cmpd="sng" algn="ctr">
                      <a:solidFill>
                        <a:schemeClr val="bg2"/>
                      </a:solidFill>
                      <a:prstDash val="solid"/>
                      <a:round/>
                      <a:headEnd type="none" w="med" len="med"/>
                      <a:tailEnd type="none" w="med" len="med"/>
                    </a:lnT>
                  </a:tcPr>
                </a:tc>
                <a:tc>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800" b="1" i="0" u="none" strike="noStrike" kern="1200" cap="none">
                        <a:solidFill>
                          <a:schemeClr val="tx1"/>
                        </a:solidFill>
                        <a:latin typeface="+mj-lt"/>
                        <a:ea typeface="+mn-ea"/>
                        <a:cs typeface="+mn-cs"/>
                        <a:sym typeface="Arial"/>
                      </a:endParaRPr>
                    </a:p>
                    <a:p>
                      <a:pPr marL="180975" indent="-180975">
                        <a:spcBef>
                          <a:spcPts val="0"/>
                        </a:spcBef>
                        <a:buClr>
                          <a:schemeClr val="tx1"/>
                        </a:buClr>
                        <a:buFont typeface="Montserrat" panose="00000500000000000000" pitchFamily="2" charset="0"/>
                        <a:buChar char="›"/>
                      </a:pPr>
                      <a:r>
                        <a:rPr lang="fr-FR" sz="800" b="0">
                          <a:solidFill>
                            <a:schemeClr val="tx1"/>
                          </a:solidFill>
                          <a:latin typeface="+mj-lt"/>
                        </a:rPr>
                        <a:t>Communication</a:t>
                      </a:r>
                    </a:p>
                    <a:p>
                      <a:pPr marL="180975" indent="-180975">
                        <a:spcBef>
                          <a:spcPts val="0"/>
                        </a:spcBef>
                        <a:buClr>
                          <a:schemeClr val="tx1"/>
                        </a:buClr>
                        <a:buFont typeface="Montserrat" panose="00000500000000000000" pitchFamily="2" charset="0"/>
                        <a:buChar char="›"/>
                      </a:pPr>
                      <a:endParaRPr lang="fr-FR" sz="800" b="0">
                        <a:solidFill>
                          <a:schemeClr val="tx1"/>
                        </a:solidFill>
                        <a:latin typeface="+mj-lt"/>
                      </a:endParaRPr>
                    </a:p>
                    <a:p>
                      <a:pPr marL="180975" indent="-180975">
                        <a:spcBef>
                          <a:spcPts val="0"/>
                        </a:spcBef>
                        <a:buClr>
                          <a:schemeClr val="tx1"/>
                        </a:buClr>
                        <a:buFont typeface="Montserrat" panose="00000500000000000000" pitchFamily="2" charset="0"/>
                        <a:buChar char="›"/>
                      </a:pPr>
                      <a:r>
                        <a:rPr lang="fr-FR" sz="800" b="0">
                          <a:solidFill>
                            <a:schemeClr val="tx1"/>
                          </a:solidFill>
                          <a:latin typeface="+mj-lt"/>
                        </a:rPr>
                        <a:t>Formation </a:t>
                      </a:r>
                    </a:p>
                    <a:p>
                      <a:pPr marL="0" indent="0">
                        <a:spcBef>
                          <a:spcPts val="0"/>
                        </a:spcBef>
                        <a:buClr>
                          <a:schemeClr val="tx1"/>
                        </a:buClr>
                        <a:buFont typeface="Montserrat" panose="00000500000000000000" pitchFamily="2" charset="0"/>
                        <a:buNone/>
                      </a:pPr>
                      <a:endParaRPr lang="fr-FR" sz="800" b="0">
                        <a:solidFill>
                          <a:schemeClr val="tx1"/>
                        </a:solidFill>
                        <a:latin typeface="+mj-lt"/>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800" b="0" kern="1200">
                          <a:solidFill>
                            <a:schemeClr val="tx1"/>
                          </a:solidFill>
                          <a:latin typeface="+mj-lt"/>
                          <a:ea typeface="+mn-ea"/>
                          <a:cs typeface="+mn-cs"/>
                        </a:rPr>
                        <a:t>Animation d’ateliers </a:t>
                      </a:r>
                      <a:r>
                        <a:rPr lang="fr-FR" sz="800" b="0" i="0" kern="1200">
                          <a:solidFill>
                            <a:schemeClr val="tx1"/>
                          </a:solidFill>
                          <a:latin typeface="+mj-lt"/>
                          <a:ea typeface="+mn-ea"/>
                          <a:cs typeface="+mn-cs"/>
                        </a:rPr>
                        <a:t>en intelligence collective</a:t>
                      </a:r>
                    </a:p>
                  </a:txBody>
                  <a:tcPr marL="121920" marR="121920" marT="60960" marB="60960">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534310555"/>
                  </a:ext>
                </a:extLst>
              </a:tr>
              <a:tr h="709974">
                <a:tc gridSpan="2">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400" b="1" kern="1200">
                          <a:solidFill>
                            <a:schemeClr val="bg2"/>
                          </a:solidFill>
                          <a:latin typeface="+mj-lt"/>
                          <a:ea typeface="+mn-ea"/>
                          <a:cs typeface="+mn-cs"/>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100">
                          <a:solidFill>
                            <a:schemeClr val="tx2">
                              <a:lumMod val="50000"/>
                            </a:schemeClr>
                          </a:solidFill>
                          <a:latin typeface="+mj-lt"/>
                        </a:rPr>
                        <a:t>Anglais : </a:t>
                      </a:r>
                      <a:r>
                        <a:rPr lang="fr-FR" sz="1100">
                          <a:solidFill>
                            <a:srgbClr val="0070C0"/>
                          </a:solidFill>
                          <a:latin typeface="+mj-lt"/>
                          <a:sym typeface="Wingdings" panose="05000000000000000000" pitchFamily="2" charset="2"/>
                        </a:rPr>
                        <a:t></a:t>
                      </a:r>
                      <a:r>
                        <a:rPr lang="fr-FR" sz="1100">
                          <a:solidFill>
                            <a:schemeClr val="bg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100">
                          <a:solidFill>
                            <a:schemeClr val="tx2">
                              <a:lumMod val="50000"/>
                            </a:schemeClr>
                          </a:solidFill>
                          <a:latin typeface="+mj-lt"/>
                        </a:rPr>
                        <a:t>Espagnol : </a:t>
                      </a:r>
                      <a:r>
                        <a:rPr lang="fr-FR" sz="1100">
                          <a:solidFill>
                            <a:srgbClr val="0070C0"/>
                          </a:solidFill>
                          <a:latin typeface="+mj-lt"/>
                          <a:sym typeface="Wingdings" panose="05000000000000000000" pitchFamily="2" charset="2"/>
                        </a:rPr>
                        <a:t></a:t>
                      </a:r>
                      <a:r>
                        <a:rPr lang="fr-FR" sz="1100">
                          <a:solidFill>
                            <a:schemeClr val="bg2">
                              <a:lumMod val="20000"/>
                              <a:lumOff val="80000"/>
                            </a:schemeClr>
                          </a:solidFill>
                          <a:latin typeface="+mj-lt"/>
                          <a:sym typeface="Wingdings" panose="05000000000000000000" pitchFamily="2" charset="2"/>
                        </a:rPr>
                        <a:t></a:t>
                      </a:r>
                      <a:endParaRPr lang="fr-FR" sz="1200">
                        <a:solidFill>
                          <a:schemeClr val="bg2">
                            <a:lumMod val="20000"/>
                            <a:lumOff val="80000"/>
                          </a:schemeClr>
                        </a:solidFill>
                        <a:latin typeface="+mj-lt"/>
                        <a:sym typeface="Wingdings" panose="05000000000000000000" pitchFamily="2" charset="2"/>
                      </a:endParaRPr>
                    </a:p>
                  </a:txBody>
                  <a:tcPr marL="121920" marR="121920" marT="60960" marB="60960"/>
                </a:tc>
                <a:tc hMerge="1">
                  <a:txBody>
                    <a:bodyPr/>
                    <a:lstStyle/>
                    <a:p>
                      <a:endParaRPr lang="fr-FR"/>
                    </a:p>
                  </a:txBody>
                  <a:tcPr/>
                </a:tc>
                <a:extLst>
                  <a:ext uri="{0D108BD9-81ED-4DB2-BD59-A6C34878D82A}">
                    <a16:rowId xmlns:a16="http://schemas.microsoft.com/office/drawing/2014/main" val="226718782"/>
                  </a:ext>
                </a:extLst>
              </a:tr>
              <a:tr h="280623">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chemeClr val="bg2"/>
                          </a:solidFill>
                          <a:latin typeface="+mj-lt"/>
                          <a:ea typeface="+mn-ea"/>
                          <a:cs typeface="+mn-cs"/>
                        </a:rPr>
                        <a:t>Principaux clients</a:t>
                      </a:r>
                    </a:p>
                  </a:txBody>
                  <a:tcPr marL="121920" marR="121920" marT="60960" marB="60960">
                    <a:lnB w="12700" cap="flat" cmpd="sng" algn="ctr">
                      <a:solidFill>
                        <a:schemeClr val="bg2"/>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1417742779"/>
                  </a:ext>
                </a:extLst>
              </a:tr>
              <a:tr h="493121">
                <a:tc gridSpan="2">
                  <a:txBody>
                    <a:bodyPr/>
                    <a:lstStyle/>
                    <a:p>
                      <a:pPr marL="0" marR="0" indent="0" algn="l" defTabSz="914400" rtl="0" eaLnBrk="1" fontAlgn="auto" latinLnBrk="0" hangingPunct="1">
                        <a:lnSpc>
                          <a:spcPts val="1000"/>
                        </a:lnSpc>
                        <a:spcBef>
                          <a:spcPts val="0"/>
                        </a:spcBef>
                        <a:spcAft>
                          <a:spcPts val="0"/>
                        </a:spcAft>
                        <a:buClr>
                          <a:schemeClr val="accent1"/>
                        </a:buClr>
                        <a:buSzTx/>
                        <a:buFont typeface="Wingdings" panose="05000000000000000000" pitchFamily="2" charset="2"/>
                        <a:buNone/>
                        <a:tabLst/>
                        <a:defRPr/>
                      </a:pPr>
                      <a:endParaRPr lang="fr-FR" sz="1200">
                        <a:solidFill>
                          <a:schemeClr val="tx2">
                            <a:lumMod val="50000"/>
                          </a:schemeClr>
                        </a:solidFill>
                        <a:latin typeface="+mj-lt"/>
                      </a:endParaRPr>
                    </a:p>
                    <a:p>
                      <a:pPr marL="0" marR="0" indent="0" algn="l" defTabSz="914400" rtl="0" eaLnBrk="1" fontAlgn="auto" latinLnBrk="0" hangingPunct="1">
                        <a:lnSpc>
                          <a:spcPts val="1000"/>
                        </a:lnSpc>
                        <a:spcBef>
                          <a:spcPts val="0"/>
                        </a:spcBef>
                        <a:spcAft>
                          <a:spcPts val="0"/>
                        </a:spcAft>
                        <a:buClr>
                          <a:schemeClr val="accent1"/>
                        </a:buClr>
                        <a:buSzTx/>
                        <a:buFont typeface="Wingdings" panose="05000000000000000000" pitchFamily="2" charset="2"/>
                        <a:buNone/>
                        <a:tabLst/>
                        <a:defRPr/>
                      </a:pPr>
                      <a:r>
                        <a:rPr lang="fr-FR" sz="1200">
                          <a:solidFill>
                            <a:schemeClr val="tx2">
                              <a:lumMod val="50000"/>
                            </a:schemeClr>
                          </a:solidFill>
                          <a:latin typeface="+mj-lt"/>
                        </a:rPr>
                        <a:t>BNP Paribas, Groupe BPCE</a:t>
                      </a:r>
                    </a:p>
                  </a:txBody>
                  <a:tcPr marL="121920" marR="121920" marT="60960" marB="60960">
                    <a:lnT w="12700" cap="flat" cmpd="sng" algn="ctr">
                      <a:solidFill>
                        <a:schemeClr val="bg2"/>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1655801330"/>
                  </a:ext>
                </a:extLst>
              </a:tr>
            </a:tbl>
          </a:graphicData>
        </a:graphic>
      </p:graphicFrame>
      <p:graphicFrame>
        <p:nvGraphicFramePr>
          <p:cNvPr id="4" name="Tableau 4">
            <a:extLst>
              <a:ext uri="{FF2B5EF4-FFF2-40B4-BE49-F238E27FC236}">
                <a16:creationId xmlns:a16="http://schemas.microsoft.com/office/drawing/2014/main" id="{9770B5C9-789A-450B-BEFE-7FE09605F540}"/>
              </a:ext>
            </a:extLst>
          </p:cNvPr>
          <p:cNvGraphicFramePr>
            <a:graphicFrameLocks noGrp="1"/>
          </p:cNvGraphicFramePr>
          <p:nvPr>
            <p:extLst>
              <p:ext uri="{D42A27DB-BD31-4B8C-83A1-F6EECF244321}">
                <p14:modId xmlns:p14="http://schemas.microsoft.com/office/powerpoint/2010/main" val="436329175"/>
              </p:ext>
            </p:extLst>
          </p:nvPr>
        </p:nvGraphicFramePr>
        <p:xfrm>
          <a:off x="3086607" y="1388248"/>
          <a:ext cx="8999621" cy="5469751"/>
        </p:xfrm>
        <a:graphic>
          <a:graphicData uri="http://schemas.openxmlformats.org/drawingml/2006/table">
            <a:tbl>
              <a:tblPr firstRow="1" bandRow="1"/>
              <a:tblGrid>
                <a:gridCol w="482958">
                  <a:extLst>
                    <a:ext uri="{9D8B030D-6E8A-4147-A177-3AD203B41FA5}">
                      <a16:colId xmlns:a16="http://schemas.microsoft.com/office/drawing/2014/main" val="386903249"/>
                    </a:ext>
                  </a:extLst>
                </a:gridCol>
                <a:gridCol w="7308417">
                  <a:extLst>
                    <a:ext uri="{9D8B030D-6E8A-4147-A177-3AD203B41FA5}">
                      <a16:colId xmlns:a16="http://schemas.microsoft.com/office/drawing/2014/main" val="951661628"/>
                    </a:ext>
                  </a:extLst>
                </a:gridCol>
                <a:gridCol w="655906">
                  <a:extLst>
                    <a:ext uri="{9D8B030D-6E8A-4147-A177-3AD203B41FA5}">
                      <a16:colId xmlns:a16="http://schemas.microsoft.com/office/drawing/2014/main" val="2696041193"/>
                    </a:ext>
                  </a:extLst>
                </a:gridCol>
                <a:gridCol w="552340">
                  <a:extLst>
                    <a:ext uri="{9D8B030D-6E8A-4147-A177-3AD203B41FA5}">
                      <a16:colId xmlns:a16="http://schemas.microsoft.com/office/drawing/2014/main" val="3639803920"/>
                    </a:ext>
                  </a:extLst>
                </a:gridCol>
              </a:tblGrid>
              <a:tr h="338841">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2"/>
                          </a:solidFill>
                          <a:effectLst/>
                          <a:uLnTx/>
                          <a:uFillTx/>
                          <a:latin typeface="+mj-lt"/>
                          <a:ea typeface="+mn-ea"/>
                          <a:cs typeface="+mn-cs"/>
                        </a:rPr>
                        <a:t>Expériences pertinentes</a:t>
                      </a:r>
                    </a:p>
                  </a:txBody>
                  <a:tcPr marL="121920" marR="121920" marT="60960" marB="60960">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700" b="0" i="1" u="none" strike="noStrike" kern="1200" cap="none" spc="0" normalizeH="0" baseline="0" noProof="0">
                        <a:ln>
                          <a:noFill/>
                        </a:ln>
                        <a:solidFill>
                          <a:srgbClr val="7F7F7F">
                            <a:lumMod val="50000"/>
                          </a:srgbClr>
                        </a:solidFill>
                        <a:effectLst/>
                        <a:uLnTx/>
                        <a:uFillTx/>
                        <a:latin typeface="Montserrat" panose="00000500000000000000" pitchFamily="2" charset="0"/>
                        <a:ea typeface="+mn-ea"/>
                        <a:cs typeface="+mn-cs"/>
                      </a:endParaRPr>
                    </a:p>
                  </a:txBody>
                  <a:tcPr marR="72000" marT="72000"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100" b="1" i="0" u="none" strike="noStrike" kern="1200" cap="none" spc="0" normalizeH="0" baseline="0">
                        <a:ln>
                          <a:noFill/>
                        </a:ln>
                        <a:solidFill>
                          <a:schemeClr val="bg2"/>
                        </a:solidFill>
                        <a:effectLst/>
                        <a:uLnTx/>
                        <a:uFillTx/>
                        <a:latin typeface="Montserrat" panose="00000500000000000000" pitchFamily="2" charset="0"/>
                        <a:ea typeface="+mn-ea"/>
                        <a:cs typeface="+mn-cs"/>
                      </a:endParaRPr>
                    </a:p>
                  </a:txBody>
                  <a:tcPr marL="0" marR="0" marT="60960" marB="60960">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100" b="1" i="0" u="none" strike="noStrike" kern="1200" cap="none" spc="0" normalizeH="0" baseline="0">
                        <a:ln>
                          <a:noFill/>
                        </a:ln>
                        <a:solidFill>
                          <a:schemeClr val="bg2"/>
                        </a:solidFill>
                        <a:effectLst/>
                        <a:uLnTx/>
                        <a:uFillTx/>
                        <a:latin typeface="Montserrat" panose="00000500000000000000" pitchFamily="2" charset="0"/>
                        <a:ea typeface="+mn-ea"/>
                        <a:cs typeface="+mn-cs"/>
                      </a:endParaRPr>
                    </a:p>
                  </a:txBody>
                  <a:tcPr marL="0" marR="0" marT="60960" marB="60960">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5785887"/>
                  </a:ext>
                </a:extLst>
              </a:tr>
              <a:tr h="1418485">
                <a:tc>
                  <a:txBody>
                    <a:bodyPr/>
                    <a:lstStyle/>
                    <a:p>
                      <a:endParaRPr lang="fr-FR" sz="4800">
                        <a:latin typeface="+mj-lt"/>
                      </a:endParaRPr>
                    </a:p>
                  </a:txBody>
                  <a:tcPr marL="121920" marR="121920" marT="6096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Construction &amp; déploiement de l’organisation cible </a:t>
                      </a:r>
                      <a:r>
                        <a:rPr kumimoji="0" lang="fr-FR" sz="1050" b="1" i="1" u="none" strike="noStrike" kern="1200" cap="none" spc="0" normalizeH="0" baseline="0" noProof="0">
                          <a:ln>
                            <a:noFill/>
                          </a:ln>
                          <a:solidFill>
                            <a:srgbClr val="7F7F7F">
                              <a:lumMod val="50000"/>
                            </a:srgbClr>
                          </a:solidFill>
                          <a:effectLst/>
                          <a:uLnTx/>
                          <a:uFillTx/>
                          <a:latin typeface="+mj-lt"/>
                          <a:ea typeface="+mn-ea"/>
                          <a:cs typeface="+mn-cs"/>
                        </a:rPr>
                        <a:t>(Agilité à l’échelle)</a:t>
                      </a: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 Arval, BNP Paribas</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solidFill>
                            <a:schemeClr val="tx1"/>
                          </a:solidFill>
                          <a:effectLst/>
                          <a:uLnTx/>
                          <a:uFillTx/>
                          <a:latin typeface="+mj-lt"/>
                          <a:ea typeface="+mn-ea"/>
                          <a:cs typeface="+mn-cs"/>
                        </a:rPr>
                        <a:t>Cheffe de projet organisation &amp; conduite du changement</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600" b="0" i="0" u="none" strike="noStrike" kern="1200" cap="none" spc="0" normalizeH="0" baseline="0" noProof="0">
                        <a:ln>
                          <a:noFill/>
                        </a:ln>
                        <a:solidFill>
                          <a:schemeClr val="tx1"/>
                        </a:solidFill>
                        <a:effectLst/>
                        <a:uLnTx/>
                        <a:uFillTx/>
                        <a:latin typeface="+mj-lt"/>
                        <a:ea typeface="+mn-ea"/>
                        <a:cs typeface="+mn-cs"/>
                        <a:sym typeface="Arial"/>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Co-construire, en intelligence collective, l’organisation cible et le processus de gestion de la demande </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Analyser et diagnostiquer les modes de fonctionnement actuels, identifier les pain points et les gains potentiel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Identifier les modes de fonctionnement et bonnes pratiques nécessaires au bon déroulé du processu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Accompagner les métiers &amp; l’IT dans cette transition pour 25 pays d’Arval </a:t>
                      </a:r>
                      <a:r>
                        <a:rPr kumimoji="0" lang="fr-FR" sz="900" b="0" i="1" u="none" strike="noStrike" kern="1200" cap="none" spc="0" normalizeH="0" baseline="0" noProof="0">
                          <a:ln>
                            <a:noFill/>
                          </a:ln>
                          <a:solidFill>
                            <a:schemeClr val="tx1"/>
                          </a:solidFill>
                          <a:effectLst/>
                          <a:uLnTx/>
                          <a:uFillTx/>
                          <a:latin typeface="+mj-lt"/>
                          <a:ea typeface="+mn-ea"/>
                          <a:cs typeface="+mn-cs"/>
                          <a:sym typeface="Arial"/>
                        </a:rPr>
                        <a:t>(Amérique Latine &amp; Europe principalement)</a:t>
                      </a:r>
                      <a:endParaRPr kumimoji="0" lang="fr-FR" sz="900" b="0" i="0" u="none" strike="noStrike" kern="1200" cap="none" spc="0" normalizeH="0" baseline="0" noProof="0">
                        <a:ln>
                          <a:noFill/>
                        </a:ln>
                        <a:solidFill>
                          <a:schemeClr val="tx1"/>
                        </a:solidFill>
                        <a:effectLst/>
                        <a:uLnTx/>
                        <a:uFillTx/>
                        <a:latin typeface="+mj-lt"/>
                        <a:ea typeface="+mn-ea"/>
                        <a:cs typeface="+mn-cs"/>
                        <a:sym typeface="Arial"/>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Créer les supports d’accompagnement au changement : modules de formation &amp; communication</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Identifier et piloter les adaptations techniques JIRA à effectuer </a:t>
                      </a:r>
                      <a:endParaRPr kumimoji="0" lang="fr-FR" sz="900" b="0" i="0" u="none" strike="noStrike" kern="1200" cap="none" spc="0" normalizeH="0" baseline="0" noProof="0">
                        <a:ln>
                          <a:noFill/>
                        </a:ln>
                        <a:solidFill>
                          <a:schemeClr val="tx1"/>
                        </a:solidFill>
                        <a:effectLst/>
                        <a:uLnTx/>
                        <a:uFillTx/>
                        <a:latin typeface="+mj-lt"/>
                        <a:ea typeface="+mn-ea"/>
                        <a:cs typeface="+mn-cs"/>
                      </a:endParaRPr>
                    </a:p>
                  </a:txBody>
                  <a:tcPr marL="121920" marR="96000" marT="96000" marB="9600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Bef>
                          <a:spcPts val="600"/>
                        </a:spcBef>
                      </a:pPr>
                      <a:r>
                        <a:rPr lang="fr-FR" sz="900" b="0" kern="1200">
                          <a:solidFill>
                            <a:schemeClr val="tx1"/>
                          </a:solidFill>
                          <a:latin typeface="+mj-lt"/>
                          <a:ea typeface="+mn-ea"/>
                          <a:cs typeface="+mn-cs"/>
                        </a:rPr>
                        <a:t>Paris</a:t>
                      </a: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pPr>
                      <a:r>
                        <a:rPr lang="fr-FR" sz="900" b="0" kern="1200">
                          <a:solidFill>
                            <a:schemeClr val="tx1"/>
                          </a:solidFill>
                          <a:latin typeface="+mj-lt"/>
                          <a:ea typeface="+mn-ea"/>
                          <a:cs typeface="+mn-cs"/>
                        </a:rPr>
                        <a:t>2023</a:t>
                      </a: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0535738"/>
                  </a:ext>
                </a:extLst>
              </a:tr>
              <a:tr h="1418485">
                <a:tc rowSpan="2">
                  <a:txBody>
                    <a:bodyPr/>
                    <a:lstStyle/>
                    <a:p>
                      <a:endParaRPr lang="fr-FR" sz="4800">
                        <a:latin typeface="+mj-lt"/>
                      </a:endParaRPr>
                    </a:p>
                  </a:txBody>
                  <a:tcPr marL="121920" marR="121920" marT="60960" marB="60960">
                    <a:lnL w="12700" cmpd="sng">
                      <a:noFill/>
                      <a:prstDash val="solid"/>
                    </a:lnL>
                    <a:lnR w="12700" cmpd="sng">
                      <a:noFill/>
                      <a:prstDash val="soli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Mise en place de l’agilité à l’échelle, Pôle DATA IA et Digital Delivery, BCEF IT, BNP Paribas</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solidFill>
                            <a:schemeClr val="tx1"/>
                          </a:solidFill>
                          <a:effectLst/>
                          <a:uLnTx/>
                          <a:uFillTx/>
                          <a:latin typeface="+mj-lt"/>
                          <a:ea typeface="+mn-ea"/>
                          <a:cs typeface="+mn-cs"/>
                        </a:rPr>
                        <a:t>Cheffe de projet organisation, conduite du changement &amp; communication </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600" b="0" i="0" u="none" strike="noStrike" kern="1200" cap="none" spc="0" normalizeH="0" baseline="0" noProof="0">
                        <a:ln>
                          <a:noFill/>
                        </a:ln>
                        <a:solidFill>
                          <a:srgbClr val="7F7F7F">
                            <a:lumMod val="50000"/>
                          </a:srgbClr>
                        </a:solidFill>
                        <a:effectLst/>
                        <a:uLnTx/>
                        <a:uFillTx/>
                        <a:latin typeface="+mj-lt"/>
                        <a:ea typeface="+mn-ea"/>
                        <a:cs typeface="+mn-cs"/>
                        <a:sym typeface="Arial"/>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Co-designer le TOM agile à l’échelle de la DSI</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Analyser les impacts de la transformation pour chaque population</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Définir la stratégie optimale de découpage du périmètre et design du modèle organisationnel cible​</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Diagnostiquer les processus, cartographier les compétences, et dimensionner les équipe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Elaborer le plan de bascule organisationnelle et accompagner la transition en coordination avec l’ensemble des acteurs</a:t>
                      </a:r>
                      <a:endParaRPr kumimoji="0" lang="fr-FR" sz="900" b="0" i="0" u="none" strike="noStrike" kern="1200" cap="none" spc="0" normalizeH="0" baseline="0" noProof="0">
                        <a:ln>
                          <a:noFill/>
                        </a:ln>
                        <a:solidFill>
                          <a:schemeClr val="tx1"/>
                        </a:solidFill>
                        <a:effectLst/>
                        <a:uLnTx/>
                        <a:uFillTx/>
                        <a:latin typeface="+mj-lt"/>
                        <a:ea typeface="+mn-ea"/>
                        <a:cs typeface="+mn-cs"/>
                      </a:endParaRP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rPr>
                        <a:t>Préciser les rôles et responsabilités de chaque acteur dans la nouvelle organisation</a:t>
                      </a:r>
                    </a:p>
                  </a:txBody>
                  <a:tcPr marL="121920" marR="96000" marT="96000" marB="9600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Bef>
                          <a:spcPts val="600"/>
                        </a:spcBef>
                      </a:pPr>
                      <a:r>
                        <a:rPr lang="fr-FR" sz="900" b="0" kern="1200">
                          <a:solidFill>
                            <a:schemeClr val="tx1"/>
                          </a:solidFill>
                          <a:latin typeface="+mj-lt"/>
                          <a:ea typeface="+mn-ea"/>
                          <a:cs typeface="+mn-cs"/>
                        </a:rPr>
                        <a:t>Paris</a:t>
                      </a: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pPr>
                      <a:r>
                        <a:rPr lang="fr-FR" sz="900" b="0" kern="1200">
                          <a:solidFill>
                            <a:schemeClr val="tx1"/>
                          </a:solidFill>
                          <a:latin typeface="+mj-lt"/>
                          <a:ea typeface="+mn-ea"/>
                          <a:cs typeface="+mn-cs"/>
                        </a:rPr>
                        <a:t>2023</a:t>
                      </a: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1235714"/>
                  </a:ext>
                </a:extLst>
              </a:tr>
              <a:tr h="494375">
                <a:tc vMerge="1">
                  <a:txBody>
                    <a:bodyPr/>
                    <a:lstStyle/>
                    <a:p>
                      <a:endParaRPr lang="fr-FR"/>
                    </a:p>
                  </a:txBody>
                  <a:tcPr/>
                </a:tc>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Animation et communication DSI Corporate et CIO Office Groupe, Groupe BPCE</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solidFill>
                            <a:schemeClr val="tx1"/>
                          </a:solidFill>
                          <a:effectLst/>
                          <a:uLnTx/>
                          <a:uFillTx/>
                          <a:latin typeface="+mj-lt"/>
                          <a:ea typeface="+mn-ea"/>
                          <a:cs typeface="+mn-cs"/>
                        </a:rPr>
                        <a:t>Responsable de projets communication – Change management projet de fusion PLEIADE</a:t>
                      </a:r>
                    </a:p>
                  </a:txBody>
                  <a:tcPr marL="121920" marR="96000" marT="96000" marB="9600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a:spcBef>
                          <a:spcPts val="600"/>
                        </a:spcBef>
                      </a:pPr>
                      <a:r>
                        <a:rPr lang="fr-FR" sz="900" b="0" kern="1200">
                          <a:solidFill>
                            <a:schemeClr val="tx1"/>
                          </a:solidFill>
                          <a:latin typeface="+mj-lt"/>
                          <a:ea typeface="+mn-ea"/>
                          <a:cs typeface="+mn-cs"/>
                        </a:rPr>
                        <a:t>Paris</a:t>
                      </a: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600"/>
                        </a:spcBef>
                      </a:pPr>
                      <a:r>
                        <a:rPr lang="fr-FR" sz="900" b="0" kern="1200">
                          <a:solidFill>
                            <a:schemeClr val="tx1"/>
                          </a:solidFill>
                          <a:latin typeface="+mj-lt"/>
                          <a:ea typeface="+mn-ea"/>
                          <a:cs typeface="+mn-cs"/>
                        </a:rPr>
                        <a:t>2022</a:t>
                      </a: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9058942"/>
                  </a:ext>
                </a:extLst>
              </a:tr>
              <a:tr h="477457">
                <a:tc>
                  <a:txBody>
                    <a:bodyPr/>
                    <a:lstStyle/>
                    <a:p>
                      <a:endParaRPr lang="fr-FR" sz="1900">
                        <a:latin typeface="+mj-lt"/>
                      </a:endParaRPr>
                    </a:p>
                  </a:txBody>
                  <a:tcPr marL="121920" marR="121920" marT="60960" marB="60960">
                    <a:lnL w="12700" cmpd="sng">
                      <a:noFill/>
                      <a:prstDash val="soli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Construire le plan d’animation et de communication suite à la fusion des DSI BPCE SA et NATIXI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Arial"/>
                          <a:cs typeface="Arial"/>
                          <a:sym typeface="Arial"/>
                        </a:rPr>
                        <a:t>Créer les supports de communication : newsletters, vidéos, infographies, documents d’accueil…</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Mettre en place et animer un comité de collaborateurs et managers ambassadeurs de la communication</a:t>
                      </a:r>
                    </a:p>
                  </a:txBody>
                  <a:tcPr marL="121920" marR="121920" marT="0" marB="6096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fr-FR" sz="900"/>
                    </a:p>
                  </a:txBody>
                  <a:tcPr marL="121920" marR="121920" marT="0" marB="60960">
                    <a:lnL w="12700" cmpd="sng">
                      <a:noFill/>
                      <a:prstDash val="solid"/>
                    </a:lnL>
                    <a:lnR w="12700" cmpd="sng">
                      <a:noFill/>
                      <a:prstDash val="solid"/>
                    </a:lnR>
                    <a:lnT w="12700" cap="flat" cmpd="sng" algn="ctr">
                      <a:solidFill>
                        <a:schemeClr val="bg2">
                          <a:lumMod val="20000"/>
                          <a:lumOff val="80000"/>
                        </a:schemeClr>
                      </a:solidFill>
                      <a:prstDash val="sysDot"/>
                      <a:round/>
                      <a:headEnd type="none" w="med" len="med"/>
                      <a:tailEnd type="none" w="med" len="med"/>
                    </a:lnT>
                    <a:lnB w="12700" cap="flat" cmpd="sng" algn="ctr">
                      <a:solidFill>
                        <a:schemeClr val="bg2">
                          <a:lumMod val="20000"/>
                          <a:lumOff val="80000"/>
                        </a:schemeClr>
                      </a:solidFill>
                      <a:prstDash val="sysDot"/>
                      <a:round/>
                      <a:headEnd type="none" w="med" len="med"/>
                      <a:tailEnd type="none" w="med" len="med"/>
                    </a:lnB>
                    <a:lnTlToBr w="12700" cmpd="sng">
                      <a:noFill/>
                      <a:prstDash val="solid"/>
                    </a:lnTlToBr>
                    <a:lnBlToTr w="12700" cmpd="sng">
                      <a:noFill/>
                      <a:prstDash val="solid"/>
                    </a:lnBlToTr>
                  </a:tcPr>
                </a:tc>
                <a:tc vMerge="1">
                  <a:txBody>
                    <a:bodyPr/>
                    <a:lstStyle/>
                    <a:p>
                      <a:endParaRPr lang="fr-FR" sz="900"/>
                    </a:p>
                  </a:txBody>
                  <a:tcPr marL="0" marR="0" marT="60960" marB="60960">
                    <a:lnL w="12700" cmpd="sng">
                      <a:noFill/>
                      <a:prstDash val="solid"/>
                    </a:lnL>
                    <a:lnR w="12700" cmpd="sng">
                      <a:noFill/>
                      <a:prstDash val="solid"/>
                    </a:lnR>
                    <a:lnT w="12700" cap="flat" cmpd="sng" algn="ctr">
                      <a:solidFill>
                        <a:schemeClr val="bg2">
                          <a:lumMod val="20000"/>
                          <a:lumOff val="80000"/>
                        </a:schemeClr>
                      </a:solidFill>
                      <a:prstDash val="sysDot"/>
                      <a:round/>
                      <a:headEnd type="none" w="med" len="med"/>
                      <a:tailEnd type="none" w="med" len="med"/>
                    </a:lnT>
                    <a:lnB w="12700" cap="flat" cmpd="sng" algn="ctr">
                      <a:solidFill>
                        <a:schemeClr val="bg2">
                          <a:lumMod val="20000"/>
                          <a:lumOff val="80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013234"/>
                  </a:ext>
                </a:extLst>
              </a:tr>
              <a:tr h="567418">
                <a:tc>
                  <a:txBody>
                    <a:bodyPr/>
                    <a:lstStyle/>
                    <a:p>
                      <a:endParaRPr lang="fr-FR" sz="1900">
                        <a:latin typeface="+mj-lt"/>
                      </a:endParaRPr>
                    </a:p>
                  </a:txBody>
                  <a:tcPr marL="121920" marR="121920" marT="60960" marB="60960">
                    <a:lnL w="12700" cmpd="sng">
                      <a:noFill/>
                      <a:prstDash val="soli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Projet Be Nomad, BNP Paribas Cardif</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solidFill>
                            <a:schemeClr val="tx1"/>
                          </a:solidFill>
                          <a:effectLst/>
                          <a:uLnTx/>
                          <a:uFillTx/>
                          <a:latin typeface="+mj-lt"/>
                          <a:ea typeface="+mn-ea"/>
                          <a:cs typeface="+mn-cs"/>
                        </a:rPr>
                        <a:t>Proxy Product Owner – Change management et communication</a:t>
                      </a:r>
                    </a:p>
                  </a:txBody>
                  <a:tcPr marL="121920" marR="96000" marT="96000" marB="9600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1200"/>
                        </a:spcBef>
                      </a:pPr>
                      <a:r>
                        <a:rPr lang="fr-FR" sz="900" b="0" kern="1200">
                          <a:solidFill>
                            <a:schemeClr val="tx1"/>
                          </a:solidFill>
                          <a:latin typeface="+mj-lt"/>
                          <a:ea typeface="+mn-ea"/>
                          <a:cs typeface="+mn-cs"/>
                        </a:rPr>
                        <a:t>Paris</a:t>
                      </a:r>
                    </a:p>
                  </a:txBody>
                  <a:tcPr marL="0" marR="0" marT="0" marB="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600"/>
                        </a:spcBef>
                      </a:pPr>
                      <a:r>
                        <a:rPr lang="fr-FR" sz="900" b="0" kern="1200">
                          <a:solidFill>
                            <a:schemeClr val="tx1"/>
                          </a:solidFill>
                          <a:latin typeface="+mj-lt"/>
                          <a:ea typeface="+mn-ea"/>
                          <a:cs typeface="+mn-cs"/>
                        </a:rPr>
                        <a:t>2021</a:t>
                      </a:r>
                    </a:p>
                  </a:txBody>
                  <a:tcPr marL="0" marR="0" marT="0" marB="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3781545"/>
                  </a:ext>
                </a:extLst>
              </a:tr>
              <a:tr h="754690">
                <a:tc>
                  <a:txBody>
                    <a:bodyPr/>
                    <a:lstStyle/>
                    <a:p>
                      <a:endParaRPr lang="fr-FR" sz="1400">
                        <a:latin typeface="+mj-lt"/>
                      </a:endParaRPr>
                    </a:p>
                  </a:txBody>
                  <a:tcPr marL="121920" marR="121920" marT="60960" marB="60960">
                    <a:lnL w="12700" cmpd="sng">
                      <a:noFill/>
                      <a:prstDash val="soli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Assister le Product Owner sur la gestion du backlog et piloter l’ensemble des actions de change management</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Construire l’ensemble des processus liés à la gestion de l’application </a:t>
                      </a:r>
                      <a:r>
                        <a:rPr kumimoji="0" lang="fr-FR" sz="900" b="0" i="1" u="none" strike="noStrike" kern="1200" cap="none" spc="0" normalizeH="0" baseline="0" noProof="0">
                          <a:ln>
                            <a:noFill/>
                          </a:ln>
                          <a:solidFill>
                            <a:schemeClr val="tx1"/>
                          </a:solidFill>
                          <a:effectLst/>
                          <a:uLnTx/>
                          <a:uFillTx/>
                          <a:latin typeface="+mj-lt"/>
                          <a:ea typeface="+mn-ea"/>
                          <a:cs typeface="+mn-cs"/>
                          <a:sym typeface="Arial"/>
                        </a:rPr>
                        <a:t>(livraison, onboarding clients, déploiement…)</a:t>
                      </a:r>
                      <a:r>
                        <a:rPr kumimoji="0" lang="fr-FR" sz="900" b="0" i="0" u="none" strike="noStrike" kern="1200" cap="none" spc="0" normalizeH="0" baseline="0" noProof="0">
                          <a:ln>
                            <a:noFill/>
                          </a:ln>
                          <a:solidFill>
                            <a:schemeClr val="tx1"/>
                          </a:solidFill>
                          <a:effectLst/>
                          <a:uLnTx/>
                          <a:uFillTx/>
                          <a:latin typeface="+mj-lt"/>
                          <a:ea typeface="+mn-ea"/>
                          <a:cs typeface="+mn-cs"/>
                          <a:sym typeface="Arial"/>
                        </a:rPr>
                        <a:t> </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Arial"/>
                          <a:cs typeface="Arial"/>
                          <a:sym typeface="Arial"/>
                        </a:rPr>
                        <a:t>Animer des rituels agiles et ateliers en intelligence collective, en présentiel et en hybride</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Construire et déployer des plans de communication multi-canaux internes (BNP Paribas) et externes</a:t>
                      </a:r>
                    </a:p>
                    <a:p>
                      <a:pPr marL="144000" marR="0" lvl="0" indent="-144000" algn="l"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tx1"/>
                          </a:solidFill>
                          <a:effectLst/>
                          <a:uLnTx/>
                          <a:uFillTx/>
                          <a:latin typeface="+mj-lt"/>
                          <a:ea typeface="+mn-ea"/>
                          <a:cs typeface="+mn-cs"/>
                          <a:sym typeface="Arial"/>
                        </a:rPr>
                        <a:t>Former les utilisateurs (à l’application et au back-office, en Français, Anglais et Espagnol)</a:t>
                      </a:r>
                    </a:p>
                  </a:txBody>
                  <a:tcPr marL="121920" marR="121920" marT="0" marB="6096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fr-FR" sz="1900"/>
                    </a:p>
                  </a:txBody>
                  <a:tcPr marL="121920" marR="121920" marT="60960" marB="60960">
                    <a:lnL w="12700" cmpd="sng">
                      <a:noFill/>
                      <a:prstDash val="solid"/>
                    </a:lnL>
                    <a:lnR w="12700" cmpd="sng">
                      <a:noFill/>
                      <a:prstDash val="solid"/>
                    </a:lnR>
                    <a:lnT w="12700" cap="flat" cmpd="sng" algn="ctr">
                      <a:solidFill>
                        <a:schemeClr val="bg2">
                          <a:lumMod val="20000"/>
                          <a:lumOff val="8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fr-FR" sz="900" b="1" kern="1200">
                        <a:solidFill>
                          <a:schemeClr val="tx2">
                            <a:lumMod val="50000"/>
                          </a:schemeClr>
                        </a:solidFill>
                        <a:latin typeface="Montserrat" panose="00000500000000000000" pitchFamily="2" charset="0"/>
                        <a:cs typeface="Arial"/>
                      </a:endParaRPr>
                    </a:p>
                  </a:txBody>
                  <a:tcPr marL="121920" marR="121920" marT="60960" marB="60960">
                    <a:lnL w="12700" cmpd="sng">
                      <a:noFill/>
                      <a:prstDash val="solid"/>
                    </a:lnL>
                    <a:lnR w="12700" cmpd="sng">
                      <a:noFill/>
                      <a:prstDash val="solid"/>
                    </a:lnR>
                    <a:lnT w="12700" cap="flat" cmpd="sng" algn="ctr">
                      <a:solidFill>
                        <a:schemeClr val="bg2">
                          <a:lumMod val="20000"/>
                          <a:lumOff val="8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7245449"/>
                  </a:ext>
                </a:extLst>
              </a:tr>
            </a:tbl>
          </a:graphicData>
        </a:graphic>
      </p:graphicFrame>
      <p:pic>
        <p:nvPicPr>
          <p:cNvPr id="46083" name="Picture 3" descr="BNP Paribas Cardif veut faire connaître son assurance emprunteur">
            <a:extLst>
              <a:ext uri="{FF2B5EF4-FFF2-40B4-BE49-F238E27FC236}">
                <a16:creationId xmlns:a16="http://schemas.microsoft.com/office/drawing/2014/main" id="{D5359D95-FF97-4EB3-8C65-2EB2B28C4D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9314" y="5528694"/>
            <a:ext cx="763795" cy="429377"/>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a:extLst>
              <a:ext uri="{FF2B5EF4-FFF2-40B4-BE49-F238E27FC236}">
                <a16:creationId xmlns:a16="http://schemas.microsoft.com/office/drawing/2014/main" id="{4E12CBAB-424D-480A-6D54-1FF8E366BA7C}"/>
              </a:ext>
            </a:extLst>
          </p:cNvPr>
          <p:cNvPicPr>
            <a:picLocks noChangeAspect="1"/>
          </p:cNvPicPr>
          <p:nvPr/>
        </p:nvPicPr>
        <p:blipFill>
          <a:blip r:embed="rId7"/>
          <a:stretch>
            <a:fillRect/>
          </a:stretch>
        </p:blipFill>
        <p:spPr>
          <a:xfrm>
            <a:off x="2840336" y="4637900"/>
            <a:ext cx="763795" cy="287024"/>
          </a:xfrm>
          <a:prstGeom prst="rect">
            <a:avLst/>
          </a:prstGeom>
        </p:spPr>
      </p:pic>
      <p:sp>
        <p:nvSpPr>
          <p:cNvPr id="3" name="Rectangle 2">
            <a:extLst>
              <a:ext uri="{FF2B5EF4-FFF2-40B4-BE49-F238E27FC236}">
                <a16:creationId xmlns:a16="http://schemas.microsoft.com/office/drawing/2014/main" id="{E748E0B5-C195-AC33-310F-0A8386CC23A9}"/>
              </a:ext>
            </a:extLst>
          </p:cNvPr>
          <p:cNvSpPr/>
          <p:nvPr/>
        </p:nvSpPr>
        <p:spPr>
          <a:xfrm>
            <a:off x="334963" y="814602"/>
            <a:ext cx="11737975" cy="599047"/>
          </a:xfrm>
          <a:prstGeom prst="rect">
            <a:avLst/>
          </a:prstGeom>
          <a:noFill/>
          <a:ln>
            <a:solidFill>
              <a:srgbClr val="43358B"/>
            </a:solidFill>
          </a:ln>
        </p:spPr>
        <p:txBody>
          <a:bodyPr vert="horz" lIns="96000" tIns="96000" rIns="96000" bIns="96000" rtlCol="0" anchor="ctr">
            <a:noAutofit/>
          </a:bodyPr>
          <a:lstStyle/>
          <a:p>
            <a:pPr defTabSz="514321">
              <a:buClr>
                <a:srgbClr val="0070C0"/>
              </a:buClr>
            </a:pPr>
            <a:r>
              <a:rPr lang="fr-FR" sz="900">
                <a:solidFill>
                  <a:srgbClr val="0070C0"/>
                </a:solidFill>
                <a:latin typeface="+mj-lt"/>
              </a:rPr>
              <a:t>Marine est une consultante expérimentée dans l’accompagnement des grands projets de transformation des organisations sur le volet humain. Elle intervient sur l’ensemble des chantiers de la transformation, de l’organisation à la conduite du changement. Ses expériences sur des projets et environnements variés (réorganisation, fusion, projet </a:t>
            </a:r>
            <a:r>
              <a:rPr lang="fr-FR" sz="900" err="1">
                <a:solidFill>
                  <a:srgbClr val="0070C0"/>
                </a:solidFill>
                <a:latin typeface="+mj-lt"/>
              </a:rPr>
              <a:t>intrapreneurial</a:t>
            </a:r>
            <a:r>
              <a:rPr lang="fr-FR" sz="900">
                <a:solidFill>
                  <a:srgbClr val="0070C0"/>
                </a:solidFill>
                <a:latin typeface="+mj-lt"/>
              </a:rPr>
              <a:t>) et internationaux lui permettent de s’adapter rapidement à son environnement, et à comprendre les enjeux de chaque projet. Elle a de plus acquis une expérience solide dans l’animation d’ateliers en intelligence collective avec des parties prenantes diverses et variées. Dynamique, organisée et proactive, elle fait également preuve d’un bon esprit d’analyse.</a:t>
            </a:r>
          </a:p>
        </p:txBody>
      </p:sp>
      <p:pic>
        <p:nvPicPr>
          <p:cNvPr id="9" name="Image 8">
            <a:extLst>
              <a:ext uri="{FF2B5EF4-FFF2-40B4-BE49-F238E27FC236}">
                <a16:creationId xmlns:a16="http://schemas.microsoft.com/office/drawing/2014/main" id="{D1729B3F-A3BA-C13B-3B2D-109F6BB9DFEF}"/>
              </a:ext>
            </a:extLst>
          </p:cNvPr>
          <p:cNvPicPr>
            <a:picLocks noChangeAspect="1"/>
          </p:cNvPicPr>
          <p:nvPr/>
        </p:nvPicPr>
        <p:blipFill>
          <a:blip r:embed="rId8"/>
          <a:stretch>
            <a:fillRect/>
          </a:stretch>
        </p:blipFill>
        <p:spPr>
          <a:xfrm>
            <a:off x="2825416" y="1870534"/>
            <a:ext cx="730998" cy="176385"/>
          </a:xfrm>
          <a:prstGeom prst="rect">
            <a:avLst/>
          </a:prstGeom>
        </p:spPr>
      </p:pic>
      <p:pic>
        <p:nvPicPr>
          <p:cNvPr id="22" name="Image 21">
            <a:extLst>
              <a:ext uri="{FF2B5EF4-FFF2-40B4-BE49-F238E27FC236}">
                <a16:creationId xmlns:a16="http://schemas.microsoft.com/office/drawing/2014/main" id="{70401BAF-E170-FCE7-F533-882B284457E5}"/>
              </a:ext>
            </a:extLst>
          </p:cNvPr>
          <p:cNvPicPr>
            <a:picLocks/>
          </p:cNvPicPr>
          <p:nvPr/>
        </p:nvPicPr>
        <p:blipFill>
          <a:blip r:embed="rId9"/>
          <a:stretch>
            <a:fillRect/>
          </a:stretch>
        </p:blipFill>
        <p:spPr>
          <a:xfrm>
            <a:off x="10200597" y="91171"/>
            <a:ext cx="523627" cy="646452"/>
          </a:xfrm>
          <a:prstGeom prst="rect">
            <a:avLst/>
          </a:prstGeom>
        </p:spPr>
      </p:pic>
      <p:grpSp>
        <p:nvGrpSpPr>
          <p:cNvPr id="12" name="Groupe 11">
            <a:extLst>
              <a:ext uri="{FF2B5EF4-FFF2-40B4-BE49-F238E27FC236}">
                <a16:creationId xmlns:a16="http://schemas.microsoft.com/office/drawing/2014/main" id="{52631E91-5D60-9460-745A-BE14A15332E3}"/>
              </a:ext>
            </a:extLst>
          </p:cNvPr>
          <p:cNvGrpSpPr/>
          <p:nvPr/>
        </p:nvGrpSpPr>
        <p:grpSpPr>
          <a:xfrm>
            <a:off x="10613281" y="1726916"/>
            <a:ext cx="895033" cy="234979"/>
            <a:chOff x="7548964" y="1495934"/>
            <a:chExt cx="671274" cy="176234"/>
          </a:xfrm>
        </p:grpSpPr>
        <p:pic>
          <p:nvPicPr>
            <p:cNvPr id="13" name="Graphique 65" descr="Calendrier journalier">
              <a:extLst>
                <a:ext uri="{FF2B5EF4-FFF2-40B4-BE49-F238E27FC236}">
                  <a16:creationId xmlns:a16="http://schemas.microsoft.com/office/drawing/2014/main" id="{18FF6491-16C7-76BB-AABC-5EBF0E5B321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4004" y="1495934"/>
              <a:ext cx="176234" cy="176234"/>
            </a:xfrm>
            <a:prstGeom prst="rect">
              <a:avLst/>
            </a:prstGeom>
          </p:spPr>
        </p:pic>
        <p:pic>
          <p:nvPicPr>
            <p:cNvPr id="14" name="Graphique 66" descr="Repère">
              <a:extLst>
                <a:ext uri="{FF2B5EF4-FFF2-40B4-BE49-F238E27FC236}">
                  <a16:creationId xmlns:a16="http://schemas.microsoft.com/office/drawing/2014/main" id="{76D75EDD-3944-E10F-6D5C-D5AD51548BC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48964" y="1495934"/>
              <a:ext cx="176234" cy="176234"/>
            </a:xfrm>
            <a:prstGeom prst="rect">
              <a:avLst/>
            </a:prstGeom>
          </p:spPr>
        </p:pic>
      </p:grpSp>
      <p:grpSp>
        <p:nvGrpSpPr>
          <p:cNvPr id="20" name="Groupe 19">
            <a:extLst>
              <a:ext uri="{FF2B5EF4-FFF2-40B4-BE49-F238E27FC236}">
                <a16:creationId xmlns:a16="http://schemas.microsoft.com/office/drawing/2014/main" id="{9BC1B3BE-43A8-6131-8F17-271C97D0D414}"/>
              </a:ext>
            </a:extLst>
          </p:cNvPr>
          <p:cNvGrpSpPr/>
          <p:nvPr/>
        </p:nvGrpSpPr>
        <p:grpSpPr>
          <a:xfrm>
            <a:off x="10613281" y="3149902"/>
            <a:ext cx="895033" cy="234979"/>
            <a:chOff x="7548964" y="1495934"/>
            <a:chExt cx="671274" cy="176234"/>
          </a:xfrm>
        </p:grpSpPr>
        <p:pic>
          <p:nvPicPr>
            <p:cNvPr id="23" name="Graphique 65" descr="Calendrier journalier">
              <a:extLst>
                <a:ext uri="{FF2B5EF4-FFF2-40B4-BE49-F238E27FC236}">
                  <a16:creationId xmlns:a16="http://schemas.microsoft.com/office/drawing/2014/main" id="{4B0EC740-BAB6-80F6-2049-BDB1F556A5C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4004" y="1495934"/>
              <a:ext cx="176234" cy="176234"/>
            </a:xfrm>
            <a:prstGeom prst="rect">
              <a:avLst/>
            </a:prstGeom>
          </p:spPr>
        </p:pic>
        <p:pic>
          <p:nvPicPr>
            <p:cNvPr id="24" name="Graphique 66" descr="Repère">
              <a:extLst>
                <a:ext uri="{FF2B5EF4-FFF2-40B4-BE49-F238E27FC236}">
                  <a16:creationId xmlns:a16="http://schemas.microsoft.com/office/drawing/2014/main" id="{40074F63-41F3-CE9D-8152-5DC40D2AFD6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48964" y="1495934"/>
              <a:ext cx="176234" cy="176234"/>
            </a:xfrm>
            <a:prstGeom prst="rect">
              <a:avLst/>
            </a:prstGeom>
          </p:spPr>
        </p:pic>
      </p:grpSp>
      <p:grpSp>
        <p:nvGrpSpPr>
          <p:cNvPr id="25" name="Groupe 24">
            <a:extLst>
              <a:ext uri="{FF2B5EF4-FFF2-40B4-BE49-F238E27FC236}">
                <a16:creationId xmlns:a16="http://schemas.microsoft.com/office/drawing/2014/main" id="{E301386F-7154-92AF-48C8-0556D50277CA}"/>
              </a:ext>
            </a:extLst>
          </p:cNvPr>
          <p:cNvGrpSpPr/>
          <p:nvPr/>
        </p:nvGrpSpPr>
        <p:grpSpPr>
          <a:xfrm>
            <a:off x="10613281" y="4572888"/>
            <a:ext cx="895033" cy="234979"/>
            <a:chOff x="7548964" y="1495934"/>
            <a:chExt cx="671274" cy="176234"/>
          </a:xfrm>
        </p:grpSpPr>
        <p:pic>
          <p:nvPicPr>
            <p:cNvPr id="26" name="Graphique 65" descr="Calendrier journalier">
              <a:extLst>
                <a:ext uri="{FF2B5EF4-FFF2-40B4-BE49-F238E27FC236}">
                  <a16:creationId xmlns:a16="http://schemas.microsoft.com/office/drawing/2014/main" id="{CCA1F33E-5480-CB6C-8E1D-665D9541F1C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4004" y="1495934"/>
              <a:ext cx="176234" cy="176234"/>
            </a:xfrm>
            <a:prstGeom prst="rect">
              <a:avLst/>
            </a:prstGeom>
          </p:spPr>
        </p:pic>
        <p:pic>
          <p:nvPicPr>
            <p:cNvPr id="27" name="Graphique 66" descr="Repère">
              <a:extLst>
                <a:ext uri="{FF2B5EF4-FFF2-40B4-BE49-F238E27FC236}">
                  <a16:creationId xmlns:a16="http://schemas.microsoft.com/office/drawing/2014/main" id="{FBA8D883-CAF3-5077-72BA-B14DBF3DAB3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48964" y="1495934"/>
              <a:ext cx="176234" cy="176234"/>
            </a:xfrm>
            <a:prstGeom prst="rect">
              <a:avLst/>
            </a:prstGeom>
          </p:spPr>
        </p:pic>
      </p:grpSp>
      <p:grpSp>
        <p:nvGrpSpPr>
          <p:cNvPr id="28" name="Groupe 27">
            <a:extLst>
              <a:ext uri="{FF2B5EF4-FFF2-40B4-BE49-F238E27FC236}">
                <a16:creationId xmlns:a16="http://schemas.microsoft.com/office/drawing/2014/main" id="{B65846D7-B137-900B-C426-B4602223DA8D}"/>
              </a:ext>
            </a:extLst>
          </p:cNvPr>
          <p:cNvGrpSpPr/>
          <p:nvPr/>
        </p:nvGrpSpPr>
        <p:grpSpPr>
          <a:xfrm>
            <a:off x="10613281" y="5484971"/>
            <a:ext cx="895033" cy="234979"/>
            <a:chOff x="7548964" y="1495934"/>
            <a:chExt cx="671274" cy="176234"/>
          </a:xfrm>
        </p:grpSpPr>
        <p:pic>
          <p:nvPicPr>
            <p:cNvPr id="29" name="Graphique 65" descr="Calendrier journalier">
              <a:extLst>
                <a:ext uri="{FF2B5EF4-FFF2-40B4-BE49-F238E27FC236}">
                  <a16:creationId xmlns:a16="http://schemas.microsoft.com/office/drawing/2014/main" id="{93B0E445-6A68-B86F-D9D4-B1131731371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4004" y="1495934"/>
              <a:ext cx="176234" cy="176234"/>
            </a:xfrm>
            <a:prstGeom prst="rect">
              <a:avLst/>
            </a:prstGeom>
          </p:spPr>
        </p:pic>
        <p:pic>
          <p:nvPicPr>
            <p:cNvPr id="30" name="Graphique 66" descr="Repère">
              <a:extLst>
                <a:ext uri="{FF2B5EF4-FFF2-40B4-BE49-F238E27FC236}">
                  <a16:creationId xmlns:a16="http://schemas.microsoft.com/office/drawing/2014/main" id="{AF13418A-665A-D1E2-0F8C-A98FCA6763D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48964" y="1495934"/>
              <a:ext cx="176234" cy="176234"/>
            </a:xfrm>
            <a:prstGeom prst="rect">
              <a:avLst/>
            </a:prstGeom>
          </p:spPr>
        </p:pic>
      </p:grpSp>
      <p:pic>
        <p:nvPicPr>
          <p:cNvPr id="7" name="Image 6" descr="Une image contenant ciel de nuit&#10;&#10;Description générée automatiquement">
            <a:extLst>
              <a:ext uri="{FF2B5EF4-FFF2-40B4-BE49-F238E27FC236}">
                <a16:creationId xmlns:a16="http://schemas.microsoft.com/office/drawing/2014/main" id="{9A0AFC1C-7BD0-D98F-9168-A5BC94F22245}"/>
              </a:ext>
            </a:extLst>
          </p:cNvPr>
          <p:cNvPicPr>
            <a:picLocks noChangeAspect="1"/>
          </p:cNvPicPr>
          <p:nvPr/>
        </p:nvPicPr>
        <p:blipFill>
          <a:blip r:embed="rId14"/>
          <a:stretch>
            <a:fillRect/>
          </a:stretch>
        </p:blipFill>
        <p:spPr>
          <a:xfrm>
            <a:off x="2840336" y="3221692"/>
            <a:ext cx="716078" cy="186180"/>
          </a:xfrm>
          <a:prstGeom prst="rect">
            <a:avLst/>
          </a:prstGeom>
        </p:spPr>
      </p:pic>
    </p:spTree>
    <p:extLst>
      <p:ext uri="{BB962C8B-B14F-4D97-AF65-F5344CB8AC3E}">
        <p14:creationId xmlns:p14="http://schemas.microsoft.com/office/powerpoint/2010/main" val="21247047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AF64C0-132E-B313-A81E-E87E7D447EBD}"/>
              </a:ext>
            </a:extLst>
          </p:cNvPr>
          <p:cNvSpPr txBox="1">
            <a:spLocks/>
          </p:cNvSpPr>
          <p:nvPr/>
        </p:nvSpPr>
        <p:spPr>
          <a:xfrm>
            <a:off x="475487" y="415803"/>
            <a:ext cx="10356303" cy="470898"/>
          </a:xfrm>
          <a:prstGeom prst="rect">
            <a:avLst/>
          </a:prstGeom>
        </p:spPr>
        <p:txBody>
          <a:bodyPr vert="horz" wrap="square" lIns="0" tIns="0" rIns="0" bIns="0" rtlCol="0" anchor="t" anchorCtr="0">
            <a:spAutoFit/>
          </a:bodyPr>
          <a:lstStyle>
            <a:lvl1pPr algn="l" defTabSz="914333" rtl="0" eaLnBrk="1" latinLnBrk="0" hangingPunct="1">
              <a:lnSpc>
                <a:spcPct val="90000"/>
              </a:lnSpc>
              <a:spcBef>
                <a:spcPct val="0"/>
              </a:spcBef>
              <a:buNone/>
              <a:defRPr sz="1500" b="1" kern="1200">
                <a:solidFill>
                  <a:schemeClr val="accent5"/>
                </a:solidFill>
                <a:latin typeface="Montserrat" panose="00000500000000000000" pitchFamily="2" charset="0"/>
                <a:ea typeface="+mj-ea"/>
                <a:cs typeface="+mj-cs"/>
              </a:defRPr>
            </a:lvl1pPr>
          </a:lstStyle>
          <a:p>
            <a:pPr>
              <a:buClrTx/>
              <a:buFontTx/>
            </a:pPr>
            <a:r>
              <a:rPr lang="fr-FR" sz="2000">
                <a:solidFill>
                  <a:srgbClr val="43358B"/>
                </a:solidFill>
                <a:latin typeface="Arial Black" panose="020B0A04020102020204" pitchFamily="34" charset="0"/>
              </a:rPr>
              <a:t>Julia</a:t>
            </a:r>
            <a:r>
              <a:rPr lang="fr-FR" sz="1600">
                <a:solidFill>
                  <a:srgbClr val="43358B"/>
                </a:solidFill>
                <a:latin typeface="Arial Black" panose="020B0A04020102020204" pitchFamily="34" charset="0"/>
              </a:rPr>
              <a:t> </a:t>
            </a:r>
            <a:r>
              <a:rPr lang="fr-FR" sz="2000">
                <a:solidFill>
                  <a:srgbClr val="43358B"/>
                </a:solidFill>
                <a:latin typeface="Arial Black" panose="020B0A04020102020204" pitchFamily="34" charset="0"/>
              </a:rPr>
              <a:t>PONT</a:t>
            </a:r>
            <a:br>
              <a:rPr lang="fr-FR" sz="2000">
                <a:latin typeface="Arial Black" panose="020B0A04020102020204" pitchFamily="34" charset="0"/>
              </a:rPr>
            </a:br>
            <a:r>
              <a:rPr lang="fr-FR" sz="1400" b="0">
                <a:solidFill>
                  <a:srgbClr val="43358B"/>
                </a:solidFill>
                <a:latin typeface="Arial Black" panose="020B0A04020102020204" pitchFamily="34" charset="0"/>
              </a:rPr>
              <a:t>Consultante organisation</a:t>
            </a:r>
            <a:endParaRPr lang="fr-FR" sz="2000" b="0">
              <a:solidFill>
                <a:srgbClr val="43358B"/>
              </a:solidFill>
              <a:latin typeface="Arial Black" panose="020B0A04020102020204" pitchFamily="34" charset="0"/>
            </a:endParaRPr>
          </a:p>
        </p:txBody>
      </p:sp>
      <p:sp>
        <p:nvSpPr>
          <p:cNvPr id="3" name="Espace réservé du contenu 7">
            <a:extLst>
              <a:ext uri="{FF2B5EF4-FFF2-40B4-BE49-F238E27FC236}">
                <a16:creationId xmlns:a16="http://schemas.microsoft.com/office/drawing/2014/main" id="{AF7B4F25-6666-55C3-1103-AFD1986FBD0D}"/>
              </a:ext>
            </a:extLst>
          </p:cNvPr>
          <p:cNvSpPr txBox="1">
            <a:spLocks/>
          </p:cNvSpPr>
          <p:nvPr/>
        </p:nvSpPr>
        <p:spPr>
          <a:xfrm>
            <a:off x="334964" y="1009163"/>
            <a:ext cx="11737974" cy="605400"/>
          </a:xfrm>
          <a:prstGeom prst="rect">
            <a:avLst/>
          </a:prstGeom>
          <a:noFill/>
          <a:ln>
            <a:solidFill>
              <a:srgbClr val="43358B"/>
            </a:solidFill>
          </a:ln>
        </p:spPr>
        <p:txBody>
          <a:bodyPr vert="horz" lIns="96000" tIns="96000" rIns="96000" bIns="96000" rtlCol="0" anchor="ctr">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spcBef>
                <a:spcPts val="0"/>
              </a:spcBef>
              <a:buClr>
                <a:srgbClr val="0070C0"/>
              </a:buClr>
              <a:buNone/>
              <a:defRPr/>
            </a:pPr>
            <a:r>
              <a:rPr lang="fr-FR" sz="1133">
                <a:solidFill>
                  <a:srgbClr val="0070C0"/>
                </a:solidFill>
                <a:latin typeface="+mj-lt"/>
              </a:rPr>
              <a:t>Julia a pu participer à des projets transverses auprès de directions supports et métiers dans le domaine de l’assurance. Elle est en mesure de délivrer des supports de grande qualité en tenant compte du public auquel ils sont destinés, et participe régulièrement à l’animation de réunions/ateliers, le suivi de projets ainsi qu’à la définition et la mise en œuvre d’actions de conduite du changement. </a:t>
            </a:r>
          </a:p>
        </p:txBody>
      </p:sp>
      <p:graphicFrame>
        <p:nvGraphicFramePr>
          <p:cNvPr id="4" name="Tableau 3">
            <a:extLst>
              <a:ext uri="{FF2B5EF4-FFF2-40B4-BE49-F238E27FC236}">
                <a16:creationId xmlns:a16="http://schemas.microsoft.com/office/drawing/2014/main" id="{866FF552-3425-9461-A6AC-2608AD703414}"/>
              </a:ext>
            </a:extLst>
          </p:cNvPr>
          <p:cNvGraphicFramePr>
            <a:graphicFrameLocks noGrp="1"/>
          </p:cNvGraphicFramePr>
          <p:nvPr>
            <p:extLst>
              <p:ext uri="{D42A27DB-BD31-4B8C-83A1-F6EECF244321}">
                <p14:modId xmlns:p14="http://schemas.microsoft.com/office/powerpoint/2010/main" val="121668218"/>
              </p:ext>
            </p:extLst>
          </p:nvPr>
        </p:nvGraphicFramePr>
        <p:xfrm>
          <a:off x="358177" y="1593133"/>
          <a:ext cx="3493809" cy="5163122"/>
        </p:xfrm>
        <a:graphic>
          <a:graphicData uri="http://schemas.openxmlformats.org/drawingml/2006/table">
            <a:tbl>
              <a:tblPr firstRow="1" bandRow="1">
                <a:tableStyleId>{2D5ABB26-0587-4C30-8999-92F81FD0307C}</a:tableStyleId>
              </a:tblPr>
              <a:tblGrid>
                <a:gridCol w="3493809">
                  <a:extLst>
                    <a:ext uri="{9D8B030D-6E8A-4147-A177-3AD203B41FA5}">
                      <a16:colId xmlns:a16="http://schemas.microsoft.com/office/drawing/2014/main" val="2856406043"/>
                    </a:ext>
                  </a:extLst>
                </a:gridCol>
              </a:tblGrid>
              <a:tr h="428939">
                <a:tc>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400" b="1" kern="1200">
                          <a:solidFill>
                            <a:srgbClr val="43358B"/>
                          </a:solidFill>
                          <a:latin typeface="+mj-lt"/>
                          <a:ea typeface="+mn-ea"/>
                          <a:cs typeface="+mn-cs"/>
                        </a:rPr>
                        <a:t>Formation</a:t>
                      </a:r>
                      <a:endParaRPr lang="fr-FR" sz="1200" b="1" kern="1200">
                        <a:solidFill>
                          <a:srgbClr val="43358B"/>
                        </a:solidFill>
                        <a:latin typeface="+mj-lt"/>
                        <a:ea typeface="+mn-ea"/>
                        <a:cs typeface="+mn-cs"/>
                      </a:endParaRPr>
                    </a:p>
                  </a:txBody>
                  <a:tcPr marL="121920" marR="121920" marT="60960" marB="60960">
                    <a:lnL>
                      <a:noFill/>
                    </a:lnL>
                    <a:lnR>
                      <a:noFill/>
                    </a:lnR>
                    <a:lnT>
                      <a:noFill/>
                    </a:lnT>
                    <a:lnB w="12700" cap="flat" cmpd="sng" algn="ctr">
                      <a:solidFill>
                        <a:srgbClr val="43358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204566"/>
                  </a:ext>
                </a:extLst>
              </a:tr>
              <a:tr h="1159584">
                <a:tc>
                  <a:txBody>
                    <a:bodyPr/>
                    <a:lstStyle/>
                    <a:p>
                      <a:pPr marL="171450" indent="-171450">
                        <a:spcBef>
                          <a:spcPts val="0"/>
                        </a:spcBef>
                        <a:buClr>
                          <a:schemeClr val="tx1"/>
                        </a:buClr>
                        <a:buFont typeface="Montserrat" panose="020B0604020202020204" charset="0"/>
                        <a:buChar char="›"/>
                      </a:pPr>
                      <a:r>
                        <a:rPr lang="fr-FR" sz="1100" b="0">
                          <a:solidFill>
                            <a:schemeClr val="tx1"/>
                          </a:solidFill>
                          <a:latin typeface="+mj-lt"/>
                        </a:rPr>
                        <a:t>Master 2 Conseil et accompagnement du changement </a:t>
                      </a:r>
                      <a:r>
                        <a:rPr lang="fr-FR" sz="1100" b="1">
                          <a:solidFill>
                            <a:schemeClr val="tx1"/>
                          </a:solidFill>
                          <a:latin typeface="+mj-lt"/>
                        </a:rPr>
                        <a:t>- Dauphine – PSL</a:t>
                      </a:r>
                    </a:p>
                    <a:p>
                      <a:pPr marL="0" indent="0">
                        <a:spcBef>
                          <a:spcPts val="0"/>
                        </a:spcBef>
                        <a:buClr>
                          <a:schemeClr val="tx1"/>
                        </a:buClr>
                        <a:buFont typeface="Montserrat" panose="020B0604020202020204" charset="0"/>
                        <a:buNone/>
                      </a:pPr>
                      <a:endParaRPr lang="fr-FR" sz="1100" b="1">
                        <a:solidFill>
                          <a:schemeClr val="tx1"/>
                        </a:solidFill>
                        <a:latin typeface="+mj-lt"/>
                      </a:endParaRPr>
                    </a:p>
                    <a:p>
                      <a:pPr marL="171450" indent="-171450">
                        <a:spcBef>
                          <a:spcPts val="0"/>
                        </a:spcBef>
                        <a:buClr>
                          <a:schemeClr val="tx1"/>
                        </a:buClr>
                        <a:buFont typeface="Montserrat" panose="020B0604020202020204" charset="0"/>
                        <a:buChar char="›"/>
                      </a:pPr>
                      <a:r>
                        <a:rPr lang="fr-FR" sz="1100" b="0">
                          <a:solidFill>
                            <a:schemeClr val="tx1"/>
                          </a:solidFill>
                          <a:latin typeface="+mj-lt"/>
                        </a:rPr>
                        <a:t>Programme Grande Ecole Spécialisation Consulting </a:t>
                      </a:r>
                      <a:r>
                        <a:rPr lang="fr-FR" sz="1100" b="1">
                          <a:solidFill>
                            <a:schemeClr val="tx1"/>
                          </a:solidFill>
                          <a:latin typeface="+mj-lt"/>
                        </a:rPr>
                        <a:t>- ESSCA</a:t>
                      </a: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3691408330"/>
                  </a:ext>
                </a:extLst>
              </a:tr>
              <a:tr h="33528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3358B"/>
                          </a:solidFill>
                          <a:latin typeface="+mj-lt"/>
                          <a:ea typeface="+mn-ea"/>
                          <a:cs typeface="+mn-cs"/>
                        </a:rPr>
                        <a:t>Compétences</a:t>
                      </a:r>
                    </a:p>
                  </a:txBody>
                  <a:tcPr marL="121920" marR="121920" marT="60960" marB="6096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2760446002"/>
                  </a:ext>
                </a:extLst>
              </a:tr>
              <a:tr h="1320800">
                <a:tc>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400" b="1" kern="1200">
                          <a:solidFill>
                            <a:srgbClr val="43358B"/>
                          </a:solidFill>
                          <a:latin typeface="+mj-lt"/>
                          <a:ea typeface="+mn-ea"/>
                          <a:cs typeface="+mn-cs"/>
                        </a:rPr>
                        <a:t>Méthodologies</a:t>
                      </a:r>
                      <a:r>
                        <a:rPr lang="fr-FR" sz="1200" b="1" kern="1200">
                          <a:solidFill>
                            <a:srgbClr val="43358B"/>
                          </a:solidFill>
                          <a:latin typeface="+mj-lt"/>
                          <a:ea typeface="+mn-ea"/>
                          <a:cs typeface="+mn-cs"/>
                        </a:rPr>
                        <a:t> </a:t>
                      </a:r>
                      <a:r>
                        <a:rPr lang="fr-FR" sz="1400" b="1" kern="1200">
                          <a:solidFill>
                            <a:srgbClr val="43358B"/>
                          </a:solidFill>
                          <a:latin typeface="+mj-lt"/>
                          <a:ea typeface="+mn-ea"/>
                          <a:cs typeface="+mn-cs"/>
                        </a:rPr>
                        <a:t>:</a:t>
                      </a:r>
                    </a:p>
                    <a:p>
                      <a:pPr marL="171450" indent="-171450">
                        <a:spcBef>
                          <a:spcPts val="0"/>
                        </a:spcBef>
                        <a:buClr>
                          <a:schemeClr val="tx1"/>
                        </a:buClr>
                        <a:buFont typeface="Montserrat" panose="020B0604020202020204" charset="0"/>
                        <a:buChar char="›"/>
                      </a:pPr>
                      <a:r>
                        <a:rPr lang="fr-FR" sz="1100" b="0" kern="1200">
                          <a:solidFill>
                            <a:schemeClr val="tx1"/>
                          </a:solidFill>
                          <a:latin typeface="+mj-lt"/>
                          <a:ea typeface="+mn-ea"/>
                          <a:cs typeface="+mn-cs"/>
                        </a:rPr>
                        <a:t>Gestion de projet</a:t>
                      </a:r>
                    </a:p>
                    <a:p>
                      <a:pPr marL="171450" indent="-171450">
                        <a:spcBef>
                          <a:spcPts val="0"/>
                        </a:spcBef>
                        <a:buClr>
                          <a:schemeClr val="tx1"/>
                        </a:buClr>
                        <a:buFont typeface="Montserrat" panose="020B0604020202020204" charset="0"/>
                        <a:buChar char="›"/>
                      </a:pPr>
                      <a:r>
                        <a:rPr lang="fr-FR" sz="1100" b="0" kern="1200">
                          <a:solidFill>
                            <a:schemeClr val="tx1"/>
                          </a:solidFill>
                          <a:latin typeface="+mj-lt"/>
                          <a:ea typeface="+mn-ea"/>
                          <a:cs typeface="+mn-cs"/>
                        </a:rPr>
                        <a:t>Optimisation et formalisation de processus opérationnels</a:t>
                      </a:r>
                    </a:p>
                    <a:p>
                      <a:pPr marL="171450" indent="-171450">
                        <a:spcBef>
                          <a:spcPts val="0"/>
                        </a:spcBef>
                        <a:buClr>
                          <a:schemeClr val="tx1"/>
                        </a:buClr>
                        <a:buFont typeface="Montserrat" panose="020B0604020202020204" charset="0"/>
                        <a:buChar char="›"/>
                      </a:pPr>
                      <a:r>
                        <a:rPr lang="fr-FR" sz="1100" b="0" kern="1200">
                          <a:solidFill>
                            <a:schemeClr val="tx1"/>
                          </a:solidFill>
                          <a:latin typeface="+mj-lt"/>
                          <a:ea typeface="+mn-ea"/>
                          <a:cs typeface="+mn-cs"/>
                        </a:rPr>
                        <a:t>Accompagnement du changement</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1100" b="1" i="0" u="none" strike="noStrike" kern="1200" cap="none">
                        <a:solidFill>
                          <a:schemeClr val="tx1"/>
                        </a:solidFill>
                        <a:latin typeface="Montserrat" panose="00000500000000000000" pitchFamily="2" charset="0"/>
                        <a:ea typeface="+mn-ea"/>
                        <a:cs typeface="+mn-cs"/>
                        <a:sym typeface="Arial"/>
                      </a:endParaRP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534310555"/>
                  </a:ext>
                </a:extLst>
              </a:tr>
              <a:tr h="1056943">
                <a:tc>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400" b="1" kern="1200">
                          <a:solidFill>
                            <a:srgbClr val="43358B"/>
                          </a:solidFill>
                          <a:latin typeface="+mj-lt"/>
                          <a:ea typeface="+mn-ea"/>
                          <a:cs typeface="+mn-cs"/>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b="0">
                          <a:solidFill>
                            <a:schemeClr val="tx1"/>
                          </a:solidFill>
                          <a:latin typeface="+mj-lt"/>
                        </a:rPr>
                        <a:t>Anglais :</a:t>
                      </a:r>
                      <a:r>
                        <a:rPr lang="fr-FR" sz="1200" b="0">
                          <a:solidFill>
                            <a:schemeClr val="bg2"/>
                          </a:solidFill>
                          <a:latin typeface="+mj-lt"/>
                        </a:rPr>
                        <a:t> </a:t>
                      </a:r>
                      <a:r>
                        <a:rPr lang="fr-FR" sz="1500" b="0">
                          <a:solidFill>
                            <a:srgbClr val="0070C0"/>
                          </a:solidFill>
                          <a:latin typeface="+mj-lt"/>
                          <a:sym typeface="Wingdings" panose="05000000000000000000" pitchFamily="2" charset="2"/>
                        </a:rPr>
                        <a:t></a:t>
                      </a:r>
                      <a:r>
                        <a:rPr lang="fr-FR" sz="1500" b="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200" b="0" kern="1200">
                          <a:solidFill>
                            <a:schemeClr val="tx1"/>
                          </a:solidFill>
                          <a:latin typeface="+mj-lt"/>
                          <a:ea typeface="+mn-ea"/>
                          <a:cs typeface="+mn-cs"/>
                          <a:sym typeface="Wingdings" panose="05000000000000000000" pitchFamily="2" charset="2"/>
                        </a:rPr>
                        <a:t>Espagnol :</a:t>
                      </a:r>
                      <a:r>
                        <a:rPr lang="fr-FR" sz="1500" b="0">
                          <a:solidFill>
                            <a:schemeClr val="accent2">
                              <a:lumMod val="20000"/>
                              <a:lumOff val="80000"/>
                            </a:schemeClr>
                          </a:solidFill>
                          <a:latin typeface="+mj-lt"/>
                          <a:sym typeface="Wingdings" panose="05000000000000000000" pitchFamily="2" charset="2"/>
                        </a:rPr>
                        <a:t> </a:t>
                      </a:r>
                      <a:r>
                        <a:rPr lang="fr-FR" sz="1500" b="0">
                          <a:solidFill>
                            <a:srgbClr val="0070C0"/>
                          </a:solidFill>
                          <a:latin typeface="+mj-lt"/>
                          <a:sym typeface="Wingdings" panose="05000000000000000000" pitchFamily="2" charset="2"/>
                        </a:rPr>
                        <a:t></a:t>
                      </a:r>
                      <a:r>
                        <a:rPr lang="fr-FR" sz="1500" b="0">
                          <a:solidFill>
                            <a:schemeClr val="accent2">
                              <a:lumMod val="20000"/>
                              <a:lumOff val="80000"/>
                            </a:schemeClr>
                          </a:solidFill>
                          <a:latin typeface="+mj-lt"/>
                          <a:sym typeface="Wingdings" panose="05000000000000000000" pitchFamily="2" charset="2"/>
                        </a:rPr>
                        <a:t></a:t>
                      </a:r>
                    </a:p>
                  </a:txBody>
                  <a:tcPr marL="121920" marR="121920" marT="60960" marB="60960"/>
                </a:tc>
                <a:extLst>
                  <a:ext uri="{0D108BD9-81ED-4DB2-BD59-A6C34878D82A}">
                    <a16:rowId xmlns:a16="http://schemas.microsoft.com/office/drawing/2014/main" val="226718782"/>
                  </a:ext>
                </a:extLst>
              </a:tr>
              <a:tr h="33528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a:solidFill>
                            <a:srgbClr val="43358B"/>
                          </a:solidFill>
                          <a:latin typeface="+mj-lt"/>
                          <a:ea typeface="+mn-ea"/>
                          <a:cs typeface="+mn-cs"/>
                        </a:rPr>
                        <a:t>Principaux clients</a:t>
                      </a:r>
                    </a:p>
                  </a:txBody>
                  <a:tcPr marL="121920" marR="121920" marT="60960" marB="6096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17742779"/>
                  </a:ext>
                </a:extLst>
              </a:tr>
              <a:tr h="521216">
                <a:tc>
                  <a:txBody>
                    <a:bodyPr/>
                    <a:lstStyle/>
                    <a:p>
                      <a:pPr marL="0" marR="0" indent="0" algn="l" defTabSz="914400" rtl="0" eaLnBrk="1" fontAlgn="auto" latinLnBrk="0" hangingPunct="1">
                        <a:lnSpc>
                          <a:spcPts val="1000"/>
                        </a:lnSpc>
                        <a:spcBef>
                          <a:spcPts val="0"/>
                        </a:spcBef>
                        <a:spcAft>
                          <a:spcPts val="0"/>
                        </a:spcAft>
                        <a:buClr>
                          <a:schemeClr val="accent1"/>
                        </a:buClr>
                        <a:buSzTx/>
                        <a:buFont typeface="Wingdings" panose="05000000000000000000" pitchFamily="2" charset="2"/>
                        <a:buNone/>
                        <a:tabLst/>
                        <a:defRPr/>
                      </a:pPr>
                      <a:r>
                        <a:rPr lang="fr-FR" sz="1200">
                          <a:solidFill>
                            <a:schemeClr val="tx1"/>
                          </a:solidFill>
                          <a:latin typeface="+mj-lt"/>
                        </a:rPr>
                        <a:t>Generali, Intrum</a:t>
                      </a:r>
                    </a:p>
                  </a:txBody>
                  <a:tcPr marL="121920" marR="121920" marT="60960" marB="60960">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655801330"/>
                  </a:ext>
                </a:extLst>
              </a:tr>
            </a:tbl>
          </a:graphicData>
        </a:graphic>
      </p:graphicFrame>
      <p:graphicFrame>
        <p:nvGraphicFramePr>
          <p:cNvPr id="5" name="Tableau 4">
            <a:extLst>
              <a:ext uri="{FF2B5EF4-FFF2-40B4-BE49-F238E27FC236}">
                <a16:creationId xmlns:a16="http://schemas.microsoft.com/office/drawing/2014/main" id="{9B826BB9-A900-21A6-F3B2-D05910D927FB}"/>
              </a:ext>
            </a:extLst>
          </p:cNvPr>
          <p:cNvGraphicFramePr>
            <a:graphicFrameLocks noGrp="1"/>
          </p:cNvGraphicFramePr>
          <p:nvPr>
            <p:extLst>
              <p:ext uri="{D42A27DB-BD31-4B8C-83A1-F6EECF244321}">
                <p14:modId xmlns:p14="http://schemas.microsoft.com/office/powerpoint/2010/main" val="2674620013"/>
              </p:ext>
            </p:extLst>
          </p:nvPr>
        </p:nvGraphicFramePr>
        <p:xfrm>
          <a:off x="4571764" y="1637837"/>
          <a:ext cx="7501173" cy="5153964"/>
        </p:xfrm>
        <a:graphic>
          <a:graphicData uri="http://schemas.openxmlformats.org/drawingml/2006/table">
            <a:tbl>
              <a:tblPr firstRow="1" bandRow="1">
                <a:tableStyleId>{2D5ABB26-0587-4C30-8999-92F81FD0307C}</a:tableStyleId>
              </a:tblPr>
              <a:tblGrid>
                <a:gridCol w="5196683">
                  <a:extLst>
                    <a:ext uri="{9D8B030D-6E8A-4147-A177-3AD203B41FA5}">
                      <a16:colId xmlns:a16="http://schemas.microsoft.com/office/drawing/2014/main" val="1537716266"/>
                    </a:ext>
                  </a:extLst>
                </a:gridCol>
                <a:gridCol w="1296368">
                  <a:extLst>
                    <a:ext uri="{9D8B030D-6E8A-4147-A177-3AD203B41FA5}">
                      <a16:colId xmlns:a16="http://schemas.microsoft.com/office/drawing/2014/main" val="1337902147"/>
                    </a:ext>
                  </a:extLst>
                </a:gridCol>
                <a:gridCol w="1008122">
                  <a:extLst>
                    <a:ext uri="{9D8B030D-6E8A-4147-A177-3AD203B41FA5}">
                      <a16:colId xmlns:a16="http://schemas.microsoft.com/office/drawing/2014/main" val="1484638934"/>
                    </a:ext>
                  </a:extLst>
                </a:gridCol>
              </a:tblGrid>
              <a:tr h="396513">
                <a:tc gridSpan="3">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r>
                        <a:rPr lang="fr-FR" sz="1400" b="1" kern="1200">
                          <a:solidFill>
                            <a:srgbClr val="43358B"/>
                          </a:solidFill>
                          <a:latin typeface="+mj-lt"/>
                          <a:ea typeface="+mn-ea"/>
                          <a:cs typeface="+mn-cs"/>
                        </a:rPr>
                        <a:t>Expériences pertinentes</a:t>
                      </a:r>
                    </a:p>
                  </a:txBody>
                  <a:tcPr marL="112541" marR="112541" marT="56271" marB="56271">
                    <a:lnB w="12700" cap="flat" cmpd="sng" algn="ctr">
                      <a:solidFill>
                        <a:srgbClr val="43358B"/>
                      </a:solidFill>
                      <a:prstDash val="solid"/>
                      <a:round/>
                      <a:headEnd type="none" w="med" len="med"/>
                      <a:tailEnd type="none" w="med" len="med"/>
                    </a:lnB>
                  </a:tcPr>
                </a:tc>
                <a:tc hMerge="1">
                  <a:txBody>
                    <a:bodyPr/>
                    <a:lstStyle/>
                    <a:p>
                      <a:endParaRPr lang="fr-FR"/>
                    </a:p>
                  </a:txBody>
                  <a:tcPr/>
                </a:tc>
                <a:tc hMerge="1">
                  <a:txBody>
                    <a:bodyPr/>
                    <a:lstStyle/>
                    <a:p>
                      <a:pPr marL="0" marR="0" lvl="0" indent="0" algn="l" defTabSz="514321" rtl="0" eaLnBrk="1" fontAlgn="auto" latinLnBrk="0" hangingPunct="1">
                        <a:lnSpc>
                          <a:spcPct val="150000"/>
                        </a:lnSpc>
                        <a:spcBef>
                          <a:spcPts val="0"/>
                        </a:spcBef>
                        <a:spcAft>
                          <a:spcPts val="0"/>
                        </a:spcAft>
                        <a:buClrTx/>
                        <a:buSzTx/>
                        <a:buFontTx/>
                        <a:buNone/>
                        <a:tabLst/>
                        <a:defRPr/>
                      </a:pPr>
                      <a:endParaRPr lang="fr-FR" sz="1050" b="1" kern="1200">
                        <a:solidFill>
                          <a:srgbClr val="43358B"/>
                        </a:solidFill>
                        <a:latin typeface="Montserrat" panose="00000500000000000000" pitchFamily="2" charset="0"/>
                        <a:ea typeface="+mn-ea"/>
                        <a:cs typeface="+mn-cs"/>
                      </a:endParaRPr>
                    </a:p>
                  </a:txBody>
                  <a:tcPr marL="84406" marR="84406" marT="42203" marB="42203">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1428455178"/>
                  </a:ext>
                </a:extLst>
              </a:tr>
              <a:tr h="375257">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Simplification et harmonisation des processus – Intrum (2 mois)</a:t>
                      </a:r>
                    </a:p>
                  </a:txBody>
                  <a:tcPr marL="121920" marR="96000" marT="96000" marB="0">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Lyon</a:t>
                      </a:r>
                    </a:p>
                  </a:txBody>
                  <a:tcPr marL="0" marR="0" marT="48000" marB="60960" anchor="ctr">
                    <a:lnT w="12700" cap="flat" cmpd="sng" algn="ctr">
                      <a:solidFill>
                        <a:schemeClr val="accent1">
                          <a:lumMod val="50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2023</a:t>
                      </a:r>
                    </a:p>
                  </a:txBody>
                  <a:tcPr marL="0" marR="0" marT="48000" marB="60960" anchor="ctr">
                    <a:lnT w="12700" cap="flat" cmpd="sng" algn="ctr">
                      <a:solidFill>
                        <a:srgbClr val="43358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406551106"/>
                  </a:ext>
                </a:extLst>
              </a:tr>
              <a:tr h="949440">
                <a:tc gridSpan="3">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résentation de la démarche DMAIC</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Coanimation de 3 ateliers par processus dans l’objectif de : </a:t>
                      </a:r>
                    </a:p>
                    <a:p>
                      <a:pPr marL="447675" marR="0" lvl="0" indent="-142875"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Modéliser les processus de gestion </a:t>
                      </a:r>
                    </a:p>
                    <a:p>
                      <a:pPr marL="447675" marR="0" lvl="0" indent="-142875"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Identifier les problèmes et analyser leurs causes avec les métiers</a:t>
                      </a:r>
                    </a:p>
                    <a:p>
                      <a:pPr marL="447675" marR="0" lvl="0" indent="-142875"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Formaliser des plans d’action pour éliminer les causes racines et présenter les plans synthétisés au management</a:t>
                      </a:r>
                    </a:p>
                  </a:txBody>
                  <a:tcPr marL="121920" marR="96000" marT="96000" marB="0">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tc hMerge="1">
                  <a:txBody>
                    <a:bodyPr/>
                    <a:lstStyle/>
                    <a:p>
                      <a:pPr marL="2745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a:ln>
                          <a:noFill/>
                        </a:ln>
                        <a:solidFill>
                          <a:schemeClr val="bg2">
                            <a:lumMod val="10000"/>
                          </a:schemeClr>
                        </a:solidFill>
                        <a:effectLst/>
                        <a:uLnTx/>
                        <a:uFillTx/>
                        <a:latin typeface="Montserrat" panose="00000500000000000000" pitchFamily="2" charset="0"/>
                        <a:ea typeface="+mn-ea"/>
                        <a:cs typeface="+mn-cs"/>
                      </a:endParaRPr>
                    </a:p>
                  </a:txBody>
                  <a:tcPr marL="0" marR="0" marT="36000" anchor="ctr">
                    <a:lnT w="12700" cap="flat" cmpd="sng" algn="ctr">
                      <a:no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hMerge="1">
                  <a:txBody>
                    <a:bodyPr/>
                    <a:lstStyle/>
                    <a:p>
                      <a:pPr marL="2745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a:ln>
                          <a:noFill/>
                        </a:ln>
                        <a:solidFill>
                          <a:schemeClr val="bg2">
                            <a:lumMod val="10000"/>
                          </a:schemeClr>
                        </a:solidFill>
                        <a:effectLst/>
                        <a:uLnTx/>
                        <a:uFillTx/>
                        <a:latin typeface="Montserrat" panose="00000500000000000000" pitchFamily="2" charset="0"/>
                        <a:ea typeface="+mn-ea"/>
                        <a:cs typeface="+mn-cs"/>
                      </a:endParaRPr>
                    </a:p>
                  </a:txBody>
                  <a:tcPr marL="0" marR="0" marT="36000" anchor="ctr">
                    <a:lnT w="12700" cap="flat" cmpd="sng" algn="ctr">
                      <a:noFill/>
                      <a:prstDash val="solid"/>
                      <a:round/>
                      <a:headEnd type="none" w="med" len="med"/>
                      <a:tailEnd type="none" w="med" len="med"/>
                    </a:lnT>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2543435532"/>
                  </a:ext>
                </a:extLst>
              </a:tr>
              <a:tr h="375257">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État des lieux Pilotage de Programme – Laïta (3 mois)</a:t>
                      </a:r>
                    </a:p>
                  </a:txBody>
                  <a:tcPr marL="121920" marR="96000" marT="96000" marB="0">
                    <a:lnT w="12700" cap="flat" cmpd="sng" algn="ctr">
                      <a:solidFill>
                        <a:srgbClr val="43358B"/>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Brest</a:t>
                      </a:r>
                    </a:p>
                  </a:txBody>
                  <a:tcPr marL="0" marR="0" marT="48000" marB="60960" anchor="ctr">
                    <a:lnT w="12700" cap="flat" cmpd="sng" algn="ctr">
                      <a:solidFill>
                        <a:schemeClr val="accent1">
                          <a:lumMod val="50000"/>
                        </a:schemeClr>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2023</a:t>
                      </a:r>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2280561566"/>
                  </a:ext>
                </a:extLst>
              </a:tr>
              <a:tr h="914400">
                <a:tc gridSpan="3">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Réalisation d’un état des lieux du pilotage du Programme, via entretiens et analyse de la documentation existante</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Création d’un Plan de Management Programme, de support-types de pilotage et reporting (reporting programme/filières, présentation des arbitrages, suivi des écarts, …) pour outiller la nouvelle organisation du programme</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réparation de la plénière de transition vers la nouvelle organisation du Programme</a:t>
                      </a:r>
                    </a:p>
                  </a:txBody>
                  <a:tcPr marL="121920" marR="121920" marT="0" marB="60960">
                    <a:lnB w="12700" cap="flat" cmpd="sng" algn="ctr">
                      <a:solidFill>
                        <a:srgbClr val="43358B"/>
                      </a:solidFill>
                      <a:prstDash val="solid"/>
                      <a:round/>
                      <a:headEnd type="none" w="med" len="med"/>
                      <a:tailEnd type="none" w="med" len="med"/>
                    </a:lnB>
                  </a:tcPr>
                </a:tc>
                <a:tc hMerge="1">
                  <a:txBody>
                    <a:bodyPr/>
                    <a:lstStyle/>
                    <a:p>
                      <a:endParaRPr lang="fr-FR"/>
                    </a:p>
                  </a:txBody>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lnB w="12700" cap="flat" cmpd="sng" algn="ctr">
                      <a:solidFill>
                        <a:srgbClr val="43358B"/>
                      </a:solidFill>
                      <a:prstDash val="solid"/>
                      <a:round/>
                      <a:headEnd type="none" w="med" len="med"/>
                      <a:tailEnd type="none" w="med" len="med"/>
                    </a:lnB>
                  </a:tcPr>
                </a:tc>
                <a:extLst>
                  <a:ext uri="{0D108BD9-81ED-4DB2-BD59-A6C34878D82A}">
                    <a16:rowId xmlns:a16="http://schemas.microsoft.com/office/drawing/2014/main" val="4144559711"/>
                  </a:ext>
                </a:extLst>
              </a:tr>
              <a:tr h="375257">
                <a:tc>
                  <a:txBody>
                    <a:bodyPr/>
                    <a:lstStyle/>
                    <a:p>
                      <a:pPr marL="0" marR="0" lvl="0" indent="0" algn="l" defTabSz="514321" rtl="0" eaLnBrk="1" fontAlgn="auto" latinLnBrk="0" hangingPunct="1">
                        <a:lnSpc>
                          <a:spcPct val="100000"/>
                        </a:lnSpc>
                        <a:spcBef>
                          <a:spcPts val="600"/>
                        </a:spcBef>
                        <a:spcAft>
                          <a:spcPts val="0"/>
                        </a:spcAft>
                        <a:buClrTx/>
                        <a:buSzTx/>
                        <a:buFontTx/>
                        <a:buNone/>
                        <a:tabLst/>
                        <a:defRPr/>
                      </a:pPr>
                      <a:r>
                        <a:rPr kumimoji="0" lang="fr-FR" sz="900" b="1" u="none" strike="noStrike" kern="1200" cap="none" spc="0" normalizeH="0" baseline="0" noProof="0">
                          <a:ln>
                            <a:noFill/>
                          </a:ln>
                          <a:solidFill>
                            <a:schemeClr val="bg2">
                              <a:lumMod val="10000"/>
                            </a:schemeClr>
                          </a:solidFill>
                          <a:effectLst/>
                          <a:uLnTx/>
                          <a:uFillTx/>
                        </a:rPr>
                        <a:t>Organisation et Transformation – Generali (1 an et demi)</a:t>
                      </a:r>
                      <a:endParaRPr kumimoji="0" lang="fr-FR" sz="900" b="1" i="1"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endParaRPr>
                    </a:p>
                  </a:txBody>
                  <a:tcPr marL="121920" marR="96000" marT="96000" marB="0">
                    <a:lnT w="12700" cap="flat" cmpd="sng" algn="ctr">
                      <a:solidFill>
                        <a:srgbClr val="43358B"/>
                      </a:solidFill>
                      <a:prstDash val="solid"/>
                      <a:round/>
                      <a:headEnd type="none" w="med" len="med"/>
                      <a:tailEnd type="none" w="med" len="med"/>
                    </a:lnT>
                  </a:tcPr>
                </a:tc>
                <a:tc>
                  <a:txBody>
                    <a:bodyPr/>
                    <a:lstStyle/>
                    <a:p>
                      <a:r>
                        <a:rPr lang="fr-FR" sz="900" kern="1200">
                          <a:solidFill>
                            <a:schemeClr val="bg2">
                              <a:lumMod val="10000"/>
                            </a:schemeClr>
                          </a:solidFill>
                          <a:latin typeface="+mn-lt"/>
                          <a:ea typeface="+mn-ea"/>
                          <a:cs typeface="+mn-cs"/>
                        </a:rPr>
                        <a:t>Saint-Denis</a:t>
                      </a:r>
                    </a:p>
                  </a:txBody>
                  <a:tcPr marL="0" marR="0" marT="48000" marB="60960" anchor="ctr">
                    <a:lnT w="12700" cap="flat" cmpd="sng" algn="ctr">
                      <a:solidFill>
                        <a:schemeClr val="accent1">
                          <a:lumMod val="50000"/>
                        </a:schemeClr>
                      </a:solidFill>
                      <a:prstDash val="solid"/>
                      <a:round/>
                      <a:headEnd type="none" w="med" len="med"/>
                      <a:tailEnd type="none" w="med" len="med"/>
                    </a:lnT>
                  </a:tcPr>
                </a:tc>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fr-FR" sz="900" kern="1200">
                          <a:solidFill>
                            <a:schemeClr val="bg2">
                              <a:lumMod val="10000"/>
                            </a:schemeClr>
                          </a:solidFill>
                          <a:latin typeface="+mn-lt"/>
                          <a:ea typeface="+mn-ea"/>
                          <a:cs typeface="+mn-cs"/>
                        </a:rPr>
                        <a:t>2021 / 2022</a:t>
                      </a:r>
                    </a:p>
                  </a:txBody>
                  <a:tcPr marL="0" marR="0" marT="48000" marB="60960" anchor="ctr">
                    <a:lnT w="12700" cap="flat" cmpd="sng" algn="ctr">
                      <a:solidFill>
                        <a:srgbClr val="43358B"/>
                      </a:solidFill>
                      <a:prstDash val="solid"/>
                      <a:round/>
                      <a:headEnd type="none" w="med" len="med"/>
                      <a:tailEnd type="none" w="med" len="med"/>
                    </a:lnT>
                  </a:tcPr>
                </a:tc>
                <a:extLst>
                  <a:ext uri="{0D108BD9-81ED-4DB2-BD59-A6C34878D82A}">
                    <a16:rowId xmlns:a16="http://schemas.microsoft.com/office/drawing/2014/main" val="1223544242"/>
                  </a:ext>
                </a:extLst>
              </a:tr>
              <a:tr h="1767840">
                <a:tc gridSpan="3">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Modélisation d’un processus de résiliation de contrat d’assurance collective</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Cartographie des contrats archivés sur le marché Epargne (lieu de stockage, volumétrie, responsable, risques associés)</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Accompagnement mise en place d’un nouveau SIRH </a:t>
                      </a:r>
                      <a:r>
                        <a:rPr kumimoji="0" lang="fr-FR" sz="900" b="0" i="0" u="none" strike="noStrike" kern="1200" cap="none" spc="0" normalizeH="0" baseline="0" noProof="0">
                          <a:ln>
                            <a:noFill/>
                          </a:ln>
                          <a:solidFill>
                            <a:schemeClr val="bg1">
                              <a:lumMod val="50000"/>
                            </a:schemeClr>
                          </a:solidFill>
                          <a:effectLst/>
                          <a:uLnTx/>
                          <a:uFillTx/>
                          <a:latin typeface="+mj-lt"/>
                          <a:ea typeface="+mn-ea"/>
                          <a:cs typeface="+mn-cs"/>
                          <a:sym typeface="Arial"/>
                        </a:rPr>
                        <a:t>(création de modes opératoires pour les collaborateurs, mise en place du bibliothèque documentaire SharePoint, configuration de notifications du nouveau SIRH SAP SF et du site carrière SAP SF RMK)</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Réalisation de FAQ et guides collaborateurs et managers pour accompagner les changements liés au à la mise en place du modèle hybride</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ilotage des chantiers internes à la Direction Organisation et Transformation </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Participation au chantier interne de rationalisation des outils de partage de la direction et création de modes opératoires pour accompagner le changement de fonctionnement associé</a:t>
                      </a:r>
                    </a:p>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kumimoji="0" lang="fr-FR" sz="900" b="0" i="0" u="none" strike="noStrike" kern="1200" cap="none" spc="0" normalizeH="0" baseline="0" noProof="0">
                          <a:ln>
                            <a:noFill/>
                          </a:ln>
                          <a:solidFill>
                            <a:schemeClr val="bg2">
                              <a:lumMod val="10000"/>
                            </a:schemeClr>
                          </a:solidFill>
                          <a:effectLst/>
                          <a:uLnTx/>
                          <a:uFillTx/>
                          <a:latin typeface="+mj-lt"/>
                          <a:ea typeface="+mn-ea"/>
                          <a:cs typeface="+mn-cs"/>
                          <a:sym typeface="Arial"/>
                        </a:rPr>
                        <a:t>Réalisation d’un Benchmark sur les produits Retraite</a:t>
                      </a:r>
                    </a:p>
                  </a:txBody>
                  <a:tcPr marL="121920" marR="121920" marT="0" marB="60960"/>
                </a:tc>
                <a:tc hMerge="1">
                  <a:txBody>
                    <a:bodyPr/>
                    <a:lstStyle/>
                    <a:p>
                      <a:endParaRPr lang="fr-FR"/>
                    </a:p>
                  </a:txBody>
                  <a:tcPr/>
                </a:tc>
                <a:tc hMerge="1">
                  <a:txBody>
                    <a:bodyPr/>
                    <a:lstStyle/>
                    <a:p>
                      <a:pPr marL="144000" marR="0" lvl="0" indent="-144000" algn="just" defTabSz="914400"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endParaRPr kumimoji="0" lang="fr-FR" sz="700" b="0" i="0" u="none" strike="noStrike" kern="1200" cap="none" spc="0" normalizeH="0" baseline="0" noProof="0">
                        <a:ln>
                          <a:noFill/>
                        </a:ln>
                        <a:solidFill>
                          <a:schemeClr val="bg2">
                            <a:lumMod val="10000"/>
                          </a:schemeClr>
                        </a:solidFill>
                        <a:effectLst/>
                        <a:uLnTx/>
                        <a:uFillTx/>
                        <a:latin typeface="Montserrat" panose="00000500000000000000" pitchFamily="2" charset="0"/>
                        <a:ea typeface="+mn-ea"/>
                        <a:cs typeface="+mn-cs"/>
                        <a:sym typeface="Arial"/>
                      </a:endParaRPr>
                    </a:p>
                  </a:txBody>
                  <a:tcPr marT="0"/>
                </a:tc>
                <a:extLst>
                  <a:ext uri="{0D108BD9-81ED-4DB2-BD59-A6C34878D82A}">
                    <a16:rowId xmlns:a16="http://schemas.microsoft.com/office/drawing/2014/main" val="3064491086"/>
                  </a:ext>
                </a:extLst>
              </a:tr>
            </a:tbl>
          </a:graphicData>
        </a:graphic>
      </p:graphicFrame>
      <p:grpSp>
        <p:nvGrpSpPr>
          <p:cNvPr id="6" name="Groupe 5">
            <a:extLst>
              <a:ext uri="{FF2B5EF4-FFF2-40B4-BE49-F238E27FC236}">
                <a16:creationId xmlns:a16="http://schemas.microsoft.com/office/drawing/2014/main" id="{474CD609-AA93-F303-1150-E98C4185D389}"/>
              </a:ext>
            </a:extLst>
          </p:cNvPr>
          <p:cNvGrpSpPr/>
          <p:nvPr/>
        </p:nvGrpSpPr>
        <p:grpSpPr>
          <a:xfrm>
            <a:off x="9437091" y="2093766"/>
            <a:ext cx="1484314" cy="234979"/>
            <a:chOff x="7107004" y="1495934"/>
            <a:chExt cx="1113234" cy="176234"/>
          </a:xfrm>
        </p:grpSpPr>
        <p:pic>
          <p:nvPicPr>
            <p:cNvPr id="7" name="Graphique 65" descr="Calendrier journalier">
              <a:extLst>
                <a:ext uri="{FF2B5EF4-FFF2-40B4-BE49-F238E27FC236}">
                  <a16:creationId xmlns:a16="http://schemas.microsoft.com/office/drawing/2014/main" id="{3EAEA7A9-7784-A6F2-9F7A-9AA670F5431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44004" y="1495934"/>
              <a:ext cx="176234" cy="176234"/>
            </a:xfrm>
            <a:prstGeom prst="rect">
              <a:avLst/>
            </a:prstGeom>
          </p:spPr>
        </p:pic>
        <p:pic>
          <p:nvPicPr>
            <p:cNvPr id="8" name="Graphique 66" descr="Repère">
              <a:extLst>
                <a:ext uri="{FF2B5EF4-FFF2-40B4-BE49-F238E27FC236}">
                  <a16:creationId xmlns:a16="http://schemas.microsoft.com/office/drawing/2014/main" id="{997DD279-81D7-C8BE-B2A9-B0CA5804B74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07004" y="1495934"/>
              <a:ext cx="176234" cy="176234"/>
            </a:xfrm>
            <a:prstGeom prst="rect">
              <a:avLst/>
            </a:prstGeom>
          </p:spPr>
        </p:pic>
      </p:grpSp>
      <p:grpSp>
        <p:nvGrpSpPr>
          <p:cNvPr id="9" name="Groupe 8">
            <a:extLst>
              <a:ext uri="{FF2B5EF4-FFF2-40B4-BE49-F238E27FC236}">
                <a16:creationId xmlns:a16="http://schemas.microsoft.com/office/drawing/2014/main" id="{F256AF7C-C984-566D-BEE4-0AFC1016C773}"/>
              </a:ext>
            </a:extLst>
          </p:cNvPr>
          <p:cNvGrpSpPr/>
          <p:nvPr/>
        </p:nvGrpSpPr>
        <p:grpSpPr>
          <a:xfrm>
            <a:off x="9503354" y="3451349"/>
            <a:ext cx="1383791" cy="166443"/>
            <a:chOff x="7156695" y="2702048"/>
            <a:chExt cx="1037841" cy="124832"/>
          </a:xfrm>
        </p:grpSpPr>
        <p:grpSp>
          <p:nvGrpSpPr>
            <p:cNvPr id="10" name="Graphique 65" descr="Calendrier journalier">
              <a:extLst>
                <a:ext uri="{FF2B5EF4-FFF2-40B4-BE49-F238E27FC236}">
                  <a16:creationId xmlns:a16="http://schemas.microsoft.com/office/drawing/2014/main" id="{8E1B16AC-BC9B-EA53-9B68-B627EFB28A58}"/>
                </a:ext>
              </a:extLst>
            </p:cNvPr>
            <p:cNvGrpSpPr/>
            <p:nvPr/>
          </p:nvGrpSpPr>
          <p:grpSpPr>
            <a:xfrm>
              <a:off x="8069704" y="2702048"/>
              <a:ext cx="124832" cy="124832"/>
              <a:chOff x="8069704" y="2702048"/>
              <a:chExt cx="124832" cy="124832"/>
            </a:xfrm>
            <a:solidFill>
              <a:srgbClr val="0070C0"/>
            </a:solidFill>
          </p:grpSpPr>
          <p:sp>
            <p:nvSpPr>
              <p:cNvPr id="12" name="Forme libre : forme 11">
                <a:extLst>
                  <a:ext uri="{FF2B5EF4-FFF2-40B4-BE49-F238E27FC236}">
                    <a16:creationId xmlns:a16="http://schemas.microsoft.com/office/drawing/2014/main" id="{70A9CE89-825E-61CD-DAE7-2BBF268EA286}"/>
                  </a:ext>
                </a:extLst>
              </p:cNvPr>
              <p:cNvSpPr/>
              <p:nvPr/>
            </p:nvSpPr>
            <p:spPr>
              <a:xfrm>
                <a:off x="8091734" y="2702048"/>
                <a:ext cx="11014" cy="22029"/>
              </a:xfrm>
              <a:custGeom>
                <a:avLst/>
                <a:gdLst>
                  <a:gd name="connsiteX0" fmla="*/ 5507 w 11014"/>
                  <a:gd name="connsiteY0" fmla="*/ 22029 h 22029"/>
                  <a:gd name="connsiteX1" fmla="*/ 11015 w 11014"/>
                  <a:gd name="connsiteY1" fmla="*/ 16522 h 22029"/>
                  <a:gd name="connsiteX2" fmla="*/ 11015 w 11014"/>
                  <a:gd name="connsiteY2" fmla="*/ 5507 h 22029"/>
                  <a:gd name="connsiteX3" fmla="*/ 5507 w 11014"/>
                  <a:gd name="connsiteY3" fmla="*/ 0 h 22029"/>
                  <a:gd name="connsiteX4" fmla="*/ 0 w 11014"/>
                  <a:gd name="connsiteY4" fmla="*/ 5507 h 22029"/>
                  <a:gd name="connsiteX5" fmla="*/ 0 w 11014"/>
                  <a:gd name="connsiteY5" fmla="*/ 16522 h 22029"/>
                  <a:gd name="connsiteX6" fmla="*/ 5507 w 11014"/>
                  <a:gd name="connsiteY6" fmla="*/ 22029 h 2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4" h="22029">
                    <a:moveTo>
                      <a:pt x="5507" y="22029"/>
                    </a:moveTo>
                    <a:cubicBezTo>
                      <a:pt x="8628" y="22029"/>
                      <a:pt x="11015" y="19643"/>
                      <a:pt x="11015" y="16522"/>
                    </a:cubicBezTo>
                    <a:lnTo>
                      <a:pt x="11015" y="5507"/>
                    </a:lnTo>
                    <a:cubicBezTo>
                      <a:pt x="11015" y="2387"/>
                      <a:pt x="8628" y="0"/>
                      <a:pt x="5507" y="0"/>
                    </a:cubicBezTo>
                    <a:cubicBezTo>
                      <a:pt x="2387" y="0"/>
                      <a:pt x="0" y="2387"/>
                      <a:pt x="0" y="5507"/>
                    </a:cubicBezTo>
                    <a:lnTo>
                      <a:pt x="0" y="16522"/>
                    </a:lnTo>
                    <a:cubicBezTo>
                      <a:pt x="0" y="19643"/>
                      <a:pt x="2387" y="22029"/>
                      <a:pt x="5507" y="22029"/>
                    </a:cubicBezTo>
                    <a:close/>
                  </a:path>
                </a:pathLst>
              </a:custGeom>
              <a:solidFill>
                <a:srgbClr val="0070C0"/>
              </a:solidFill>
              <a:ln w="1786" cap="flat">
                <a:noFill/>
                <a:prstDash val="solid"/>
                <a:miter/>
              </a:ln>
            </p:spPr>
            <p:txBody>
              <a:bodyPr rtlCol="0" anchor="ctr"/>
              <a:lstStyle/>
              <a:p>
                <a:endParaRPr lang="fr-FR" sz="2400"/>
              </a:p>
            </p:txBody>
          </p:sp>
          <p:sp>
            <p:nvSpPr>
              <p:cNvPr id="13" name="Forme libre : forme 12">
                <a:extLst>
                  <a:ext uri="{FF2B5EF4-FFF2-40B4-BE49-F238E27FC236}">
                    <a16:creationId xmlns:a16="http://schemas.microsoft.com/office/drawing/2014/main" id="{569E227F-E5DB-71AD-12D5-3DD1527D3F93}"/>
                  </a:ext>
                </a:extLst>
              </p:cNvPr>
              <p:cNvSpPr/>
              <p:nvPr/>
            </p:nvSpPr>
            <p:spPr>
              <a:xfrm>
                <a:off x="8069704" y="2746107"/>
                <a:ext cx="124832" cy="80773"/>
              </a:xfrm>
              <a:custGeom>
                <a:avLst/>
                <a:gdLst>
                  <a:gd name="connsiteX0" fmla="*/ 11015 w 124832"/>
                  <a:gd name="connsiteY0" fmla="*/ 55073 h 80773"/>
                  <a:gd name="connsiteX1" fmla="*/ 40387 w 124832"/>
                  <a:gd name="connsiteY1" fmla="*/ 55073 h 80773"/>
                  <a:gd name="connsiteX2" fmla="*/ 40387 w 124832"/>
                  <a:gd name="connsiteY2" fmla="*/ 69759 h 80773"/>
                  <a:gd name="connsiteX3" fmla="*/ 11015 w 124832"/>
                  <a:gd name="connsiteY3" fmla="*/ 69759 h 80773"/>
                  <a:gd name="connsiteX4" fmla="*/ 11015 w 124832"/>
                  <a:gd name="connsiteY4" fmla="*/ 55073 h 80773"/>
                  <a:gd name="connsiteX5" fmla="*/ 11015 w 124832"/>
                  <a:gd name="connsiteY5" fmla="*/ 33044 h 80773"/>
                  <a:gd name="connsiteX6" fmla="*/ 40387 w 124832"/>
                  <a:gd name="connsiteY6" fmla="*/ 33044 h 80773"/>
                  <a:gd name="connsiteX7" fmla="*/ 40387 w 124832"/>
                  <a:gd name="connsiteY7" fmla="*/ 47730 h 80773"/>
                  <a:gd name="connsiteX8" fmla="*/ 11015 w 124832"/>
                  <a:gd name="connsiteY8" fmla="*/ 47730 h 80773"/>
                  <a:gd name="connsiteX9" fmla="*/ 11015 w 124832"/>
                  <a:gd name="connsiteY9" fmla="*/ 33044 h 80773"/>
                  <a:gd name="connsiteX10" fmla="*/ 11015 w 124832"/>
                  <a:gd name="connsiteY10" fmla="*/ 11015 h 80773"/>
                  <a:gd name="connsiteX11" fmla="*/ 40387 w 124832"/>
                  <a:gd name="connsiteY11" fmla="*/ 11015 h 80773"/>
                  <a:gd name="connsiteX12" fmla="*/ 40387 w 124832"/>
                  <a:gd name="connsiteY12" fmla="*/ 25701 h 80773"/>
                  <a:gd name="connsiteX13" fmla="*/ 11015 w 124832"/>
                  <a:gd name="connsiteY13" fmla="*/ 25701 h 80773"/>
                  <a:gd name="connsiteX14" fmla="*/ 11015 w 124832"/>
                  <a:gd name="connsiteY14" fmla="*/ 11015 h 80773"/>
                  <a:gd name="connsiteX15" fmla="*/ 77102 w 124832"/>
                  <a:gd name="connsiteY15" fmla="*/ 11015 h 80773"/>
                  <a:gd name="connsiteX16" fmla="*/ 77102 w 124832"/>
                  <a:gd name="connsiteY16" fmla="*/ 25701 h 80773"/>
                  <a:gd name="connsiteX17" fmla="*/ 47730 w 124832"/>
                  <a:gd name="connsiteY17" fmla="*/ 25701 h 80773"/>
                  <a:gd name="connsiteX18" fmla="*/ 47730 w 124832"/>
                  <a:gd name="connsiteY18" fmla="*/ 11015 h 80773"/>
                  <a:gd name="connsiteX19" fmla="*/ 77102 w 124832"/>
                  <a:gd name="connsiteY19" fmla="*/ 11015 h 80773"/>
                  <a:gd name="connsiteX20" fmla="*/ 113818 w 124832"/>
                  <a:gd name="connsiteY20" fmla="*/ 11015 h 80773"/>
                  <a:gd name="connsiteX21" fmla="*/ 113818 w 124832"/>
                  <a:gd name="connsiteY21" fmla="*/ 25701 h 80773"/>
                  <a:gd name="connsiteX22" fmla="*/ 84445 w 124832"/>
                  <a:gd name="connsiteY22" fmla="*/ 25701 h 80773"/>
                  <a:gd name="connsiteX23" fmla="*/ 84445 w 124832"/>
                  <a:gd name="connsiteY23" fmla="*/ 11015 h 80773"/>
                  <a:gd name="connsiteX24" fmla="*/ 113818 w 124832"/>
                  <a:gd name="connsiteY24" fmla="*/ 11015 h 80773"/>
                  <a:gd name="connsiteX25" fmla="*/ 113818 w 124832"/>
                  <a:gd name="connsiteY25" fmla="*/ 47730 h 80773"/>
                  <a:gd name="connsiteX26" fmla="*/ 84445 w 124832"/>
                  <a:gd name="connsiteY26" fmla="*/ 47730 h 80773"/>
                  <a:gd name="connsiteX27" fmla="*/ 84445 w 124832"/>
                  <a:gd name="connsiteY27" fmla="*/ 33044 h 80773"/>
                  <a:gd name="connsiteX28" fmla="*/ 113818 w 124832"/>
                  <a:gd name="connsiteY28" fmla="*/ 33044 h 80773"/>
                  <a:gd name="connsiteX29" fmla="*/ 113818 w 124832"/>
                  <a:gd name="connsiteY29" fmla="*/ 47730 h 80773"/>
                  <a:gd name="connsiteX30" fmla="*/ 113818 w 124832"/>
                  <a:gd name="connsiteY30" fmla="*/ 69759 h 80773"/>
                  <a:gd name="connsiteX31" fmla="*/ 84445 w 124832"/>
                  <a:gd name="connsiteY31" fmla="*/ 69759 h 80773"/>
                  <a:gd name="connsiteX32" fmla="*/ 84445 w 124832"/>
                  <a:gd name="connsiteY32" fmla="*/ 55073 h 80773"/>
                  <a:gd name="connsiteX33" fmla="*/ 113818 w 124832"/>
                  <a:gd name="connsiteY33" fmla="*/ 55073 h 80773"/>
                  <a:gd name="connsiteX34" fmla="*/ 113818 w 124832"/>
                  <a:gd name="connsiteY34" fmla="*/ 69759 h 80773"/>
                  <a:gd name="connsiteX35" fmla="*/ 47730 w 124832"/>
                  <a:gd name="connsiteY35" fmla="*/ 47730 h 80773"/>
                  <a:gd name="connsiteX36" fmla="*/ 47730 w 124832"/>
                  <a:gd name="connsiteY36" fmla="*/ 33044 h 80773"/>
                  <a:gd name="connsiteX37" fmla="*/ 77102 w 124832"/>
                  <a:gd name="connsiteY37" fmla="*/ 33044 h 80773"/>
                  <a:gd name="connsiteX38" fmla="*/ 77102 w 124832"/>
                  <a:gd name="connsiteY38" fmla="*/ 47730 h 80773"/>
                  <a:gd name="connsiteX39" fmla="*/ 47730 w 124832"/>
                  <a:gd name="connsiteY39" fmla="*/ 47730 h 80773"/>
                  <a:gd name="connsiteX40" fmla="*/ 47730 w 124832"/>
                  <a:gd name="connsiteY40" fmla="*/ 69759 h 80773"/>
                  <a:gd name="connsiteX41" fmla="*/ 47730 w 124832"/>
                  <a:gd name="connsiteY41" fmla="*/ 55073 h 80773"/>
                  <a:gd name="connsiteX42" fmla="*/ 77102 w 124832"/>
                  <a:gd name="connsiteY42" fmla="*/ 55073 h 80773"/>
                  <a:gd name="connsiteX43" fmla="*/ 77102 w 124832"/>
                  <a:gd name="connsiteY43" fmla="*/ 69759 h 80773"/>
                  <a:gd name="connsiteX44" fmla="*/ 47730 w 124832"/>
                  <a:gd name="connsiteY44" fmla="*/ 69759 h 80773"/>
                  <a:gd name="connsiteX45" fmla="*/ 0 w 124832"/>
                  <a:gd name="connsiteY45" fmla="*/ 80774 h 80773"/>
                  <a:gd name="connsiteX46" fmla="*/ 124832 w 124832"/>
                  <a:gd name="connsiteY46" fmla="*/ 80774 h 80773"/>
                  <a:gd name="connsiteX47" fmla="*/ 124832 w 124832"/>
                  <a:gd name="connsiteY47" fmla="*/ 0 h 80773"/>
                  <a:gd name="connsiteX48" fmla="*/ 0 w 124832"/>
                  <a:gd name="connsiteY48" fmla="*/ 0 h 80773"/>
                  <a:gd name="connsiteX49" fmla="*/ 0 w 124832"/>
                  <a:gd name="connsiteY49" fmla="*/ 80774 h 8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4832" h="80773">
                    <a:moveTo>
                      <a:pt x="11015" y="55073"/>
                    </a:moveTo>
                    <a:lnTo>
                      <a:pt x="40387" y="55073"/>
                    </a:lnTo>
                    <a:lnTo>
                      <a:pt x="40387" y="69759"/>
                    </a:lnTo>
                    <a:lnTo>
                      <a:pt x="11015" y="69759"/>
                    </a:lnTo>
                    <a:lnTo>
                      <a:pt x="11015" y="55073"/>
                    </a:lnTo>
                    <a:close/>
                    <a:moveTo>
                      <a:pt x="11015" y="33044"/>
                    </a:moveTo>
                    <a:lnTo>
                      <a:pt x="40387" y="33044"/>
                    </a:lnTo>
                    <a:lnTo>
                      <a:pt x="40387" y="47730"/>
                    </a:lnTo>
                    <a:lnTo>
                      <a:pt x="11015" y="47730"/>
                    </a:lnTo>
                    <a:lnTo>
                      <a:pt x="11015" y="33044"/>
                    </a:lnTo>
                    <a:close/>
                    <a:moveTo>
                      <a:pt x="11015" y="11015"/>
                    </a:moveTo>
                    <a:lnTo>
                      <a:pt x="40387" y="11015"/>
                    </a:lnTo>
                    <a:lnTo>
                      <a:pt x="40387" y="25701"/>
                    </a:lnTo>
                    <a:lnTo>
                      <a:pt x="11015" y="25701"/>
                    </a:lnTo>
                    <a:lnTo>
                      <a:pt x="11015" y="11015"/>
                    </a:lnTo>
                    <a:close/>
                    <a:moveTo>
                      <a:pt x="77102" y="11015"/>
                    </a:moveTo>
                    <a:lnTo>
                      <a:pt x="77102" y="25701"/>
                    </a:lnTo>
                    <a:lnTo>
                      <a:pt x="47730" y="25701"/>
                    </a:lnTo>
                    <a:lnTo>
                      <a:pt x="47730" y="11015"/>
                    </a:lnTo>
                    <a:lnTo>
                      <a:pt x="77102" y="11015"/>
                    </a:lnTo>
                    <a:close/>
                    <a:moveTo>
                      <a:pt x="113818" y="11015"/>
                    </a:moveTo>
                    <a:lnTo>
                      <a:pt x="113818" y="25701"/>
                    </a:lnTo>
                    <a:lnTo>
                      <a:pt x="84445" y="25701"/>
                    </a:lnTo>
                    <a:lnTo>
                      <a:pt x="84445" y="11015"/>
                    </a:lnTo>
                    <a:lnTo>
                      <a:pt x="113818" y="11015"/>
                    </a:lnTo>
                    <a:close/>
                    <a:moveTo>
                      <a:pt x="113818" y="47730"/>
                    </a:moveTo>
                    <a:lnTo>
                      <a:pt x="84445" y="47730"/>
                    </a:lnTo>
                    <a:lnTo>
                      <a:pt x="84445" y="33044"/>
                    </a:lnTo>
                    <a:lnTo>
                      <a:pt x="113818" y="33044"/>
                    </a:lnTo>
                    <a:lnTo>
                      <a:pt x="113818" y="47730"/>
                    </a:lnTo>
                    <a:close/>
                    <a:moveTo>
                      <a:pt x="113818" y="69759"/>
                    </a:moveTo>
                    <a:lnTo>
                      <a:pt x="84445" y="69759"/>
                    </a:lnTo>
                    <a:lnTo>
                      <a:pt x="84445" y="55073"/>
                    </a:lnTo>
                    <a:lnTo>
                      <a:pt x="113818" y="55073"/>
                    </a:lnTo>
                    <a:lnTo>
                      <a:pt x="113818" y="69759"/>
                    </a:lnTo>
                    <a:close/>
                    <a:moveTo>
                      <a:pt x="47730" y="47730"/>
                    </a:moveTo>
                    <a:lnTo>
                      <a:pt x="47730" y="33044"/>
                    </a:lnTo>
                    <a:lnTo>
                      <a:pt x="77102" y="33044"/>
                    </a:lnTo>
                    <a:lnTo>
                      <a:pt x="77102" y="47730"/>
                    </a:lnTo>
                    <a:lnTo>
                      <a:pt x="47730" y="47730"/>
                    </a:lnTo>
                    <a:close/>
                    <a:moveTo>
                      <a:pt x="47730" y="69759"/>
                    </a:moveTo>
                    <a:lnTo>
                      <a:pt x="47730" y="55073"/>
                    </a:lnTo>
                    <a:lnTo>
                      <a:pt x="77102" y="55073"/>
                    </a:lnTo>
                    <a:lnTo>
                      <a:pt x="77102" y="69759"/>
                    </a:lnTo>
                    <a:lnTo>
                      <a:pt x="47730" y="69759"/>
                    </a:lnTo>
                    <a:close/>
                    <a:moveTo>
                      <a:pt x="0" y="80774"/>
                    </a:moveTo>
                    <a:lnTo>
                      <a:pt x="124832" y="80774"/>
                    </a:lnTo>
                    <a:lnTo>
                      <a:pt x="124832" y="0"/>
                    </a:lnTo>
                    <a:lnTo>
                      <a:pt x="0" y="0"/>
                    </a:lnTo>
                    <a:lnTo>
                      <a:pt x="0" y="80774"/>
                    </a:lnTo>
                    <a:close/>
                  </a:path>
                </a:pathLst>
              </a:custGeom>
              <a:solidFill>
                <a:srgbClr val="0070C0"/>
              </a:solidFill>
              <a:ln w="1786" cap="flat">
                <a:noFill/>
                <a:prstDash val="solid"/>
                <a:miter/>
              </a:ln>
            </p:spPr>
            <p:txBody>
              <a:bodyPr rtlCol="0" anchor="ctr"/>
              <a:lstStyle/>
              <a:p>
                <a:endParaRPr lang="fr-FR" sz="2400"/>
              </a:p>
            </p:txBody>
          </p:sp>
          <p:sp>
            <p:nvSpPr>
              <p:cNvPr id="14" name="Forme libre : forme 13">
                <a:extLst>
                  <a:ext uri="{FF2B5EF4-FFF2-40B4-BE49-F238E27FC236}">
                    <a16:creationId xmlns:a16="http://schemas.microsoft.com/office/drawing/2014/main" id="{0547F16B-4B78-97E9-7F44-6BC30887EE18}"/>
                  </a:ext>
                </a:extLst>
              </p:cNvPr>
              <p:cNvSpPr/>
              <p:nvPr/>
            </p:nvSpPr>
            <p:spPr>
              <a:xfrm>
                <a:off x="8161493" y="2702048"/>
                <a:ext cx="11014" cy="22029"/>
              </a:xfrm>
              <a:custGeom>
                <a:avLst/>
                <a:gdLst>
                  <a:gd name="connsiteX0" fmla="*/ 5507 w 11014"/>
                  <a:gd name="connsiteY0" fmla="*/ 22029 h 22029"/>
                  <a:gd name="connsiteX1" fmla="*/ 11015 w 11014"/>
                  <a:gd name="connsiteY1" fmla="*/ 16522 h 22029"/>
                  <a:gd name="connsiteX2" fmla="*/ 11015 w 11014"/>
                  <a:gd name="connsiteY2" fmla="*/ 5507 h 22029"/>
                  <a:gd name="connsiteX3" fmla="*/ 5507 w 11014"/>
                  <a:gd name="connsiteY3" fmla="*/ 0 h 22029"/>
                  <a:gd name="connsiteX4" fmla="*/ 0 w 11014"/>
                  <a:gd name="connsiteY4" fmla="*/ 5507 h 22029"/>
                  <a:gd name="connsiteX5" fmla="*/ 0 w 11014"/>
                  <a:gd name="connsiteY5" fmla="*/ 16522 h 22029"/>
                  <a:gd name="connsiteX6" fmla="*/ 5507 w 11014"/>
                  <a:gd name="connsiteY6" fmla="*/ 22029 h 2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4" h="22029">
                    <a:moveTo>
                      <a:pt x="5507" y="22029"/>
                    </a:moveTo>
                    <a:cubicBezTo>
                      <a:pt x="8628" y="22029"/>
                      <a:pt x="11015" y="19643"/>
                      <a:pt x="11015" y="16522"/>
                    </a:cubicBezTo>
                    <a:lnTo>
                      <a:pt x="11015" y="5507"/>
                    </a:lnTo>
                    <a:cubicBezTo>
                      <a:pt x="11015" y="2387"/>
                      <a:pt x="8628" y="0"/>
                      <a:pt x="5507" y="0"/>
                    </a:cubicBezTo>
                    <a:cubicBezTo>
                      <a:pt x="2387" y="0"/>
                      <a:pt x="0" y="2387"/>
                      <a:pt x="0" y="5507"/>
                    </a:cubicBezTo>
                    <a:lnTo>
                      <a:pt x="0" y="16522"/>
                    </a:lnTo>
                    <a:cubicBezTo>
                      <a:pt x="0" y="19643"/>
                      <a:pt x="2387" y="22029"/>
                      <a:pt x="5507" y="22029"/>
                    </a:cubicBezTo>
                    <a:close/>
                  </a:path>
                </a:pathLst>
              </a:custGeom>
              <a:solidFill>
                <a:srgbClr val="0070C0"/>
              </a:solidFill>
              <a:ln w="1786" cap="flat">
                <a:noFill/>
                <a:prstDash val="solid"/>
                <a:miter/>
              </a:ln>
            </p:spPr>
            <p:txBody>
              <a:bodyPr rtlCol="0" anchor="ctr"/>
              <a:lstStyle/>
              <a:p>
                <a:endParaRPr lang="fr-FR" sz="2400"/>
              </a:p>
            </p:txBody>
          </p:sp>
          <p:sp>
            <p:nvSpPr>
              <p:cNvPr id="15" name="Forme libre : forme 14">
                <a:extLst>
                  <a:ext uri="{FF2B5EF4-FFF2-40B4-BE49-F238E27FC236}">
                    <a16:creationId xmlns:a16="http://schemas.microsoft.com/office/drawing/2014/main" id="{83BA670C-CD63-CE91-33A2-FD21A4DB66E6}"/>
                  </a:ext>
                </a:extLst>
              </p:cNvPr>
              <p:cNvSpPr/>
              <p:nvPr/>
            </p:nvSpPr>
            <p:spPr>
              <a:xfrm>
                <a:off x="8069704" y="2713063"/>
                <a:ext cx="124832" cy="25700"/>
              </a:xfrm>
              <a:custGeom>
                <a:avLst/>
                <a:gdLst>
                  <a:gd name="connsiteX0" fmla="*/ 110146 w 124832"/>
                  <a:gd name="connsiteY0" fmla="*/ 0 h 25700"/>
                  <a:gd name="connsiteX1" fmla="*/ 110146 w 124832"/>
                  <a:gd name="connsiteY1" fmla="*/ 5507 h 25700"/>
                  <a:gd name="connsiteX2" fmla="*/ 97296 w 124832"/>
                  <a:gd name="connsiteY2" fmla="*/ 18358 h 25700"/>
                  <a:gd name="connsiteX3" fmla="*/ 84445 w 124832"/>
                  <a:gd name="connsiteY3" fmla="*/ 5507 h 25700"/>
                  <a:gd name="connsiteX4" fmla="*/ 84445 w 124832"/>
                  <a:gd name="connsiteY4" fmla="*/ 0 h 25700"/>
                  <a:gd name="connsiteX5" fmla="*/ 40387 w 124832"/>
                  <a:gd name="connsiteY5" fmla="*/ 0 h 25700"/>
                  <a:gd name="connsiteX6" fmla="*/ 40387 w 124832"/>
                  <a:gd name="connsiteY6" fmla="*/ 5507 h 25700"/>
                  <a:gd name="connsiteX7" fmla="*/ 27537 w 124832"/>
                  <a:gd name="connsiteY7" fmla="*/ 18358 h 25700"/>
                  <a:gd name="connsiteX8" fmla="*/ 14686 w 124832"/>
                  <a:gd name="connsiteY8" fmla="*/ 5507 h 25700"/>
                  <a:gd name="connsiteX9" fmla="*/ 14686 w 124832"/>
                  <a:gd name="connsiteY9" fmla="*/ 0 h 25700"/>
                  <a:gd name="connsiteX10" fmla="*/ 0 w 124832"/>
                  <a:gd name="connsiteY10" fmla="*/ 0 h 25700"/>
                  <a:gd name="connsiteX11" fmla="*/ 0 w 124832"/>
                  <a:gd name="connsiteY11" fmla="*/ 25701 h 25700"/>
                  <a:gd name="connsiteX12" fmla="*/ 124832 w 124832"/>
                  <a:gd name="connsiteY12" fmla="*/ 25701 h 25700"/>
                  <a:gd name="connsiteX13" fmla="*/ 124832 w 124832"/>
                  <a:gd name="connsiteY13" fmla="*/ 0 h 25700"/>
                  <a:gd name="connsiteX14" fmla="*/ 110146 w 124832"/>
                  <a:gd name="connsiteY14" fmla="*/ 0 h 2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832" h="25700">
                    <a:moveTo>
                      <a:pt x="110146" y="0"/>
                    </a:moveTo>
                    <a:lnTo>
                      <a:pt x="110146" y="5507"/>
                    </a:lnTo>
                    <a:cubicBezTo>
                      <a:pt x="110146" y="12667"/>
                      <a:pt x="104455" y="18358"/>
                      <a:pt x="97296" y="18358"/>
                    </a:cubicBezTo>
                    <a:cubicBezTo>
                      <a:pt x="90136" y="18358"/>
                      <a:pt x="84445" y="12667"/>
                      <a:pt x="84445" y="5507"/>
                    </a:cubicBezTo>
                    <a:lnTo>
                      <a:pt x="84445" y="0"/>
                    </a:lnTo>
                    <a:lnTo>
                      <a:pt x="40387" y="0"/>
                    </a:lnTo>
                    <a:lnTo>
                      <a:pt x="40387" y="5507"/>
                    </a:lnTo>
                    <a:cubicBezTo>
                      <a:pt x="40387" y="12667"/>
                      <a:pt x="34696" y="18358"/>
                      <a:pt x="27537" y="18358"/>
                    </a:cubicBezTo>
                    <a:cubicBezTo>
                      <a:pt x="20377" y="18358"/>
                      <a:pt x="14686" y="12667"/>
                      <a:pt x="14686" y="5507"/>
                    </a:cubicBezTo>
                    <a:lnTo>
                      <a:pt x="14686" y="0"/>
                    </a:lnTo>
                    <a:lnTo>
                      <a:pt x="0" y="0"/>
                    </a:lnTo>
                    <a:lnTo>
                      <a:pt x="0" y="25701"/>
                    </a:lnTo>
                    <a:lnTo>
                      <a:pt x="124832" y="25701"/>
                    </a:lnTo>
                    <a:lnTo>
                      <a:pt x="124832" y="0"/>
                    </a:lnTo>
                    <a:lnTo>
                      <a:pt x="110146" y="0"/>
                    </a:lnTo>
                    <a:close/>
                  </a:path>
                </a:pathLst>
              </a:custGeom>
              <a:solidFill>
                <a:srgbClr val="0070C0"/>
              </a:solidFill>
              <a:ln w="1786" cap="flat">
                <a:noFill/>
                <a:prstDash val="solid"/>
                <a:miter/>
              </a:ln>
            </p:spPr>
            <p:txBody>
              <a:bodyPr rtlCol="0" anchor="ctr"/>
              <a:lstStyle/>
              <a:p>
                <a:endParaRPr lang="fr-FR" sz="2400"/>
              </a:p>
            </p:txBody>
          </p:sp>
        </p:grpSp>
        <p:sp>
          <p:nvSpPr>
            <p:cNvPr id="11" name="Graphique 66" descr="Repère">
              <a:extLst>
                <a:ext uri="{FF2B5EF4-FFF2-40B4-BE49-F238E27FC236}">
                  <a16:creationId xmlns:a16="http://schemas.microsoft.com/office/drawing/2014/main" id="{03A9D78A-ADEF-A018-E2D4-8B6F9A53B81E}"/>
                </a:ext>
              </a:extLst>
            </p:cNvPr>
            <p:cNvSpPr/>
            <p:nvPr/>
          </p:nvSpPr>
          <p:spPr>
            <a:xfrm>
              <a:off x="7156695" y="2702048"/>
              <a:ext cx="76850" cy="124832"/>
            </a:xfrm>
            <a:custGeom>
              <a:avLst/>
              <a:gdLst>
                <a:gd name="connsiteX0" fmla="*/ 38425 w 76850"/>
                <a:gd name="connsiteY0" fmla="*/ 55073 h 124832"/>
                <a:gd name="connsiteX1" fmla="*/ 21904 w 76850"/>
                <a:gd name="connsiteY1" fmla="*/ 38551 h 124832"/>
                <a:gd name="connsiteX2" fmla="*/ 38425 w 76850"/>
                <a:gd name="connsiteY2" fmla="*/ 22029 h 124832"/>
                <a:gd name="connsiteX3" fmla="*/ 54947 w 76850"/>
                <a:gd name="connsiteY3" fmla="*/ 38551 h 124832"/>
                <a:gd name="connsiteX4" fmla="*/ 38425 w 76850"/>
                <a:gd name="connsiteY4" fmla="*/ 55073 h 124832"/>
                <a:gd name="connsiteX5" fmla="*/ 38425 w 76850"/>
                <a:gd name="connsiteY5" fmla="*/ 0 h 124832"/>
                <a:gd name="connsiteX6" fmla="*/ 6667 w 76850"/>
                <a:gd name="connsiteY6" fmla="*/ 16889 h 124832"/>
                <a:gd name="connsiteX7" fmla="*/ 2628 w 76850"/>
                <a:gd name="connsiteY7" fmla="*/ 52687 h 124832"/>
                <a:gd name="connsiteX8" fmla="*/ 20068 w 76850"/>
                <a:gd name="connsiteY8" fmla="*/ 91238 h 124832"/>
                <a:gd name="connsiteX9" fmla="*/ 35121 w 76850"/>
                <a:gd name="connsiteY9" fmla="*/ 122813 h 124832"/>
                <a:gd name="connsiteX10" fmla="*/ 38425 w 76850"/>
                <a:gd name="connsiteY10" fmla="*/ 124832 h 124832"/>
                <a:gd name="connsiteX11" fmla="*/ 41730 w 76850"/>
                <a:gd name="connsiteY11" fmla="*/ 122813 h 124832"/>
                <a:gd name="connsiteX12" fmla="*/ 56783 w 76850"/>
                <a:gd name="connsiteY12" fmla="*/ 91238 h 124832"/>
                <a:gd name="connsiteX13" fmla="*/ 74223 w 76850"/>
                <a:gd name="connsiteY13" fmla="*/ 52687 h 124832"/>
                <a:gd name="connsiteX14" fmla="*/ 70184 w 76850"/>
                <a:gd name="connsiteY14" fmla="*/ 16889 h 124832"/>
                <a:gd name="connsiteX15" fmla="*/ 38425 w 76850"/>
                <a:gd name="connsiteY15" fmla="*/ 0 h 12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50" h="124832">
                  <a:moveTo>
                    <a:pt x="38425" y="55073"/>
                  </a:moveTo>
                  <a:cubicBezTo>
                    <a:pt x="29247" y="55073"/>
                    <a:pt x="21904" y="47730"/>
                    <a:pt x="21904" y="38551"/>
                  </a:cubicBezTo>
                  <a:cubicBezTo>
                    <a:pt x="21904" y="29372"/>
                    <a:pt x="29247" y="22029"/>
                    <a:pt x="38425" y="22029"/>
                  </a:cubicBezTo>
                  <a:cubicBezTo>
                    <a:pt x="47604" y="22029"/>
                    <a:pt x="54947" y="29372"/>
                    <a:pt x="54947" y="38551"/>
                  </a:cubicBezTo>
                  <a:cubicBezTo>
                    <a:pt x="54947" y="47730"/>
                    <a:pt x="47604" y="55073"/>
                    <a:pt x="38425" y="55073"/>
                  </a:cubicBezTo>
                  <a:close/>
                  <a:moveTo>
                    <a:pt x="38425" y="0"/>
                  </a:moveTo>
                  <a:cubicBezTo>
                    <a:pt x="25759" y="0"/>
                    <a:pt x="13826" y="6242"/>
                    <a:pt x="6667" y="16889"/>
                  </a:cubicBezTo>
                  <a:cubicBezTo>
                    <a:pt x="-493" y="27353"/>
                    <a:pt x="-1961" y="40754"/>
                    <a:pt x="2628" y="52687"/>
                  </a:cubicBezTo>
                  <a:lnTo>
                    <a:pt x="20068" y="91238"/>
                  </a:lnTo>
                  <a:lnTo>
                    <a:pt x="35121" y="122813"/>
                  </a:lnTo>
                  <a:cubicBezTo>
                    <a:pt x="35672" y="124098"/>
                    <a:pt x="36957" y="124832"/>
                    <a:pt x="38425" y="124832"/>
                  </a:cubicBezTo>
                  <a:cubicBezTo>
                    <a:pt x="39894" y="124832"/>
                    <a:pt x="41179" y="124098"/>
                    <a:pt x="41730" y="122813"/>
                  </a:cubicBezTo>
                  <a:lnTo>
                    <a:pt x="56783" y="91238"/>
                  </a:lnTo>
                  <a:lnTo>
                    <a:pt x="74223" y="52687"/>
                  </a:lnTo>
                  <a:cubicBezTo>
                    <a:pt x="78812" y="40754"/>
                    <a:pt x="77344" y="27353"/>
                    <a:pt x="70184" y="16889"/>
                  </a:cubicBezTo>
                  <a:cubicBezTo>
                    <a:pt x="63025" y="6242"/>
                    <a:pt x="51092" y="0"/>
                    <a:pt x="38425" y="0"/>
                  </a:cubicBezTo>
                  <a:close/>
                </a:path>
              </a:pathLst>
            </a:custGeom>
            <a:solidFill>
              <a:srgbClr val="0070C0"/>
            </a:solidFill>
            <a:ln w="1786" cap="flat">
              <a:noFill/>
              <a:prstDash val="solid"/>
              <a:miter/>
            </a:ln>
          </p:spPr>
          <p:txBody>
            <a:bodyPr rtlCol="0" anchor="ctr"/>
            <a:lstStyle/>
            <a:p>
              <a:endParaRPr lang="fr-FR" sz="2400"/>
            </a:p>
          </p:txBody>
        </p:sp>
      </p:grpSp>
      <p:pic>
        <p:nvPicPr>
          <p:cNvPr id="16" name="Picture 2" descr="Afficher l’image source">
            <a:extLst>
              <a:ext uri="{FF2B5EF4-FFF2-40B4-BE49-F238E27FC236}">
                <a16:creationId xmlns:a16="http://schemas.microsoft.com/office/drawing/2014/main" id="{EA41296D-85AA-C907-462A-8966361B1D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046" y="4758170"/>
            <a:ext cx="551392" cy="43808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a:extLst>
              <a:ext uri="{FF2B5EF4-FFF2-40B4-BE49-F238E27FC236}">
                <a16:creationId xmlns:a16="http://schemas.microsoft.com/office/drawing/2014/main" id="{E16F1F40-9EE1-2626-2B0D-F351210A21D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42044" y="2121198"/>
            <a:ext cx="551393" cy="125251"/>
          </a:xfrm>
          <a:prstGeom prst="rect">
            <a:avLst/>
          </a:prstGeom>
        </p:spPr>
      </p:pic>
      <p:grpSp>
        <p:nvGrpSpPr>
          <p:cNvPr id="18" name="Groupe 17">
            <a:extLst>
              <a:ext uri="{FF2B5EF4-FFF2-40B4-BE49-F238E27FC236}">
                <a16:creationId xmlns:a16="http://schemas.microsoft.com/office/drawing/2014/main" id="{AF88DA3E-F345-D5FB-4AB0-647857E6B786}"/>
              </a:ext>
            </a:extLst>
          </p:cNvPr>
          <p:cNvGrpSpPr/>
          <p:nvPr/>
        </p:nvGrpSpPr>
        <p:grpSpPr>
          <a:xfrm>
            <a:off x="9503354" y="4729827"/>
            <a:ext cx="1383791" cy="166443"/>
            <a:chOff x="7156695" y="2702048"/>
            <a:chExt cx="1037841" cy="124832"/>
          </a:xfrm>
        </p:grpSpPr>
        <p:grpSp>
          <p:nvGrpSpPr>
            <p:cNvPr id="19" name="Graphique 65" descr="Calendrier journalier">
              <a:extLst>
                <a:ext uri="{FF2B5EF4-FFF2-40B4-BE49-F238E27FC236}">
                  <a16:creationId xmlns:a16="http://schemas.microsoft.com/office/drawing/2014/main" id="{71D0CA1A-8833-C541-FEA6-7F8D95827316}"/>
                </a:ext>
              </a:extLst>
            </p:cNvPr>
            <p:cNvGrpSpPr/>
            <p:nvPr/>
          </p:nvGrpSpPr>
          <p:grpSpPr>
            <a:xfrm>
              <a:off x="8069704" y="2702048"/>
              <a:ext cx="124832" cy="124832"/>
              <a:chOff x="8069704" y="2702048"/>
              <a:chExt cx="124832" cy="124832"/>
            </a:xfrm>
            <a:solidFill>
              <a:srgbClr val="0070C0"/>
            </a:solidFill>
          </p:grpSpPr>
          <p:sp>
            <p:nvSpPr>
              <p:cNvPr id="21" name="Forme libre : forme 20">
                <a:extLst>
                  <a:ext uri="{FF2B5EF4-FFF2-40B4-BE49-F238E27FC236}">
                    <a16:creationId xmlns:a16="http://schemas.microsoft.com/office/drawing/2014/main" id="{ABA524B8-C5DF-AB3B-5618-E559B1E46F82}"/>
                  </a:ext>
                </a:extLst>
              </p:cNvPr>
              <p:cNvSpPr/>
              <p:nvPr/>
            </p:nvSpPr>
            <p:spPr>
              <a:xfrm>
                <a:off x="8091734" y="2702048"/>
                <a:ext cx="11014" cy="22029"/>
              </a:xfrm>
              <a:custGeom>
                <a:avLst/>
                <a:gdLst>
                  <a:gd name="connsiteX0" fmla="*/ 5507 w 11014"/>
                  <a:gd name="connsiteY0" fmla="*/ 22029 h 22029"/>
                  <a:gd name="connsiteX1" fmla="*/ 11015 w 11014"/>
                  <a:gd name="connsiteY1" fmla="*/ 16522 h 22029"/>
                  <a:gd name="connsiteX2" fmla="*/ 11015 w 11014"/>
                  <a:gd name="connsiteY2" fmla="*/ 5507 h 22029"/>
                  <a:gd name="connsiteX3" fmla="*/ 5507 w 11014"/>
                  <a:gd name="connsiteY3" fmla="*/ 0 h 22029"/>
                  <a:gd name="connsiteX4" fmla="*/ 0 w 11014"/>
                  <a:gd name="connsiteY4" fmla="*/ 5507 h 22029"/>
                  <a:gd name="connsiteX5" fmla="*/ 0 w 11014"/>
                  <a:gd name="connsiteY5" fmla="*/ 16522 h 22029"/>
                  <a:gd name="connsiteX6" fmla="*/ 5507 w 11014"/>
                  <a:gd name="connsiteY6" fmla="*/ 22029 h 2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4" h="22029">
                    <a:moveTo>
                      <a:pt x="5507" y="22029"/>
                    </a:moveTo>
                    <a:cubicBezTo>
                      <a:pt x="8628" y="22029"/>
                      <a:pt x="11015" y="19643"/>
                      <a:pt x="11015" y="16522"/>
                    </a:cubicBezTo>
                    <a:lnTo>
                      <a:pt x="11015" y="5507"/>
                    </a:lnTo>
                    <a:cubicBezTo>
                      <a:pt x="11015" y="2387"/>
                      <a:pt x="8628" y="0"/>
                      <a:pt x="5507" y="0"/>
                    </a:cubicBezTo>
                    <a:cubicBezTo>
                      <a:pt x="2387" y="0"/>
                      <a:pt x="0" y="2387"/>
                      <a:pt x="0" y="5507"/>
                    </a:cubicBezTo>
                    <a:lnTo>
                      <a:pt x="0" y="16522"/>
                    </a:lnTo>
                    <a:cubicBezTo>
                      <a:pt x="0" y="19643"/>
                      <a:pt x="2387" y="22029"/>
                      <a:pt x="5507" y="22029"/>
                    </a:cubicBezTo>
                    <a:close/>
                  </a:path>
                </a:pathLst>
              </a:custGeom>
              <a:solidFill>
                <a:srgbClr val="0070C0"/>
              </a:solidFill>
              <a:ln w="1786" cap="flat">
                <a:noFill/>
                <a:prstDash val="solid"/>
                <a:miter/>
              </a:ln>
            </p:spPr>
            <p:txBody>
              <a:bodyPr rtlCol="0" anchor="ctr"/>
              <a:lstStyle/>
              <a:p>
                <a:endParaRPr lang="fr-FR" sz="2400"/>
              </a:p>
            </p:txBody>
          </p:sp>
          <p:sp>
            <p:nvSpPr>
              <p:cNvPr id="22" name="Forme libre : forme 21">
                <a:extLst>
                  <a:ext uri="{FF2B5EF4-FFF2-40B4-BE49-F238E27FC236}">
                    <a16:creationId xmlns:a16="http://schemas.microsoft.com/office/drawing/2014/main" id="{C010D907-7061-64EB-EE76-E30EC439D571}"/>
                  </a:ext>
                </a:extLst>
              </p:cNvPr>
              <p:cNvSpPr/>
              <p:nvPr/>
            </p:nvSpPr>
            <p:spPr>
              <a:xfrm>
                <a:off x="8069704" y="2746107"/>
                <a:ext cx="124832" cy="80773"/>
              </a:xfrm>
              <a:custGeom>
                <a:avLst/>
                <a:gdLst>
                  <a:gd name="connsiteX0" fmla="*/ 11015 w 124832"/>
                  <a:gd name="connsiteY0" fmla="*/ 55073 h 80773"/>
                  <a:gd name="connsiteX1" fmla="*/ 40387 w 124832"/>
                  <a:gd name="connsiteY1" fmla="*/ 55073 h 80773"/>
                  <a:gd name="connsiteX2" fmla="*/ 40387 w 124832"/>
                  <a:gd name="connsiteY2" fmla="*/ 69759 h 80773"/>
                  <a:gd name="connsiteX3" fmla="*/ 11015 w 124832"/>
                  <a:gd name="connsiteY3" fmla="*/ 69759 h 80773"/>
                  <a:gd name="connsiteX4" fmla="*/ 11015 w 124832"/>
                  <a:gd name="connsiteY4" fmla="*/ 55073 h 80773"/>
                  <a:gd name="connsiteX5" fmla="*/ 11015 w 124832"/>
                  <a:gd name="connsiteY5" fmla="*/ 33044 h 80773"/>
                  <a:gd name="connsiteX6" fmla="*/ 40387 w 124832"/>
                  <a:gd name="connsiteY6" fmla="*/ 33044 h 80773"/>
                  <a:gd name="connsiteX7" fmla="*/ 40387 w 124832"/>
                  <a:gd name="connsiteY7" fmla="*/ 47730 h 80773"/>
                  <a:gd name="connsiteX8" fmla="*/ 11015 w 124832"/>
                  <a:gd name="connsiteY8" fmla="*/ 47730 h 80773"/>
                  <a:gd name="connsiteX9" fmla="*/ 11015 w 124832"/>
                  <a:gd name="connsiteY9" fmla="*/ 33044 h 80773"/>
                  <a:gd name="connsiteX10" fmla="*/ 11015 w 124832"/>
                  <a:gd name="connsiteY10" fmla="*/ 11015 h 80773"/>
                  <a:gd name="connsiteX11" fmla="*/ 40387 w 124832"/>
                  <a:gd name="connsiteY11" fmla="*/ 11015 h 80773"/>
                  <a:gd name="connsiteX12" fmla="*/ 40387 w 124832"/>
                  <a:gd name="connsiteY12" fmla="*/ 25701 h 80773"/>
                  <a:gd name="connsiteX13" fmla="*/ 11015 w 124832"/>
                  <a:gd name="connsiteY13" fmla="*/ 25701 h 80773"/>
                  <a:gd name="connsiteX14" fmla="*/ 11015 w 124832"/>
                  <a:gd name="connsiteY14" fmla="*/ 11015 h 80773"/>
                  <a:gd name="connsiteX15" fmla="*/ 77102 w 124832"/>
                  <a:gd name="connsiteY15" fmla="*/ 11015 h 80773"/>
                  <a:gd name="connsiteX16" fmla="*/ 77102 w 124832"/>
                  <a:gd name="connsiteY16" fmla="*/ 25701 h 80773"/>
                  <a:gd name="connsiteX17" fmla="*/ 47730 w 124832"/>
                  <a:gd name="connsiteY17" fmla="*/ 25701 h 80773"/>
                  <a:gd name="connsiteX18" fmla="*/ 47730 w 124832"/>
                  <a:gd name="connsiteY18" fmla="*/ 11015 h 80773"/>
                  <a:gd name="connsiteX19" fmla="*/ 77102 w 124832"/>
                  <a:gd name="connsiteY19" fmla="*/ 11015 h 80773"/>
                  <a:gd name="connsiteX20" fmla="*/ 113818 w 124832"/>
                  <a:gd name="connsiteY20" fmla="*/ 11015 h 80773"/>
                  <a:gd name="connsiteX21" fmla="*/ 113818 w 124832"/>
                  <a:gd name="connsiteY21" fmla="*/ 25701 h 80773"/>
                  <a:gd name="connsiteX22" fmla="*/ 84445 w 124832"/>
                  <a:gd name="connsiteY22" fmla="*/ 25701 h 80773"/>
                  <a:gd name="connsiteX23" fmla="*/ 84445 w 124832"/>
                  <a:gd name="connsiteY23" fmla="*/ 11015 h 80773"/>
                  <a:gd name="connsiteX24" fmla="*/ 113818 w 124832"/>
                  <a:gd name="connsiteY24" fmla="*/ 11015 h 80773"/>
                  <a:gd name="connsiteX25" fmla="*/ 113818 w 124832"/>
                  <a:gd name="connsiteY25" fmla="*/ 47730 h 80773"/>
                  <a:gd name="connsiteX26" fmla="*/ 84445 w 124832"/>
                  <a:gd name="connsiteY26" fmla="*/ 47730 h 80773"/>
                  <a:gd name="connsiteX27" fmla="*/ 84445 w 124832"/>
                  <a:gd name="connsiteY27" fmla="*/ 33044 h 80773"/>
                  <a:gd name="connsiteX28" fmla="*/ 113818 w 124832"/>
                  <a:gd name="connsiteY28" fmla="*/ 33044 h 80773"/>
                  <a:gd name="connsiteX29" fmla="*/ 113818 w 124832"/>
                  <a:gd name="connsiteY29" fmla="*/ 47730 h 80773"/>
                  <a:gd name="connsiteX30" fmla="*/ 113818 w 124832"/>
                  <a:gd name="connsiteY30" fmla="*/ 69759 h 80773"/>
                  <a:gd name="connsiteX31" fmla="*/ 84445 w 124832"/>
                  <a:gd name="connsiteY31" fmla="*/ 69759 h 80773"/>
                  <a:gd name="connsiteX32" fmla="*/ 84445 w 124832"/>
                  <a:gd name="connsiteY32" fmla="*/ 55073 h 80773"/>
                  <a:gd name="connsiteX33" fmla="*/ 113818 w 124832"/>
                  <a:gd name="connsiteY33" fmla="*/ 55073 h 80773"/>
                  <a:gd name="connsiteX34" fmla="*/ 113818 w 124832"/>
                  <a:gd name="connsiteY34" fmla="*/ 69759 h 80773"/>
                  <a:gd name="connsiteX35" fmla="*/ 47730 w 124832"/>
                  <a:gd name="connsiteY35" fmla="*/ 47730 h 80773"/>
                  <a:gd name="connsiteX36" fmla="*/ 47730 w 124832"/>
                  <a:gd name="connsiteY36" fmla="*/ 33044 h 80773"/>
                  <a:gd name="connsiteX37" fmla="*/ 77102 w 124832"/>
                  <a:gd name="connsiteY37" fmla="*/ 33044 h 80773"/>
                  <a:gd name="connsiteX38" fmla="*/ 77102 w 124832"/>
                  <a:gd name="connsiteY38" fmla="*/ 47730 h 80773"/>
                  <a:gd name="connsiteX39" fmla="*/ 47730 w 124832"/>
                  <a:gd name="connsiteY39" fmla="*/ 47730 h 80773"/>
                  <a:gd name="connsiteX40" fmla="*/ 47730 w 124832"/>
                  <a:gd name="connsiteY40" fmla="*/ 69759 h 80773"/>
                  <a:gd name="connsiteX41" fmla="*/ 47730 w 124832"/>
                  <a:gd name="connsiteY41" fmla="*/ 55073 h 80773"/>
                  <a:gd name="connsiteX42" fmla="*/ 77102 w 124832"/>
                  <a:gd name="connsiteY42" fmla="*/ 55073 h 80773"/>
                  <a:gd name="connsiteX43" fmla="*/ 77102 w 124832"/>
                  <a:gd name="connsiteY43" fmla="*/ 69759 h 80773"/>
                  <a:gd name="connsiteX44" fmla="*/ 47730 w 124832"/>
                  <a:gd name="connsiteY44" fmla="*/ 69759 h 80773"/>
                  <a:gd name="connsiteX45" fmla="*/ 0 w 124832"/>
                  <a:gd name="connsiteY45" fmla="*/ 80774 h 80773"/>
                  <a:gd name="connsiteX46" fmla="*/ 124832 w 124832"/>
                  <a:gd name="connsiteY46" fmla="*/ 80774 h 80773"/>
                  <a:gd name="connsiteX47" fmla="*/ 124832 w 124832"/>
                  <a:gd name="connsiteY47" fmla="*/ 0 h 80773"/>
                  <a:gd name="connsiteX48" fmla="*/ 0 w 124832"/>
                  <a:gd name="connsiteY48" fmla="*/ 0 h 80773"/>
                  <a:gd name="connsiteX49" fmla="*/ 0 w 124832"/>
                  <a:gd name="connsiteY49" fmla="*/ 80774 h 8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4832" h="80773">
                    <a:moveTo>
                      <a:pt x="11015" y="55073"/>
                    </a:moveTo>
                    <a:lnTo>
                      <a:pt x="40387" y="55073"/>
                    </a:lnTo>
                    <a:lnTo>
                      <a:pt x="40387" y="69759"/>
                    </a:lnTo>
                    <a:lnTo>
                      <a:pt x="11015" y="69759"/>
                    </a:lnTo>
                    <a:lnTo>
                      <a:pt x="11015" y="55073"/>
                    </a:lnTo>
                    <a:close/>
                    <a:moveTo>
                      <a:pt x="11015" y="33044"/>
                    </a:moveTo>
                    <a:lnTo>
                      <a:pt x="40387" y="33044"/>
                    </a:lnTo>
                    <a:lnTo>
                      <a:pt x="40387" y="47730"/>
                    </a:lnTo>
                    <a:lnTo>
                      <a:pt x="11015" y="47730"/>
                    </a:lnTo>
                    <a:lnTo>
                      <a:pt x="11015" y="33044"/>
                    </a:lnTo>
                    <a:close/>
                    <a:moveTo>
                      <a:pt x="11015" y="11015"/>
                    </a:moveTo>
                    <a:lnTo>
                      <a:pt x="40387" y="11015"/>
                    </a:lnTo>
                    <a:lnTo>
                      <a:pt x="40387" y="25701"/>
                    </a:lnTo>
                    <a:lnTo>
                      <a:pt x="11015" y="25701"/>
                    </a:lnTo>
                    <a:lnTo>
                      <a:pt x="11015" y="11015"/>
                    </a:lnTo>
                    <a:close/>
                    <a:moveTo>
                      <a:pt x="77102" y="11015"/>
                    </a:moveTo>
                    <a:lnTo>
                      <a:pt x="77102" y="25701"/>
                    </a:lnTo>
                    <a:lnTo>
                      <a:pt x="47730" y="25701"/>
                    </a:lnTo>
                    <a:lnTo>
                      <a:pt x="47730" y="11015"/>
                    </a:lnTo>
                    <a:lnTo>
                      <a:pt x="77102" y="11015"/>
                    </a:lnTo>
                    <a:close/>
                    <a:moveTo>
                      <a:pt x="113818" y="11015"/>
                    </a:moveTo>
                    <a:lnTo>
                      <a:pt x="113818" y="25701"/>
                    </a:lnTo>
                    <a:lnTo>
                      <a:pt x="84445" y="25701"/>
                    </a:lnTo>
                    <a:lnTo>
                      <a:pt x="84445" y="11015"/>
                    </a:lnTo>
                    <a:lnTo>
                      <a:pt x="113818" y="11015"/>
                    </a:lnTo>
                    <a:close/>
                    <a:moveTo>
                      <a:pt x="113818" y="47730"/>
                    </a:moveTo>
                    <a:lnTo>
                      <a:pt x="84445" y="47730"/>
                    </a:lnTo>
                    <a:lnTo>
                      <a:pt x="84445" y="33044"/>
                    </a:lnTo>
                    <a:lnTo>
                      <a:pt x="113818" y="33044"/>
                    </a:lnTo>
                    <a:lnTo>
                      <a:pt x="113818" y="47730"/>
                    </a:lnTo>
                    <a:close/>
                    <a:moveTo>
                      <a:pt x="113818" y="69759"/>
                    </a:moveTo>
                    <a:lnTo>
                      <a:pt x="84445" y="69759"/>
                    </a:lnTo>
                    <a:lnTo>
                      <a:pt x="84445" y="55073"/>
                    </a:lnTo>
                    <a:lnTo>
                      <a:pt x="113818" y="55073"/>
                    </a:lnTo>
                    <a:lnTo>
                      <a:pt x="113818" y="69759"/>
                    </a:lnTo>
                    <a:close/>
                    <a:moveTo>
                      <a:pt x="47730" y="47730"/>
                    </a:moveTo>
                    <a:lnTo>
                      <a:pt x="47730" y="33044"/>
                    </a:lnTo>
                    <a:lnTo>
                      <a:pt x="77102" y="33044"/>
                    </a:lnTo>
                    <a:lnTo>
                      <a:pt x="77102" y="47730"/>
                    </a:lnTo>
                    <a:lnTo>
                      <a:pt x="47730" y="47730"/>
                    </a:lnTo>
                    <a:close/>
                    <a:moveTo>
                      <a:pt x="47730" y="69759"/>
                    </a:moveTo>
                    <a:lnTo>
                      <a:pt x="47730" y="55073"/>
                    </a:lnTo>
                    <a:lnTo>
                      <a:pt x="77102" y="55073"/>
                    </a:lnTo>
                    <a:lnTo>
                      <a:pt x="77102" y="69759"/>
                    </a:lnTo>
                    <a:lnTo>
                      <a:pt x="47730" y="69759"/>
                    </a:lnTo>
                    <a:close/>
                    <a:moveTo>
                      <a:pt x="0" y="80774"/>
                    </a:moveTo>
                    <a:lnTo>
                      <a:pt x="124832" y="80774"/>
                    </a:lnTo>
                    <a:lnTo>
                      <a:pt x="124832" y="0"/>
                    </a:lnTo>
                    <a:lnTo>
                      <a:pt x="0" y="0"/>
                    </a:lnTo>
                    <a:lnTo>
                      <a:pt x="0" y="80774"/>
                    </a:lnTo>
                    <a:close/>
                  </a:path>
                </a:pathLst>
              </a:custGeom>
              <a:solidFill>
                <a:srgbClr val="0070C0"/>
              </a:solidFill>
              <a:ln w="1786" cap="flat">
                <a:noFill/>
                <a:prstDash val="solid"/>
                <a:miter/>
              </a:ln>
            </p:spPr>
            <p:txBody>
              <a:bodyPr rtlCol="0" anchor="ctr"/>
              <a:lstStyle/>
              <a:p>
                <a:endParaRPr lang="fr-FR" sz="2400"/>
              </a:p>
            </p:txBody>
          </p:sp>
          <p:sp>
            <p:nvSpPr>
              <p:cNvPr id="23" name="Forme libre : forme 22">
                <a:extLst>
                  <a:ext uri="{FF2B5EF4-FFF2-40B4-BE49-F238E27FC236}">
                    <a16:creationId xmlns:a16="http://schemas.microsoft.com/office/drawing/2014/main" id="{4A43A475-292D-B547-BF51-8D66B242618F}"/>
                  </a:ext>
                </a:extLst>
              </p:cNvPr>
              <p:cNvSpPr/>
              <p:nvPr/>
            </p:nvSpPr>
            <p:spPr>
              <a:xfrm>
                <a:off x="8161493" y="2702048"/>
                <a:ext cx="11014" cy="22029"/>
              </a:xfrm>
              <a:custGeom>
                <a:avLst/>
                <a:gdLst>
                  <a:gd name="connsiteX0" fmla="*/ 5507 w 11014"/>
                  <a:gd name="connsiteY0" fmla="*/ 22029 h 22029"/>
                  <a:gd name="connsiteX1" fmla="*/ 11015 w 11014"/>
                  <a:gd name="connsiteY1" fmla="*/ 16522 h 22029"/>
                  <a:gd name="connsiteX2" fmla="*/ 11015 w 11014"/>
                  <a:gd name="connsiteY2" fmla="*/ 5507 h 22029"/>
                  <a:gd name="connsiteX3" fmla="*/ 5507 w 11014"/>
                  <a:gd name="connsiteY3" fmla="*/ 0 h 22029"/>
                  <a:gd name="connsiteX4" fmla="*/ 0 w 11014"/>
                  <a:gd name="connsiteY4" fmla="*/ 5507 h 22029"/>
                  <a:gd name="connsiteX5" fmla="*/ 0 w 11014"/>
                  <a:gd name="connsiteY5" fmla="*/ 16522 h 22029"/>
                  <a:gd name="connsiteX6" fmla="*/ 5507 w 11014"/>
                  <a:gd name="connsiteY6" fmla="*/ 22029 h 2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4" h="22029">
                    <a:moveTo>
                      <a:pt x="5507" y="22029"/>
                    </a:moveTo>
                    <a:cubicBezTo>
                      <a:pt x="8628" y="22029"/>
                      <a:pt x="11015" y="19643"/>
                      <a:pt x="11015" y="16522"/>
                    </a:cubicBezTo>
                    <a:lnTo>
                      <a:pt x="11015" y="5507"/>
                    </a:lnTo>
                    <a:cubicBezTo>
                      <a:pt x="11015" y="2387"/>
                      <a:pt x="8628" y="0"/>
                      <a:pt x="5507" y="0"/>
                    </a:cubicBezTo>
                    <a:cubicBezTo>
                      <a:pt x="2387" y="0"/>
                      <a:pt x="0" y="2387"/>
                      <a:pt x="0" y="5507"/>
                    </a:cubicBezTo>
                    <a:lnTo>
                      <a:pt x="0" y="16522"/>
                    </a:lnTo>
                    <a:cubicBezTo>
                      <a:pt x="0" y="19643"/>
                      <a:pt x="2387" y="22029"/>
                      <a:pt x="5507" y="22029"/>
                    </a:cubicBezTo>
                    <a:close/>
                  </a:path>
                </a:pathLst>
              </a:custGeom>
              <a:solidFill>
                <a:srgbClr val="0070C0"/>
              </a:solidFill>
              <a:ln w="1786" cap="flat">
                <a:noFill/>
                <a:prstDash val="solid"/>
                <a:miter/>
              </a:ln>
            </p:spPr>
            <p:txBody>
              <a:bodyPr rtlCol="0" anchor="ctr"/>
              <a:lstStyle/>
              <a:p>
                <a:endParaRPr lang="fr-FR" sz="2400"/>
              </a:p>
            </p:txBody>
          </p:sp>
          <p:sp>
            <p:nvSpPr>
              <p:cNvPr id="24" name="Forme libre : forme 23">
                <a:extLst>
                  <a:ext uri="{FF2B5EF4-FFF2-40B4-BE49-F238E27FC236}">
                    <a16:creationId xmlns:a16="http://schemas.microsoft.com/office/drawing/2014/main" id="{7A3D1495-D888-126D-C95D-51D79E80A8D8}"/>
                  </a:ext>
                </a:extLst>
              </p:cNvPr>
              <p:cNvSpPr/>
              <p:nvPr/>
            </p:nvSpPr>
            <p:spPr>
              <a:xfrm>
                <a:off x="8069704" y="2713063"/>
                <a:ext cx="124832" cy="25700"/>
              </a:xfrm>
              <a:custGeom>
                <a:avLst/>
                <a:gdLst>
                  <a:gd name="connsiteX0" fmla="*/ 110146 w 124832"/>
                  <a:gd name="connsiteY0" fmla="*/ 0 h 25700"/>
                  <a:gd name="connsiteX1" fmla="*/ 110146 w 124832"/>
                  <a:gd name="connsiteY1" fmla="*/ 5507 h 25700"/>
                  <a:gd name="connsiteX2" fmla="*/ 97296 w 124832"/>
                  <a:gd name="connsiteY2" fmla="*/ 18358 h 25700"/>
                  <a:gd name="connsiteX3" fmla="*/ 84445 w 124832"/>
                  <a:gd name="connsiteY3" fmla="*/ 5507 h 25700"/>
                  <a:gd name="connsiteX4" fmla="*/ 84445 w 124832"/>
                  <a:gd name="connsiteY4" fmla="*/ 0 h 25700"/>
                  <a:gd name="connsiteX5" fmla="*/ 40387 w 124832"/>
                  <a:gd name="connsiteY5" fmla="*/ 0 h 25700"/>
                  <a:gd name="connsiteX6" fmla="*/ 40387 w 124832"/>
                  <a:gd name="connsiteY6" fmla="*/ 5507 h 25700"/>
                  <a:gd name="connsiteX7" fmla="*/ 27537 w 124832"/>
                  <a:gd name="connsiteY7" fmla="*/ 18358 h 25700"/>
                  <a:gd name="connsiteX8" fmla="*/ 14686 w 124832"/>
                  <a:gd name="connsiteY8" fmla="*/ 5507 h 25700"/>
                  <a:gd name="connsiteX9" fmla="*/ 14686 w 124832"/>
                  <a:gd name="connsiteY9" fmla="*/ 0 h 25700"/>
                  <a:gd name="connsiteX10" fmla="*/ 0 w 124832"/>
                  <a:gd name="connsiteY10" fmla="*/ 0 h 25700"/>
                  <a:gd name="connsiteX11" fmla="*/ 0 w 124832"/>
                  <a:gd name="connsiteY11" fmla="*/ 25701 h 25700"/>
                  <a:gd name="connsiteX12" fmla="*/ 124832 w 124832"/>
                  <a:gd name="connsiteY12" fmla="*/ 25701 h 25700"/>
                  <a:gd name="connsiteX13" fmla="*/ 124832 w 124832"/>
                  <a:gd name="connsiteY13" fmla="*/ 0 h 25700"/>
                  <a:gd name="connsiteX14" fmla="*/ 110146 w 124832"/>
                  <a:gd name="connsiteY14" fmla="*/ 0 h 2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832" h="25700">
                    <a:moveTo>
                      <a:pt x="110146" y="0"/>
                    </a:moveTo>
                    <a:lnTo>
                      <a:pt x="110146" y="5507"/>
                    </a:lnTo>
                    <a:cubicBezTo>
                      <a:pt x="110146" y="12667"/>
                      <a:pt x="104455" y="18358"/>
                      <a:pt x="97296" y="18358"/>
                    </a:cubicBezTo>
                    <a:cubicBezTo>
                      <a:pt x="90136" y="18358"/>
                      <a:pt x="84445" y="12667"/>
                      <a:pt x="84445" y="5507"/>
                    </a:cubicBezTo>
                    <a:lnTo>
                      <a:pt x="84445" y="0"/>
                    </a:lnTo>
                    <a:lnTo>
                      <a:pt x="40387" y="0"/>
                    </a:lnTo>
                    <a:lnTo>
                      <a:pt x="40387" y="5507"/>
                    </a:lnTo>
                    <a:cubicBezTo>
                      <a:pt x="40387" y="12667"/>
                      <a:pt x="34696" y="18358"/>
                      <a:pt x="27537" y="18358"/>
                    </a:cubicBezTo>
                    <a:cubicBezTo>
                      <a:pt x="20377" y="18358"/>
                      <a:pt x="14686" y="12667"/>
                      <a:pt x="14686" y="5507"/>
                    </a:cubicBezTo>
                    <a:lnTo>
                      <a:pt x="14686" y="0"/>
                    </a:lnTo>
                    <a:lnTo>
                      <a:pt x="0" y="0"/>
                    </a:lnTo>
                    <a:lnTo>
                      <a:pt x="0" y="25701"/>
                    </a:lnTo>
                    <a:lnTo>
                      <a:pt x="124832" y="25701"/>
                    </a:lnTo>
                    <a:lnTo>
                      <a:pt x="124832" y="0"/>
                    </a:lnTo>
                    <a:lnTo>
                      <a:pt x="110146" y="0"/>
                    </a:lnTo>
                    <a:close/>
                  </a:path>
                </a:pathLst>
              </a:custGeom>
              <a:solidFill>
                <a:srgbClr val="0070C0"/>
              </a:solidFill>
              <a:ln w="1786" cap="flat">
                <a:noFill/>
                <a:prstDash val="solid"/>
                <a:miter/>
              </a:ln>
            </p:spPr>
            <p:txBody>
              <a:bodyPr rtlCol="0" anchor="ctr"/>
              <a:lstStyle/>
              <a:p>
                <a:endParaRPr lang="fr-FR" sz="2400"/>
              </a:p>
            </p:txBody>
          </p:sp>
        </p:grpSp>
        <p:sp>
          <p:nvSpPr>
            <p:cNvPr id="20" name="Graphique 66" descr="Repère">
              <a:extLst>
                <a:ext uri="{FF2B5EF4-FFF2-40B4-BE49-F238E27FC236}">
                  <a16:creationId xmlns:a16="http://schemas.microsoft.com/office/drawing/2014/main" id="{9E39A1B4-6BC3-BFE1-5564-2CE6490AB39D}"/>
                </a:ext>
              </a:extLst>
            </p:cNvPr>
            <p:cNvSpPr/>
            <p:nvPr/>
          </p:nvSpPr>
          <p:spPr>
            <a:xfrm>
              <a:off x="7156695" y="2702048"/>
              <a:ext cx="76850" cy="124832"/>
            </a:xfrm>
            <a:custGeom>
              <a:avLst/>
              <a:gdLst>
                <a:gd name="connsiteX0" fmla="*/ 38425 w 76850"/>
                <a:gd name="connsiteY0" fmla="*/ 55073 h 124832"/>
                <a:gd name="connsiteX1" fmla="*/ 21904 w 76850"/>
                <a:gd name="connsiteY1" fmla="*/ 38551 h 124832"/>
                <a:gd name="connsiteX2" fmla="*/ 38425 w 76850"/>
                <a:gd name="connsiteY2" fmla="*/ 22029 h 124832"/>
                <a:gd name="connsiteX3" fmla="*/ 54947 w 76850"/>
                <a:gd name="connsiteY3" fmla="*/ 38551 h 124832"/>
                <a:gd name="connsiteX4" fmla="*/ 38425 w 76850"/>
                <a:gd name="connsiteY4" fmla="*/ 55073 h 124832"/>
                <a:gd name="connsiteX5" fmla="*/ 38425 w 76850"/>
                <a:gd name="connsiteY5" fmla="*/ 0 h 124832"/>
                <a:gd name="connsiteX6" fmla="*/ 6667 w 76850"/>
                <a:gd name="connsiteY6" fmla="*/ 16889 h 124832"/>
                <a:gd name="connsiteX7" fmla="*/ 2628 w 76850"/>
                <a:gd name="connsiteY7" fmla="*/ 52687 h 124832"/>
                <a:gd name="connsiteX8" fmla="*/ 20068 w 76850"/>
                <a:gd name="connsiteY8" fmla="*/ 91238 h 124832"/>
                <a:gd name="connsiteX9" fmla="*/ 35121 w 76850"/>
                <a:gd name="connsiteY9" fmla="*/ 122813 h 124832"/>
                <a:gd name="connsiteX10" fmla="*/ 38425 w 76850"/>
                <a:gd name="connsiteY10" fmla="*/ 124832 h 124832"/>
                <a:gd name="connsiteX11" fmla="*/ 41730 w 76850"/>
                <a:gd name="connsiteY11" fmla="*/ 122813 h 124832"/>
                <a:gd name="connsiteX12" fmla="*/ 56783 w 76850"/>
                <a:gd name="connsiteY12" fmla="*/ 91238 h 124832"/>
                <a:gd name="connsiteX13" fmla="*/ 74223 w 76850"/>
                <a:gd name="connsiteY13" fmla="*/ 52687 h 124832"/>
                <a:gd name="connsiteX14" fmla="*/ 70184 w 76850"/>
                <a:gd name="connsiteY14" fmla="*/ 16889 h 124832"/>
                <a:gd name="connsiteX15" fmla="*/ 38425 w 76850"/>
                <a:gd name="connsiteY15" fmla="*/ 0 h 12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50" h="124832">
                  <a:moveTo>
                    <a:pt x="38425" y="55073"/>
                  </a:moveTo>
                  <a:cubicBezTo>
                    <a:pt x="29247" y="55073"/>
                    <a:pt x="21904" y="47730"/>
                    <a:pt x="21904" y="38551"/>
                  </a:cubicBezTo>
                  <a:cubicBezTo>
                    <a:pt x="21904" y="29372"/>
                    <a:pt x="29247" y="22029"/>
                    <a:pt x="38425" y="22029"/>
                  </a:cubicBezTo>
                  <a:cubicBezTo>
                    <a:pt x="47604" y="22029"/>
                    <a:pt x="54947" y="29372"/>
                    <a:pt x="54947" y="38551"/>
                  </a:cubicBezTo>
                  <a:cubicBezTo>
                    <a:pt x="54947" y="47730"/>
                    <a:pt x="47604" y="55073"/>
                    <a:pt x="38425" y="55073"/>
                  </a:cubicBezTo>
                  <a:close/>
                  <a:moveTo>
                    <a:pt x="38425" y="0"/>
                  </a:moveTo>
                  <a:cubicBezTo>
                    <a:pt x="25759" y="0"/>
                    <a:pt x="13826" y="6242"/>
                    <a:pt x="6667" y="16889"/>
                  </a:cubicBezTo>
                  <a:cubicBezTo>
                    <a:pt x="-493" y="27353"/>
                    <a:pt x="-1961" y="40754"/>
                    <a:pt x="2628" y="52687"/>
                  </a:cubicBezTo>
                  <a:lnTo>
                    <a:pt x="20068" y="91238"/>
                  </a:lnTo>
                  <a:lnTo>
                    <a:pt x="35121" y="122813"/>
                  </a:lnTo>
                  <a:cubicBezTo>
                    <a:pt x="35672" y="124098"/>
                    <a:pt x="36957" y="124832"/>
                    <a:pt x="38425" y="124832"/>
                  </a:cubicBezTo>
                  <a:cubicBezTo>
                    <a:pt x="39894" y="124832"/>
                    <a:pt x="41179" y="124098"/>
                    <a:pt x="41730" y="122813"/>
                  </a:cubicBezTo>
                  <a:lnTo>
                    <a:pt x="56783" y="91238"/>
                  </a:lnTo>
                  <a:lnTo>
                    <a:pt x="74223" y="52687"/>
                  </a:lnTo>
                  <a:cubicBezTo>
                    <a:pt x="78812" y="40754"/>
                    <a:pt x="77344" y="27353"/>
                    <a:pt x="70184" y="16889"/>
                  </a:cubicBezTo>
                  <a:cubicBezTo>
                    <a:pt x="63025" y="6242"/>
                    <a:pt x="51092" y="0"/>
                    <a:pt x="38425" y="0"/>
                  </a:cubicBezTo>
                  <a:close/>
                </a:path>
              </a:pathLst>
            </a:custGeom>
            <a:solidFill>
              <a:srgbClr val="0070C0"/>
            </a:solidFill>
            <a:ln w="1786" cap="flat">
              <a:noFill/>
              <a:prstDash val="solid"/>
              <a:miter/>
            </a:ln>
          </p:spPr>
          <p:txBody>
            <a:bodyPr rtlCol="0" anchor="ctr"/>
            <a:lstStyle/>
            <a:p>
              <a:endParaRPr lang="fr-FR" sz="2400"/>
            </a:p>
          </p:txBody>
        </p:sp>
      </p:grpSp>
      <p:pic>
        <p:nvPicPr>
          <p:cNvPr id="25" name="Picture 2" descr="Entreprise coopérative laitière du Grand Ouest">
            <a:extLst>
              <a:ext uri="{FF2B5EF4-FFF2-40B4-BE49-F238E27FC236}">
                <a16:creationId xmlns:a16="http://schemas.microsoft.com/office/drawing/2014/main" id="{950E68E2-6860-FEA8-B69E-8580F74F3B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2043" y="3428790"/>
            <a:ext cx="552000" cy="289800"/>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 27">
            <a:extLst>
              <a:ext uri="{FF2B5EF4-FFF2-40B4-BE49-F238E27FC236}">
                <a16:creationId xmlns:a16="http://schemas.microsoft.com/office/drawing/2014/main" id="{4EB7934A-95C8-71E3-C73B-1EB5D075310C}"/>
              </a:ext>
            </a:extLst>
          </p:cNvPr>
          <p:cNvPicPr>
            <a:picLocks/>
          </p:cNvPicPr>
          <p:nvPr/>
        </p:nvPicPr>
        <p:blipFill>
          <a:blip r:embed="rId9"/>
          <a:stretch>
            <a:fillRect/>
          </a:stretch>
        </p:blipFill>
        <p:spPr>
          <a:xfrm>
            <a:off x="10218426" y="109803"/>
            <a:ext cx="468000" cy="612000"/>
          </a:xfrm>
          <a:prstGeom prst="rect">
            <a:avLst/>
          </a:prstGeom>
        </p:spPr>
      </p:pic>
    </p:spTree>
    <p:extLst>
      <p:ext uri="{BB962C8B-B14F-4D97-AF65-F5344CB8AC3E}">
        <p14:creationId xmlns:p14="http://schemas.microsoft.com/office/powerpoint/2010/main" val="34449098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4AF56C5F-5824-4A37-B460-506D65C4E4D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60945" y="98623"/>
            <a:ext cx="8470111" cy="447079"/>
          </a:xfrm>
          <a:prstGeom prst="rect">
            <a:avLst/>
          </a:prstGeom>
        </p:spPr>
      </p:pic>
      <p:pic>
        <p:nvPicPr>
          <p:cNvPr id="5" name="Shape 98">
            <a:extLst>
              <a:ext uri="{FF2B5EF4-FFF2-40B4-BE49-F238E27FC236}">
                <a16:creationId xmlns:a16="http://schemas.microsoft.com/office/drawing/2014/main" id="{5C1AD161-F6D9-4DAB-B8AF-415299BDD635}"/>
              </a:ext>
            </a:extLst>
          </p:cNvPr>
          <p:cNvPicPr preferRelativeResize="0"/>
          <p:nvPr/>
        </p:nvPicPr>
        <p:blipFill rotWithShape="1">
          <a:blip r:embed="rId4">
            <a:alphaModFix/>
          </a:blip>
          <a:srcRect/>
          <a:stretch/>
        </p:blipFill>
        <p:spPr>
          <a:xfrm>
            <a:off x="2788588" y="4486253"/>
            <a:ext cx="6614823" cy="2257439"/>
          </a:xfrm>
          <a:prstGeom prst="rect">
            <a:avLst/>
          </a:prstGeom>
          <a:noFill/>
          <a:ln>
            <a:noFill/>
          </a:ln>
        </p:spPr>
      </p:pic>
      <p:pic>
        <p:nvPicPr>
          <p:cNvPr id="2" name="Google Shape;40;p24">
            <a:extLst>
              <a:ext uri="{FF2B5EF4-FFF2-40B4-BE49-F238E27FC236}">
                <a16:creationId xmlns:a16="http://schemas.microsoft.com/office/drawing/2014/main" id="{EA4E6A34-1D5B-C7D3-00BD-4F2B561E7C2C}"/>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3549277" y="2558077"/>
            <a:ext cx="5093446" cy="1311424"/>
          </a:xfrm>
          <a:prstGeom prst="rect">
            <a:avLst/>
          </a:prstGeom>
          <a:noFill/>
          <a:ln>
            <a:noFill/>
          </a:ln>
        </p:spPr>
      </p:pic>
    </p:spTree>
    <p:extLst>
      <p:ext uri="{BB962C8B-B14F-4D97-AF65-F5344CB8AC3E}">
        <p14:creationId xmlns:p14="http://schemas.microsoft.com/office/powerpoint/2010/main" val="2516984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D6D03-D54D-165F-FEBB-5867A4AE2149}"/>
            </a:ext>
          </a:extLst>
        </p:cNvPr>
        <p:cNvGrpSpPr/>
        <p:nvPr/>
      </p:nvGrpSpPr>
      <p:grpSpPr>
        <a:xfrm>
          <a:off x="0" y="0"/>
          <a:ext cx="0" cy="0"/>
          <a:chOff x="0" y="0"/>
          <a:chExt cx="0" cy="0"/>
        </a:xfrm>
      </p:grpSpPr>
      <p:sp>
        <p:nvSpPr>
          <p:cNvPr id="3" name="Titre 2">
            <a:extLst>
              <a:ext uri="{FF2B5EF4-FFF2-40B4-BE49-F238E27FC236}">
                <a16:creationId xmlns:a16="http://schemas.microsoft.com/office/drawing/2014/main" id="{D48881F7-4135-770F-122A-86ED4FFC84F9}"/>
              </a:ext>
            </a:extLst>
          </p:cNvPr>
          <p:cNvSpPr>
            <a:spLocks noGrp="1"/>
          </p:cNvSpPr>
          <p:nvPr>
            <p:ph type="title"/>
          </p:nvPr>
        </p:nvSpPr>
        <p:spPr>
          <a:xfrm>
            <a:off x="396655" y="165356"/>
            <a:ext cx="10219586" cy="407795"/>
          </a:xfrm>
          <a:solidFill>
            <a:schemeClr val="bg1"/>
          </a:solidFill>
        </p:spPr>
        <p:txBody>
          <a:bodyPr/>
          <a:lstStyle/>
          <a:p>
            <a:r>
              <a:rPr lang="fr-FR" sz="1800"/>
              <a:t>TALAN CONSULTING, UN PARTENAIRE QUI S’ENGAGE À VOUS FOURNIR UNE FEUILLE DE ROUTE OPÉRATIONNELLE EN 8 SEMAINES APRÈS LE DÉMARRAGE</a:t>
            </a:r>
            <a:endParaRPr lang="fr-FR" sz="1800" i="1"/>
          </a:p>
        </p:txBody>
      </p:sp>
      <p:sp>
        <p:nvSpPr>
          <p:cNvPr id="34" name="ZoneTexte 33">
            <a:extLst>
              <a:ext uri="{FF2B5EF4-FFF2-40B4-BE49-F238E27FC236}">
                <a16:creationId xmlns:a16="http://schemas.microsoft.com/office/drawing/2014/main" id="{4ADA6757-9A9E-D7B1-54F1-D4EBB6C1D7B2}"/>
              </a:ext>
            </a:extLst>
          </p:cNvPr>
          <p:cNvSpPr txBox="1"/>
          <p:nvPr/>
        </p:nvSpPr>
        <p:spPr>
          <a:xfrm>
            <a:off x="6979368" y="1836485"/>
            <a:ext cx="421304" cy="707886"/>
          </a:xfrm>
          <a:prstGeom prst="rect">
            <a:avLst/>
          </a:prstGeom>
          <a:noFill/>
          <a:ln>
            <a:noFill/>
          </a:ln>
        </p:spPr>
        <p:txBody>
          <a:bodyPr wrap="square" rtlCol="0">
            <a:spAutoFit/>
          </a:bodyPr>
          <a:lstStyle/>
          <a:p>
            <a:pPr algn="just"/>
            <a:r>
              <a:rPr lang="fr-FR" sz="4000" b="1">
                <a:solidFill>
                  <a:schemeClr val="bg2"/>
                </a:solidFill>
                <a:latin typeface="Monteserrat"/>
              </a:rPr>
              <a:t>2</a:t>
            </a:r>
          </a:p>
        </p:txBody>
      </p:sp>
      <p:sp>
        <p:nvSpPr>
          <p:cNvPr id="35" name="Rectangle : coins arrondis 34">
            <a:extLst>
              <a:ext uri="{FF2B5EF4-FFF2-40B4-BE49-F238E27FC236}">
                <a16:creationId xmlns:a16="http://schemas.microsoft.com/office/drawing/2014/main" id="{F60FBC00-FEF0-A7FA-831A-40480F303C78}"/>
              </a:ext>
            </a:extLst>
          </p:cNvPr>
          <p:cNvSpPr/>
          <p:nvPr/>
        </p:nvSpPr>
        <p:spPr>
          <a:xfrm>
            <a:off x="7313304" y="2046428"/>
            <a:ext cx="3141960" cy="288000"/>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rgbClr val="45398B"/>
                </a:solidFill>
                <a:latin typeface="Arial Black" panose="020B0A04020102020204" pitchFamily="34" charset="0"/>
              </a:rPr>
              <a:t>UN PLANNING EXIGEANT </a:t>
            </a:r>
          </a:p>
        </p:txBody>
      </p:sp>
      <p:sp>
        <p:nvSpPr>
          <p:cNvPr id="40" name="ZoneTexte 39">
            <a:extLst>
              <a:ext uri="{FF2B5EF4-FFF2-40B4-BE49-F238E27FC236}">
                <a16:creationId xmlns:a16="http://schemas.microsoft.com/office/drawing/2014/main" id="{EA216833-C012-19F0-1968-6260BF801340}"/>
              </a:ext>
            </a:extLst>
          </p:cNvPr>
          <p:cNvSpPr txBox="1"/>
          <p:nvPr/>
        </p:nvSpPr>
        <p:spPr>
          <a:xfrm>
            <a:off x="966753" y="1836485"/>
            <a:ext cx="421304" cy="707886"/>
          </a:xfrm>
          <a:prstGeom prst="rect">
            <a:avLst/>
          </a:prstGeom>
          <a:noFill/>
          <a:ln>
            <a:noFill/>
          </a:ln>
        </p:spPr>
        <p:txBody>
          <a:bodyPr wrap="square" rtlCol="0">
            <a:spAutoFit/>
          </a:bodyPr>
          <a:lstStyle/>
          <a:p>
            <a:pPr algn="just"/>
            <a:r>
              <a:rPr lang="fr-FR" sz="4000" b="1">
                <a:solidFill>
                  <a:schemeClr val="bg2"/>
                </a:solidFill>
                <a:latin typeface="Monteserrat"/>
              </a:rPr>
              <a:t>1</a:t>
            </a:r>
          </a:p>
        </p:txBody>
      </p:sp>
      <p:sp>
        <p:nvSpPr>
          <p:cNvPr id="41" name="Rectangle : coins arrondis 40">
            <a:extLst>
              <a:ext uri="{FF2B5EF4-FFF2-40B4-BE49-F238E27FC236}">
                <a16:creationId xmlns:a16="http://schemas.microsoft.com/office/drawing/2014/main" id="{6C6C1A0B-C32E-1E94-2304-C1631D8F5722}"/>
              </a:ext>
            </a:extLst>
          </p:cNvPr>
          <p:cNvSpPr/>
          <p:nvPr/>
        </p:nvSpPr>
        <p:spPr>
          <a:xfrm>
            <a:off x="1310468" y="2046428"/>
            <a:ext cx="3599375" cy="288000"/>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rgbClr val="45398B"/>
                </a:solidFill>
                <a:latin typeface="Arial Black" panose="020B0A04020102020204" pitchFamily="34" charset="0"/>
              </a:rPr>
              <a:t>NOS PRINCIPES D’INTERVENTION</a:t>
            </a:r>
          </a:p>
        </p:txBody>
      </p:sp>
      <p:grpSp>
        <p:nvGrpSpPr>
          <p:cNvPr id="69" name="Groupe 68">
            <a:extLst>
              <a:ext uri="{FF2B5EF4-FFF2-40B4-BE49-F238E27FC236}">
                <a16:creationId xmlns:a16="http://schemas.microsoft.com/office/drawing/2014/main" id="{F7FFF798-F006-DE30-7B28-2CF7691E9844}"/>
              </a:ext>
            </a:extLst>
          </p:cNvPr>
          <p:cNvGrpSpPr/>
          <p:nvPr/>
        </p:nvGrpSpPr>
        <p:grpSpPr>
          <a:xfrm>
            <a:off x="6096000" y="2506515"/>
            <a:ext cx="4540881" cy="2060959"/>
            <a:chOff x="6096000" y="2825496"/>
            <a:chExt cx="4540881" cy="2409197"/>
          </a:xfrm>
        </p:grpSpPr>
        <p:sp>
          <p:nvSpPr>
            <p:cNvPr id="16" name="Google Shape;460;p41">
              <a:extLst>
                <a:ext uri="{FF2B5EF4-FFF2-40B4-BE49-F238E27FC236}">
                  <a16:creationId xmlns:a16="http://schemas.microsoft.com/office/drawing/2014/main" id="{E465B14A-F4B2-3226-092B-9EC270915A34}"/>
                </a:ext>
              </a:extLst>
            </p:cNvPr>
            <p:cNvSpPr/>
            <p:nvPr/>
          </p:nvSpPr>
          <p:spPr>
            <a:xfrm>
              <a:off x="6096000" y="3914799"/>
              <a:ext cx="2926910" cy="377169"/>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fr-FR" sz="1100" i="0" u="none" strike="noStrike" cap="none">
                  <a:solidFill>
                    <a:schemeClr val="bg2">
                      <a:lumMod val="60000"/>
                      <a:lumOff val="40000"/>
                    </a:schemeClr>
                  </a:solidFill>
                  <a:latin typeface="+mj-lt"/>
                  <a:ea typeface="Montserrat"/>
                  <a:cs typeface="Montserrat"/>
                  <a:sym typeface="Montserrat"/>
                </a:rPr>
                <a:t>Nous vous présenterons un </a:t>
              </a:r>
              <a:r>
                <a:rPr lang="fr-FR" sz="1100" b="1" i="0" u="none" strike="noStrike" cap="none">
                  <a:solidFill>
                    <a:schemeClr val="bg2">
                      <a:lumMod val="60000"/>
                      <a:lumOff val="40000"/>
                    </a:schemeClr>
                  </a:solidFill>
                  <a:latin typeface="+mj-lt"/>
                  <a:ea typeface="Montserrat"/>
                  <a:cs typeface="Montserrat"/>
                  <a:sym typeface="Montserrat"/>
                </a:rPr>
                <a:t>état des lieux après 5 semaines </a:t>
              </a:r>
              <a:r>
                <a:rPr lang="fr-FR" sz="1100" i="0" u="none" strike="noStrike" cap="none">
                  <a:solidFill>
                    <a:schemeClr val="bg2">
                      <a:lumMod val="60000"/>
                      <a:lumOff val="40000"/>
                    </a:schemeClr>
                  </a:solidFill>
                  <a:latin typeface="+mj-lt"/>
                  <a:ea typeface="Montserrat"/>
                  <a:cs typeface="Montserrat"/>
                  <a:sym typeface="Montserrat"/>
                </a:rPr>
                <a:t>de cadrage et de diagnostic</a:t>
              </a:r>
            </a:p>
          </p:txBody>
        </p:sp>
        <p:sp>
          <p:nvSpPr>
            <p:cNvPr id="17" name="Google Shape;461;p41">
              <a:extLst>
                <a:ext uri="{FF2B5EF4-FFF2-40B4-BE49-F238E27FC236}">
                  <a16:creationId xmlns:a16="http://schemas.microsoft.com/office/drawing/2014/main" id="{B8E73882-546F-71F9-1123-320874D89843}"/>
                </a:ext>
              </a:extLst>
            </p:cNvPr>
            <p:cNvSpPr/>
            <p:nvPr/>
          </p:nvSpPr>
          <p:spPr>
            <a:xfrm>
              <a:off x="7742877" y="4662530"/>
              <a:ext cx="2750463" cy="339721"/>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fr-FR" sz="1100" b="1">
                  <a:solidFill>
                    <a:srgbClr val="9288CE"/>
                  </a:solidFill>
                  <a:latin typeface="+mj-lt"/>
                  <a:ea typeface="Montserrat"/>
                  <a:cs typeface="Montserrat"/>
                  <a:sym typeface="Montserrat"/>
                </a:rPr>
                <a:t>Une feuille de route sur 24 mois </a:t>
              </a:r>
              <a:r>
                <a:rPr lang="fr-FR" sz="1100">
                  <a:solidFill>
                    <a:srgbClr val="9288CE"/>
                  </a:solidFill>
                  <a:latin typeface="+mj-lt"/>
                  <a:ea typeface="Montserrat"/>
                  <a:cs typeface="Montserrat"/>
                  <a:sym typeface="Montserrat"/>
                </a:rPr>
                <a:t>vous sera délivrée à l’issue de notre intervention</a:t>
              </a:r>
            </a:p>
          </p:txBody>
        </p:sp>
        <p:sp>
          <p:nvSpPr>
            <p:cNvPr id="18" name="Google Shape;454;p41">
              <a:extLst>
                <a:ext uri="{FF2B5EF4-FFF2-40B4-BE49-F238E27FC236}">
                  <a16:creationId xmlns:a16="http://schemas.microsoft.com/office/drawing/2014/main" id="{E7507A70-F00E-CA78-75E3-C830E472517C}"/>
                </a:ext>
              </a:extLst>
            </p:cNvPr>
            <p:cNvSpPr/>
            <p:nvPr/>
          </p:nvSpPr>
          <p:spPr>
            <a:xfrm rot="16200000">
              <a:off x="7025973" y="2512460"/>
              <a:ext cx="1015282" cy="1641353"/>
            </a:xfrm>
            <a:prstGeom prst="uturnArrow">
              <a:avLst>
                <a:gd name="adj1" fmla="val 12725"/>
                <a:gd name="adj2" fmla="val 25000"/>
                <a:gd name="adj3" fmla="val 0"/>
                <a:gd name="adj4" fmla="val 40681"/>
                <a:gd name="adj5" fmla="val 100000"/>
              </a:avLst>
            </a:prstGeom>
            <a:solidFill>
              <a:schemeClr val="bg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2300" b="0" i="0" u="none" strike="noStrike" cap="none">
                <a:solidFill>
                  <a:srgbClr val="262626"/>
                </a:solidFill>
                <a:latin typeface="Roboto Condensed"/>
                <a:ea typeface="Roboto Condensed"/>
                <a:cs typeface="Roboto Condensed"/>
                <a:sym typeface="Roboto Condensed"/>
              </a:endParaRPr>
            </a:p>
          </p:txBody>
        </p:sp>
        <p:sp>
          <p:nvSpPr>
            <p:cNvPr id="19" name="Google Shape;455;p41">
              <a:extLst>
                <a:ext uri="{FF2B5EF4-FFF2-40B4-BE49-F238E27FC236}">
                  <a16:creationId xmlns:a16="http://schemas.microsoft.com/office/drawing/2014/main" id="{E4AFD9FF-BAE9-FB64-DCD5-7E2132D17258}"/>
                </a:ext>
              </a:extLst>
            </p:cNvPr>
            <p:cNvSpPr/>
            <p:nvPr/>
          </p:nvSpPr>
          <p:spPr>
            <a:xfrm rot="5400000">
              <a:off x="8667326" y="3398735"/>
              <a:ext cx="1015282" cy="1641353"/>
            </a:xfrm>
            <a:prstGeom prst="uturnArrow">
              <a:avLst>
                <a:gd name="adj1" fmla="val 12725"/>
                <a:gd name="adj2" fmla="val 25000"/>
                <a:gd name="adj3" fmla="val 0"/>
                <a:gd name="adj4" fmla="val 40681"/>
                <a:gd name="adj5" fmla="val 100000"/>
              </a:avLst>
            </a:prstGeom>
            <a:solidFill>
              <a:schemeClr val="bg2">
                <a:lumMod val="60000"/>
                <a:lumOff val="4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2300" b="0" i="0" u="none" strike="noStrike" cap="none">
                <a:solidFill>
                  <a:srgbClr val="262626"/>
                </a:solidFill>
                <a:latin typeface="Roboto Condensed"/>
                <a:ea typeface="Roboto Condensed"/>
                <a:cs typeface="Roboto Condensed"/>
                <a:sym typeface="Roboto Condensed"/>
              </a:endParaRPr>
            </a:p>
          </p:txBody>
        </p:sp>
        <p:sp>
          <p:nvSpPr>
            <p:cNvPr id="20" name="Google Shape;456;p41">
              <a:extLst>
                <a:ext uri="{FF2B5EF4-FFF2-40B4-BE49-F238E27FC236}">
                  <a16:creationId xmlns:a16="http://schemas.microsoft.com/office/drawing/2014/main" id="{107F99F6-83E9-5574-2F8A-B53F7FBF040C}"/>
                </a:ext>
              </a:extLst>
            </p:cNvPr>
            <p:cNvSpPr/>
            <p:nvPr/>
          </p:nvSpPr>
          <p:spPr>
            <a:xfrm rot="16200000">
              <a:off x="7025973" y="3906375"/>
              <a:ext cx="1015282" cy="1641353"/>
            </a:xfrm>
            <a:prstGeom prst="uturnArrow">
              <a:avLst>
                <a:gd name="adj1" fmla="val 12725"/>
                <a:gd name="adj2" fmla="val 25000"/>
                <a:gd name="adj3" fmla="val 0"/>
                <a:gd name="adj4" fmla="val 40681"/>
                <a:gd name="adj5" fmla="val 100000"/>
              </a:avLst>
            </a:prstGeom>
            <a:solidFill>
              <a:schemeClr val="bg2">
                <a:lumMod val="40000"/>
                <a:lumOff val="6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2300" b="0" i="0" u="none" strike="noStrike" cap="none">
                <a:solidFill>
                  <a:srgbClr val="262626"/>
                </a:solidFill>
                <a:latin typeface="Roboto Condensed"/>
                <a:ea typeface="Roboto Condensed"/>
                <a:cs typeface="Roboto Condensed"/>
                <a:sym typeface="Roboto Condensed"/>
              </a:endParaRPr>
            </a:p>
          </p:txBody>
        </p:sp>
        <p:sp>
          <p:nvSpPr>
            <p:cNvPr id="21" name="Google Shape;457;p41">
              <a:extLst>
                <a:ext uri="{FF2B5EF4-FFF2-40B4-BE49-F238E27FC236}">
                  <a16:creationId xmlns:a16="http://schemas.microsoft.com/office/drawing/2014/main" id="{5D113FD1-1C6D-C190-6EC4-6E413AD9A60A}"/>
                </a:ext>
              </a:extLst>
            </p:cNvPr>
            <p:cNvSpPr/>
            <p:nvPr/>
          </p:nvSpPr>
          <p:spPr>
            <a:xfrm>
              <a:off x="6951003" y="3224143"/>
              <a:ext cx="438794" cy="420465"/>
            </a:xfrm>
            <a:prstGeom prst="ellipse">
              <a:avLst/>
            </a:prstGeom>
            <a:solidFill>
              <a:schemeClr val="bg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1" i="0" u="none" strike="noStrike" cap="none">
                <a:solidFill>
                  <a:srgbClr val="FFFFFF"/>
                </a:solidFill>
                <a:latin typeface="Roboto Medium"/>
                <a:ea typeface="Roboto Medium"/>
                <a:cs typeface="Roboto Medium"/>
                <a:sym typeface="Roboto Medium"/>
              </a:endParaRPr>
            </a:p>
          </p:txBody>
        </p:sp>
        <p:sp>
          <p:nvSpPr>
            <p:cNvPr id="22" name="Google Shape;458;p41">
              <a:extLst>
                <a:ext uri="{FF2B5EF4-FFF2-40B4-BE49-F238E27FC236}">
                  <a16:creationId xmlns:a16="http://schemas.microsoft.com/office/drawing/2014/main" id="{39A81E78-D7FE-2DE8-C9D7-B2BF0AED47EF}"/>
                </a:ext>
              </a:extLst>
            </p:cNvPr>
            <p:cNvSpPr/>
            <p:nvPr/>
          </p:nvSpPr>
          <p:spPr>
            <a:xfrm>
              <a:off x="9317101" y="3914799"/>
              <a:ext cx="438794" cy="420465"/>
            </a:xfrm>
            <a:prstGeom prst="ellipse">
              <a:avLst/>
            </a:prstGeom>
            <a:solidFill>
              <a:schemeClr val="bg2">
                <a:lumMod val="60000"/>
                <a:lumOff val="4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1" i="0" u="none" strike="noStrike" cap="none">
                <a:solidFill>
                  <a:srgbClr val="FFFFFF"/>
                </a:solidFill>
                <a:latin typeface="Roboto Medium"/>
                <a:ea typeface="Roboto Medium"/>
                <a:cs typeface="Roboto Medium"/>
                <a:sym typeface="Roboto Medium"/>
              </a:endParaRPr>
            </a:p>
          </p:txBody>
        </p:sp>
        <p:sp>
          <p:nvSpPr>
            <p:cNvPr id="23" name="Google Shape;459;p41">
              <a:extLst>
                <a:ext uri="{FF2B5EF4-FFF2-40B4-BE49-F238E27FC236}">
                  <a16:creationId xmlns:a16="http://schemas.microsoft.com/office/drawing/2014/main" id="{518C8D85-3B8D-E7A8-7821-5A7D6C255D4E}"/>
                </a:ext>
              </a:extLst>
            </p:cNvPr>
            <p:cNvSpPr/>
            <p:nvPr/>
          </p:nvSpPr>
          <p:spPr>
            <a:xfrm>
              <a:off x="6951003" y="4622159"/>
              <a:ext cx="438794" cy="420465"/>
            </a:xfrm>
            <a:prstGeom prst="ellipse">
              <a:avLst/>
            </a:prstGeom>
            <a:solidFill>
              <a:schemeClr val="bg2">
                <a:lumMod val="40000"/>
                <a:lumOff val="6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1" i="0" u="none" strike="noStrike" cap="none">
                <a:solidFill>
                  <a:srgbClr val="FFFFFF"/>
                </a:solidFill>
                <a:latin typeface="Roboto Medium"/>
                <a:ea typeface="Roboto Medium"/>
                <a:cs typeface="Roboto Medium"/>
                <a:sym typeface="Roboto Medium"/>
              </a:endParaRPr>
            </a:p>
          </p:txBody>
        </p:sp>
        <p:sp>
          <p:nvSpPr>
            <p:cNvPr id="24" name="Google Shape;462;p41">
              <a:extLst>
                <a:ext uri="{FF2B5EF4-FFF2-40B4-BE49-F238E27FC236}">
                  <a16:creationId xmlns:a16="http://schemas.microsoft.com/office/drawing/2014/main" id="{5D962F55-CB34-9F51-329B-1BFE41236AE7}"/>
                </a:ext>
              </a:extLst>
            </p:cNvPr>
            <p:cNvSpPr/>
            <p:nvPr/>
          </p:nvSpPr>
          <p:spPr>
            <a:xfrm>
              <a:off x="7791600" y="3264616"/>
              <a:ext cx="2845281" cy="309935"/>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fr-FR" sz="1100" i="0" u="none" strike="noStrike" cap="none">
                  <a:solidFill>
                    <a:schemeClr val="bg2"/>
                  </a:solidFill>
                  <a:latin typeface="+mj-lt"/>
                  <a:ea typeface="Montserrat"/>
                  <a:cs typeface="Montserrat"/>
                  <a:sym typeface="Montserrat"/>
                </a:rPr>
                <a:t>Nous vous proposons de réaliser la mission sur </a:t>
              </a:r>
              <a:r>
                <a:rPr lang="fr-FR" sz="1100" b="1" i="0" u="none" strike="noStrike" cap="none">
                  <a:solidFill>
                    <a:schemeClr val="bg2"/>
                  </a:solidFill>
                  <a:latin typeface="+mj-lt"/>
                  <a:ea typeface="Montserrat"/>
                  <a:cs typeface="Montserrat"/>
                  <a:sym typeface="Montserrat"/>
                </a:rPr>
                <a:t>8 semaines</a:t>
              </a:r>
            </a:p>
          </p:txBody>
        </p:sp>
      </p:grpSp>
      <p:sp>
        <p:nvSpPr>
          <p:cNvPr id="28" name="Rectangle : coins arrondis 27">
            <a:extLst>
              <a:ext uri="{FF2B5EF4-FFF2-40B4-BE49-F238E27FC236}">
                <a16:creationId xmlns:a16="http://schemas.microsoft.com/office/drawing/2014/main" id="{B8318679-2477-662B-2055-9540C845E3BB}"/>
              </a:ext>
            </a:extLst>
          </p:cNvPr>
          <p:cNvSpPr/>
          <p:nvPr/>
        </p:nvSpPr>
        <p:spPr>
          <a:xfrm>
            <a:off x="1163466" y="2633022"/>
            <a:ext cx="3569967" cy="544273"/>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nchorCtr="0"/>
          <a:lstStyle/>
          <a:p>
            <a:pPr algn="ctr"/>
            <a:r>
              <a:rPr lang="fr-FR" sz="1050">
                <a:solidFill>
                  <a:schemeClr val="bg2"/>
                </a:solidFill>
                <a:latin typeface="+mj-lt"/>
              </a:rPr>
              <a:t>Donner à cette mission un </a:t>
            </a:r>
            <a:r>
              <a:rPr lang="fr-FR" sz="1050" b="1">
                <a:solidFill>
                  <a:schemeClr val="bg2"/>
                </a:solidFill>
                <a:latin typeface="+mj-lt"/>
              </a:rPr>
              <a:t>très fort niveau de priorité </a:t>
            </a:r>
            <a:r>
              <a:rPr lang="fr-FR" sz="1050">
                <a:solidFill>
                  <a:schemeClr val="bg2"/>
                </a:solidFill>
                <a:latin typeface="+mj-lt"/>
              </a:rPr>
              <a:t>(engagement de la Direction Générale sur la disponibilité des ressources)</a:t>
            </a:r>
          </a:p>
        </p:txBody>
      </p:sp>
      <p:sp>
        <p:nvSpPr>
          <p:cNvPr id="29" name="Rectangle : coins arrondis 28">
            <a:extLst>
              <a:ext uri="{FF2B5EF4-FFF2-40B4-BE49-F238E27FC236}">
                <a16:creationId xmlns:a16="http://schemas.microsoft.com/office/drawing/2014/main" id="{D665831F-8946-0839-6638-8AEED4A71689}"/>
              </a:ext>
            </a:extLst>
          </p:cNvPr>
          <p:cNvSpPr/>
          <p:nvPr/>
        </p:nvSpPr>
        <p:spPr>
          <a:xfrm>
            <a:off x="1134058" y="3334295"/>
            <a:ext cx="3599375" cy="1043589"/>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nchorCtr="0"/>
          <a:lstStyle/>
          <a:p>
            <a:pPr algn="ctr"/>
            <a:r>
              <a:rPr lang="fr-FR" sz="1050" b="1">
                <a:solidFill>
                  <a:schemeClr val="bg2"/>
                </a:solidFill>
                <a:latin typeface="+mj-lt"/>
              </a:rPr>
              <a:t>Paralléliser les travaux réalisés </a:t>
            </a:r>
            <a:r>
              <a:rPr lang="fr-FR" sz="1050">
                <a:solidFill>
                  <a:schemeClr val="bg2"/>
                </a:solidFill>
                <a:latin typeface="+mj-lt"/>
              </a:rPr>
              <a:t>en France et en Espagne/Italie en mettant à disposition 2 équipes qui interviendront simultanément : ~40 entretiens individuels avec les managers, ~20 immersions auprès de collaborateurs, ~40 ateliers avec les équipes </a:t>
            </a:r>
            <a:br>
              <a:rPr lang="fr-FR" sz="1050">
                <a:solidFill>
                  <a:schemeClr val="bg2"/>
                </a:solidFill>
                <a:latin typeface="+mj-lt"/>
              </a:rPr>
            </a:br>
            <a:r>
              <a:rPr lang="fr-FR" sz="1050">
                <a:solidFill>
                  <a:schemeClr val="bg2"/>
                </a:solidFill>
                <a:latin typeface="+mj-lt"/>
              </a:rPr>
              <a:t>(à confirmer lors du cadrage)</a:t>
            </a:r>
          </a:p>
        </p:txBody>
      </p:sp>
      <p:sp>
        <p:nvSpPr>
          <p:cNvPr id="30" name="Rectangle : coins arrondis 29">
            <a:extLst>
              <a:ext uri="{FF2B5EF4-FFF2-40B4-BE49-F238E27FC236}">
                <a16:creationId xmlns:a16="http://schemas.microsoft.com/office/drawing/2014/main" id="{BCCB4956-3174-B1B6-BFF7-F63E44703DF7}"/>
              </a:ext>
            </a:extLst>
          </p:cNvPr>
          <p:cNvSpPr/>
          <p:nvPr/>
        </p:nvSpPr>
        <p:spPr>
          <a:xfrm>
            <a:off x="1137286" y="4534884"/>
            <a:ext cx="3569967" cy="544273"/>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nchorCtr="0"/>
          <a:lstStyle/>
          <a:p>
            <a:pPr algn="ctr"/>
            <a:r>
              <a:rPr lang="fr-FR" sz="1050">
                <a:solidFill>
                  <a:schemeClr val="bg2"/>
                </a:solidFill>
                <a:latin typeface="+mj-lt"/>
              </a:rPr>
              <a:t>Coconstruire avec vos équipes pour favoriser </a:t>
            </a:r>
            <a:r>
              <a:rPr lang="fr-FR" sz="1050" b="1">
                <a:solidFill>
                  <a:schemeClr val="bg2"/>
                </a:solidFill>
                <a:latin typeface="+mj-lt"/>
              </a:rPr>
              <a:t>l’adhésion et la pérennité </a:t>
            </a:r>
            <a:r>
              <a:rPr lang="fr-FR" sz="1050">
                <a:solidFill>
                  <a:schemeClr val="bg2"/>
                </a:solidFill>
                <a:latin typeface="+mj-lt"/>
              </a:rPr>
              <a:t>du dispositif</a:t>
            </a:r>
          </a:p>
        </p:txBody>
      </p:sp>
      <p:sp>
        <p:nvSpPr>
          <p:cNvPr id="31" name="Rectangle : coins arrondis 30">
            <a:extLst>
              <a:ext uri="{FF2B5EF4-FFF2-40B4-BE49-F238E27FC236}">
                <a16:creationId xmlns:a16="http://schemas.microsoft.com/office/drawing/2014/main" id="{880B1606-8270-F5BF-E2AC-9F1350C320B2}"/>
              </a:ext>
            </a:extLst>
          </p:cNvPr>
          <p:cNvSpPr/>
          <p:nvPr/>
        </p:nvSpPr>
        <p:spPr>
          <a:xfrm>
            <a:off x="1163466" y="5236158"/>
            <a:ext cx="3569967" cy="544273"/>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nchorCtr="0"/>
          <a:lstStyle/>
          <a:p>
            <a:pPr algn="ctr"/>
            <a:r>
              <a:rPr lang="fr-FR" sz="1050">
                <a:solidFill>
                  <a:schemeClr val="bg2"/>
                </a:solidFill>
                <a:latin typeface="+mj-lt"/>
              </a:rPr>
              <a:t>Engager une approche pragmatique pour proposer une </a:t>
            </a:r>
            <a:r>
              <a:rPr lang="fr-FR" sz="1050" b="1">
                <a:solidFill>
                  <a:schemeClr val="bg2"/>
                </a:solidFill>
                <a:latin typeface="+mj-lt"/>
              </a:rPr>
              <a:t>feuille de route réaliste et actionnable</a:t>
            </a:r>
          </a:p>
        </p:txBody>
      </p:sp>
      <p:sp>
        <p:nvSpPr>
          <p:cNvPr id="12" name="Espace réservé du contenu 4">
            <a:extLst>
              <a:ext uri="{FF2B5EF4-FFF2-40B4-BE49-F238E27FC236}">
                <a16:creationId xmlns:a16="http://schemas.microsoft.com/office/drawing/2014/main" id="{BFAC6964-C783-8E7E-F855-18DB6563CA27}"/>
              </a:ext>
            </a:extLst>
          </p:cNvPr>
          <p:cNvSpPr txBox="1">
            <a:spLocks/>
          </p:cNvSpPr>
          <p:nvPr/>
        </p:nvSpPr>
        <p:spPr>
          <a:xfrm>
            <a:off x="855301" y="1039168"/>
            <a:ext cx="10219587" cy="63152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RPr lang="fr-FR"/>
            </a:defPPr>
            <a:lvl1pPr marR="0" lvl="0">
              <a:lnSpc>
                <a:spcPct val="100000"/>
              </a:lnSpc>
              <a:spcBef>
                <a:spcPts val="0"/>
              </a:spcBef>
              <a:spcAft>
                <a:spcPts val="0"/>
              </a:spcAft>
              <a:buClr>
                <a:srgbClr val="2570A2"/>
              </a:buClr>
              <a:buSzPts val="1800"/>
              <a:buFont typeface="Arial"/>
              <a:buNone/>
              <a:defRPr sz="1600" b="1" i="0" u="none" strike="noStrike" cap="none">
                <a:solidFill>
                  <a:schemeClr val="bg2"/>
                </a:solidFill>
                <a:latin typeface="+mj-lt"/>
                <a:ea typeface="Arial Black" panose="020B0604020202020204" pitchFamily="34" charset="0"/>
                <a:cs typeface="Arial Black" panose="020B0604020202020204" pitchFamily="34" charset="0"/>
              </a:defRPr>
            </a:lvl1pPr>
            <a:lvl2pPr marR="0" lvl="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2pPr>
            <a:lvl3pPr marR="0" lvl="2">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3pPr>
            <a:lvl4pPr marR="0" lvl="3">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4pPr>
            <a:lvl5pPr marR="0" lvl="4">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5pPr>
            <a:lvl6pPr marR="0" lvl="5">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6pPr>
            <a:lvl7pPr marR="0" lvl="6">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7pPr>
            <a:lvl8pPr marR="0" lvl="7">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8pPr>
            <a:lvl9pPr marR="0" lvl="8">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9pPr>
          </a:lstStyle>
          <a:p>
            <a:r>
              <a:rPr lang="fr-FR" sz="1600"/>
              <a:t>Une logique design-to-time sur une durée de 8 semaines </a:t>
            </a:r>
            <a:endParaRPr lang="fr-FR" sz="1600">
              <a:latin typeface="+mj-lt"/>
            </a:endParaRPr>
          </a:p>
        </p:txBody>
      </p:sp>
      <p:pic>
        <p:nvPicPr>
          <p:cNvPr id="4" name="Image 3">
            <a:extLst>
              <a:ext uri="{FF2B5EF4-FFF2-40B4-BE49-F238E27FC236}">
                <a16:creationId xmlns:a16="http://schemas.microsoft.com/office/drawing/2014/main" id="{E1C5C347-50EE-01A5-8606-258A0340C5A2}"/>
              </a:ext>
            </a:extLst>
          </p:cNvPr>
          <p:cNvPicPr>
            <a:picLocks noChangeAspect="1"/>
          </p:cNvPicPr>
          <p:nvPr/>
        </p:nvPicPr>
        <p:blipFill>
          <a:blip r:embed="rId2"/>
          <a:stretch>
            <a:fillRect/>
          </a:stretch>
        </p:blipFill>
        <p:spPr>
          <a:xfrm>
            <a:off x="5510568" y="4884473"/>
            <a:ext cx="6201025" cy="1468054"/>
          </a:xfrm>
          <a:prstGeom prst="rect">
            <a:avLst/>
          </a:prstGeom>
        </p:spPr>
      </p:pic>
    </p:spTree>
    <p:extLst>
      <p:ext uri="{BB962C8B-B14F-4D97-AF65-F5344CB8AC3E}">
        <p14:creationId xmlns:p14="http://schemas.microsoft.com/office/powerpoint/2010/main" val="3722675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1E838-DC15-1E74-DBE6-7A0B3E06B5D1}"/>
            </a:ext>
          </a:extLst>
        </p:cNvPr>
        <p:cNvGrpSpPr/>
        <p:nvPr/>
      </p:nvGrpSpPr>
      <p:grpSpPr>
        <a:xfrm>
          <a:off x="0" y="0"/>
          <a:ext cx="0" cy="0"/>
          <a:chOff x="0" y="0"/>
          <a:chExt cx="0" cy="0"/>
        </a:xfrm>
      </p:grpSpPr>
      <p:sp>
        <p:nvSpPr>
          <p:cNvPr id="44" name="ZoneTexte 43">
            <a:extLst>
              <a:ext uri="{FF2B5EF4-FFF2-40B4-BE49-F238E27FC236}">
                <a16:creationId xmlns:a16="http://schemas.microsoft.com/office/drawing/2014/main" id="{23C643BE-B132-C34A-64B9-D222C47888DE}"/>
              </a:ext>
            </a:extLst>
          </p:cNvPr>
          <p:cNvSpPr txBox="1"/>
          <p:nvPr/>
        </p:nvSpPr>
        <p:spPr>
          <a:xfrm>
            <a:off x="968400" y="1538252"/>
            <a:ext cx="421304" cy="707886"/>
          </a:xfrm>
          <a:prstGeom prst="rect">
            <a:avLst/>
          </a:prstGeom>
          <a:noFill/>
          <a:ln>
            <a:noFill/>
          </a:ln>
        </p:spPr>
        <p:txBody>
          <a:bodyPr wrap="square" rtlCol="0">
            <a:spAutoFit/>
          </a:bodyPr>
          <a:lstStyle/>
          <a:p>
            <a:pPr algn="just"/>
            <a:r>
              <a:rPr lang="fr-FR" sz="4000" b="1">
                <a:solidFill>
                  <a:schemeClr val="bg2"/>
                </a:solidFill>
                <a:latin typeface="Monteserrat"/>
              </a:rPr>
              <a:t>3</a:t>
            </a:r>
          </a:p>
        </p:txBody>
      </p:sp>
      <p:sp>
        <p:nvSpPr>
          <p:cNvPr id="45" name="Rectangle : coins arrondis 44">
            <a:extLst>
              <a:ext uri="{FF2B5EF4-FFF2-40B4-BE49-F238E27FC236}">
                <a16:creationId xmlns:a16="http://schemas.microsoft.com/office/drawing/2014/main" id="{98468AA6-AA08-E330-8A12-C2DB7ACFD774}"/>
              </a:ext>
            </a:extLst>
          </p:cNvPr>
          <p:cNvSpPr/>
          <p:nvPr/>
        </p:nvSpPr>
        <p:spPr>
          <a:xfrm>
            <a:off x="1385765" y="1748195"/>
            <a:ext cx="3630868" cy="288000"/>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rgbClr val="45398B"/>
                </a:solidFill>
                <a:latin typeface="Arial Black" panose="020B0A04020102020204" pitchFamily="34" charset="0"/>
              </a:rPr>
              <a:t>UN DISPOSITIF SUR MESURE</a:t>
            </a:r>
          </a:p>
        </p:txBody>
      </p:sp>
      <p:sp>
        <p:nvSpPr>
          <p:cNvPr id="212" name="Espace réservé du contenu 4">
            <a:extLst>
              <a:ext uri="{FF2B5EF4-FFF2-40B4-BE49-F238E27FC236}">
                <a16:creationId xmlns:a16="http://schemas.microsoft.com/office/drawing/2014/main" id="{DF955088-4304-D23D-56F0-1DB222F32CCE}"/>
              </a:ext>
            </a:extLst>
          </p:cNvPr>
          <p:cNvSpPr txBox="1">
            <a:spLocks/>
          </p:cNvSpPr>
          <p:nvPr/>
        </p:nvSpPr>
        <p:spPr>
          <a:xfrm>
            <a:off x="855301" y="853605"/>
            <a:ext cx="10219587" cy="63152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RPr lang="fr-FR"/>
            </a:defPPr>
            <a:lvl1pPr marR="0" lvl="0">
              <a:lnSpc>
                <a:spcPct val="100000"/>
              </a:lnSpc>
              <a:spcBef>
                <a:spcPts val="0"/>
              </a:spcBef>
              <a:spcAft>
                <a:spcPts val="0"/>
              </a:spcAft>
              <a:buClr>
                <a:srgbClr val="2570A2"/>
              </a:buClr>
              <a:buSzPts val="1800"/>
              <a:buFont typeface="Arial"/>
              <a:buNone/>
              <a:defRPr sz="1600" b="1" i="0" u="none" strike="noStrike" cap="none">
                <a:solidFill>
                  <a:schemeClr val="bg2"/>
                </a:solidFill>
                <a:latin typeface="+mj-lt"/>
                <a:ea typeface="Arial Black" panose="020B0604020202020204" pitchFamily="34" charset="0"/>
                <a:cs typeface="Arial Black" panose="020B0604020202020204" pitchFamily="34" charset="0"/>
              </a:defRPr>
            </a:lvl1pPr>
            <a:lvl2pPr marR="0" lvl="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2pPr>
            <a:lvl3pPr marR="0" lvl="2">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3pPr>
            <a:lvl4pPr marR="0" lvl="3">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4pPr>
            <a:lvl5pPr marR="0" lvl="4">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5pPr>
            <a:lvl6pPr marR="0" lvl="5">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6pPr>
            <a:lvl7pPr marR="0" lvl="6">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7pPr>
            <a:lvl8pPr marR="0" lvl="7">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8pPr>
            <a:lvl9pPr marR="0" lvl="8">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defRPr>
            </a:lvl9pPr>
          </a:lstStyle>
          <a:p>
            <a:r>
              <a:rPr lang="fr-FR">
                <a:sym typeface="Arial"/>
              </a:rPr>
              <a:t>Sous la houlette des deux directeurs de mission, nous vous proposons l'intervention parallélisée </a:t>
            </a:r>
            <a:br>
              <a:rPr lang="fr-FR">
                <a:sym typeface="Arial"/>
              </a:rPr>
            </a:br>
            <a:r>
              <a:rPr lang="fr-FR">
                <a:sym typeface="Arial"/>
              </a:rPr>
              <a:t>de 2 équipes </a:t>
            </a:r>
            <a:r>
              <a:rPr lang="fr-FR"/>
              <a:t>particulièrement expérimentées pour une charge totale estimée à </a:t>
            </a:r>
            <a:r>
              <a:rPr lang="fr-FR" u="sng"/>
              <a:t>292 JH</a:t>
            </a:r>
            <a:endParaRPr lang="fr-FR" u="sng">
              <a:sym typeface="Arial"/>
            </a:endParaRPr>
          </a:p>
        </p:txBody>
      </p:sp>
      <p:sp>
        <p:nvSpPr>
          <p:cNvPr id="210" name="ZoneTexte 209">
            <a:extLst>
              <a:ext uri="{FF2B5EF4-FFF2-40B4-BE49-F238E27FC236}">
                <a16:creationId xmlns:a16="http://schemas.microsoft.com/office/drawing/2014/main" id="{DC076779-930A-9A24-B296-C3B84CC876B6}"/>
              </a:ext>
            </a:extLst>
          </p:cNvPr>
          <p:cNvSpPr txBox="1"/>
          <p:nvPr/>
        </p:nvSpPr>
        <p:spPr>
          <a:xfrm>
            <a:off x="6722480" y="1538252"/>
            <a:ext cx="421304" cy="707886"/>
          </a:xfrm>
          <a:prstGeom prst="rect">
            <a:avLst/>
          </a:prstGeom>
          <a:noFill/>
          <a:ln>
            <a:noFill/>
          </a:ln>
        </p:spPr>
        <p:txBody>
          <a:bodyPr wrap="square" rtlCol="0">
            <a:spAutoFit/>
          </a:bodyPr>
          <a:lstStyle/>
          <a:p>
            <a:pPr algn="just"/>
            <a:r>
              <a:rPr lang="fr-FR" sz="4000" b="1">
                <a:solidFill>
                  <a:schemeClr val="bg2"/>
                </a:solidFill>
                <a:latin typeface="Monteserrat"/>
              </a:rPr>
              <a:t>4</a:t>
            </a:r>
          </a:p>
        </p:txBody>
      </p:sp>
      <p:sp>
        <p:nvSpPr>
          <p:cNvPr id="211" name="Rectangle : coins arrondis 210">
            <a:extLst>
              <a:ext uri="{FF2B5EF4-FFF2-40B4-BE49-F238E27FC236}">
                <a16:creationId xmlns:a16="http://schemas.microsoft.com/office/drawing/2014/main" id="{F61F26FB-F00A-DAF5-B662-6ED8F5F8D49E}"/>
              </a:ext>
            </a:extLst>
          </p:cNvPr>
          <p:cNvSpPr/>
          <p:nvPr/>
        </p:nvSpPr>
        <p:spPr>
          <a:xfrm>
            <a:off x="7143784" y="1748195"/>
            <a:ext cx="3630868" cy="288000"/>
          </a:xfrm>
          <a:prstGeom prst="roundRect">
            <a:avLst/>
          </a:prstGeom>
          <a:no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rgbClr val="45398B"/>
                </a:solidFill>
                <a:latin typeface="Arial Black" panose="020B0A04020102020204" pitchFamily="34" charset="0"/>
              </a:rPr>
              <a:t>UN ENGAGEMENT FORFAITAIRE</a:t>
            </a:r>
          </a:p>
        </p:txBody>
      </p:sp>
      <p:grpSp>
        <p:nvGrpSpPr>
          <p:cNvPr id="220" name="Groupe 219">
            <a:extLst>
              <a:ext uri="{FF2B5EF4-FFF2-40B4-BE49-F238E27FC236}">
                <a16:creationId xmlns:a16="http://schemas.microsoft.com/office/drawing/2014/main" id="{D255B99D-377E-DB42-2543-73A363EF66D3}"/>
              </a:ext>
            </a:extLst>
          </p:cNvPr>
          <p:cNvGrpSpPr/>
          <p:nvPr/>
        </p:nvGrpSpPr>
        <p:grpSpPr>
          <a:xfrm>
            <a:off x="6933132" y="2437012"/>
            <a:ext cx="4623867" cy="3909916"/>
            <a:chOff x="7369758" y="2952006"/>
            <a:chExt cx="4217694" cy="2965429"/>
          </a:xfrm>
        </p:grpSpPr>
        <p:sp>
          <p:nvSpPr>
            <p:cNvPr id="213" name="Rectangle : coins arrondis 212">
              <a:extLst>
                <a:ext uri="{FF2B5EF4-FFF2-40B4-BE49-F238E27FC236}">
                  <a16:creationId xmlns:a16="http://schemas.microsoft.com/office/drawing/2014/main" id="{5328E07C-6E10-144D-794E-6082113538C5}"/>
                </a:ext>
              </a:extLst>
            </p:cNvPr>
            <p:cNvSpPr/>
            <p:nvPr/>
          </p:nvSpPr>
          <p:spPr>
            <a:xfrm>
              <a:off x="7399166" y="2952006"/>
              <a:ext cx="4183234" cy="1718848"/>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nchorCtr="0"/>
            <a:lstStyle/>
            <a:p>
              <a:pPr defTabSz="1219080" fontAlgn="base">
                <a:lnSpc>
                  <a:spcPct val="90000"/>
                </a:lnSpc>
                <a:spcBef>
                  <a:spcPts val="1333"/>
                </a:spcBef>
                <a:buClr>
                  <a:srgbClr val="0029CC"/>
                </a:buClr>
                <a:defRPr/>
              </a:pPr>
              <a:r>
                <a:rPr lang="fr-FR" sz="1400" kern="1200">
                  <a:solidFill>
                    <a:schemeClr val="bg2"/>
                  </a:solidFill>
                  <a:latin typeface="+mj-lt"/>
                  <a:cs typeface="Calibri" panose="020F0502020204030204" pitchFamily="34" charset="0"/>
                </a:rPr>
                <a:t>Cette intervention se traduit, dans le cadre d’un dispositif au forfait </a:t>
              </a:r>
              <a:r>
                <a:rPr lang="fr-FR" sz="1400" kern="1200">
                  <a:solidFill>
                    <a:schemeClr val="bg2"/>
                  </a:solidFill>
                  <a:latin typeface="+mj-lt"/>
                  <a:ea typeface="ＭＳ Ｐゴシック"/>
                  <a:cs typeface="Calibri" panose="020F0502020204030204" pitchFamily="34" charset="0"/>
                </a:rPr>
                <a:t>sur la période du 19/02/2024 au </a:t>
              </a:r>
              <a:r>
                <a:rPr lang="fr-FR" sz="1400">
                  <a:solidFill>
                    <a:schemeClr val="bg2"/>
                  </a:solidFill>
                  <a:latin typeface="+mj-lt"/>
                  <a:ea typeface="ＭＳ Ｐゴシック"/>
                  <a:cs typeface="Calibri" panose="020F0502020204030204" pitchFamily="34" charset="0"/>
                </a:rPr>
                <a:t>12</a:t>
              </a:r>
              <a:r>
                <a:rPr lang="fr-FR" sz="1400" kern="1200">
                  <a:solidFill>
                    <a:schemeClr val="bg2"/>
                  </a:solidFill>
                  <a:latin typeface="+mj-lt"/>
                  <a:ea typeface="ＭＳ Ｐゴシック"/>
                  <a:cs typeface="Calibri" panose="020F0502020204030204" pitchFamily="34" charset="0"/>
                </a:rPr>
                <a:t>/04/2024</a:t>
              </a:r>
              <a:r>
                <a:rPr lang="fr-FR" sz="1400" kern="1200">
                  <a:solidFill>
                    <a:schemeClr val="bg2"/>
                  </a:solidFill>
                  <a:latin typeface="+mj-lt"/>
                  <a:cs typeface="Calibri" panose="020F0502020204030204" pitchFamily="34" charset="0"/>
                </a:rPr>
                <a:t>, par un budget global et équilibré </a:t>
              </a:r>
              <a:br>
                <a:rPr lang="fr-FR" sz="1400" kern="1200">
                  <a:solidFill>
                    <a:schemeClr val="bg2"/>
                  </a:solidFill>
                  <a:latin typeface="+mj-lt"/>
                  <a:cs typeface="Calibri" panose="020F0502020204030204" pitchFamily="34" charset="0"/>
                </a:rPr>
              </a:br>
              <a:r>
                <a:rPr lang="fr-FR" sz="1400" kern="1200">
                  <a:solidFill>
                    <a:schemeClr val="bg2"/>
                  </a:solidFill>
                  <a:latin typeface="+mj-lt"/>
                  <a:cs typeface="Calibri" panose="020F0502020204030204" pitchFamily="34" charset="0"/>
                </a:rPr>
                <a:t>de </a:t>
              </a:r>
              <a:r>
                <a:rPr lang="fr-FR" sz="1400" b="1">
                  <a:solidFill>
                    <a:schemeClr val="bg2"/>
                  </a:solidFill>
                  <a:latin typeface="+mj-lt"/>
                  <a:cs typeface="Calibri" panose="020F0502020204030204" pitchFamily="34" charset="0"/>
                  <a:sym typeface="Arial"/>
                </a:rPr>
                <a:t>340 000 € HT </a:t>
              </a:r>
              <a:r>
                <a:rPr lang="fr-FR" sz="1400">
                  <a:solidFill>
                    <a:schemeClr val="bg2"/>
                  </a:solidFill>
                  <a:latin typeface="+mj-lt"/>
                  <a:cs typeface="Calibri" panose="020F0502020204030204" pitchFamily="34" charset="0"/>
                  <a:sym typeface="Arial"/>
                </a:rPr>
                <a:t>(408 000 € TTC) q</a:t>
              </a:r>
              <a:r>
                <a:rPr lang="fr-FR" sz="1400" b="0">
                  <a:solidFill>
                    <a:schemeClr val="bg2"/>
                  </a:solidFill>
                  <a:latin typeface="+mj-lt"/>
                  <a:cs typeface="Calibri" panose="020F0502020204030204" pitchFamily="34" charset="0"/>
                  <a:sym typeface="Arial"/>
                </a:rPr>
                <a:t>ui s’articule comme suit : </a:t>
              </a:r>
            </a:p>
            <a:p>
              <a:pPr marL="266700" lvl="1" defTabSz="1219080" fontAlgn="base">
                <a:lnSpc>
                  <a:spcPct val="90000"/>
                </a:lnSpc>
                <a:spcBef>
                  <a:spcPts val="1333"/>
                </a:spcBef>
                <a:buClr>
                  <a:srgbClr val="0029CC"/>
                </a:buClr>
                <a:defRPr/>
              </a:pPr>
              <a:r>
                <a:rPr lang="fr-FR" sz="1400" kern="1200">
                  <a:solidFill>
                    <a:schemeClr val="bg2"/>
                  </a:solidFill>
                  <a:latin typeface="+mj-lt"/>
                  <a:ea typeface="ＭＳ Ｐゴシック"/>
                  <a:cs typeface="Calibri" panose="020F0502020204030204" pitchFamily="34" charset="0"/>
                </a:rPr>
                <a:t>France</a:t>
              </a:r>
              <a:r>
                <a:rPr lang="fr-FR" sz="1400" b="1" kern="1200">
                  <a:solidFill>
                    <a:schemeClr val="bg2"/>
                  </a:solidFill>
                  <a:latin typeface="+mj-lt"/>
                  <a:ea typeface="ＭＳ Ｐゴシック"/>
                  <a:cs typeface="Calibri" panose="020F0502020204030204" pitchFamily="34" charset="0"/>
                </a:rPr>
                <a:t> : </a:t>
              </a:r>
              <a:r>
                <a:rPr lang="fr-FR" sz="1400" b="1">
                  <a:solidFill>
                    <a:schemeClr val="bg2"/>
                  </a:solidFill>
                  <a:latin typeface="+mj-lt"/>
                  <a:cs typeface="Calibri" panose="020F0502020204030204" pitchFamily="34" charset="0"/>
                  <a:sym typeface="Arial"/>
                </a:rPr>
                <a:t>160 000 € HT </a:t>
              </a:r>
              <a:r>
                <a:rPr lang="fr-FR" sz="1400" b="0">
                  <a:solidFill>
                    <a:schemeClr val="bg2"/>
                  </a:solidFill>
                  <a:latin typeface="+mj-lt"/>
                  <a:cs typeface="Calibri" panose="020F0502020204030204" pitchFamily="34" charset="0"/>
                  <a:sym typeface="Arial"/>
                </a:rPr>
                <a:t>(192 </a:t>
              </a:r>
              <a:r>
                <a:rPr lang="fr-FR" sz="1400">
                  <a:solidFill>
                    <a:schemeClr val="bg2"/>
                  </a:solidFill>
                  <a:latin typeface="+mj-lt"/>
                  <a:cs typeface="Calibri" panose="020F0502020204030204" pitchFamily="34" charset="0"/>
                  <a:sym typeface="Arial"/>
                </a:rPr>
                <a:t>0</a:t>
              </a:r>
              <a:r>
                <a:rPr lang="fr-FR" sz="1400" b="0">
                  <a:solidFill>
                    <a:schemeClr val="bg2"/>
                  </a:solidFill>
                  <a:latin typeface="+mj-lt"/>
                  <a:cs typeface="Calibri" panose="020F0502020204030204" pitchFamily="34" charset="0"/>
                  <a:sym typeface="Arial"/>
                </a:rPr>
                <a:t>00 € TTC)</a:t>
              </a:r>
            </a:p>
            <a:p>
              <a:pPr marL="266700" lvl="1" defTabSz="1219080" fontAlgn="base">
                <a:lnSpc>
                  <a:spcPct val="90000"/>
                </a:lnSpc>
                <a:spcBef>
                  <a:spcPts val="1333"/>
                </a:spcBef>
                <a:buClr>
                  <a:srgbClr val="0029CC"/>
                </a:buClr>
                <a:defRPr/>
              </a:pPr>
              <a:r>
                <a:rPr lang="fr-FR" sz="1400" kern="1200">
                  <a:solidFill>
                    <a:schemeClr val="bg2"/>
                  </a:solidFill>
                  <a:latin typeface="+mj-lt"/>
                  <a:ea typeface="ＭＳ Ｐゴシック"/>
                  <a:cs typeface="Calibri" panose="020F0502020204030204" pitchFamily="34" charset="0"/>
                  <a:sym typeface="Arial"/>
                </a:rPr>
                <a:t>Espagne et Italie : </a:t>
              </a:r>
              <a:r>
                <a:rPr lang="fr-FR" sz="1400" b="1">
                  <a:solidFill>
                    <a:schemeClr val="bg2"/>
                  </a:solidFill>
                  <a:latin typeface="+mj-lt"/>
                  <a:cs typeface="Calibri" panose="020F0502020204030204" pitchFamily="34" charset="0"/>
                  <a:sym typeface="Arial"/>
                </a:rPr>
                <a:t>180 000 € HT </a:t>
              </a:r>
              <a:r>
                <a:rPr lang="fr-FR" sz="1400" b="0">
                  <a:solidFill>
                    <a:schemeClr val="bg2"/>
                  </a:solidFill>
                  <a:latin typeface="+mj-lt"/>
                  <a:cs typeface="Calibri" panose="020F0502020204030204" pitchFamily="34" charset="0"/>
                  <a:sym typeface="Arial"/>
                </a:rPr>
                <a:t>(216 000 € TTC) </a:t>
              </a:r>
              <a:endParaRPr lang="fr-FR" sz="1400" b="1" kern="1200">
                <a:solidFill>
                  <a:schemeClr val="bg2"/>
                </a:solidFill>
                <a:highlight>
                  <a:srgbClr val="FFFF00"/>
                </a:highlight>
                <a:latin typeface="+mj-lt"/>
                <a:ea typeface="ＭＳ Ｐゴシック"/>
                <a:cs typeface="Calibri" panose="020F0502020204030204" pitchFamily="34" charset="0"/>
              </a:endParaRPr>
            </a:p>
          </p:txBody>
        </p:sp>
        <p:sp>
          <p:nvSpPr>
            <p:cNvPr id="214" name="Rectangle : coins arrondis 213">
              <a:extLst>
                <a:ext uri="{FF2B5EF4-FFF2-40B4-BE49-F238E27FC236}">
                  <a16:creationId xmlns:a16="http://schemas.microsoft.com/office/drawing/2014/main" id="{E1667487-2DFE-AEA1-B697-B843AD5E8E82}"/>
                </a:ext>
              </a:extLst>
            </p:cNvPr>
            <p:cNvSpPr/>
            <p:nvPr/>
          </p:nvSpPr>
          <p:spPr>
            <a:xfrm>
              <a:off x="7369758" y="4873846"/>
              <a:ext cx="4217694" cy="1043589"/>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36000" rIns="91440" bIns="45720" rtlCol="0" anchor="ctr" anchorCtr="0"/>
            <a:lstStyle/>
            <a:p>
              <a:pPr defTabSz="1219080" fontAlgn="base">
                <a:lnSpc>
                  <a:spcPct val="90000"/>
                </a:lnSpc>
                <a:spcBef>
                  <a:spcPts val="1333"/>
                </a:spcBef>
                <a:buClr>
                  <a:srgbClr val="0029CC"/>
                </a:buClr>
                <a:defRPr/>
              </a:pPr>
              <a:r>
                <a:rPr lang="fr-FR" sz="1400" kern="1200" spc="-7">
                  <a:solidFill>
                    <a:schemeClr val="bg2"/>
                  </a:solidFill>
                  <a:latin typeface="+mj-lt"/>
                  <a:cs typeface="Arial"/>
                </a:rPr>
                <a:t>Ces montants s’entendent hors frais de déplacement </a:t>
              </a:r>
              <a:br>
                <a:rPr lang="fr-FR" sz="1400" kern="1200" spc="-7">
                  <a:solidFill>
                    <a:schemeClr val="bg2"/>
                  </a:solidFill>
                  <a:latin typeface="+mj-lt"/>
                  <a:cs typeface="Arial"/>
                </a:rPr>
              </a:br>
              <a:r>
                <a:rPr lang="fr-FR" sz="1400" kern="1200" spc="-7">
                  <a:solidFill>
                    <a:schemeClr val="bg2"/>
                  </a:solidFill>
                  <a:latin typeface="+mj-lt"/>
                  <a:cs typeface="Arial"/>
                </a:rPr>
                <a:t>et d’hébergement, </a:t>
              </a:r>
              <a:r>
                <a:rPr lang="fr-FR" altLang="fr-FR" sz="1400" kern="1200" spc="-7">
                  <a:solidFill>
                    <a:schemeClr val="bg2"/>
                  </a:solidFill>
                  <a:latin typeface="+mj-lt"/>
                </a:rPr>
                <a:t>qui seront refacturés aux frais réels sur la base de justificatifs </a:t>
              </a:r>
              <a:endParaRPr lang="fr-FR" sz="1400" b="1" kern="1200">
                <a:solidFill>
                  <a:schemeClr val="bg2"/>
                </a:solidFill>
                <a:latin typeface="+mj-lt"/>
                <a:cs typeface="Calibri" panose="020F0502020204030204" pitchFamily="34" charset="0"/>
              </a:endParaRPr>
            </a:p>
          </p:txBody>
        </p:sp>
      </p:grpSp>
      <p:sp>
        <p:nvSpPr>
          <p:cNvPr id="3" name="Titre 2">
            <a:extLst>
              <a:ext uri="{FF2B5EF4-FFF2-40B4-BE49-F238E27FC236}">
                <a16:creationId xmlns:a16="http://schemas.microsoft.com/office/drawing/2014/main" id="{F4827A16-CAB2-F1E7-8099-D3FEED113BAE}"/>
              </a:ext>
            </a:extLst>
          </p:cNvPr>
          <p:cNvSpPr txBox="1">
            <a:spLocks/>
          </p:cNvSpPr>
          <p:nvPr/>
        </p:nvSpPr>
        <p:spPr>
          <a:xfrm>
            <a:off x="396655" y="165356"/>
            <a:ext cx="9757438" cy="407795"/>
          </a:xfrm>
          <a:prstGeom prst="rect">
            <a:avLst/>
          </a:prstGeom>
          <a:solidFill>
            <a:schemeClr val="bg1"/>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800"/>
              <a:t>UNE ÉQUIPE PLURIDISCIPLINAIRE ET EXPÉRIMENTÉE, ET UN BUDGET MAÎTRISÉ</a:t>
            </a:r>
            <a:endParaRPr lang="fr-FR" sz="1800" i="1" kern="0"/>
          </a:p>
        </p:txBody>
      </p:sp>
      <p:pic>
        <p:nvPicPr>
          <p:cNvPr id="12" name="Image 11">
            <a:extLst>
              <a:ext uri="{FF2B5EF4-FFF2-40B4-BE49-F238E27FC236}">
                <a16:creationId xmlns:a16="http://schemas.microsoft.com/office/drawing/2014/main" id="{0842D75C-E96D-B0ED-8B91-511D6E22C8BC}"/>
              </a:ext>
            </a:extLst>
          </p:cNvPr>
          <p:cNvPicPr>
            <a:picLocks noChangeAspect="1"/>
          </p:cNvPicPr>
          <p:nvPr/>
        </p:nvPicPr>
        <p:blipFill>
          <a:blip r:embed="rId3"/>
          <a:stretch>
            <a:fillRect/>
          </a:stretch>
        </p:blipFill>
        <p:spPr>
          <a:xfrm>
            <a:off x="1023539" y="2067637"/>
            <a:ext cx="4779613" cy="4702699"/>
          </a:xfrm>
          <a:prstGeom prst="rect">
            <a:avLst/>
          </a:prstGeom>
        </p:spPr>
      </p:pic>
    </p:spTree>
    <p:extLst>
      <p:ext uri="{BB962C8B-B14F-4D97-AF65-F5344CB8AC3E}">
        <p14:creationId xmlns:p14="http://schemas.microsoft.com/office/powerpoint/2010/main" val="4060980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F010E3A-9898-4967-8E0E-189A53740B55}"/>
              </a:ext>
            </a:extLst>
          </p:cNvPr>
          <p:cNvSpPr>
            <a:spLocks noGrp="1"/>
          </p:cNvSpPr>
          <p:nvPr>
            <p:ph type="ftr" idx="11"/>
          </p:nvPr>
        </p:nvSpPr>
        <p:spPr/>
        <p:txBody>
          <a:bodyPr/>
          <a:lstStyle/>
          <a:p>
            <a:pPr defTabSz="1219170">
              <a:buClr>
                <a:srgbClr val="000000"/>
              </a:buClr>
            </a:pPr>
            <a:r>
              <a:rPr lang="en-US" kern="0">
                <a:solidFill>
                  <a:srgbClr val="7F7F7F"/>
                </a:solidFill>
                <a:cs typeface="Arial"/>
                <a:sym typeface="Arial"/>
              </a:rPr>
              <a:t>Pied de page | </a:t>
            </a:r>
            <a:fld id="{7E74C1EB-D0C9-4102-9435-B97D94E7CC62}" type="datetime4">
              <a:rPr lang="fr-FR" kern="0">
                <a:solidFill>
                  <a:srgbClr val="7F7F7F"/>
                </a:solidFill>
                <a:cs typeface="Arial"/>
                <a:sym typeface="Arial"/>
              </a:rPr>
              <a:pPr defTabSz="1219170">
                <a:buClr>
                  <a:srgbClr val="000000"/>
                </a:buClr>
              </a:pPr>
              <a:t>15 février 2024</a:t>
            </a:fld>
            <a:r>
              <a:rPr lang="en-US" kern="0">
                <a:solidFill>
                  <a:srgbClr val="7F7F7F"/>
                </a:solidFill>
                <a:cs typeface="Arial"/>
                <a:sym typeface="Arial"/>
              </a:rPr>
              <a:t> |</a:t>
            </a:r>
          </a:p>
        </p:txBody>
      </p:sp>
      <p:sp>
        <p:nvSpPr>
          <p:cNvPr id="2" name="Titre 1">
            <a:extLst>
              <a:ext uri="{FF2B5EF4-FFF2-40B4-BE49-F238E27FC236}">
                <a16:creationId xmlns:a16="http://schemas.microsoft.com/office/drawing/2014/main" id="{130FE673-0678-95B6-C3B9-B1E6E8BF77E1}"/>
              </a:ext>
            </a:extLst>
          </p:cNvPr>
          <p:cNvSpPr>
            <a:spLocks noGrp="1"/>
          </p:cNvSpPr>
          <p:nvPr>
            <p:ph type="title"/>
          </p:nvPr>
        </p:nvSpPr>
        <p:spPr/>
        <p:txBody>
          <a:bodyPr/>
          <a:lstStyle/>
          <a:p>
            <a:r>
              <a:rPr lang="fr-FR"/>
              <a:t>SOMMAIRE</a:t>
            </a:r>
          </a:p>
        </p:txBody>
      </p:sp>
      <p:graphicFrame>
        <p:nvGraphicFramePr>
          <p:cNvPr id="6" name="Google Shape;673;p103">
            <a:extLst>
              <a:ext uri="{FF2B5EF4-FFF2-40B4-BE49-F238E27FC236}">
                <a16:creationId xmlns:a16="http://schemas.microsoft.com/office/drawing/2014/main" id="{F49AD9D9-8EB9-40C8-817E-797AEF95B20C}"/>
              </a:ext>
            </a:extLst>
          </p:cNvPr>
          <p:cNvGraphicFramePr/>
          <p:nvPr>
            <p:extLst>
              <p:ext uri="{D42A27DB-BD31-4B8C-83A1-F6EECF244321}">
                <p14:modId xmlns:p14="http://schemas.microsoft.com/office/powerpoint/2010/main" val="2925387806"/>
              </p:ext>
            </p:extLst>
          </p:nvPr>
        </p:nvGraphicFramePr>
        <p:xfrm>
          <a:off x="4151313" y="1738825"/>
          <a:ext cx="7410419" cy="3566360"/>
        </p:xfrm>
        <a:graphic>
          <a:graphicData uri="http://schemas.openxmlformats.org/drawingml/2006/table">
            <a:tbl>
              <a:tblPr>
                <a:noFill/>
                <a:effectLst/>
              </a:tblPr>
              <a:tblGrid>
                <a:gridCol w="552080">
                  <a:extLst>
                    <a:ext uri="{9D8B030D-6E8A-4147-A177-3AD203B41FA5}">
                      <a16:colId xmlns:a16="http://schemas.microsoft.com/office/drawing/2014/main" val="20000"/>
                    </a:ext>
                  </a:extLst>
                </a:gridCol>
                <a:gridCol w="6858339">
                  <a:extLst>
                    <a:ext uri="{9D8B030D-6E8A-4147-A177-3AD203B41FA5}">
                      <a16:colId xmlns:a16="http://schemas.microsoft.com/office/drawing/2014/main" val="20001"/>
                    </a:ext>
                  </a:extLst>
                </a:gridCol>
              </a:tblGrid>
              <a:tr h="547176">
                <a:tc>
                  <a:txBody>
                    <a:bodyPr/>
                    <a:lstStyle/>
                    <a:p>
                      <a:pPr algn="ctr"/>
                      <a:r>
                        <a:rPr lang="fr-FR" sz="1600" b="0">
                          <a:solidFill>
                            <a:schemeClr val="tx2"/>
                          </a:solidFill>
                          <a:latin typeface="Montserrat"/>
                        </a:rPr>
                        <a:t>1</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0">
                          <a:solidFill>
                            <a:schemeClr val="tx2"/>
                          </a:solidFill>
                          <a:latin typeface="+mj-lt"/>
                          <a:cs typeface="Calibri" panose="020F0502020204030204" pitchFamily="34" charset="0"/>
                          <a:sym typeface="Montserrat"/>
                        </a:rPr>
                        <a:t>Synthèse de notre proposition</a:t>
                      </a:r>
                      <a:endParaRPr lang="fr-FR" sz="1900" b="0">
                        <a:solidFill>
                          <a:schemeClr val="tx2"/>
                        </a:solidFill>
                        <a:latin typeface="+mj-lt"/>
                        <a:cs typeface="Calibri" panose="020F0502020204030204" pitchFamily="34" charset="0"/>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0"/>
                  </a:ext>
                </a:extLst>
              </a:tr>
              <a:tr h="547176">
                <a:tc>
                  <a:txBody>
                    <a:bodyPr/>
                    <a:lstStyle/>
                    <a:p>
                      <a:pPr marR="0" algn="ctr" rtl="0" eaLnBrk="1" hangingPunct="1">
                        <a:lnSpc>
                          <a:spcPct val="100000"/>
                        </a:lnSpc>
                        <a:spcBef>
                          <a:spcPts val="0"/>
                        </a:spcBef>
                        <a:spcAft>
                          <a:spcPts val="0"/>
                        </a:spcAft>
                        <a:buClr>
                          <a:srgbClr val="000000"/>
                        </a:buClr>
                        <a:buFont typeface="Arial"/>
                      </a:pPr>
                      <a:r>
                        <a:rPr lang="fr-FR" sz="1600" b="1" i="0" u="none" strike="noStrike" cap="none">
                          <a:solidFill>
                            <a:schemeClr val="tx2"/>
                          </a:solidFill>
                          <a:latin typeface="Montserrat"/>
                          <a:ea typeface="+mn-ea"/>
                          <a:cs typeface="+mn-cs"/>
                          <a:sym typeface="Arial"/>
                        </a:rPr>
                        <a:t>2</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solidFill>
                      <a:srgbClr val="E6E3F4"/>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900" b="1" i="0" u="none" strike="noStrike" cap="none">
                          <a:solidFill>
                            <a:schemeClr val="tx2"/>
                          </a:solidFill>
                          <a:latin typeface="+mj-lt"/>
                          <a:ea typeface="+mn-ea"/>
                          <a:cs typeface="Calibri" panose="020F0502020204030204" pitchFamily="34" charset="0"/>
                          <a:sym typeface="Montserrat"/>
                        </a:rPr>
                        <a:t>Votre contexte, vos enjeux et attentes</a:t>
                      </a:r>
                      <a:endParaRPr lang="fr-FR" sz="1900" b="1" i="0" u="none" strike="noStrike" cap="none">
                        <a:solidFill>
                          <a:schemeClr val="tx2"/>
                        </a:solidFill>
                        <a:latin typeface="+mj-lt"/>
                        <a:ea typeface="+mn-ea"/>
                        <a:cs typeface="Calibri" panose="020F0502020204030204" pitchFamily="34" charset="0"/>
                        <a:sym typeface="Arial"/>
                      </a:endParaRP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solidFill>
                      <a:srgbClr val="E6E3F4"/>
                    </a:solidFill>
                  </a:tcPr>
                </a:tc>
                <a:extLst>
                  <a:ext uri="{0D108BD9-81ED-4DB2-BD59-A6C34878D82A}">
                    <a16:rowId xmlns:a16="http://schemas.microsoft.com/office/drawing/2014/main" val="402162129"/>
                  </a:ext>
                </a:extLst>
              </a:tr>
              <a:tr h="535332">
                <a:tc>
                  <a:txBody>
                    <a:bodyPr/>
                    <a:lstStyle/>
                    <a:p>
                      <a:pPr algn="ctr"/>
                      <a:r>
                        <a:rPr lang="fr-FR" sz="1600">
                          <a:solidFill>
                            <a:schemeClr val="tx2"/>
                          </a:solidFill>
                          <a:latin typeface="Montserrat"/>
                        </a:rPr>
                        <a:t>3</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solidFill>
                        <a:srgbClr val="FFFFFF"/>
                      </a:solidFill>
                      <a:prstDash val="solid"/>
                      <a:round/>
                      <a:headEnd type="none" w="sm" len="sm"/>
                      <a:tailEnd type="none" w="sm" len="sm"/>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i="0" u="none" strike="noStrike" cap="none">
                          <a:solidFill>
                            <a:schemeClr val="tx2"/>
                          </a:solidFill>
                          <a:latin typeface="+mj-lt"/>
                          <a:ea typeface="+mn-ea"/>
                          <a:cs typeface="Calibri" panose="020F0502020204030204" pitchFamily="34" charset="0"/>
                          <a:sym typeface="Arial"/>
                        </a:rPr>
                        <a:t>Convictions et approch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0001"/>
                  </a:ext>
                </a:extLst>
              </a:tr>
              <a:tr h="484169">
                <a:tc>
                  <a:txBody>
                    <a:bodyPr/>
                    <a:lstStyle/>
                    <a:p>
                      <a:pPr algn="ctr"/>
                      <a:r>
                        <a:rPr lang="fr-FR" sz="1600">
                          <a:solidFill>
                            <a:schemeClr val="tx2"/>
                          </a:solidFill>
                          <a:latin typeface="Montserrat"/>
                        </a:rPr>
                        <a:t>4</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émarche et méthodologie</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extLst>
                  <a:ext uri="{0D108BD9-81ED-4DB2-BD59-A6C34878D82A}">
                    <a16:rowId xmlns:a16="http://schemas.microsoft.com/office/drawing/2014/main" val="10002"/>
                  </a:ext>
                </a:extLst>
              </a:tr>
              <a:tr h="484169">
                <a:tc>
                  <a:txBody>
                    <a:bodyPr/>
                    <a:lstStyle/>
                    <a:p>
                      <a:pPr algn="ctr"/>
                      <a:r>
                        <a:rPr lang="fr-FR" sz="1600">
                          <a:solidFill>
                            <a:schemeClr val="tx2"/>
                          </a:solidFill>
                          <a:latin typeface="Montserrat"/>
                        </a:rPr>
                        <a:t>5</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touts et référenc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683504451"/>
                  </a:ext>
                </a:extLst>
              </a:tr>
              <a:tr h="484169">
                <a:tc>
                  <a:txBody>
                    <a:bodyPr/>
                    <a:lstStyle/>
                    <a:p>
                      <a:pPr algn="ctr"/>
                      <a:r>
                        <a:rPr lang="fr-FR" sz="1600">
                          <a:solidFill>
                            <a:schemeClr val="tx2"/>
                          </a:solidFill>
                          <a:latin typeface="Montserrat"/>
                        </a:rPr>
                        <a:t>6</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Dispositif proposé et modalités financières </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1472287062"/>
                  </a:ext>
                </a:extLst>
              </a:tr>
              <a:tr h="484169">
                <a:tc>
                  <a:txBody>
                    <a:bodyPr/>
                    <a:lstStyle/>
                    <a:p>
                      <a:pPr algn="ctr"/>
                      <a:r>
                        <a:rPr lang="fr-FR" sz="1600">
                          <a:solidFill>
                            <a:schemeClr val="tx2"/>
                          </a:solidFill>
                          <a:latin typeface="Montserrat"/>
                        </a:rPr>
                        <a:t>7</a:t>
                      </a:r>
                    </a:p>
                  </a:txBody>
                  <a:tcPr anchor="ctr">
                    <a:lnL w="76200" cap="flat" cmpd="sng">
                      <a:solidFill>
                        <a:srgbClr val="FFFFFF"/>
                      </a:solidFill>
                      <a:prstDash val="solid"/>
                      <a:round/>
                      <a:headEnd type="none" w="sm" len="sm"/>
                      <a:tailEnd type="none" w="sm" len="sm"/>
                    </a:lnL>
                    <a:lnR w="38100" cap="flat" cmpd="sng" algn="ctr">
                      <a:solidFill>
                        <a:schemeClr val="bg2"/>
                      </a:solidFill>
                      <a:prstDash val="solid"/>
                      <a:round/>
                      <a:headEnd type="none" w="med" len="med"/>
                      <a:tailEnd type="none" w="med" len="med"/>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900" b="0">
                          <a:solidFill>
                            <a:schemeClr val="tx2"/>
                          </a:solidFill>
                          <a:latin typeface="+mj-lt"/>
                          <a:cs typeface="Calibri" panose="020F0502020204030204" pitchFamily="34" charset="0"/>
                        </a:rPr>
                        <a:t>Annexes</a:t>
                      </a:r>
                    </a:p>
                  </a:txBody>
                  <a:tcPr anchor="ctr">
                    <a:lnL w="38100" cap="flat" cmpd="sng" algn="ctr">
                      <a:solidFill>
                        <a:schemeClr val="bg2"/>
                      </a:solidFill>
                      <a:prstDash val="solid"/>
                      <a:round/>
                      <a:headEnd type="none" w="med" len="med"/>
                      <a:tailEnd type="none" w="med" len="med"/>
                    </a:lnL>
                    <a:lnR w="76200" cap="flat" cmpd="sng">
                      <a:solidFill>
                        <a:srgbClr val="FFFFFF"/>
                      </a:solidFill>
                      <a:prstDash val="solid"/>
                      <a:round/>
                      <a:headEnd type="none" w="sm" len="sm"/>
                      <a:tailEnd type="none" w="sm" len="sm"/>
                    </a:lnR>
                    <a:lnT w="76200" cap="flat" cmpd="sng" algn="ctr">
                      <a:solidFill>
                        <a:srgbClr val="FFFFFF"/>
                      </a:solidFill>
                      <a:prstDash val="solid"/>
                      <a:round/>
                      <a:headEnd type="none" w="sm" len="sm"/>
                      <a:tailEnd type="none" w="sm" len="sm"/>
                    </a:lnT>
                    <a:lnB w="76200" cap="flat" cmpd="sng" algn="ctr">
                      <a:solidFill>
                        <a:srgbClr val="FFFFFF"/>
                      </a:solidFill>
                      <a:prstDash val="solid"/>
                      <a:round/>
                      <a:headEnd type="none" w="sm" len="sm"/>
                      <a:tailEnd type="none" w="sm" len="sm"/>
                    </a:lnB>
                    <a:noFill/>
                  </a:tcPr>
                </a:tc>
                <a:extLst>
                  <a:ext uri="{0D108BD9-81ED-4DB2-BD59-A6C34878D82A}">
                    <a16:rowId xmlns:a16="http://schemas.microsoft.com/office/drawing/2014/main" val="2122860575"/>
                  </a:ext>
                </a:extLst>
              </a:tr>
            </a:tbl>
          </a:graphicData>
        </a:graphic>
      </p:graphicFrame>
    </p:spTree>
    <p:extLst>
      <p:ext uri="{BB962C8B-B14F-4D97-AF65-F5344CB8AC3E}">
        <p14:creationId xmlns:p14="http://schemas.microsoft.com/office/powerpoint/2010/main" val="2727344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23C27633-1515-836C-B5C7-FE7A16FC5703}"/>
              </a:ext>
            </a:extLst>
          </p:cNvPr>
          <p:cNvSpPr/>
          <p:nvPr/>
        </p:nvSpPr>
        <p:spPr>
          <a:xfrm>
            <a:off x="572019" y="1192832"/>
            <a:ext cx="5502173" cy="5242487"/>
          </a:xfrm>
          <a:prstGeom prst="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AAA241A-F03F-4835-5BB9-E8D84BFEC3D7}"/>
              </a:ext>
            </a:extLst>
          </p:cNvPr>
          <p:cNvSpPr/>
          <p:nvPr/>
        </p:nvSpPr>
        <p:spPr>
          <a:xfrm>
            <a:off x="709927" y="3645489"/>
            <a:ext cx="5226357" cy="1890601"/>
          </a:xfrm>
          <a:prstGeom prst="rect">
            <a:avLst/>
          </a:prstGeom>
          <a:solidFill>
            <a:schemeClr val="bg1"/>
          </a:solidFill>
          <a:ln w="19050">
            <a:solidFill>
              <a:schemeClr val="bg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5C91E337-74B9-4A35-882F-27BDB4F76934}"/>
              </a:ext>
            </a:extLst>
          </p:cNvPr>
          <p:cNvSpPr>
            <a:spLocks noGrp="1"/>
          </p:cNvSpPr>
          <p:nvPr>
            <p:ph type="title"/>
          </p:nvPr>
        </p:nvSpPr>
        <p:spPr>
          <a:xfrm>
            <a:off x="396655" y="203665"/>
            <a:ext cx="10266044" cy="667158"/>
          </a:xfrm>
          <a:solidFill>
            <a:schemeClr val="bg1"/>
          </a:solidFill>
        </p:spPr>
        <p:txBody>
          <a:bodyPr/>
          <a:lstStyle/>
          <a:p>
            <a:r>
              <a:rPr lang="fr-FR" sz="1800">
                <a:latin typeface="Arial Black" panose="020B0A04020102020204" pitchFamily="34" charset="0"/>
                <a:cs typeface="Calibri" panose="020F0502020204030204" pitchFamily="34" charset="0"/>
                <a:sym typeface="Arial"/>
              </a:rPr>
              <a:t>UN GROUPE INTERNATIONAL SPÉCIALISÉ DANS L’ASSURANCE EMPRUNTEUR ET LA PRÉVOYANCE…</a:t>
            </a:r>
          </a:p>
        </p:txBody>
      </p:sp>
      <p:grpSp>
        <p:nvGrpSpPr>
          <p:cNvPr id="21" name="Graphique 18">
            <a:extLst>
              <a:ext uri="{FF2B5EF4-FFF2-40B4-BE49-F238E27FC236}">
                <a16:creationId xmlns:a16="http://schemas.microsoft.com/office/drawing/2014/main" id="{5C692242-3745-A15C-1BA8-6F3769A9C2E0}"/>
              </a:ext>
            </a:extLst>
          </p:cNvPr>
          <p:cNvGrpSpPr/>
          <p:nvPr/>
        </p:nvGrpSpPr>
        <p:grpSpPr>
          <a:xfrm>
            <a:off x="3049158" y="5641637"/>
            <a:ext cx="457206" cy="457190"/>
            <a:chOff x="5867396" y="3138491"/>
            <a:chExt cx="457206" cy="457190"/>
          </a:xfrm>
          <a:solidFill>
            <a:schemeClr val="tx2"/>
          </a:solidFill>
        </p:grpSpPr>
        <p:sp>
          <p:nvSpPr>
            <p:cNvPr id="22" name="Forme libre : forme 21">
              <a:extLst>
                <a:ext uri="{FF2B5EF4-FFF2-40B4-BE49-F238E27FC236}">
                  <a16:creationId xmlns:a16="http://schemas.microsoft.com/office/drawing/2014/main" id="{3CF4B66D-40FE-FF7D-7D7E-64D1768BB3E7}"/>
                </a:ext>
              </a:extLst>
            </p:cNvPr>
            <p:cNvSpPr/>
            <p:nvPr/>
          </p:nvSpPr>
          <p:spPr>
            <a:xfrm>
              <a:off x="6029326" y="3529016"/>
              <a:ext cx="76200" cy="66665"/>
            </a:xfrm>
            <a:custGeom>
              <a:avLst/>
              <a:gdLst>
                <a:gd name="connsiteX0" fmla="*/ 38100 w 76200"/>
                <a:gd name="connsiteY0" fmla="*/ 66665 h 66665"/>
                <a:gd name="connsiteX1" fmla="*/ 0 w 76200"/>
                <a:gd name="connsiteY1" fmla="*/ 28565 h 66665"/>
                <a:gd name="connsiteX2" fmla="*/ 0 w 76200"/>
                <a:gd name="connsiteY2" fmla="*/ 9525 h 66665"/>
                <a:gd name="connsiteX3" fmla="*/ 9525 w 76200"/>
                <a:gd name="connsiteY3" fmla="*/ 0 h 66665"/>
                <a:gd name="connsiteX4" fmla="*/ 19050 w 76200"/>
                <a:gd name="connsiteY4" fmla="*/ 9525 h 66665"/>
                <a:gd name="connsiteX5" fmla="*/ 19050 w 76200"/>
                <a:gd name="connsiteY5" fmla="*/ 28565 h 66665"/>
                <a:gd name="connsiteX6" fmla="*/ 38100 w 76200"/>
                <a:gd name="connsiteY6" fmla="*/ 47615 h 66665"/>
                <a:gd name="connsiteX7" fmla="*/ 57150 w 76200"/>
                <a:gd name="connsiteY7" fmla="*/ 28565 h 66665"/>
                <a:gd name="connsiteX8" fmla="*/ 66675 w 76200"/>
                <a:gd name="connsiteY8" fmla="*/ 19040 h 66665"/>
                <a:gd name="connsiteX9" fmla="*/ 76200 w 76200"/>
                <a:gd name="connsiteY9" fmla="*/ 28565 h 66665"/>
                <a:gd name="connsiteX10" fmla="*/ 38100 w 76200"/>
                <a:gd name="connsiteY10" fmla="*/ 66665 h 6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200" h="66665">
                  <a:moveTo>
                    <a:pt x="38100" y="66665"/>
                  </a:moveTo>
                  <a:cubicBezTo>
                    <a:pt x="17093" y="66665"/>
                    <a:pt x="0" y="49579"/>
                    <a:pt x="0" y="28565"/>
                  </a:cubicBezTo>
                  <a:lnTo>
                    <a:pt x="0" y="9525"/>
                  </a:lnTo>
                  <a:cubicBezTo>
                    <a:pt x="0" y="4261"/>
                    <a:pt x="4265" y="0"/>
                    <a:pt x="9525" y="0"/>
                  </a:cubicBezTo>
                  <a:cubicBezTo>
                    <a:pt x="14786" y="0"/>
                    <a:pt x="19050" y="4261"/>
                    <a:pt x="19050" y="9525"/>
                  </a:cubicBezTo>
                  <a:lnTo>
                    <a:pt x="19050" y="28565"/>
                  </a:lnTo>
                  <a:cubicBezTo>
                    <a:pt x="19050" y="39068"/>
                    <a:pt x="27594" y="47615"/>
                    <a:pt x="38100" y="47615"/>
                  </a:cubicBezTo>
                  <a:cubicBezTo>
                    <a:pt x="48607" y="47615"/>
                    <a:pt x="57150" y="39068"/>
                    <a:pt x="57150" y="28565"/>
                  </a:cubicBezTo>
                  <a:cubicBezTo>
                    <a:pt x="57150" y="23301"/>
                    <a:pt x="61415" y="19040"/>
                    <a:pt x="66675" y="19040"/>
                  </a:cubicBezTo>
                  <a:cubicBezTo>
                    <a:pt x="71936" y="19040"/>
                    <a:pt x="76200" y="23301"/>
                    <a:pt x="76200" y="28565"/>
                  </a:cubicBezTo>
                  <a:cubicBezTo>
                    <a:pt x="76200" y="49579"/>
                    <a:pt x="59108" y="66665"/>
                    <a:pt x="38100" y="66665"/>
                  </a:cubicBezTo>
                  <a:close/>
                </a:path>
              </a:pathLst>
            </a:custGeom>
            <a:grpFill/>
            <a:ln w="9525" cap="flat">
              <a:noFill/>
              <a:prstDash val="solid"/>
              <a:miter/>
            </a:ln>
          </p:spPr>
          <p:txBody>
            <a:bodyPr rtlCol="0" anchor="ctr"/>
            <a:lstStyle/>
            <a:p>
              <a:endParaRPr lang="fr-FR"/>
            </a:p>
          </p:txBody>
        </p:sp>
        <p:sp>
          <p:nvSpPr>
            <p:cNvPr id="23" name="Forme libre : forme 22">
              <a:extLst>
                <a:ext uri="{FF2B5EF4-FFF2-40B4-BE49-F238E27FC236}">
                  <a16:creationId xmlns:a16="http://schemas.microsoft.com/office/drawing/2014/main" id="{C931F667-652A-4271-DC8A-AA5E09420D7A}"/>
                </a:ext>
              </a:extLst>
            </p:cNvPr>
            <p:cNvSpPr/>
            <p:nvPr/>
          </p:nvSpPr>
          <p:spPr>
            <a:xfrm>
              <a:off x="6096000" y="3357571"/>
              <a:ext cx="1" cy="0"/>
            </a:xfrm>
            <a:custGeom>
              <a:avLst/>
              <a:gdLst>
                <a:gd name="connsiteX0" fmla="*/ 2 w 1"/>
                <a:gd name="connsiteY0" fmla="*/ 1 h 0"/>
                <a:gd name="connsiteX1" fmla="*/ 1 w 1"/>
                <a:gd name="connsiteY1" fmla="*/ 0 h 0"/>
                <a:gd name="connsiteX2" fmla="*/ 0 w 1"/>
                <a:gd name="connsiteY2" fmla="*/ 1 h 0"/>
              </a:gdLst>
              <a:ahLst/>
              <a:cxnLst>
                <a:cxn ang="0">
                  <a:pos x="connsiteX0" y="connsiteY0"/>
                </a:cxn>
                <a:cxn ang="0">
                  <a:pos x="connsiteX1" y="connsiteY1"/>
                </a:cxn>
                <a:cxn ang="0">
                  <a:pos x="connsiteX2" y="connsiteY2"/>
                </a:cxn>
              </a:cxnLst>
              <a:rect l="l" t="t" r="r" b="b"/>
              <a:pathLst>
                <a:path w="1">
                  <a:moveTo>
                    <a:pt x="2" y="1"/>
                  </a:moveTo>
                  <a:lnTo>
                    <a:pt x="1" y="0"/>
                  </a:lnTo>
                  <a:lnTo>
                    <a:pt x="0" y="1"/>
                  </a:lnTo>
                  <a:close/>
                </a:path>
              </a:pathLst>
            </a:custGeom>
            <a:grpFill/>
            <a:ln w="9525" cap="flat">
              <a:noFill/>
              <a:prstDash val="solid"/>
              <a:miter/>
            </a:ln>
          </p:spPr>
          <p:txBody>
            <a:bodyPr rtlCol="0" anchor="ctr"/>
            <a:lstStyle/>
            <a:p>
              <a:endParaRPr lang="fr-FR"/>
            </a:p>
          </p:txBody>
        </p:sp>
        <p:sp>
          <p:nvSpPr>
            <p:cNvPr id="24" name="Forme libre : forme 23">
              <a:extLst>
                <a:ext uri="{FF2B5EF4-FFF2-40B4-BE49-F238E27FC236}">
                  <a16:creationId xmlns:a16="http://schemas.microsoft.com/office/drawing/2014/main" id="{C5438A53-7DD4-C2AE-0220-97D4A880199E}"/>
                </a:ext>
              </a:extLst>
            </p:cNvPr>
            <p:cNvSpPr/>
            <p:nvPr/>
          </p:nvSpPr>
          <p:spPr>
            <a:xfrm>
              <a:off x="6130455" y="3162493"/>
              <a:ext cx="194147" cy="204607"/>
            </a:xfrm>
            <a:custGeom>
              <a:avLst/>
              <a:gdLst>
                <a:gd name="connsiteX0" fmla="*/ 108417 w 194147"/>
                <a:gd name="connsiteY0" fmla="*/ 204607 h 204607"/>
                <a:gd name="connsiteX1" fmla="*/ 103142 w 194147"/>
                <a:gd name="connsiteY1" fmla="*/ 203017 h 204607"/>
                <a:gd name="connsiteX2" fmla="*/ 100892 w 194147"/>
                <a:gd name="connsiteY2" fmla="*/ 201518 h 204607"/>
                <a:gd name="connsiteX3" fmla="*/ 96729 w 194147"/>
                <a:gd name="connsiteY3" fmla="*/ 194878 h 204607"/>
                <a:gd name="connsiteX4" fmla="*/ 4409 w 194147"/>
                <a:gd name="connsiteY4" fmla="*/ 17558 h 204607"/>
                <a:gd name="connsiteX5" fmla="*/ 698 w 194147"/>
                <a:gd name="connsiteY5" fmla="*/ 5949 h 204607"/>
                <a:gd name="connsiteX6" fmla="*/ 11437 w 194147"/>
                <a:gd name="connsiteY6" fmla="*/ 192 h 204607"/>
                <a:gd name="connsiteX7" fmla="*/ 194077 w 194147"/>
                <a:gd name="connsiteY7" fmla="*/ 193919 h 204607"/>
                <a:gd name="connsiteX8" fmla="*/ 189621 w 194147"/>
                <a:gd name="connsiteY8" fmla="*/ 203193 h 204607"/>
                <a:gd name="connsiteX9" fmla="*/ 179338 w 194147"/>
                <a:gd name="connsiteY9" fmla="*/ 203007 h 204607"/>
                <a:gd name="connsiteX10" fmla="*/ 113700 w 194147"/>
                <a:gd name="connsiteY10" fmla="*/ 203007 h 204607"/>
                <a:gd name="connsiteX11" fmla="*/ 108417 w 194147"/>
                <a:gd name="connsiteY11" fmla="*/ 204607 h 204607"/>
                <a:gd name="connsiteX12" fmla="*/ 48491 w 194147"/>
                <a:gd name="connsiteY12" fmla="*/ 31297 h 204607"/>
                <a:gd name="connsiteX13" fmla="*/ 114021 w 194147"/>
                <a:gd name="connsiteY13" fmla="*/ 181855 h 204607"/>
                <a:gd name="connsiteX14" fmla="*/ 172501 w 194147"/>
                <a:gd name="connsiteY14" fmla="*/ 179874 h 204607"/>
                <a:gd name="connsiteX15" fmla="*/ 48491 w 194147"/>
                <a:gd name="connsiteY15" fmla="*/ 31297 h 20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4147" h="204607">
                  <a:moveTo>
                    <a:pt x="108417" y="204607"/>
                  </a:moveTo>
                  <a:cubicBezTo>
                    <a:pt x="106580" y="204607"/>
                    <a:pt x="104738" y="204077"/>
                    <a:pt x="103142" y="203017"/>
                  </a:cubicBezTo>
                  <a:lnTo>
                    <a:pt x="100892" y="201518"/>
                  </a:lnTo>
                  <a:cubicBezTo>
                    <a:pt x="98613" y="200003"/>
                    <a:pt x="97102" y="197585"/>
                    <a:pt x="96729" y="194878"/>
                  </a:cubicBezTo>
                  <a:cubicBezTo>
                    <a:pt x="85934" y="115980"/>
                    <a:pt x="49695" y="46384"/>
                    <a:pt x="4409" y="17558"/>
                  </a:cubicBezTo>
                  <a:cubicBezTo>
                    <a:pt x="535" y="15093"/>
                    <a:pt x="-1028" y="10210"/>
                    <a:pt x="698" y="5949"/>
                  </a:cubicBezTo>
                  <a:cubicBezTo>
                    <a:pt x="2414" y="1689"/>
                    <a:pt x="6930" y="-720"/>
                    <a:pt x="11437" y="192"/>
                  </a:cubicBezTo>
                  <a:cubicBezTo>
                    <a:pt x="110412" y="20479"/>
                    <a:pt x="182101" y="96530"/>
                    <a:pt x="194077" y="193919"/>
                  </a:cubicBezTo>
                  <a:cubicBezTo>
                    <a:pt x="194528" y="197612"/>
                    <a:pt x="192789" y="201239"/>
                    <a:pt x="189621" y="203193"/>
                  </a:cubicBezTo>
                  <a:cubicBezTo>
                    <a:pt x="186449" y="205128"/>
                    <a:pt x="182426" y="205063"/>
                    <a:pt x="179338" y="203007"/>
                  </a:cubicBezTo>
                  <a:cubicBezTo>
                    <a:pt x="165227" y="193594"/>
                    <a:pt x="127811" y="193603"/>
                    <a:pt x="113700" y="203007"/>
                  </a:cubicBezTo>
                  <a:cubicBezTo>
                    <a:pt x="112101" y="204077"/>
                    <a:pt x="110258" y="204607"/>
                    <a:pt x="108417" y="204607"/>
                  </a:cubicBezTo>
                  <a:close/>
                  <a:moveTo>
                    <a:pt x="48491" y="31297"/>
                  </a:moveTo>
                  <a:cubicBezTo>
                    <a:pt x="80028" y="67573"/>
                    <a:pt x="104092" y="121943"/>
                    <a:pt x="114021" y="181855"/>
                  </a:cubicBezTo>
                  <a:cubicBezTo>
                    <a:pt x="130806" y="175865"/>
                    <a:pt x="154252" y="175223"/>
                    <a:pt x="172501" y="179874"/>
                  </a:cubicBezTo>
                  <a:cubicBezTo>
                    <a:pt x="158721" y="112278"/>
                    <a:pt x="112663" y="57761"/>
                    <a:pt x="48491" y="31297"/>
                  </a:cubicBezTo>
                  <a:close/>
                </a:path>
              </a:pathLst>
            </a:custGeom>
            <a:grpFill/>
            <a:ln w="9525" cap="flat">
              <a:noFill/>
              <a:prstDash val="solid"/>
              <a:miter/>
            </a:ln>
          </p:spPr>
          <p:txBody>
            <a:bodyPr rtlCol="0" anchor="ctr"/>
            <a:lstStyle/>
            <a:p>
              <a:endParaRPr lang="fr-FR"/>
            </a:p>
          </p:txBody>
        </p:sp>
        <p:sp>
          <p:nvSpPr>
            <p:cNvPr id="25" name="Forme libre : forme 24">
              <a:extLst>
                <a:ext uri="{FF2B5EF4-FFF2-40B4-BE49-F238E27FC236}">
                  <a16:creationId xmlns:a16="http://schemas.microsoft.com/office/drawing/2014/main" id="{1C07FACB-84DC-4CC6-1B03-BF4D14A4EEAC}"/>
                </a:ext>
              </a:extLst>
            </p:cNvPr>
            <p:cNvSpPr/>
            <p:nvPr/>
          </p:nvSpPr>
          <p:spPr>
            <a:xfrm>
              <a:off x="5867396" y="3162496"/>
              <a:ext cx="194142" cy="204604"/>
            </a:xfrm>
            <a:custGeom>
              <a:avLst/>
              <a:gdLst>
                <a:gd name="connsiteX0" fmla="*/ 85730 w 194142"/>
                <a:gd name="connsiteY0" fmla="*/ 204605 h 204604"/>
                <a:gd name="connsiteX1" fmla="*/ 80443 w 194142"/>
                <a:gd name="connsiteY1" fmla="*/ 203004 h 204604"/>
                <a:gd name="connsiteX2" fmla="*/ 14809 w 194142"/>
                <a:gd name="connsiteY2" fmla="*/ 203004 h 204604"/>
                <a:gd name="connsiteX3" fmla="*/ 4526 w 194142"/>
                <a:gd name="connsiteY3" fmla="*/ 203190 h 204604"/>
                <a:gd name="connsiteX4" fmla="*/ 71 w 194142"/>
                <a:gd name="connsiteY4" fmla="*/ 193917 h 204604"/>
                <a:gd name="connsiteX5" fmla="*/ 182706 w 194142"/>
                <a:gd name="connsiteY5" fmla="*/ 189 h 204604"/>
                <a:gd name="connsiteX6" fmla="*/ 193444 w 194142"/>
                <a:gd name="connsiteY6" fmla="*/ 5947 h 204604"/>
                <a:gd name="connsiteX7" fmla="*/ 189733 w 194142"/>
                <a:gd name="connsiteY7" fmla="*/ 17555 h 204604"/>
                <a:gd name="connsiteX8" fmla="*/ 97413 w 194142"/>
                <a:gd name="connsiteY8" fmla="*/ 194875 h 204604"/>
                <a:gd name="connsiteX9" fmla="*/ 93260 w 194142"/>
                <a:gd name="connsiteY9" fmla="*/ 201507 h 204604"/>
                <a:gd name="connsiteX10" fmla="*/ 91014 w 194142"/>
                <a:gd name="connsiteY10" fmla="*/ 203004 h 204604"/>
                <a:gd name="connsiteX11" fmla="*/ 85730 w 194142"/>
                <a:gd name="connsiteY11" fmla="*/ 204605 h 204604"/>
                <a:gd name="connsiteX12" fmla="*/ 47630 w 194142"/>
                <a:gd name="connsiteY12" fmla="*/ 176811 h 204604"/>
                <a:gd name="connsiteX13" fmla="*/ 80122 w 194142"/>
                <a:gd name="connsiteY13" fmla="*/ 181843 h 204604"/>
                <a:gd name="connsiteX14" fmla="*/ 145653 w 194142"/>
                <a:gd name="connsiteY14" fmla="*/ 31294 h 204604"/>
                <a:gd name="connsiteX15" fmla="*/ 21646 w 194142"/>
                <a:gd name="connsiteY15" fmla="*/ 179871 h 204604"/>
                <a:gd name="connsiteX16" fmla="*/ 47630 w 194142"/>
                <a:gd name="connsiteY16" fmla="*/ 176811 h 20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142" h="204604">
                  <a:moveTo>
                    <a:pt x="85730" y="204605"/>
                  </a:moveTo>
                  <a:cubicBezTo>
                    <a:pt x="83889" y="204605"/>
                    <a:pt x="82042" y="204074"/>
                    <a:pt x="80443" y="203004"/>
                  </a:cubicBezTo>
                  <a:cubicBezTo>
                    <a:pt x="66341" y="193591"/>
                    <a:pt x="28929" y="193600"/>
                    <a:pt x="14809" y="203004"/>
                  </a:cubicBezTo>
                  <a:cubicBezTo>
                    <a:pt x="11712" y="205060"/>
                    <a:pt x="7689" y="205126"/>
                    <a:pt x="4526" y="203190"/>
                  </a:cubicBezTo>
                  <a:cubicBezTo>
                    <a:pt x="1359" y="201236"/>
                    <a:pt x="-381" y="197609"/>
                    <a:pt x="71" y="193917"/>
                  </a:cubicBezTo>
                  <a:cubicBezTo>
                    <a:pt x="12047" y="96527"/>
                    <a:pt x="83735" y="20485"/>
                    <a:pt x="182706" y="189"/>
                  </a:cubicBezTo>
                  <a:cubicBezTo>
                    <a:pt x="187217" y="-714"/>
                    <a:pt x="191729" y="1686"/>
                    <a:pt x="193444" y="5947"/>
                  </a:cubicBezTo>
                  <a:cubicBezTo>
                    <a:pt x="195170" y="10207"/>
                    <a:pt x="193607" y="15090"/>
                    <a:pt x="189733" y="17555"/>
                  </a:cubicBezTo>
                  <a:cubicBezTo>
                    <a:pt x="144453" y="46381"/>
                    <a:pt x="108213" y="115977"/>
                    <a:pt x="97413" y="194875"/>
                  </a:cubicBezTo>
                  <a:cubicBezTo>
                    <a:pt x="97041" y="197582"/>
                    <a:pt x="95530" y="199991"/>
                    <a:pt x="93260" y="201507"/>
                  </a:cubicBezTo>
                  <a:lnTo>
                    <a:pt x="91014" y="203004"/>
                  </a:lnTo>
                  <a:cubicBezTo>
                    <a:pt x="89414" y="204074"/>
                    <a:pt x="87572" y="204605"/>
                    <a:pt x="85730" y="204605"/>
                  </a:cubicBezTo>
                  <a:close/>
                  <a:moveTo>
                    <a:pt x="47630" y="176811"/>
                  </a:moveTo>
                  <a:cubicBezTo>
                    <a:pt x="59160" y="176811"/>
                    <a:pt x="70689" y="178485"/>
                    <a:pt x="80122" y="181843"/>
                  </a:cubicBezTo>
                  <a:cubicBezTo>
                    <a:pt x="90060" y="121940"/>
                    <a:pt x="114119" y="67570"/>
                    <a:pt x="145653" y="31294"/>
                  </a:cubicBezTo>
                  <a:cubicBezTo>
                    <a:pt x="81480" y="57758"/>
                    <a:pt x="35426" y="112275"/>
                    <a:pt x="21646" y="179871"/>
                  </a:cubicBezTo>
                  <a:cubicBezTo>
                    <a:pt x="29641" y="177834"/>
                    <a:pt x="38636" y="176811"/>
                    <a:pt x="47630" y="176811"/>
                  </a:cubicBezTo>
                  <a:close/>
                </a:path>
              </a:pathLst>
            </a:custGeom>
            <a:grpFill/>
            <a:ln w="9525" cap="flat">
              <a:noFill/>
              <a:prstDash val="solid"/>
              <a:miter/>
            </a:ln>
          </p:spPr>
          <p:txBody>
            <a:bodyPr rtlCol="0" anchor="ctr"/>
            <a:lstStyle/>
            <a:p>
              <a:endParaRPr lang="fr-FR"/>
            </a:p>
          </p:txBody>
        </p:sp>
        <p:sp>
          <p:nvSpPr>
            <p:cNvPr id="26" name="Forme libre : forme 25">
              <a:extLst>
                <a:ext uri="{FF2B5EF4-FFF2-40B4-BE49-F238E27FC236}">
                  <a16:creationId xmlns:a16="http://schemas.microsoft.com/office/drawing/2014/main" id="{2DC6FE50-642F-305B-8AD0-241BC07E7E38}"/>
                </a:ext>
              </a:extLst>
            </p:cNvPr>
            <p:cNvSpPr/>
            <p:nvPr/>
          </p:nvSpPr>
          <p:spPr>
            <a:xfrm>
              <a:off x="5945849" y="3157550"/>
              <a:ext cx="300297" cy="209540"/>
            </a:xfrm>
            <a:custGeom>
              <a:avLst/>
              <a:gdLst>
                <a:gd name="connsiteX0" fmla="*/ 150153 w 300297"/>
                <a:gd name="connsiteY0" fmla="*/ 209541 h 209540"/>
                <a:gd name="connsiteX1" fmla="*/ 144204 w 300297"/>
                <a:gd name="connsiteY1" fmla="*/ 207457 h 209540"/>
                <a:gd name="connsiteX2" fmla="*/ 18970 w 300297"/>
                <a:gd name="connsiteY2" fmla="*/ 203672 h 209540"/>
                <a:gd name="connsiteX3" fmla="*/ 14817 w 300297"/>
                <a:gd name="connsiteY3" fmla="*/ 206443 h 209540"/>
                <a:gd name="connsiteX4" fmla="*/ 4473 w 300297"/>
                <a:gd name="connsiteY4" fmla="*/ 206601 h 209540"/>
                <a:gd name="connsiteX5" fmla="*/ 88 w 300297"/>
                <a:gd name="connsiteY5" fmla="*/ 197235 h 209540"/>
                <a:gd name="connsiteX6" fmla="*/ 101049 w 300297"/>
                <a:gd name="connsiteY6" fmla="*/ 6428 h 209540"/>
                <a:gd name="connsiteX7" fmla="*/ 104253 w 300297"/>
                <a:gd name="connsiteY7" fmla="*/ 5135 h 209540"/>
                <a:gd name="connsiteX8" fmla="*/ 150023 w 300297"/>
                <a:gd name="connsiteY8" fmla="*/ 0 h 209540"/>
                <a:gd name="connsiteX9" fmla="*/ 196043 w 300297"/>
                <a:gd name="connsiteY9" fmla="*/ 5135 h 209540"/>
                <a:gd name="connsiteX10" fmla="*/ 199247 w 300297"/>
                <a:gd name="connsiteY10" fmla="*/ 6428 h 209540"/>
                <a:gd name="connsiteX11" fmla="*/ 300209 w 300297"/>
                <a:gd name="connsiteY11" fmla="*/ 197235 h 209540"/>
                <a:gd name="connsiteX12" fmla="*/ 295818 w 300297"/>
                <a:gd name="connsiteY12" fmla="*/ 206601 h 209540"/>
                <a:gd name="connsiteX13" fmla="*/ 285475 w 300297"/>
                <a:gd name="connsiteY13" fmla="*/ 206443 h 209540"/>
                <a:gd name="connsiteX14" fmla="*/ 281318 w 300297"/>
                <a:gd name="connsiteY14" fmla="*/ 203662 h 209540"/>
                <a:gd name="connsiteX15" fmla="*/ 156102 w 300297"/>
                <a:gd name="connsiteY15" fmla="*/ 207457 h 209540"/>
                <a:gd name="connsiteX16" fmla="*/ 150153 w 300297"/>
                <a:gd name="connsiteY16" fmla="*/ 209541 h 209540"/>
                <a:gd name="connsiteX17" fmla="*/ 76641 w 300297"/>
                <a:gd name="connsiteY17" fmla="*/ 172325 h 209540"/>
                <a:gd name="connsiteX18" fmla="*/ 150153 w 300297"/>
                <a:gd name="connsiteY18" fmla="*/ 188453 h 209540"/>
                <a:gd name="connsiteX19" fmla="*/ 278238 w 300297"/>
                <a:gd name="connsiteY19" fmla="*/ 180947 h 209540"/>
                <a:gd name="connsiteX20" fmla="*/ 190476 w 300297"/>
                <a:gd name="connsiteY20" fmla="*/ 23440 h 209540"/>
                <a:gd name="connsiteX21" fmla="*/ 150023 w 300297"/>
                <a:gd name="connsiteY21" fmla="*/ 19050 h 209540"/>
                <a:gd name="connsiteX22" fmla="*/ 109821 w 300297"/>
                <a:gd name="connsiteY22" fmla="*/ 23440 h 209540"/>
                <a:gd name="connsiteX23" fmla="*/ 22058 w 300297"/>
                <a:gd name="connsiteY23" fmla="*/ 180956 h 209540"/>
                <a:gd name="connsiteX24" fmla="*/ 76641 w 300297"/>
                <a:gd name="connsiteY24" fmla="*/ 172325 h 20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0297" h="209540">
                  <a:moveTo>
                    <a:pt x="150153" y="209541"/>
                  </a:moveTo>
                  <a:cubicBezTo>
                    <a:pt x="148047" y="209541"/>
                    <a:pt x="145943" y="208843"/>
                    <a:pt x="144204" y="207457"/>
                  </a:cubicBezTo>
                  <a:cubicBezTo>
                    <a:pt x="119727" y="187877"/>
                    <a:pt x="45992" y="185654"/>
                    <a:pt x="18970" y="203672"/>
                  </a:cubicBezTo>
                  <a:lnTo>
                    <a:pt x="14817" y="206443"/>
                  </a:lnTo>
                  <a:cubicBezTo>
                    <a:pt x="11696" y="208526"/>
                    <a:pt x="7650" y="208583"/>
                    <a:pt x="4473" y="206601"/>
                  </a:cubicBezTo>
                  <a:cubicBezTo>
                    <a:pt x="1297" y="204620"/>
                    <a:pt x="-420" y="200946"/>
                    <a:pt x="88" y="197235"/>
                  </a:cubicBezTo>
                  <a:cubicBezTo>
                    <a:pt x="11612" y="113026"/>
                    <a:pt x="51243" y="38128"/>
                    <a:pt x="101049" y="6428"/>
                  </a:cubicBezTo>
                  <a:cubicBezTo>
                    <a:pt x="102030" y="5804"/>
                    <a:pt x="103114" y="5367"/>
                    <a:pt x="104253" y="5135"/>
                  </a:cubicBezTo>
                  <a:cubicBezTo>
                    <a:pt x="119913" y="1925"/>
                    <a:pt x="135312" y="195"/>
                    <a:pt x="150023" y="0"/>
                  </a:cubicBezTo>
                  <a:cubicBezTo>
                    <a:pt x="164985" y="195"/>
                    <a:pt x="180384" y="1925"/>
                    <a:pt x="196043" y="5135"/>
                  </a:cubicBezTo>
                  <a:cubicBezTo>
                    <a:pt x="197182" y="5367"/>
                    <a:pt x="198266" y="5804"/>
                    <a:pt x="199247" y="6428"/>
                  </a:cubicBezTo>
                  <a:cubicBezTo>
                    <a:pt x="249058" y="38137"/>
                    <a:pt x="288689" y="113035"/>
                    <a:pt x="300209" y="197235"/>
                  </a:cubicBezTo>
                  <a:cubicBezTo>
                    <a:pt x="300716" y="200946"/>
                    <a:pt x="299000" y="204620"/>
                    <a:pt x="295818" y="206601"/>
                  </a:cubicBezTo>
                  <a:cubicBezTo>
                    <a:pt x="292647" y="208602"/>
                    <a:pt x="288605" y="208536"/>
                    <a:pt x="285475" y="206443"/>
                  </a:cubicBezTo>
                  <a:lnTo>
                    <a:pt x="281318" y="203662"/>
                  </a:lnTo>
                  <a:cubicBezTo>
                    <a:pt x="254309" y="185654"/>
                    <a:pt x="180574" y="187887"/>
                    <a:pt x="156102" y="207457"/>
                  </a:cubicBezTo>
                  <a:cubicBezTo>
                    <a:pt x="154362" y="208843"/>
                    <a:pt x="152259" y="209541"/>
                    <a:pt x="150153" y="209541"/>
                  </a:cubicBezTo>
                  <a:close/>
                  <a:moveTo>
                    <a:pt x="76641" y="172325"/>
                  </a:moveTo>
                  <a:cubicBezTo>
                    <a:pt x="104318" y="172325"/>
                    <a:pt x="132545" y="177822"/>
                    <a:pt x="150153" y="188453"/>
                  </a:cubicBezTo>
                  <a:cubicBezTo>
                    <a:pt x="180393" y="170185"/>
                    <a:pt x="241966" y="167069"/>
                    <a:pt x="278238" y="180947"/>
                  </a:cubicBezTo>
                  <a:cubicBezTo>
                    <a:pt x="264802" y="110803"/>
                    <a:pt x="231450" y="50434"/>
                    <a:pt x="190476" y="23440"/>
                  </a:cubicBezTo>
                  <a:cubicBezTo>
                    <a:pt x="176593" y="20696"/>
                    <a:pt x="162994" y="19217"/>
                    <a:pt x="150023" y="19050"/>
                  </a:cubicBezTo>
                  <a:cubicBezTo>
                    <a:pt x="137293" y="19217"/>
                    <a:pt x="123704" y="20696"/>
                    <a:pt x="109821" y="23440"/>
                  </a:cubicBezTo>
                  <a:cubicBezTo>
                    <a:pt x="68851" y="50425"/>
                    <a:pt x="35499" y="110812"/>
                    <a:pt x="22058" y="180956"/>
                  </a:cubicBezTo>
                  <a:cubicBezTo>
                    <a:pt x="37211" y="175161"/>
                    <a:pt x="56787" y="172325"/>
                    <a:pt x="76641" y="172325"/>
                  </a:cubicBezTo>
                  <a:close/>
                </a:path>
              </a:pathLst>
            </a:custGeom>
            <a:grpFill/>
            <a:ln w="9525" cap="flat">
              <a:noFill/>
              <a:prstDash val="solid"/>
              <a:miter/>
            </a:ln>
          </p:spPr>
          <p:txBody>
            <a:bodyPr rtlCol="0" anchor="ctr"/>
            <a:lstStyle/>
            <a:p>
              <a:endParaRPr lang="fr-FR"/>
            </a:p>
          </p:txBody>
        </p:sp>
        <p:sp>
          <p:nvSpPr>
            <p:cNvPr id="27" name="Forme libre : forme 26">
              <a:extLst>
                <a:ext uri="{FF2B5EF4-FFF2-40B4-BE49-F238E27FC236}">
                  <a16:creationId xmlns:a16="http://schemas.microsoft.com/office/drawing/2014/main" id="{30CBCC22-8A50-5257-898C-F44364C1621D}"/>
                </a:ext>
              </a:extLst>
            </p:cNvPr>
            <p:cNvSpPr/>
            <p:nvPr/>
          </p:nvSpPr>
          <p:spPr>
            <a:xfrm>
              <a:off x="6086473" y="3138491"/>
              <a:ext cx="19050" cy="428625"/>
            </a:xfrm>
            <a:custGeom>
              <a:avLst/>
              <a:gdLst>
                <a:gd name="connsiteX0" fmla="*/ 9525 w 19050"/>
                <a:gd name="connsiteY0" fmla="*/ 428625 h 428625"/>
                <a:gd name="connsiteX1" fmla="*/ 0 w 19050"/>
                <a:gd name="connsiteY1" fmla="*/ 419100 h 428625"/>
                <a:gd name="connsiteX2" fmla="*/ 0 w 19050"/>
                <a:gd name="connsiteY2" fmla="*/ 9525 h 428625"/>
                <a:gd name="connsiteX3" fmla="*/ 9525 w 19050"/>
                <a:gd name="connsiteY3" fmla="*/ 0 h 428625"/>
                <a:gd name="connsiteX4" fmla="*/ 19050 w 19050"/>
                <a:gd name="connsiteY4" fmla="*/ 9525 h 428625"/>
                <a:gd name="connsiteX5" fmla="*/ 19050 w 19050"/>
                <a:gd name="connsiteY5" fmla="*/ 419100 h 428625"/>
                <a:gd name="connsiteX6" fmla="*/ 9525 w 19050"/>
                <a:gd name="connsiteY6" fmla="*/ 4286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428625">
                  <a:moveTo>
                    <a:pt x="9525" y="428625"/>
                  </a:moveTo>
                  <a:cubicBezTo>
                    <a:pt x="4264" y="428625"/>
                    <a:pt x="0" y="424365"/>
                    <a:pt x="0" y="419100"/>
                  </a:cubicBezTo>
                  <a:lnTo>
                    <a:pt x="0" y="9525"/>
                  </a:lnTo>
                  <a:cubicBezTo>
                    <a:pt x="0" y="4260"/>
                    <a:pt x="4264" y="0"/>
                    <a:pt x="9525" y="0"/>
                  </a:cubicBezTo>
                  <a:cubicBezTo>
                    <a:pt x="14785" y="0"/>
                    <a:pt x="19050" y="4260"/>
                    <a:pt x="19050" y="9525"/>
                  </a:cubicBezTo>
                  <a:lnTo>
                    <a:pt x="19050" y="419100"/>
                  </a:lnTo>
                  <a:cubicBezTo>
                    <a:pt x="19050" y="424365"/>
                    <a:pt x="14785" y="428625"/>
                    <a:pt x="9525" y="428625"/>
                  </a:cubicBezTo>
                  <a:close/>
                </a:path>
              </a:pathLst>
            </a:custGeom>
            <a:grpFill/>
            <a:ln w="9525" cap="flat">
              <a:noFill/>
              <a:prstDash val="solid"/>
              <a:miter/>
            </a:ln>
          </p:spPr>
          <p:txBody>
            <a:bodyPr rtlCol="0" anchor="ctr"/>
            <a:lstStyle/>
            <a:p>
              <a:endParaRPr lang="fr-FR"/>
            </a:p>
          </p:txBody>
        </p:sp>
      </p:grpSp>
      <p:sp>
        <p:nvSpPr>
          <p:cNvPr id="34" name="Forme libre : forme 33">
            <a:extLst>
              <a:ext uri="{FF2B5EF4-FFF2-40B4-BE49-F238E27FC236}">
                <a16:creationId xmlns:a16="http://schemas.microsoft.com/office/drawing/2014/main" id="{DA04F47B-DC2E-A0F5-7CE3-49965D4DB7AF}"/>
              </a:ext>
            </a:extLst>
          </p:cNvPr>
          <p:cNvSpPr>
            <a:spLocks noChangeAspect="1"/>
          </p:cNvSpPr>
          <p:nvPr/>
        </p:nvSpPr>
        <p:spPr>
          <a:xfrm>
            <a:off x="2630846" y="1866429"/>
            <a:ext cx="360000" cy="385705"/>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accent1">
              <a:lumMod val="60000"/>
              <a:lumOff val="40000"/>
            </a:schemeClr>
          </a:solidFill>
          <a:ln w="9525" cap="flat">
            <a:noFill/>
            <a:prstDash val="solid"/>
            <a:miter/>
          </a:ln>
        </p:spPr>
        <p:txBody>
          <a:bodyPr rtlCol="0" anchor="ctr"/>
          <a:lstStyle/>
          <a:p>
            <a:endParaRPr lang="fr-FR"/>
          </a:p>
        </p:txBody>
      </p:sp>
      <p:sp>
        <p:nvSpPr>
          <p:cNvPr id="40" name="Forme libre : forme 39">
            <a:extLst>
              <a:ext uri="{FF2B5EF4-FFF2-40B4-BE49-F238E27FC236}">
                <a16:creationId xmlns:a16="http://schemas.microsoft.com/office/drawing/2014/main" id="{E8D2F53B-010B-0B84-FF4D-932E792DFCBE}"/>
              </a:ext>
            </a:extLst>
          </p:cNvPr>
          <p:cNvSpPr>
            <a:spLocks noChangeAspect="1"/>
          </p:cNvSpPr>
          <p:nvPr/>
        </p:nvSpPr>
        <p:spPr>
          <a:xfrm>
            <a:off x="3517891" y="1856672"/>
            <a:ext cx="540000" cy="405218"/>
          </a:xfrm>
          <a:custGeom>
            <a:avLst/>
            <a:gdLst>
              <a:gd name="connsiteX0" fmla="*/ 279797 w 823912"/>
              <a:gd name="connsiteY0" fmla="*/ -952 h 618267"/>
              <a:gd name="connsiteX1" fmla="*/ 275034 w 823912"/>
              <a:gd name="connsiteY1" fmla="*/ 5001 h 618267"/>
              <a:gd name="connsiteX2" fmla="*/ 275034 w 823912"/>
              <a:gd name="connsiteY2" fmla="*/ 260985 h 618267"/>
              <a:gd name="connsiteX3" fmla="*/ 4467 w 823912"/>
              <a:gd name="connsiteY3" fmla="*/ 335090 h 618267"/>
              <a:gd name="connsiteX4" fmla="*/ 0 w 823912"/>
              <a:gd name="connsiteY4" fmla="*/ 340805 h 618267"/>
              <a:gd name="connsiteX5" fmla="*/ 0 w 823912"/>
              <a:gd name="connsiteY5" fmla="*/ 611410 h 618267"/>
              <a:gd name="connsiteX6" fmla="*/ 5953 w 823912"/>
              <a:gd name="connsiteY6" fmla="*/ 617315 h 618267"/>
              <a:gd name="connsiteX7" fmla="*/ 280692 w 823912"/>
              <a:gd name="connsiteY7" fmla="*/ 617315 h 618267"/>
              <a:gd name="connsiteX8" fmla="*/ 281288 w 823912"/>
              <a:gd name="connsiteY8" fmla="*/ 617315 h 618267"/>
              <a:gd name="connsiteX9" fmla="*/ 543225 w 823912"/>
              <a:gd name="connsiteY9" fmla="*/ 617315 h 618267"/>
              <a:gd name="connsiteX10" fmla="*/ 543820 w 823912"/>
              <a:gd name="connsiteY10" fmla="*/ 617315 h 618267"/>
              <a:gd name="connsiteX11" fmla="*/ 817959 w 823912"/>
              <a:gd name="connsiteY11" fmla="*/ 617315 h 618267"/>
              <a:gd name="connsiteX12" fmla="*/ 823913 w 823912"/>
              <a:gd name="connsiteY12" fmla="*/ 611410 h 618267"/>
              <a:gd name="connsiteX13" fmla="*/ 823913 w 823912"/>
              <a:gd name="connsiteY13" fmla="*/ 340805 h 618267"/>
              <a:gd name="connsiteX14" fmla="*/ 819447 w 823912"/>
              <a:gd name="connsiteY14" fmla="*/ 335185 h 618267"/>
              <a:gd name="connsiteX15" fmla="*/ 549175 w 823912"/>
              <a:gd name="connsiteY15" fmla="*/ 261043 h 618267"/>
              <a:gd name="connsiteX16" fmla="*/ 549175 w 823912"/>
              <a:gd name="connsiteY16" fmla="*/ 5058 h 618267"/>
              <a:gd name="connsiteX17" fmla="*/ 543222 w 823912"/>
              <a:gd name="connsiteY17" fmla="*/ -895 h 618267"/>
              <a:gd name="connsiteX18" fmla="*/ 280990 w 823912"/>
              <a:gd name="connsiteY18" fmla="*/ -895 h 618267"/>
              <a:gd name="connsiteX19" fmla="*/ 279800 w 823912"/>
              <a:gd name="connsiteY19" fmla="*/ -895 h 618267"/>
              <a:gd name="connsiteX20" fmla="*/ 286941 w 823912"/>
              <a:gd name="connsiteY20" fmla="*/ 10954 h 618267"/>
              <a:gd name="connsiteX21" fmla="*/ 537267 w 823912"/>
              <a:gd name="connsiteY21" fmla="*/ 10954 h 618267"/>
              <a:gd name="connsiteX22" fmla="*/ 537267 w 823912"/>
              <a:gd name="connsiteY22" fmla="*/ 264262 h 618267"/>
              <a:gd name="connsiteX23" fmla="*/ 537267 w 823912"/>
              <a:gd name="connsiteY23" fmla="*/ 265453 h 618267"/>
              <a:gd name="connsiteX24" fmla="*/ 537267 w 823912"/>
              <a:gd name="connsiteY24" fmla="*/ 605409 h 618267"/>
              <a:gd name="connsiteX25" fmla="*/ 473271 w 823912"/>
              <a:gd name="connsiteY25" fmla="*/ 605409 h 618267"/>
              <a:gd name="connsiteX26" fmla="*/ 473271 w 823912"/>
              <a:gd name="connsiteY26" fmla="*/ 460439 h 618267"/>
              <a:gd name="connsiteX27" fmla="*/ 467913 w 823912"/>
              <a:gd name="connsiteY27" fmla="*/ 454438 h 618267"/>
              <a:gd name="connsiteX28" fmla="*/ 467317 w 823912"/>
              <a:gd name="connsiteY28" fmla="*/ 454438 h 618267"/>
              <a:gd name="connsiteX29" fmla="*/ 357189 w 823912"/>
              <a:gd name="connsiteY29" fmla="*/ 454438 h 618267"/>
              <a:gd name="connsiteX30" fmla="*/ 351236 w 823912"/>
              <a:gd name="connsiteY30" fmla="*/ 460439 h 618267"/>
              <a:gd name="connsiteX31" fmla="*/ 351236 w 823912"/>
              <a:gd name="connsiteY31" fmla="*/ 605409 h 618267"/>
              <a:gd name="connsiteX32" fmla="*/ 286943 w 823912"/>
              <a:gd name="connsiteY32" fmla="*/ 605409 h 618267"/>
              <a:gd name="connsiteX33" fmla="*/ 286943 w 823912"/>
              <a:gd name="connsiteY33" fmla="*/ 10964 h 618267"/>
              <a:gd name="connsiteX34" fmla="*/ 358973 w 823912"/>
              <a:gd name="connsiteY34" fmla="*/ 57094 h 618267"/>
              <a:gd name="connsiteX35" fmla="*/ 353616 w 823912"/>
              <a:gd name="connsiteY35" fmla="*/ 63047 h 618267"/>
              <a:gd name="connsiteX36" fmla="*/ 353616 w 823912"/>
              <a:gd name="connsiteY36" fmla="*/ 127930 h 618267"/>
              <a:gd name="connsiteX37" fmla="*/ 353616 w 823912"/>
              <a:gd name="connsiteY37" fmla="*/ 133294 h 618267"/>
              <a:gd name="connsiteX38" fmla="*/ 353616 w 823912"/>
              <a:gd name="connsiteY38" fmla="*/ 196987 h 618267"/>
              <a:gd name="connsiteX39" fmla="*/ 353616 w 823912"/>
              <a:gd name="connsiteY39" fmla="*/ 197587 h 618267"/>
              <a:gd name="connsiteX40" fmla="*/ 353616 w 823912"/>
              <a:gd name="connsiteY40" fmla="*/ 197882 h 618267"/>
              <a:gd name="connsiteX41" fmla="*/ 353616 w 823912"/>
              <a:gd name="connsiteY41" fmla="*/ 199368 h 618267"/>
              <a:gd name="connsiteX42" fmla="*/ 353616 w 823912"/>
              <a:gd name="connsiteY42" fmla="*/ 262766 h 618267"/>
              <a:gd name="connsiteX43" fmla="*/ 353616 w 823912"/>
              <a:gd name="connsiteY43" fmla="*/ 268129 h 618267"/>
              <a:gd name="connsiteX44" fmla="*/ 353616 w 823912"/>
              <a:gd name="connsiteY44" fmla="*/ 332994 h 618267"/>
              <a:gd name="connsiteX45" fmla="*/ 359569 w 823912"/>
              <a:gd name="connsiteY45" fmla="*/ 338995 h 618267"/>
              <a:gd name="connsiteX46" fmla="*/ 464934 w 823912"/>
              <a:gd name="connsiteY46" fmla="*/ 338995 h 618267"/>
              <a:gd name="connsiteX47" fmla="*/ 470887 w 823912"/>
              <a:gd name="connsiteY47" fmla="*/ 332994 h 618267"/>
              <a:gd name="connsiteX48" fmla="*/ 470887 w 823912"/>
              <a:gd name="connsiteY48" fmla="*/ 266644 h 618267"/>
              <a:gd name="connsiteX49" fmla="*/ 470887 w 823912"/>
              <a:gd name="connsiteY49" fmla="*/ 264262 h 618267"/>
              <a:gd name="connsiteX50" fmla="*/ 470887 w 823912"/>
              <a:gd name="connsiteY50" fmla="*/ 199073 h 618267"/>
              <a:gd name="connsiteX51" fmla="*/ 470887 w 823912"/>
              <a:gd name="connsiteY51" fmla="*/ 196691 h 618267"/>
              <a:gd name="connsiteX52" fmla="*/ 470887 w 823912"/>
              <a:gd name="connsiteY52" fmla="*/ 131798 h 618267"/>
              <a:gd name="connsiteX53" fmla="*/ 470887 w 823912"/>
              <a:gd name="connsiteY53" fmla="*/ 129416 h 618267"/>
              <a:gd name="connsiteX54" fmla="*/ 470887 w 823912"/>
              <a:gd name="connsiteY54" fmla="*/ 63047 h 618267"/>
              <a:gd name="connsiteX55" fmla="*/ 464934 w 823912"/>
              <a:gd name="connsiteY55" fmla="*/ 57094 h 618267"/>
              <a:gd name="connsiteX56" fmla="*/ 359569 w 823912"/>
              <a:gd name="connsiteY56" fmla="*/ 57094 h 618267"/>
              <a:gd name="connsiteX57" fmla="*/ 358973 w 823912"/>
              <a:gd name="connsiteY57" fmla="*/ 57094 h 618267"/>
              <a:gd name="connsiteX58" fmla="*/ 365522 w 823912"/>
              <a:gd name="connsiteY58" fmla="*/ 69000 h 618267"/>
              <a:gd name="connsiteX59" fmla="*/ 458986 w 823912"/>
              <a:gd name="connsiteY59" fmla="*/ 69000 h 618267"/>
              <a:gd name="connsiteX60" fmla="*/ 458986 w 823912"/>
              <a:gd name="connsiteY60" fmla="*/ 124664 h 618267"/>
              <a:gd name="connsiteX61" fmla="*/ 365522 w 823912"/>
              <a:gd name="connsiteY61" fmla="*/ 124664 h 618267"/>
              <a:gd name="connsiteX62" fmla="*/ 365522 w 823912"/>
              <a:gd name="connsiteY62" fmla="*/ 69000 h 618267"/>
              <a:gd name="connsiteX63" fmla="*/ 365522 w 823912"/>
              <a:gd name="connsiteY63" fmla="*/ 136570 h 618267"/>
              <a:gd name="connsiteX64" fmla="*/ 458986 w 823912"/>
              <a:gd name="connsiteY64" fmla="*/ 136570 h 618267"/>
              <a:gd name="connsiteX65" fmla="*/ 458986 w 823912"/>
              <a:gd name="connsiteY65" fmla="*/ 191929 h 618267"/>
              <a:gd name="connsiteX66" fmla="*/ 365522 w 823912"/>
              <a:gd name="connsiteY66" fmla="*/ 191929 h 618267"/>
              <a:gd name="connsiteX67" fmla="*/ 365522 w 823912"/>
              <a:gd name="connsiteY67" fmla="*/ 136570 h 618267"/>
              <a:gd name="connsiteX68" fmla="*/ 365522 w 823912"/>
              <a:gd name="connsiteY68" fmla="*/ 203835 h 618267"/>
              <a:gd name="connsiteX69" fmla="*/ 458986 w 823912"/>
              <a:gd name="connsiteY69" fmla="*/ 203835 h 618267"/>
              <a:gd name="connsiteX70" fmla="*/ 458986 w 823912"/>
              <a:gd name="connsiteY70" fmla="*/ 259500 h 618267"/>
              <a:gd name="connsiteX71" fmla="*/ 365522 w 823912"/>
              <a:gd name="connsiteY71" fmla="*/ 259500 h 618267"/>
              <a:gd name="connsiteX72" fmla="*/ 365522 w 823912"/>
              <a:gd name="connsiteY72" fmla="*/ 203835 h 618267"/>
              <a:gd name="connsiteX73" fmla="*/ 365522 w 823912"/>
              <a:gd name="connsiteY73" fmla="*/ 271406 h 618267"/>
              <a:gd name="connsiteX74" fmla="*/ 458986 w 823912"/>
              <a:gd name="connsiteY74" fmla="*/ 271406 h 618267"/>
              <a:gd name="connsiteX75" fmla="*/ 458986 w 823912"/>
              <a:gd name="connsiteY75" fmla="*/ 327089 h 618267"/>
              <a:gd name="connsiteX76" fmla="*/ 365522 w 823912"/>
              <a:gd name="connsiteY76" fmla="*/ 327089 h 618267"/>
              <a:gd name="connsiteX77" fmla="*/ 365522 w 823912"/>
              <a:gd name="connsiteY77" fmla="*/ 271406 h 618267"/>
              <a:gd name="connsiteX78" fmla="*/ 274737 w 823912"/>
              <a:gd name="connsiteY78" fmla="*/ 273187 h 618267"/>
              <a:gd name="connsiteX79" fmla="*/ 274737 w 823912"/>
              <a:gd name="connsiteY79" fmla="*/ 605409 h 618267"/>
              <a:gd name="connsiteX80" fmla="*/ 233661 w 823912"/>
              <a:gd name="connsiteY80" fmla="*/ 605409 h 618267"/>
              <a:gd name="connsiteX81" fmla="*/ 233661 w 823912"/>
              <a:gd name="connsiteY81" fmla="*/ 424148 h 618267"/>
              <a:gd name="connsiteX82" fmla="*/ 227708 w 823912"/>
              <a:gd name="connsiteY82" fmla="*/ 418148 h 618267"/>
              <a:gd name="connsiteX83" fmla="*/ 58934 w 823912"/>
              <a:gd name="connsiteY83" fmla="*/ 418148 h 618267"/>
              <a:gd name="connsiteX84" fmla="*/ 57743 w 823912"/>
              <a:gd name="connsiteY84" fmla="*/ 418148 h 618267"/>
              <a:gd name="connsiteX85" fmla="*/ 52981 w 823912"/>
              <a:gd name="connsiteY85" fmla="*/ 424148 h 618267"/>
              <a:gd name="connsiteX86" fmla="*/ 52981 w 823912"/>
              <a:gd name="connsiteY86" fmla="*/ 605409 h 618267"/>
              <a:gd name="connsiteX87" fmla="*/ 11904 w 823912"/>
              <a:gd name="connsiteY87" fmla="*/ 605409 h 618267"/>
              <a:gd name="connsiteX88" fmla="*/ 11904 w 823912"/>
              <a:gd name="connsiteY88" fmla="*/ 345186 h 618267"/>
              <a:gd name="connsiteX89" fmla="*/ 274737 w 823912"/>
              <a:gd name="connsiteY89" fmla="*/ 273197 h 618267"/>
              <a:gd name="connsiteX90" fmla="*/ 549172 w 823912"/>
              <a:gd name="connsiteY90" fmla="*/ 273187 h 618267"/>
              <a:gd name="connsiteX91" fmla="*/ 811995 w 823912"/>
              <a:gd name="connsiteY91" fmla="*/ 345758 h 618267"/>
              <a:gd name="connsiteX92" fmla="*/ 811995 w 823912"/>
              <a:gd name="connsiteY92" fmla="*/ 605886 h 618267"/>
              <a:gd name="connsiteX93" fmla="*/ 770918 w 823912"/>
              <a:gd name="connsiteY93" fmla="*/ 605886 h 618267"/>
              <a:gd name="connsiteX94" fmla="*/ 770918 w 823912"/>
              <a:gd name="connsiteY94" fmla="*/ 424625 h 618267"/>
              <a:gd name="connsiteX95" fmla="*/ 764965 w 823912"/>
              <a:gd name="connsiteY95" fmla="*/ 418719 h 618267"/>
              <a:gd name="connsiteX96" fmla="*/ 596192 w 823912"/>
              <a:gd name="connsiteY96" fmla="*/ 418719 h 618267"/>
              <a:gd name="connsiteX97" fmla="*/ 595001 w 823912"/>
              <a:gd name="connsiteY97" fmla="*/ 418719 h 618267"/>
              <a:gd name="connsiteX98" fmla="*/ 590239 w 823912"/>
              <a:gd name="connsiteY98" fmla="*/ 424625 h 618267"/>
              <a:gd name="connsiteX99" fmla="*/ 590239 w 823912"/>
              <a:gd name="connsiteY99" fmla="*/ 605886 h 618267"/>
              <a:gd name="connsiteX100" fmla="*/ 549162 w 823912"/>
              <a:gd name="connsiteY100" fmla="*/ 605886 h 618267"/>
              <a:gd name="connsiteX101" fmla="*/ 549162 w 823912"/>
              <a:gd name="connsiteY101" fmla="*/ 273730 h 618267"/>
              <a:gd name="connsiteX102" fmla="*/ 64882 w 823912"/>
              <a:gd name="connsiteY102" fmla="*/ 430054 h 618267"/>
              <a:gd name="connsiteX103" fmla="*/ 221750 w 823912"/>
              <a:gd name="connsiteY103" fmla="*/ 430054 h 618267"/>
              <a:gd name="connsiteX104" fmla="*/ 221750 w 823912"/>
              <a:gd name="connsiteY104" fmla="*/ 457772 h 618267"/>
              <a:gd name="connsiteX105" fmla="*/ 64882 w 823912"/>
              <a:gd name="connsiteY105" fmla="*/ 457772 h 618267"/>
              <a:gd name="connsiteX106" fmla="*/ 64882 w 823912"/>
              <a:gd name="connsiteY106" fmla="*/ 430054 h 618267"/>
              <a:gd name="connsiteX107" fmla="*/ 602150 w 823912"/>
              <a:gd name="connsiteY107" fmla="*/ 430054 h 618267"/>
              <a:gd name="connsiteX108" fmla="*/ 759017 w 823912"/>
              <a:gd name="connsiteY108" fmla="*/ 430054 h 618267"/>
              <a:gd name="connsiteX109" fmla="*/ 759017 w 823912"/>
              <a:gd name="connsiteY109" fmla="*/ 457772 h 618267"/>
              <a:gd name="connsiteX110" fmla="*/ 602150 w 823912"/>
              <a:gd name="connsiteY110" fmla="*/ 457772 h 618267"/>
              <a:gd name="connsiteX111" fmla="*/ 602150 w 823912"/>
              <a:gd name="connsiteY111" fmla="*/ 430054 h 618267"/>
              <a:gd name="connsiteX112" fmla="*/ 363129 w 823912"/>
              <a:gd name="connsiteY112" fmla="*/ 466344 h 618267"/>
              <a:gd name="connsiteX113" fmla="*/ 461351 w 823912"/>
              <a:gd name="connsiteY113" fmla="*/ 466344 h 618267"/>
              <a:gd name="connsiteX114" fmla="*/ 461351 w 823912"/>
              <a:gd name="connsiteY114" fmla="*/ 605029 h 618267"/>
              <a:gd name="connsiteX115" fmla="*/ 363129 w 823912"/>
              <a:gd name="connsiteY115" fmla="*/ 605029 h 618267"/>
              <a:gd name="connsiteX116" fmla="*/ 363129 w 823912"/>
              <a:gd name="connsiteY116" fmla="*/ 466344 h 618267"/>
              <a:gd name="connsiteX117" fmla="*/ 64882 w 823912"/>
              <a:gd name="connsiteY117" fmla="*/ 469678 h 618267"/>
              <a:gd name="connsiteX118" fmla="*/ 221750 w 823912"/>
              <a:gd name="connsiteY118" fmla="*/ 469678 h 618267"/>
              <a:gd name="connsiteX119" fmla="*/ 221750 w 823912"/>
              <a:gd name="connsiteY119" fmla="*/ 486347 h 618267"/>
              <a:gd name="connsiteX120" fmla="*/ 64882 w 823912"/>
              <a:gd name="connsiteY120" fmla="*/ 486347 h 618267"/>
              <a:gd name="connsiteX121" fmla="*/ 64882 w 823912"/>
              <a:gd name="connsiteY121" fmla="*/ 469678 h 618267"/>
              <a:gd name="connsiteX122" fmla="*/ 602150 w 823912"/>
              <a:gd name="connsiteY122" fmla="*/ 469678 h 618267"/>
              <a:gd name="connsiteX123" fmla="*/ 759017 w 823912"/>
              <a:gd name="connsiteY123" fmla="*/ 469678 h 618267"/>
              <a:gd name="connsiteX124" fmla="*/ 759017 w 823912"/>
              <a:gd name="connsiteY124" fmla="*/ 486347 h 618267"/>
              <a:gd name="connsiteX125" fmla="*/ 602150 w 823912"/>
              <a:gd name="connsiteY125" fmla="*/ 486347 h 618267"/>
              <a:gd name="connsiteX126" fmla="*/ 602150 w 823912"/>
              <a:gd name="connsiteY126" fmla="*/ 469678 h 618267"/>
              <a:gd name="connsiteX127" fmla="*/ 64882 w 823912"/>
              <a:gd name="connsiteY127" fmla="*/ 498253 h 618267"/>
              <a:gd name="connsiteX128" fmla="*/ 221750 w 823912"/>
              <a:gd name="connsiteY128" fmla="*/ 498253 h 618267"/>
              <a:gd name="connsiteX129" fmla="*/ 221750 w 823912"/>
              <a:gd name="connsiteY129" fmla="*/ 515779 h 618267"/>
              <a:gd name="connsiteX130" fmla="*/ 64882 w 823912"/>
              <a:gd name="connsiteY130" fmla="*/ 515779 h 618267"/>
              <a:gd name="connsiteX131" fmla="*/ 64882 w 823912"/>
              <a:gd name="connsiteY131" fmla="*/ 498253 h 618267"/>
              <a:gd name="connsiteX132" fmla="*/ 602150 w 823912"/>
              <a:gd name="connsiteY132" fmla="*/ 498253 h 618267"/>
              <a:gd name="connsiteX133" fmla="*/ 759017 w 823912"/>
              <a:gd name="connsiteY133" fmla="*/ 498253 h 618267"/>
              <a:gd name="connsiteX134" fmla="*/ 759017 w 823912"/>
              <a:gd name="connsiteY134" fmla="*/ 515779 h 618267"/>
              <a:gd name="connsiteX135" fmla="*/ 602150 w 823912"/>
              <a:gd name="connsiteY135" fmla="*/ 515779 h 618267"/>
              <a:gd name="connsiteX136" fmla="*/ 602150 w 823912"/>
              <a:gd name="connsiteY136" fmla="*/ 498253 h 618267"/>
              <a:gd name="connsiteX137" fmla="*/ 64882 w 823912"/>
              <a:gd name="connsiteY137" fmla="*/ 527400 h 618267"/>
              <a:gd name="connsiteX138" fmla="*/ 221750 w 823912"/>
              <a:gd name="connsiteY138" fmla="*/ 527400 h 618267"/>
              <a:gd name="connsiteX139" fmla="*/ 221750 w 823912"/>
              <a:gd name="connsiteY139" fmla="*/ 544068 h 618267"/>
              <a:gd name="connsiteX140" fmla="*/ 64882 w 823912"/>
              <a:gd name="connsiteY140" fmla="*/ 544068 h 618267"/>
              <a:gd name="connsiteX141" fmla="*/ 64882 w 823912"/>
              <a:gd name="connsiteY141" fmla="*/ 527400 h 618267"/>
              <a:gd name="connsiteX142" fmla="*/ 602150 w 823912"/>
              <a:gd name="connsiteY142" fmla="*/ 527400 h 618267"/>
              <a:gd name="connsiteX143" fmla="*/ 759017 w 823912"/>
              <a:gd name="connsiteY143" fmla="*/ 527400 h 618267"/>
              <a:gd name="connsiteX144" fmla="*/ 759017 w 823912"/>
              <a:gd name="connsiteY144" fmla="*/ 544068 h 618267"/>
              <a:gd name="connsiteX145" fmla="*/ 602150 w 823912"/>
              <a:gd name="connsiteY145" fmla="*/ 544068 h 618267"/>
              <a:gd name="connsiteX146" fmla="*/ 602150 w 823912"/>
              <a:gd name="connsiteY146" fmla="*/ 527400 h 618267"/>
              <a:gd name="connsiteX147" fmla="*/ 64882 w 823912"/>
              <a:gd name="connsiteY147" fmla="*/ 555689 h 618267"/>
              <a:gd name="connsiteX148" fmla="*/ 221750 w 823912"/>
              <a:gd name="connsiteY148" fmla="*/ 555689 h 618267"/>
              <a:gd name="connsiteX149" fmla="*/ 221750 w 823912"/>
              <a:gd name="connsiteY149" fmla="*/ 572071 h 618267"/>
              <a:gd name="connsiteX150" fmla="*/ 64882 w 823912"/>
              <a:gd name="connsiteY150" fmla="*/ 572071 h 618267"/>
              <a:gd name="connsiteX151" fmla="*/ 64882 w 823912"/>
              <a:gd name="connsiteY151" fmla="*/ 555689 h 618267"/>
              <a:gd name="connsiteX152" fmla="*/ 602150 w 823912"/>
              <a:gd name="connsiteY152" fmla="*/ 555689 h 618267"/>
              <a:gd name="connsiteX153" fmla="*/ 759017 w 823912"/>
              <a:gd name="connsiteY153" fmla="*/ 555689 h 618267"/>
              <a:gd name="connsiteX154" fmla="*/ 759017 w 823912"/>
              <a:gd name="connsiteY154" fmla="*/ 572071 h 618267"/>
              <a:gd name="connsiteX155" fmla="*/ 602150 w 823912"/>
              <a:gd name="connsiteY155" fmla="*/ 572071 h 618267"/>
              <a:gd name="connsiteX156" fmla="*/ 602150 w 823912"/>
              <a:gd name="connsiteY156" fmla="*/ 555689 h 618267"/>
              <a:gd name="connsiteX157" fmla="*/ 64882 w 823912"/>
              <a:gd name="connsiteY157" fmla="*/ 583978 h 618267"/>
              <a:gd name="connsiteX158" fmla="*/ 221750 w 823912"/>
              <a:gd name="connsiteY158" fmla="*/ 583978 h 618267"/>
              <a:gd name="connsiteX159" fmla="*/ 221750 w 823912"/>
              <a:gd name="connsiteY159" fmla="*/ 605124 h 618267"/>
              <a:gd name="connsiteX160" fmla="*/ 64882 w 823912"/>
              <a:gd name="connsiteY160" fmla="*/ 605124 h 618267"/>
              <a:gd name="connsiteX161" fmla="*/ 64882 w 823912"/>
              <a:gd name="connsiteY161" fmla="*/ 583978 h 618267"/>
              <a:gd name="connsiteX162" fmla="*/ 602150 w 823912"/>
              <a:gd name="connsiteY162" fmla="*/ 583978 h 618267"/>
              <a:gd name="connsiteX163" fmla="*/ 759017 w 823912"/>
              <a:gd name="connsiteY163" fmla="*/ 583978 h 618267"/>
              <a:gd name="connsiteX164" fmla="*/ 759017 w 823912"/>
              <a:gd name="connsiteY164" fmla="*/ 605124 h 618267"/>
              <a:gd name="connsiteX165" fmla="*/ 602150 w 823912"/>
              <a:gd name="connsiteY165" fmla="*/ 605124 h 618267"/>
              <a:gd name="connsiteX166" fmla="*/ 602150 w 823912"/>
              <a:gd name="connsiteY166" fmla="*/ 583978 h 61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823912" h="618267">
                <a:moveTo>
                  <a:pt x="279797" y="-952"/>
                </a:moveTo>
                <a:cubicBezTo>
                  <a:pt x="276980" y="-381"/>
                  <a:pt x="274976" y="2124"/>
                  <a:pt x="275034" y="5001"/>
                </a:cubicBezTo>
                <a:lnTo>
                  <a:pt x="275034" y="260985"/>
                </a:lnTo>
                <a:lnTo>
                  <a:pt x="4467" y="335090"/>
                </a:lnTo>
                <a:cubicBezTo>
                  <a:pt x="1856" y="335757"/>
                  <a:pt x="23" y="338138"/>
                  <a:pt x="0" y="340805"/>
                </a:cubicBezTo>
                <a:lnTo>
                  <a:pt x="0" y="611410"/>
                </a:lnTo>
                <a:cubicBezTo>
                  <a:pt x="0" y="614649"/>
                  <a:pt x="2665" y="617315"/>
                  <a:pt x="5953" y="617315"/>
                </a:cubicBezTo>
                <a:lnTo>
                  <a:pt x="280692" y="617315"/>
                </a:lnTo>
                <a:cubicBezTo>
                  <a:pt x="280890" y="617315"/>
                  <a:pt x="281089" y="617315"/>
                  <a:pt x="281288" y="617315"/>
                </a:cubicBezTo>
                <a:lnTo>
                  <a:pt x="543225" y="617315"/>
                </a:lnTo>
                <a:cubicBezTo>
                  <a:pt x="543423" y="617315"/>
                  <a:pt x="543622" y="617315"/>
                  <a:pt x="543820" y="617315"/>
                </a:cubicBezTo>
                <a:lnTo>
                  <a:pt x="817959" y="617315"/>
                </a:lnTo>
                <a:cubicBezTo>
                  <a:pt x="821247" y="617315"/>
                  <a:pt x="823913" y="614649"/>
                  <a:pt x="823913" y="611410"/>
                </a:cubicBezTo>
                <a:lnTo>
                  <a:pt x="823913" y="340805"/>
                </a:lnTo>
                <a:cubicBezTo>
                  <a:pt x="823863" y="338138"/>
                  <a:pt x="822037" y="335852"/>
                  <a:pt x="819447" y="335185"/>
                </a:cubicBezTo>
                <a:lnTo>
                  <a:pt x="549175" y="261043"/>
                </a:lnTo>
                <a:lnTo>
                  <a:pt x="549175" y="5058"/>
                </a:lnTo>
                <a:cubicBezTo>
                  <a:pt x="549175" y="1772"/>
                  <a:pt x="546510" y="-895"/>
                  <a:pt x="543222" y="-895"/>
                </a:cubicBezTo>
                <a:lnTo>
                  <a:pt x="280990" y="-895"/>
                </a:lnTo>
                <a:cubicBezTo>
                  <a:pt x="280594" y="-933"/>
                  <a:pt x="280195" y="-933"/>
                  <a:pt x="279800" y="-895"/>
                </a:cubicBezTo>
                <a:close/>
                <a:moveTo>
                  <a:pt x="286941" y="10954"/>
                </a:moveTo>
                <a:lnTo>
                  <a:pt x="537267" y="10954"/>
                </a:lnTo>
                <a:lnTo>
                  <a:pt x="537267" y="264262"/>
                </a:lnTo>
                <a:cubicBezTo>
                  <a:pt x="537227" y="264662"/>
                  <a:pt x="537227" y="265052"/>
                  <a:pt x="537267" y="265453"/>
                </a:cubicBezTo>
                <a:lnTo>
                  <a:pt x="537267" y="605409"/>
                </a:lnTo>
                <a:lnTo>
                  <a:pt x="473271" y="605409"/>
                </a:lnTo>
                <a:lnTo>
                  <a:pt x="473271" y="460439"/>
                </a:lnTo>
                <a:cubicBezTo>
                  <a:pt x="473286" y="457391"/>
                  <a:pt x="470966" y="454819"/>
                  <a:pt x="467913" y="454438"/>
                </a:cubicBezTo>
                <a:cubicBezTo>
                  <a:pt x="467715" y="454438"/>
                  <a:pt x="467516" y="454438"/>
                  <a:pt x="467317" y="454438"/>
                </a:cubicBezTo>
                <a:lnTo>
                  <a:pt x="357189" y="454438"/>
                </a:lnTo>
                <a:cubicBezTo>
                  <a:pt x="353901" y="454438"/>
                  <a:pt x="351236" y="457105"/>
                  <a:pt x="351236" y="460439"/>
                </a:cubicBezTo>
                <a:lnTo>
                  <a:pt x="351236" y="605409"/>
                </a:lnTo>
                <a:lnTo>
                  <a:pt x="286943" y="605409"/>
                </a:lnTo>
                <a:lnTo>
                  <a:pt x="286943" y="10964"/>
                </a:lnTo>
                <a:close/>
                <a:moveTo>
                  <a:pt x="358973" y="57094"/>
                </a:moveTo>
                <a:cubicBezTo>
                  <a:pt x="355921" y="57398"/>
                  <a:pt x="353600" y="59979"/>
                  <a:pt x="353616" y="63047"/>
                </a:cubicBezTo>
                <a:lnTo>
                  <a:pt x="353616" y="127930"/>
                </a:lnTo>
                <a:cubicBezTo>
                  <a:pt x="352772" y="129616"/>
                  <a:pt x="352772" y="131608"/>
                  <a:pt x="353616" y="133294"/>
                </a:cubicBezTo>
                <a:lnTo>
                  <a:pt x="353616" y="196987"/>
                </a:lnTo>
                <a:cubicBezTo>
                  <a:pt x="353606" y="197187"/>
                  <a:pt x="353606" y="197387"/>
                  <a:pt x="353616" y="197587"/>
                </a:cubicBezTo>
                <a:lnTo>
                  <a:pt x="353616" y="197882"/>
                </a:lnTo>
                <a:cubicBezTo>
                  <a:pt x="353554" y="198377"/>
                  <a:pt x="353554" y="198873"/>
                  <a:pt x="353616" y="199368"/>
                </a:cubicBezTo>
                <a:lnTo>
                  <a:pt x="353616" y="262766"/>
                </a:lnTo>
                <a:cubicBezTo>
                  <a:pt x="352772" y="264452"/>
                  <a:pt x="352772" y="266443"/>
                  <a:pt x="353616" y="268129"/>
                </a:cubicBezTo>
                <a:lnTo>
                  <a:pt x="353616" y="332994"/>
                </a:lnTo>
                <a:cubicBezTo>
                  <a:pt x="353616" y="336328"/>
                  <a:pt x="356281" y="338995"/>
                  <a:pt x="359569" y="338995"/>
                </a:cubicBezTo>
                <a:lnTo>
                  <a:pt x="464934" y="338995"/>
                </a:lnTo>
                <a:cubicBezTo>
                  <a:pt x="468222" y="338995"/>
                  <a:pt x="470887" y="336328"/>
                  <a:pt x="470887" y="332994"/>
                </a:cubicBezTo>
                <a:lnTo>
                  <a:pt x="470887" y="266644"/>
                </a:lnTo>
                <a:cubicBezTo>
                  <a:pt x="471047" y="265853"/>
                  <a:pt x="471047" y="265043"/>
                  <a:pt x="470887" y="264262"/>
                </a:cubicBezTo>
                <a:lnTo>
                  <a:pt x="470887" y="199073"/>
                </a:lnTo>
                <a:cubicBezTo>
                  <a:pt x="471047" y="198283"/>
                  <a:pt x="471047" y="197473"/>
                  <a:pt x="470887" y="196691"/>
                </a:cubicBezTo>
                <a:lnTo>
                  <a:pt x="470887" y="131798"/>
                </a:lnTo>
                <a:cubicBezTo>
                  <a:pt x="471047" y="131017"/>
                  <a:pt x="471047" y="130207"/>
                  <a:pt x="470887" y="129416"/>
                </a:cubicBezTo>
                <a:lnTo>
                  <a:pt x="470887" y="63047"/>
                </a:lnTo>
                <a:cubicBezTo>
                  <a:pt x="470887" y="59751"/>
                  <a:pt x="468222" y="57094"/>
                  <a:pt x="464934" y="57094"/>
                </a:cubicBezTo>
                <a:lnTo>
                  <a:pt x="359569" y="57094"/>
                </a:lnTo>
                <a:cubicBezTo>
                  <a:pt x="359371" y="57084"/>
                  <a:pt x="359172" y="57084"/>
                  <a:pt x="358973" y="57094"/>
                </a:cubicBezTo>
                <a:close/>
                <a:moveTo>
                  <a:pt x="365522" y="69000"/>
                </a:moveTo>
                <a:lnTo>
                  <a:pt x="458986" y="69000"/>
                </a:lnTo>
                <a:lnTo>
                  <a:pt x="458986" y="124664"/>
                </a:lnTo>
                <a:lnTo>
                  <a:pt x="365522" y="124664"/>
                </a:lnTo>
                <a:lnTo>
                  <a:pt x="365522" y="69000"/>
                </a:lnTo>
                <a:close/>
                <a:moveTo>
                  <a:pt x="365522" y="136570"/>
                </a:moveTo>
                <a:lnTo>
                  <a:pt x="458986" y="136570"/>
                </a:lnTo>
                <a:lnTo>
                  <a:pt x="458986" y="191929"/>
                </a:lnTo>
                <a:lnTo>
                  <a:pt x="365522" y="191929"/>
                </a:lnTo>
                <a:lnTo>
                  <a:pt x="365522" y="136570"/>
                </a:lnTo>
                <a:close/>
                <a:moveTo>
                  <a:pt x="365522" y="203835"/>
                </a:moveTo>
                <a:lnTo>
                  <a:pt x="458986" y="203835"/>
                </a:lnTo>
                <a:lnTo>
                  <a:pt x="458986" y="259500"/>
                </a:lnTo>
                <a:lnTo>
                  <a:pt x="365522" y="259500"/>
                </a:lnTo>
                <a:lnTo>
                  <a:pt x="365522" y="203835"/>
                </a:lnTo>
                <a:close/>
                <a:moveTo>
                  <a:pt x="365522" y="271406"/>
                </a:moveTo>
                <a:lnTo>
                  <a:pt x="458986" y="271406"/>
                </a:lnTo>
                <a:lnTo>
                  <a:pt x="458986" y="327089"/>
                </a:lnTo>
                <a:lnTo>
                  <a:pt x="365522" y="327089"/>
                </a:lnTo>
                <a:lnTo>
                  <a:pt x="365522" y="271406"/>
                </a:lnTo>
                <a:close/>
                <a:moveTo>
                  <a:pt x="274737" y="273187"/>
                </a:moveTo>
                <a:lnTo>
                  <a:pt x="274737" y="605409"/>
                </a:lnTo>
                <a:lnTo>
                  <a:pt x="233661" y="605409"/>
                </a:lnTo>
                <a:lnTo>
                  <a:pt x="233661" y="424148"/>
                </a:lnTo>
                <a:cubicBezTo>
                  <a:pt x="233661" y="420815"/>
                  <a:pt x="230996" y="418148"/>
                  <a:pt x="227708" y="418148"/>
                </a:cubicBezTo>
                <a:lnTo>
                  <a:pt x="58934" y="418148"/>
                </a:lnTo>
                <a:cubicBezTo>
                  <a:pt x="58538" y="418148"/>
                  <a:pt x="58140" y="418148"/>
                  <a:pt x="57743" y="418148"/>
                </a:cubicBezTo>
                <a:cubicBezTo>
                  <a:pt x="54927" y="418719"/>
                  <a:pt x="52923" y="421196"/>
                  <a:pt x="52981" y="424148"/>
                </a:cubicBezTo>
                <a:lnTo>
                  <a:pt x="52981" y="605409"/>
                </a:lnTo>
                <a:lnTo>
                  <a:pt x="11904" y="605409"/>
                </a:lnTo>
                <a:lnTo>
                  <a:pt x="11904" y="345186"/>
                </a:lnTo>
                <a:lnTo>
                  <a:pt x="274737" y="273197"/>
                </a:lnTo>
                <a:close/>
                <a:moveTo>
                  <a:pt x="549172" y="273187"/>
                </a:moveTo>
                <a:lnTo>
                  <a:pt x="811995" y="345758"/>
                </a:lnTo>
                <a:lnTo>
                  <a:pt x="811995" y="605886"/>
                </a:lnTo>
                <a:lnTo>
                  <a:pt x="770918" y="605886"/>
                </a:lnTo>
                <a:lnTo>
                  <a:pt x="770918" y="424625"/>
                </a:lnTo>
                <a:cubicBezTo>
                  <a:pt x="770918" y="421386"/>
                  <a:pt x="768253" y="418719"/>
                  <a:pt x="764965" y="418719"/>
                </a:cubicBezTo>
                <a:lnTo>
                  <a:pt x="596192" y="418719"/>
                </a:lnTo>
                <a:cubicBezTo>
                  <a:pt x="595795" y="418624"/>
                  <a:pt x="595397" y="418624"/>
                  <a:pt x="595001" y="418719"/>
                </a:cubicBezTo>
                <a:cubicBezTo>
                  <a:pt x="592185" y="419291"/>
                  <a:pt x="590180" y="421767"/>
                  <a:pt x="590239" y="424625"/>
                </a:cubicBezTo>
                <a:lnTo>
                  <a:pt x="590239" y="605886"/>
                </a:lnTo>
                <a:lnTo>
                  <a:pt x="549162" y="605886"/>
                </a:lnTo>
                <a:lnTo>
                  <a:pt x="549162" y="273730"/>
                </a:lnTo>
                <a:close/>
                <a:moveTo>
                  <a:pt x="64882" y="430054"/>
                </a:moveTo>
                <a:lnTo>
                  <a:pt x="221750" y="430054"/>
                </a:lnTo>
                <a:lnTo>
                  <a:pt x="221750" y="457772"/>
                </a:lnTo>
                <a:lnTo>
                  <a:pt x="64882" y="457772"/>
                </a:lnTo>
                <a:lnTo>
                  <a:pt x="64882" y="430054"/>
                </a:lnTo>
                <a:close/>
                <a:moveTo>
                  <a:pt x="602150" y="430054"/>
                </a:moveTo>
                <a:lnTo>
                  <a:pt x="759017" y="430054"/>
                </a:lnTo>
                <a:lnTo>
                  <a:pt x="759017" y="457772"/>
                </a:lnTo>
                <a:lnTo>
                  <a:pt x="602150" y="457772"/>
                </a:lnTo>
                <a:lnTo>
                  <a:pt x="602150" y="430054"/>
                </a:lnTo>
                <a:close/>
                <a:moveTo>
                  <a:pt x="363129" y="466344"/>
                </a:moveTo>
                <a:lnTo>
                  <a:pt x="461351" y="466344"/>
                </a:lnTo>
                <a:lnTo>
                  <a:pt x="461351" y="605029"/>
                </a:lnTo>
                <a:lnTo>
                  <a:pt x="363129" y="605029"/>
                </a:lnTo>
                <a:lnTo>
                  <a:pt x="363129" y="466344"/>
                </a:lnTo>
                <a:close/>
                <a:moveTo>
                  <a:pt x="64882" y="469678"/>
                </a:moveTo>
                <a:lnTo>
                  <a:pt x="221750" y="469678"/>
                </a:lnTo>
                <a:lnTo>
                  <a:pt x="221750" y="486347"/>
                </a:lnTo>
                <a:lnTo>
                  <a:pt x="64882" y="486347"/>
                </a:lnTo>
                <a:lnTo>
                  <a:pt x="64882" y="469678"/>
                </a:lnTo>
                <a:close/>
                <a:moveTo>
                  <a:pt x="602150" y="469678"/>
                </a:moveTo>
                <a:lnTo>
                  <a:pt x="759017" y="469678"/>
                </a:lnTo>
                <a:lnTo>
                  <a:pt x="759017" y="486347"/>
                </a:lnTo>
                <a:lnTo>
                  <a:pt x="602150" y="486347"/>
                </a:lnTo>
                <a:lnTo>
                  <a:pt x="602150" y="469678"/>
                </a:lnTo>
                <a:close/>
                <a:moveTo>
                  <a:pt x="64882" y="498253"/>
                </a:moveTo>
                <a:lnTo>
                  <a:pt x="221750" y="498253"/>
                </a:lnTo>
                <a:lnTo>
                  <a:pt x="221750" y="515779"/>
                </a:lnTo>
                <a:lnTo>
                  <a:pt x="64882" y="515779"/>
                </a:lnTo>
                <a:lnTo>
                  <a:pt x="64882" y="498253"/>
                </a:lnTo>
                <a:close/>
                <a:moveTo>
                  <a:pt x="602150" y="498253"/>
                </a:moveTo>
                <a:lnTo>
                  <a:pt x="759017" y="498253"/>
                </a:lnTo>
                <a:lnTo>
                  <a:pt x="759017" y="515779"/>
                </a:lnTo>
                <a:lnTo>
                  <a:pt x="602150" y="515779"/>
                </a:lnTo>
                <a:lnTo>
                  <a:pt x="602150" y="498253"/>
                </a:lnTo>
                <a:close/>
                <a:moveTo>
                  <a:pt x="64882" y="527400"/>
                </a:moveTo>
                <a:lnTo>
                  <a:pt x="221750" y="527400"/>
                </a:lnTo>
                <a:lnTo>
                  <a:pt x="221750" y="544068"/>
                </a:lnTo>
                <a:lnTo>
                  <a:pt x="64882" y="544068"/>
                </a:lnTo>
                <a:lnTo>
                  <a:pt x="64882" y="527400"/>
                </a:lnTo>
                <a:close/>
                <a:moveTo>
                  <a:pt x="602150" y="527400"/>
                </a:moveTo>
                <a:lnTo>
                  <a:pt x="759017" y="527400"/>
                </a:lnTo>
                <a:lnTo>
                  <a:pt x="759017" y="544068"/>
                </a:lnTo>
                <a:lnTo>
                  <a:pt x="602150" y="544068"/>
                </a:lnTo>
                <a:lnTo>
                  <a:pt x="602150" y="527400"/>
                </a:lnTo>
                <a:close/>
                <a:moveTo>
                  <a:pt x="64882" y="555689"/>
                </a:moveTo>
                <a:lnTo>
                  <a:pt x="221750" y="555689"/>
                </a:lnTo>
                <a:lnTo>
                  <a:pt x="221750" y="572071"/>
                </a:lnTo>
                <a:lnTo>
                  <a:pt x="64882" y="572071"/>
                </a:lnTo>
                <a:lnTo>
                  <a:pt x="64882" y="555689"/>
                </a:lnTo>
                <a:close/>
                <a:moveTo>
                  <a:pt x="602150" y="555689"/>
                </a:moveTo>
                <a:lnTo>
                  <a:pt x="759017" y="555689"/>
                </a:lnTo>
                <a:lnTo>
                  <a:pt x="759017" y="572071"/>
                </a:lnTo>
                <a:lnTo>
                  <a:pt x="602150" y="572071"/>
                </a:lnTo>
                <a:lnTo>
                  <a:pt x="602150" y="555689"/>
                </a:lnTo>
                <a:close/>
                <a:moveTo>
                  <a:pt x="64882" y="583978"/>
                </a:moveTo>
                <a:lnTo>
                  <a:pt x="221750" y="583978"/>
                </a:lnTo>
                <a:lnTo>
                  <a:pt x="221750" y="605124"/>
                </a:lnTo>
                <a:lnTo>
                  <a:pt x="64882" y="605124"/>
                </a:lnTo>
                <a:lnTo>
                  <a:pt x="64882" y="583978"/>
                </a:lnTo>
                <a:close/>
                <a:moveTo>
                  <a:pt x="602150" y="583978"/>
                </a:moveTo>
                <a:lnTo>
                  <a:pt x="759017" y="583978"/>
                </a:lnTo>
                <a:lnTo>
                  <a:pt x="759017" y="605124"/>
                </a:lnTo>
                <a:lnTo>
                  <a:pt x="602150" y="605124"/>
                </a:lnTo>
                <a:lnTo>
                  <a:pt x="602150" y="583978"/>
                </a:lnTo>
                <a:close/>
              </a:path>
            </a:pathLst>
          </a:custGeom>
          <a:solidFill>
            <a:schemeClr val="accent1">
              <a:lumMod val="60000"/>
              <a:lumOff val="40000"/>
            </a:schemeClr>
          </a:solidFill>
          <a:ln w="9525" cap="flat">
            <a:noFill/>
            <a:prstDash val="solid"/>
            <a:miter/>
          </a:ln>
        </p:spPr>
        <p:txBody>
          <a:bodyPr rtlCol="0" anchor="ctr"/>
          <a:lstStyle/>
          <a:p>
            <a:endParaRPr lang="fr-FR"/>
          </a:p>
        </p:txBody>
      </p:sp>
      <p:sp>
        <p:nvSpPr>
          <p:cNvPr id="51" name="Rectangle 50">
            <a:extLst>
              <a:ext uri="{FF2B5EF4-FFF2-40B4-BE49-F238E27FC236}">
                <a16:creationId xmlns:a16="http://schemas.microsoft.com/office/drawing/2014/main" id="{B429B38F-DF09-604F-24D2-3685D4763F3D}"/>
              </a:ext>
            </a:extLst>
          </p:cNvPr>
          <p:cNvSpPr/>
          <p:nvPr/>
        </p:nvSpPr>
        <p:spPr>
          <a:xfrm>
            <a:off x="6303737" y="1192832"/>
            <a:ext cx="5502173" cy="5242487"/>
          </a:xfrm>
          <a:prstGeom prst="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a:extLst>
              <a:ext uri="{FF2B5EF4-FFF2-40B4-BE49-F238E27FC236}">
                <a16:creationId xmlns:a16="http://schemas.microsoft.com/office/drawing/2014/main" id="{327A1E60-4FEA-E2EB-90CD-5D9C5F8E12C1}"/>
              </a:ext>
            </a:extLst>
          </p:cNvPr>
          <p:cNvPicPr>
            <a:picLocks noChangeAspect="1"/>
          </p:cNvPicPr>
          <p:nvPr/>
        </p:nvPicPr>
        <p:blipFill>
          <a:blip r:embed="rId2"/>
          <a:stretch>
            <a:fillRect/>
          </a:stretch>
        </p:blipFill>
        <p:spPr>
          <a:xfrm>
            <a:off x="1028026" y="3851892"/>
            <a:ext cx="489266" cy="254418"/>
          </a:xfrm>
          <a:prstGeom prst="rect">
            <a:avLst/>
          </a:prstGeom>
        </p:spPr>
      </p:pic>
      <p:pic>
        <p:nvPicPr>
          <p:cNvPr id="9" name="Image 8">
            <a:extLst>
              <a:ext uri="{FF2B5EF4-FFF2-40B4-BE49-F238E27FC236}">
                <a16:creationId xmlns:a16="http://schemas.microsoft.com/office/drawing/2014/main" id="{F3FF6A12-3C94-5D56-5289-92D0AF6FA303}"/>
              </a:ext>
            </a:extLst>
          </p:cNvPr>
          <p:cNvPicPr>
            <a:picLocks noChangeAspect="1"/>
          </p:cNvPicPr>
          <p:nvPr/>
        </p:nvPicPr>
        <p:blipFill>
          <a:blip r:embed="rId3"/>
          <a:stretch>
            <a:fillRect/>
          </a:stretch>
        </p:blipFill>
        <p:spPr>
          <a:xfrm>
            <a:off x="2251422" y="3851892"/>
            <a:ext cx="489266" cy="254418"/>
          </a:xfrm>
          <a:prstGeom prst="rect">
            <a:avLst/>
          </a:prstGeom>
        </p:spPr>
      </p:pic>
      <p:pic>
        <p:nvPicPr>
          <p:cNvPr id="11" name="Image 10">
            <a:extLst>
              <a:ext uri="{FF2B5EF4-FFF2-40B4-BE49-F238E27FC236}">
                <a16:creationId xmlns:a16="http://schemas.microsoft.com/office/drawing/2014/main" id="{CC62A1A3-A1A0-C606-F971-84217571F07F}"/>
              </a:ext>
            </a:extLst>
          </p:cNvPr>
          <p:cNvPicPr>
            <a:picLocks noChangeAspect="1"/>
          </p:cNvPicPr>
          <p:nvPr/>
        </p:nvPicPr>
        <p:blipFill>
          <a:blip r:embed="rId4"/>
          <a:stretch>
            <a:fillRect/>
          </a:stretch>
        </p:blipFill>
        <p:spPr>
          <a:xfrm>
            <a:off x="1639724" y="3851892"/>
            <a:ext cx="489266" cy="254418"/>
          </a:xfrm>
          <a:prstGeom prst="rect">
            <a:avLst/>
          </a:prstGeom>
        </p:spPr>
      </p:pic>
      <p:grpSp>
        <p:nvGrpSpPr>
          <p:cNvPr id="12" name="Groupe 11">
            <a:extLst>
              <a:ext uri="{FF2B5EF4-FFF2-40B4-BE49-F238E27FC236}">
                <a16:creationId xmlns:a16="http://schemas.microsoft.com/office/drawing/2014/main" id="{36714A37-EE90-4DA0-016C-D6FAD43770A7}"/>
              </a:ext>
            </a:extLst>
          </p:cNvPr>
          <p:cNvGrpSpPr>
            <a:grpSpLocks noChangeAspect="1"/>
          </p:cNvGrpSpPr>
          <p:nvPr/>
        </p:nvGrpSpPr>
        <p:grpSpPr>
          <a:xfrm>
            <a:off x="4069429" y="2921149"/>
            <a:ext cx="393935" cy="336172"/>
            <a:chOff x="5810254" y="3108954"/>
            <a:chExt cx="571490" cy="487691"/>
          </a:xfrm>
          <a:solidFill>
            <a:schemeClr val="accent6"/>
          </a:solidFill>
        </p:grpSpPr>
        <p:sp>
          <p:nvSpPr>
            <p:cNvPr id="13" name="Forme libre : forme 12">
              <a:extLst>
                <a:ext uri="{FF2B5EF4-FFF2-40B4-BE49-F238E27FC236}">
                  <a16:creationId xmlns:a16="http://schemas.microsoft.com/office/drawing/2014/main" id="{96A04729-B700-9DCA-1F18-39A4A302DBE0}"/>
                </a:ext>
              </a:extLst>
            </p:cNvPr>
            <p:cNvSpPr/>
            <p:nvPr/>
          </p:nvSpPr>
          <p:spPr>
            <a:xfrm>
              <a:off x="5866744" y="3226737"/>
              <a:ext cx="108179" cy="185393"/>
            </a:xfrm>
            <a:custGeom>
              <a:avLst/>
              <a:gdLst>
                <a:gd name="connsiteX0" fmla="*/ 101036 w 108179"/>
                <a:gd name="connsiteY0" fmla="*/ 0 h 185393"/>
                <a:gd name="connsiteX1" fmla="*/ 7144 w 108179"/>
                <a:gd name="connsiteY1" fmla="*/ 0 h 185393"/>
                <a:gd name="connsiteX2" fmla="*/ 0 w 108179"/>
                <a:gd name="connsiteY2" fmla="*/ 7144 h 185393"/>
                <a:gd name="connsiteX3" fmla="*/ 0 w 108179"/>
                <a:gd name="connsiteY3" fmla="*/ 178250 h 185393"/>
                <a:gd name="connsiteX4" fmla="*/ 7144 w 108179"/>
                <a:gd name="connsiteY4" fmla="*/ 185394 h 185393"/>
                <a:gd name="connsiteX5" fmla="*/ 101036 w 108179"/>
                <a:gd name="connsiteY5" fmla="*/ 185394 h 185393"/>
                <a:gd name="connsiteX6" fmla="*/ 108180 w 108179"/>
                <a:gd name="connsiteY6" fmla="*/ 178250 h 185393"/>
                <a:gd name="connsiteX7" fmla="*/ 108180 w 108179"/>
                <a:gd name="connsiteY7" fmla="*/ 7144 h 185393"/>
                <a:gd name="connsiteX8" fmla="*/ 101036 w 108179"/>
                <a:gd name="connsiteY8" fmla="*/ 0 h 185393"/>
                <a:gd name="connsiteX9" fmla="*/ 14288 w 108179"/>
                <a:gd name="connsiteY9" fmla="*/ 70392 h 185393"/>
                <a:gd name="connsiteX10" fmla="*/ 46946 w 108179"/>
                <a:gd name="connsiteY10" fmla="*/ 70392 h 185393"/>
                <a:gd name="connsiteX11" fmla="*/ 46946 w 108179"/>
                <a:gd name="connsiteY11" fmla="*/ 113193 h 185393"/>
                <a:gd name="connsiteX12" fmla="*/ 14288 w 108179"/>
                <a:gd name="connsiteY12" fmla="*/ 113193 h 185393"/>
                <a:gd name="connsiteX13" fmla="*/ 61234 w 108179"/>
                <a:gd name="connsiteY13" fmla="*/ 70392 h 185393"/>
                <a:gd name="connsiteX14" fmla="*/ 93892 w 108179"/>
                <a:gd name="connsiteY14" fmla="*/ 70392 h 185393"/>
                <a:gd name="connsiteX15" fmla="*/ 93892 w 108179"/>
                <a:gd name="connsiteY15" fmla="*/ 113193 h 185393"/>
                <a:gd name="connsiteX16" fmla="*/ 61234 w 108179"/>
                <a:gd name="connsiteY16" fmla="*/ 113193 h 185393"/>
                <a:gd name="connsiteX17" fmla="*/ 93892 w 108179"/>
                <a:gd name="connsiteY17" fmla="*/ 56104 h 185393"/>
                <a:gd name="connsiteX18" fmla="*/ 61234 w 108179"/>
                <a:gd name="connsiteY18" fmla="*/ 56104 h 185393"/>
                <a:gd name="connsiteX19" fmla="*/ 61234 w 108179"/>
                <a:gd name="connsiteY19" fmla="*/ 14288 h 185393"/>
                <a:gd name="connsiteX20" fmla="*/ 93892 w 108179"/>
                <a:gd name="connsiteY20" fmla="*/ 14288 h 185393"/>
                <a:gd name="connsiteX21" fmla="*/ 46946 w 108179"/>
                <a:gd name="connsiteY21" fmla="*/ 14288 h 185393"/>
                <a:gd name="connsiteX22" fmla="*/ 46946 w 108179"/>
                <a:gd name="connsiteY22" fmla="*/ 56104 h 185393"/>
                <a:gd name="connsiteX23" fmla="*/ 14288 w 108179"/>
                <a:gd name="connsiteY23" fmla="*/ 56104 h 185393"/>
                <a:gd name="connsiteX24" fmla="*/ 14288 w 108179"/>
                <a:gd name="connsiteY24" fmla="*/ 14288 h 185393"/>
                <a:gd name="connsiteX25" fmla="*/ 14288 w 108179"/>
                <a:gd name="connsiteY25" fmla="*/ 127481 h 185393"/>
                <a:gd name="connsiteX26" fmla="*/ 46946 w 108179"/>
                <a:gd name="connsiteY26" fmla="*/ 127481 h 185393"/>
                <a:gd name="connsiteX27" fmla="*/ 46946 w 108179"/>
                <a:gd name="connsiteY27" fmla="*/ 171106 h 185393"/>
                <a:gd name="connsiteX28" fmla="*/ 14288 w 108179"/>
                <a:gd name="connsiteY28" fmla="*/ 171106 h 185393"/>
                <a:gd name="connsiteX29" fmla="*/ 61234 w 108179"/>
                <a:gd name="connsiteY29" fmla="*/ 171106 h 185393"/>
                <a:gd name="connsiteX30" fmla="*/ 61234 w 108179"/>
                <a:gd name="connsiteY30" fmla="*/ 127481 h 185393"/>
                <a:gd name="connsiteX31" fmla="*/ 93892 w 108179"/>
                <a:gd name="connsiteY31" fmla="*/ 127481 h 185393"/>
                <a:gd name="connsiteX32" fmla="*/ 93892 w 108179"/>
                <a:gd name="connsiteY32" fmla="*/ 171106 h 18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8179" h="185393">
                  <a:moveTo>
                    <a:pt x="101036" y="0"/>
                  </a:moveTo>
                  <a:lnTo>
                    <a:pt x="7144" y="0"/>
                  </a:lnTo>
                  <a:cubicBezTo>
                    <a:pt x="3199" y="1"/>
                    <a:pt x="1" y="3199"/>
                    <a:pt x="0" y="7144"/>
                  </a:cubicBezTo>
                  <a:lnTo>
                    <a:pt x="0" y="178250"/>
                  </a:lnTo>
                  <a:cubicBezTo>
                    <a:pt x="1" y="182195"/>
                    <a:pt x="3199" y="185393"/>
                    <a:pt x="7144" y="185394"/>
                  </a:cubicBezTo>
                  <a:lnTo>
                    <a:pt x="101036" y="185394"/>
                  </a:lnTo>
                  <a:cubicBezTo>
                    <a:pt x="104980" y="185393"/>
                    <a:pt x="108179" y="182195"/>
                    <a:pt x="108180" y="178250"/>
                  </a:cubicBezTo>
                  <a:lnTo>
                    <a:pt x="108180" y="7144"/>
                  </a:lnTo>
                  <a:cubicBezTo>
                    <a:pt x="108179" y="3199"/>
                    <a:pt x="104980" y="1"/>
                    <a:pt x="101036" y="0"/>
                  </a:cubicBezTo>
                  <a:close/>
                  <a:moveTo>
                    <a:pt x="14288" y="70392"/>
                  </a:moveTo>
                  <a:lnTo>
                    <a:pt x="46946" y="70392"/>
                  </a:lnTo>
                  <a:lnTo>
                    <a:pt x="46946" y="113193"/>
                  </a:lnTo>
                  <a:lnTo>
                    <a:pt x="14288" y="113193"/>
                  </a:lnTo>
                  <a:close/>
                  <a:moveTo>
                    <a:pt x="61234" y="70392"/>
                  </a:moveTo>
                  <a:lnTo>
                    <a:pt x="93892" y="70392"/>
                  </a:lnTo>
                  <a:lnTo>
                    <a:pt x="93892" y="113193"/>
                  </a:lnTo>
                  <a:lnTo>
                    <a:pt x="61234" y="113193"/>
                  </a:lnTo>
                  <a:close/>
                  <a:moveTo>
                    <a:pt x="93892" y="56104"/>
                  </a:moveTo>
                  <a:lnTo>
                    <a:pt x="61234" y="56104"/>
                  </a:lnTo>
                  <a:lnTo>
                    <a:pt x="61234" y="14288"/>
                  </a:lnTo>
                  <a:lnTo>
                    <a:pt x="93892" y="14288"/>
                  </a:lnTo>
                  <a:close/>
                  <a:moveTo>
                    <a:pt x="46946" y="14288"/>
                  </a:moveTo>
                  <a:lnTo>
                    <a:pt x="46946" y="56104"/>
                  </a:lnTo>
                  <a:lnTo>
                    <a:pt x="14288" y="56104"/>
                  </a:lnTo>
                  <a:lnTo>
                    <a:pt x="14288" y="14288"/>
                  </a:lnTo>
                  <a:close/>
                  <a:moveTo>
                    <a:pt x="14288" y="127481"/>
                  </a:moveTo>
                  <a:lnTo>
                    <a:pt x="46946" y="127481"/>
                  </a:lnTo>
                  <a:lnTo>
                    <a:pt x="46946" y="171106"/>
                  </a:lnTo>
                  <a:lnTo>
                    <a:pt x="14288" y="171106"/>
                  </a:lnTo>
                  <a:close/>
                  <a:moveTo>
                    <a:pt x="61234" y="171106"/>
                  </a:moveTo>
                  <a:lnTo>
                    <a:pt x="61234" y="127481"/>
                  </a:lnTo>
                  <a:lnTo>
                    <a:pt x="93892" y="127481"/>
                  </a:lnTo>
                  <a:lnTo>
                    <a:pt x="93892" y="171106"/>
                  </a:lnTo>
                  <a:close/>
                </a:path>
              </a:pathLst>
            </a:custGeom>
            <a:grpFill/>
            <a:ln w="9525" cap="flat">
              <a:noFill/>
              <a:prstDash val="solid"/>
              <a:miter/>
            </a:ln>
          </p:spPr>
          <p:txBody>
            <a:bodyPr rtlCol="0" anchor="ctr"/>
            <a:lstStyle/>
            <a:p>
              <a:endParaRPr lang="fr-FR"/>
            </a:p>
          </p:txBody>
        </p:sp>
        <p:sp>
          <p:nvSpPr>
            <p:cNvPr id="15" name="Forme libre : forme 14">
              <a:extLst>
                <a:ext uri="{FF2B5EF4-FFF2-40B4-BE49-F238E27FC236}">
                  <a16:creationId xmlns:a16="http://schemas.microsoft.com/office/drawing/2014/main" id="{CDDDD91C-1EF8-97DC-8BBA-7CAE736DBB30}"/>
                </a:ext>
              </a:extLst>
            </p:cNvPr>
            <p:cNvSpPr/>
            <p:nvPr/>
          </p:nvSpPr>
          <p:spPr>
            <a:xfrm>
              <a:off x="6041142" y="3179349"/>
              <a:ext cx="107081" cy="96553"/>
            </a:xfrm>
            <a:custGeom>
              <a:avLst/>
              <a:gdLst>
                <a:gd name="connsiteX0" fmla="*/ 7144 w 107081"/>
                <a:gd name="connsiteY0" fmla="*/ 96553 h 96553"/>
                <a:gd name="connsiteX1" fmla="*/ 99938 w 107081"/>
                <a:gd name="connsiteY1" fmla="*/ 96553 h 96553"/>
                <a:gd name="connsiteX2" fmla="*/ 107082 w 107081"/>
                <a:gd name="connsiteY2" fmla="*/ 89409 h 96553"/>
                <a:gd name="connsiteX3" fmla="*/ 107082 w 107081"/>
                <a:gd name="connsiteY3" fmla="*/ 7144 h 96553"/>
                <a:gd name="connsiteX4" fmla="*/ 99938 w 107081"/>
                <a:gd name="connsiteY4" fmla="*/ 0 h 96553"/>
                <a:gd name="connsiteX5" fmla="*/ 7144 w 107081"/>
                <a:gd name="connsiteY5" fmla="*/ 0 h 96553"/>
                <a:gd name="connsiteX6" fmla="*/ 0 w 107081"/>
                <a:gd name="connsiteY6" fmla="*/ 7144 h 96553"/>
                <a:gd name="connsiteX7" fmla="*/ 0 w 107081"/>
                <a:gd name="connsiteY7" fmla="*/ 89408 h 96553"/>
                <a:gd name="connsiteX8" fmla="*/ 7144 w 107081"/>
                <a:gd name="connsiteY8" fmla="*/ 96553 h 96553"/>
                <a:gd name="connsiteX9" fmla="*/ 14288 w 107081"/>
                <a:gd name="connsiteY9" fmla="*/ 82266 h 96553"/>
                <a:gd name="connsiteX10" fmla="*/ 14288 w 107081"/>
                <a:gd name="connsiteY10" fmla="*/ 54434 h 96553"/>
                <a:gd name="connsiteX11" fmla="*/ 46397 w 107081"/>
                <a:gd name="connsiteY11" fmla="*/ 54434 h 96553"/>
                <a:gd name="connsiteX12" fmla="*/ 46397 w 107081"/>
                <a:gd name="connsiteY12" fmla="*/ 82266 h 96553"/>
                <a:gd name="connsiteX13" fmla="*/ 14288 w 107081"/>
                <a:gd name="connsiteY13" fmla="*/ 82266 h 96553"/>
                <a:gd name="connsiteX14" fmla="*/ 71131 w 107081"/>
                <a:gd name="connsiteY14" fmla="*/ 82266 h 96553"/>
                <a:gd name="connsiteX15" fmla="*/ 60685 w 107081"/>
                <a:gd name="connsiteY15" fmla="*/ 82266 h 96553"/>
                <a:gd name="connsiteX16" fmla="*/ 60685 w 107081"/>
                <a:gd name="connsiteY16" fmla="*/ 54434 h 96553"/>
                <a:gd name="connsiteX17" fmla="*/ 92794 w 107081"/>
                <a:gd name="connsiteY17" fmla="*/ 54434 h 96553"/>
                <a:gd name="connsiteX18" fmla="*/ 92794 w 107081"/>
                <a:gd name="connsiteY18" fmla="*/ 82266 h 96553"/>
                <a:gd name="connsiteX19" fmla="*/ 92794 w 107081"/>
                <a:gd name="connsiteY19" fmla="*/ 14288 h 96553"/>
                <a:gd name="connsiteX20" fmla="*/ 92794 w 107081"/>
                <a:gd name="connsiteY20" fmla="*/ 40146 h 96553"/>
                <a:gd name="connsiteX21" fmla="*/ 60685 w 107081"/>
                <a:gd name="connsiteY21" fmla="*/ 40146 h 96553"/>
                <a:gd name="connsiteX22" fmla="*/ 60685 w 107081"/>
                <a:gd name="connsiteY22" fmla="*/ 14288 h 96553"/>
                <a:gd name="connsiteX23" fmla="*/ 92794 w 107081"/>
                <a:gd name="connsiteY23" fmla="*/ 14288 h 96553"/>
                <a:gd name="connsiteX24" fmla="*/ 21710 w 107081"/>
                <a:gd name="connsiteY24" fmla="*/ 14288 h 96553"/>
                <a:gd name="connsiteX25" fmla="*/ 46397 w 107081"/>
                <a:gd name="connsiteY25" fmla="*/ 14288 h 96553"/>
                <a:gd name="connsiteX26" fmla="*/ 46397 w 107081"/>
                <a:gd name="connsiteY26" fmla="*/ 40146 h 96553"/>
                <a:gd name="connsiteX27" fmla="*/ 14288 w 107081"/>
                <a:gd name="connsiteY27" fmla="*/ 40146 h 96553"/>
                <a:gd name="connsiteX28" fmla="*/ 14288 w 107081"/>
                <a:gd name="connsiteY28" fmla="*/ 14288 h 9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7081" h="96553">
                  <a:moveTo>
                    <a:pt x="7144" y="96553"/>
                  </a:moveTo>
                  <a:lnTo>
                    <a:pt x="99938" y="96553"/>
                  </a:lnTo>
                  <a:cubicBezTo>
                    <a:pt x="103883" y="96551"/>
                    <a:pt x="107081" y="93354"/>
                    <a:pt x="107082" y="89409"/>
                  </a:cubicBezTo>
                  <a:lnTo>
                    <a:pt x="107082" y="7144"/>
                  </a:lnTo>
                  <a:cubicBezTo>
                    <a:pt x="107081" y="3198"/>
                    <a:pt x="103883" y="1"/>
                    <a:pt x="99938" y="0"/>
                  </a:cubicBezTo>
                  <a:lnTo>
                    <a:pt x="7144" y="0"/>
                  </a:lnTo>
                  <a:cubicBezTo>
                    <a:pt x="3199" y="1"/>
                    <a:pt x="1" y="3198"/>
                    <a:pt x="0" y="7144"/>
                  </a:cubicBezTo>
                  <a:lnTo>
                    <a:pt x="0" y="89408"/>
                  </a:lnTo>
                  <a:cubicBezTo>
                    <a:pt x="1" y="93354"/>
                    <a:pt x="3198" y="96551"/>
                    <a:pt x="7144" y="96553"/>
                  </a:cubicBezTo>
                  <a:close/>
                  <a:moveTo>
                    <a:pt x="14288" y="82266"/>
                  </a:moveTo>
                  <a:lnTo>
                    <a:pt x="14288" y="54434"/>
                  </a:lnTo>
                  <a:lnTo>
                    <a:pt x="46397" y="54434"/>
                  </a:lnTo>
                  <a:lnTo>
                    <a:pt x="46397" y="82266"/>
                  </a:lnTo>
                  <a:lnTo>
                    <a:pt x="14288" y="82266"/>
                  </a:lnTo>
                  <a:close/>
                  <a:moveTo>
                    <a:pt x="71131" y="82266"/>
                  </a:moveTo>
                  <a:lnTo>
                    <a:pt x="60685" y="82266"/>
                  </a:lnTo>
                  <a:lnTo>
                    <a:pt x="60685" y="54434"/>
                  </a:lnTo>
                  <a:lnTo>
                    <a:pt x="92794" y="54434"/>
                  </a:lnTo>
                  <a:lnTo>
                    <a:pt x="92794" y="82266"/>
                  </a:lnTo>
                  <a:close/>
                  <a:moveTo>
                    <a:pt x="92794" y="14288"/>
                  </a:moveTo>
                  <a:lnTo>
                    <a:pt x="92794" y="40146"/>
                  </a:lnTo>
                  <a:lnTo>
                    <a:pt x="60685" y="40146"/>
                  </a:lnTo>
                  <a:lnTo>
                    <a:pt x="60685" y="14288"/>
                  </a:lnTo>
                  <a:lnTo>
                    <a:pt x="92794" y="14288"/>
                  </a:lnTo>
                  <a:close/>
                  <a:moveTo>
                    <a:pt x="21710" y="14288"/>
                  </a:moveTo>
                  <a:lnTo>
                    <a:pt x="46397" y="14288"/>
                  </a:lnTo>
                  <a:lnTo>
                    <a:pt x="46397" y="40146"/>
                  </a:lnTo>
                  <a:lnTo>
                    <a:pt x="14288" y="40146"/>
                  </a:lnTo>
                  <a:lnTo>
                    <a:pt x="14288" y="14288"/>
                  </a:lnTo>
                  <a:close/>
                </a:path>
              </a:pathLst>
            </a:custGeom>
            <a:grpFill/>
            <a:ln w="9525" cap="flat">
              <a:noFill/>
              <a:prstDash val="solid"/>
              <a:miter/>
            </a:ln>
          </p:spPr>
          <p:txBody>
            <a:bodyPr rtlCol="0" anchor="ctr"/>
            <a:lstStyle/>
            <a:p>
              <a:endParaRPr lang="fr-FR"/>
            </a:p>
          </p:txBody>
        </p:sp>
        <p:sp>
          <p:nvSpPr>
            <p:cNvPr id="16" name="Forme libre : forme 15">
              <a:extLst>
                <a:ext uri="{FF2B5EF4-FFF2-40B4-BE49-F238E27FC236}">
                  <a16:creationId xmlns:a16="http://schemas.microsoft.com/office/drawing/2014/main" id="{8E0AA8F9-0D56-3BC5-647C-3E8AA831CA73}"/>
                </a:ext>
              </a:extLst>
            </p:cNvPr>
            <p:cNvSpPr/>
            <p:nvPr/>
          </p:nvSpPr>
          <p:spPr>
            <a:xfrm>
              <a:off x="6214444" y="3226737"/>
              <a:ext cx="108179" cy="185393"/>
            </a:xfrm>
            <a:custGeom>
              <a:avLst/>
              <a:gdLst>
                <a:gd name="connsiteX0" fmla="*/ 7144 w 108179"/>
                <a:gd name="connsiteY0" fmla="*/ 185394 h 185393"/>
                <a:gd name="connsiteX1" fmla="*/ 101035 w 108179"/>
                <a:gd name="connsiteY1" fmla="*/ 185394 h 185393"/>
                <a:gd name="connsiteX2" fmla="*/ 108179 w 108179"/>
                <a:gd name="connsiteY2" fmla="*/ 178250 h 185393"/>
                <a:gd name="connsiteX3" fmla="*/ 108179 w 108179"/>
                <a:gd name="connsiteY3" fmla="*/ 7144 h 185393"/>
                <a:gd name="connsiteX4" fmla="*/ 101035 w 108179"/>
                <a:gd name="connsiteY4" fmla="*/ 0 h 185393"/>
                <a:gd name="connsiteX5" fmla="*/ 7144 w 108179"/>
                <a:gd name="connsiteY5" fmla="*/ 0 h 185393"/>
                <a:gd name="connsiteX6" fmla="*/ 0 w 108179"/>
                <a:gd name="connsiteY6" fmla="*/ 7144 h 185393"/>
                <a:gd name="connsiteX7" fmla="*/ 0 w 108179"/>
                <a:gd name="connsiteY7" fmla="*/ 178250 h 185393"/>
                <a:gd name="connsiteX8" fmla="*/ 7144 w 108179"/>
                <a:gd name="connsiteY8" fmla="*/ 185394 h 185393"/>
                <a:gd name="connsiteX9" fmla="*/ 93892 w 108179"/>
                <a:gd name="connsiteY9" fmla="*/ 113193 h 185393"/>
                <a:gd name="connsiteX10" fmla="*/ 61233 w 108179"/>
                <a:gd name="connsiteY10" fmla="*/ 113193 h 185393"/>
                <a:gd name="connsiteX11" fmla="*/ 61233 w 108179"/>
                <a:gd name="connsiteY11" fmla="*/ 70392 h 185393"/>
                <a:gd name="connsiteX12" fmla="*/ 93892 w 108179"/>
                <a:gd name="connsiteY12" fmla="*/ 70392 h 185393"/>
                <a:gd name="connsiteX13" fmla="*/ 46946 w 108179"/>
                <a:gd name="connsiteY13" fmla="*/ 113193 h 185393"/>
                <a:gd name="connsiteX14" fmla="*/ 14288 w 108179"/>
                <a:gd name="connsiteY14" fmla="*/ 113193 h 185393"/>
                <a:gd name="connsiteX15" fmla="*/ 14288 w 108179"/>
                <a:gd name="connsiteY15" fmla="*/ 70392 h 185393"/>
                <a:gd name="connsiteX16" fmla="*/ 46946 w 108179"/>
                <a:gd name="connsiteY16" fmla="*/ 70392 h 185393"/>
                <a:gd name="connsiteX17" fmla="*/ 14288 w 108179"/>
                <a:gd name="connsiteY17" fmla="*/ 127481 h 185393"/>
                <a:gd name="connsiteX18" fmla="*/ 46946 w 108179"/>
                <a:gd name="connsiteY18" fmla="*/ 127481 h 185393"/>
                <a:gd name="connsiteX19" fmla="*/ 46946 w 108179"/>
                <a:gd name="connsiteY19" fmla="*/ 171106 h 185393"/>
                <a:gd name="connsiteX20" fmla="*/ 14288 w 108179"/>
                <a:gd name="connsiteY20" fmla="*/ 171106 h 185393"/>
                <a:gd name="connsiteX21" fmla="*/ 61233 w 108179"/>
                <a:gd name="connsiteY21" fmla="*/ 171106 h 185393"/>
                <a:gd name="connsiteX22" fmla="*/ 61233 w 108179"/>
                <a:gd name="connsiteY22" fmla="*/ 127481 h 185393"/>
                <a:gd name="connsiteX23" fmla="*/ 93892 w 108179"/>
                <a:gd name="connsiteY23" fmla="*/ 127481 h 185393"/>
                <a:gd name="connsiteX24" fmla="*/ 93892 w 108179"/>
                <a:gd name="connsiteY24" fmla="*/ 171106 h 185393"/>
                <a:gd name="connsiteX25" fmla="*/ 93892 w 108179"/>
                <a:gd name="connsiteY25" fmla="*/ 56104 h 185393"/>
                <a:gd name="connsiteX26" fmla="*/ 61233 w 108179"/>
                <a:gd name="connsiteY26" fmla="*/ 56104 h 185393"/>
                <a:gd name="connsiteX27" fmla="*/ 61233 w 108179"/>
                <a:gd name="connsiteY27" fmla="*/ 14288 h 185393"/>
                <a:gd name="connsiteX28" fmla="*/ 93892 w 108179"/>
                <a:gd name="connsiteY28" fmla="*/ 14288 h 185393"/>
                <a:gd name="connsiteX29" fmla="*/ 46946 w 108179"/>
                <a:gd name="connsiteY29" fmla="*/ 14288 h 185393"/>
                <a:gd name="connsiteX30" fmla="*/ 46946 w 108179"/>
                <a:gd name="connsiteY30" fmla="*/ 56104 h 185393"/>
                <a:gd name="connsiteX31" fmla="*/ 14288 w 108179"/>
                <a:gd name="connsiteY31" fmla="*/ 56104 h 185393"/>
                <a:gd name="connsiteX32" fmla="*/ 14288 w 108179"/>
                <a:gd name="connsiteY32" fmla="*/ 14288 h 18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8179" h="185393">
                  <a:moveTo>
                    <a:pt x="7144" y="185394"/>
                  </a:moveTo>
                  <a:lnTo>
                    <a:pt x="101035" y="185394"/>
                  </a:lnTo>
                  <a:cubicBezTo>
                    <a:pt x="104980" y="185393"/>
                    <a:pt x="108178" y="182195"/>
                    <a:pt x="108179" y="178250"/>
                  </a:cubicBezTo>
                  <a:lnTo>
                    <a:pt x="108179" y="7144"/>
                  </a:lnTo>
                  <a:cubicBezTo>
                    <a:pt x="108178" y="3199"/>
                    <a:pt x="104980" y="1"/>
                    <a:pt x="101035" y="0"/>
                  </a:cubicBezTo>
                  <a:lnTo>
                    <a:pt x="7144" y="0"/>
                  </a:lnTo>
                  <a:cubicBezTo>
                    <a:pt x="3198" y="1"/>
                    <a:pt x="1" y="3199"/>
                    <a:pt x="0" y="7144"/>
                  </a:cubicBezTo>
                  <a:lnTo>
                    <a:pt x="0" y="178250"/>
                  </a:lnTo>
                  <a:cubicBezTo>
                    <a:pt x="1" y="182195"/>
                    <a:pt x="3198" y="185393"/>
                    <a:pt x="7144" y="185394"/>
                  </a:cubicBezTo>
                  <a:close/>
                  <a:moveTo>
                    <a:pt x="93892" y="113193"/>
                  </a:moveTo>
                  <a:lnTo>
                    <a:pt x="61233" y="113193"/>
                  </a:lnTo>
                  <a:lnTo>
                    <a:pt x="61233" y="70392"/>
                  </a:lnTo>
                  <a:lnTo>
                    <a:pt x="93892" y="70392"/>
                  </a:lnTo>
                  <a:close/>
                  <a:moveTo>
                    <a:pt x="46946" y="113193"/>
                  </a:moveTo>
                  <a:lnTo>
                    <a:pt x="14288" y="113193"/>
                  </a:lnTo>
                  <a:lnTo>
                    <a:pt x="14288" y="70392"/>
                  </a:lnTo>
                  <a:lnTo>
                    <a:pt x="46946" y="70392"/>
                  </a:lnTo>
                  <a:close/>
                  <a:moveTo>
                    <a:pt x="14288" y="127481"/>
                  </a:moveTo>
                  <a:lnTo>
                    <a:pt x="46946" y="127481"/>
                  </a:lnTo>
                  <a:lnTo>
                    <a:pt x="46946" y="171106"/>
                  </a:lnTo>
                  <a:lnTo>
                    <a:pt x="14288" y="171106"/>
                  </a:lnTo>
                  <a:close/>
                  <a:moveTo>
                    <a:pt x="61233" y="171106"/>
                  </a:moveTo>
                  <a:lnTo>
                    <a:pt x="61233" y="127481"/>
                  </a:lnTo>
                  <a:lnTo>
                    <a:pt x="93892" y="127481"/>
                  </a:lnTo>
                  <a:lnTo>
                    <a:pt x="93892" y="171106"/>
                  </a:lnTo>
                  <a:close/>
                  <a:moveTo>
                    <a:pt x="93892" y="56104"/>
                  </a:moveTo>
                  <a:lnTo>
                    <a:pt x="61233" y="56104"/>
                  </a:lnTo>
                  <a:lnTo>
                    <a:pt x="61233" y="14288"/>
                  </a:lnTo>
                  <a:lnTo>
                    <a:pt x="93892" y="14288"/>
                  </a:lnTo>
                  <a:close/>
                  <a:moveTo>
                    <a:pt x="46946" y="14288"/>
                  </a:moveTo>
                  <a:lnTo>
                    <a:pt x="46946" y="56104"/>
                  </a:lnTo>
                  <a:lnTo>
                    <a:pt x="14288" y="56104"/>
                  </a:lnTo>
                  <a:lnTo>
                    <a:pt x="14288" y="14288"/>
                  </a:lnTo>
                  <a:close/>
                </a:path>
              </a:pathLst>
            </a:custGeom>
            <a:grpFill/>
            <a:ln w="9525" cap="flat">
              <a:noFill/>
              <a:prstDash val="solid"/>
              <a:miter/>
            </a:ln>
          </p:spPr>
          <p:txBody>
            <a:bodyPr rtlCol="0" anchor="ctr"/>
            <a:lstStyle/>
            <a:p>
              <a:endParaRPr lang="fr-FR"/>
            </a:p>
          </p:txBody>
        </p:sp>
        <p:sp>
          <p:nvSpPr>
            <p:cNvPr id="17" name="Forme libre : forme 16">
              <a:extLst>
                <a:ext uri="{FF2B5EF4-FFF2-40B4-BE49-F238E27FC236}">
                  <a16:creationId xmlns:a16="http://schemas.microsoft.com/office/drawing/2014/main" id="{4F4395B1-6368-0DD6-7B10-4FA6CA7D1E48}"/>
                </a:ext>
              </a:extLst>
            </p:cNvPr>
            <p:cNvSpPr/>
            <p:nvPr/>
          </p:nvSpPr>
          <p:spPr>
            <a:xfrm>
              <a:off x="5810254" y="3108954"/>
              <a:ext cx="571490" cy="487691"/>
            </a:xfrm>
            <a:custGeom>
              <a:avLst/>
              <a:gdLst>
                <a:gd name="connsiteX0" fmla="*/ 564347 w 571490"/>
                <a:gd name="connsiteY0" fmla="*/ 438280 h 487691"/>
                <a:gd name="connsiteX1" fmla="*/ 550213 w 571490"/>
                <a:gd name="connsiteY1" fmla="*/ 438280 h 487691"/>
                <a:gd name="connsiteX2" fmla="*/ 550213 w 571490"/>
                <a:gd name="connsiteY2" fmla="*/ 88729 h 487691"/>
                <a:gd name="connsiteX3" fmla="*/ 543069 w 571490"/>
                <a:gd name="connsiteY3" fmla="*/ 81585 h 487691"/>
                <a:gd name="connsiteX4" fmla="*/ 504035 w 571490"/>
                <a:gd name="connsiteY4" fmla="*/ 81585 h 487691"/>
                <a:gd name="connsiteX5" fmla="*/ 504035 w 571490"/>
                <a:gd name="connsiteY5" fmla="*/ 58476 h 487691"/>
                <a:gd name="connsiteX6" fmla="*/ 496891 w 571490"/>
                <a:gd name="connsiteY6" fmla="*/ 51332 h 487691"/>
                <a:gd name="connsiteX7" fmla="*/ 419673 w 571490"/>
                <a:gd name="connsiteY7" fmla="*/ 51332 h 487691"/>
                <a:gd name="connsiteX8" fmla="*/ 412529 w 571490"/>
                <a:gd name="connsiteY8" fmla="*/ 58476 h 487691"/>
                <a:gd name="connsiteX9" fmla="*/ 412529 w 571490"/>
                <a:gd name="connsiteY9" fmla="*/ 81585 h 487691"/>
                <a:gd name="connsiteX10" fmla="*/ 382833 w 571490"/>
                <a:gd name="connsiteY10" fmla="*/ 81585 h 487691"/>
                <a:gd name="connsiteX11" fmla="*/ 382833 w 571490"/>
                <a:gd name="connsiteY11" fmla="*/ 36082 h 487691"/>
                <a:gd name="connsiteX12" fmla="*/ 375689 w 571490"/>
                <a:gd name="connsiteY12" fmla="*/ 28938 h 487691"/>
                <a:gd name="connsiteX13" fmla="*/ 355411 w 571490"/>
                <a:gd name="connsiteY13" fmla="*/ 28938 h 487691"/>
                <a:gd name="connsiteX14" fmla="*/ 355411 w 571490"/>
                <a:gd name="connsiteY14" fmla="*/ 7144 h 487691"/>
                <a:gd name="connsiteX15" fmla="*/ 348267 w 571490"/>
                <a:gd name="connsiteY15" fmla="*/ 0 h 487691"/>
                <a:gd name="connsiteX16" fmla="*/ 220591 w 571490"/>
                <a:gd name="connsiteY16" fmla="*/ 0 h 487691"/>
                <a:gd name="connsiteX17" fmla="*/ 213448 w 571490"/>
                <a:gd name="connsiteY17" fmla="*/ 7144 h 487691"/>
                <a:gd name="connsiteX18" fmla="*/ 213448 w 571490"/>
                <a:gd name="connsiteY18" fmla="*/ 28938 h 487691"/>
                <a:gd name="connsiteX19" fmla="*/ 193170 w 571490"/>
                <a:gd name="connsiteY19" fmla="*/ 28938 h 487691"/>
                <a:gd name="connsiteX20" fmla="*/ 186026 w 571490"/>
                <a:gd name="connsiteY20" fmla="*/ 36082 h 487691"/>
                <a:gd name="connsiteX21" fmla="*/ 186026 w 571490"/>
                <a:gd name="connsiteY21" fmla="*/ 81585 h 487691"/>
                <a:gd name="connsiteX22" fmla="*/ 156330 w 571490"/>
                <a:gd name="connsiteY22" fmla="*/ 81585 h 487691"/>
                <a:gd name="connsiteX23" fmla="*/ 156330 w 571490"/>
                <a:gd name="connsiteY23" fmla="*/ 58476 h 487691"/>
                <a:gd name="connsiteX24" fmla="*/ 149186 w 571490"/>
                <a:gd name="connsiteY24" fmla="*/ 51332 h 487691"/>
                <a:gd name="connsiteX25" fmla="*/ 71968 w 571490"/>
                <a:gd name="connsiteY25" fmla="*/ 51332 h 487691"/>
                <a:gd name="connsiteX26" fmla="*/ 64824 w 571490"/>
                <a:gd name="connsiteY26" fmla="*/ 58476 h 487691"/>
                <a:gd name="connsiteX27" fmla="*/ 64824 w 571490"/>
                <a:gd name="connsiteY27" fmla="*/ 81585 h 487691"/>
                <a:gd name="connsiteX28" fmla="*/ 25789 w 571490"/>
                <a:gd name="connsiteY28" fmla="*/ 81585 h 487691"/>
                <a:gd name="connsiteX29" fmla="*/ 18645 w 571490"/>
                <a:gd name="connsiteY29" fmla="*/ 88729 h 487691"/>
                <a:gd name="connsiteX30" fmla="*/ 18645 w 571490"/>
                <a:gd name="connsiteY30" fmla="*/ 438280 h 487691"/>
                <a:gd name="connsiteX31" fmla="*/ 7144 w 571490"/>
                <a:gd name="connsiteY31" fmla="*/ 438280 h 487691"/>
                <a:gd name="connsiteX32" fmla="*/ 0 w 571490"/>
                <a:gd name="connsiteY32" fmla="*/ 445424 h 487691"/>
                <a:gd name="connsiteX33" fmla="*/ 0 w 571490"/>
                <a:gd name="connsiteY33" fmla="*/ 480548 h 487691"/>
                <a:gd name="connsiteX34" fmla="*/ 7144 w 571490"/>
                <a:gd name="connsiteY34" fmla="*/ 487691 h 487691"/>
                <a:gd name="connsiteX35" fmla="*/ 564347 w 571490"/>
                <a:gd name="connsiteY35" fmla="*/ 487691 h 487691"/>
                <a:gd name="connsiteX36" fmla="*/ 571491 w 571490"/>
                <a:gd name="connsiteY36" fmla="*/ 480548 h 487691"/>
                <a:gd name="connsiteX37" fmla="*/ 571491 w 571490"/>
                <a:gd name="connsiteY37" fmla="*/ 445424 h 487691"/>
                <a:gd name="connsiteX38" fmla="*/ 564347 w 571490"/>
                <a:gd name="connsiteY38" fmla="*/ 438280 h 487691"/>
                <a:gd name="connsiteX39" fmla="*/ 426815 w 571490"/>
                <a:gd name="connsiteY39" fmla="*/ 65620 h 487691"/>
                <a:gd name="connsiteX40" fmla="*/ 489746 w 571490"/>
                <a:gd name="connsiteY40" fmla="*/ 65620 h 487691"/>
                <a:gd name="connsiteX41" fmla="*/ 489746 w 571490"/>
                <a:gd name="connsiteY41" fmla="*/ 81585 h 487691"/>
                <a:gd name="connsiteX42" fmla="*/ 426816 w 571490"/>
                <a:gd name="connsiteY42" fmla="*/ 81585 h 487691"/>
                <a:gd name="connsiteX43" fmla="*/ 419672 w 571490"/>
                <a:gd name="connsiteY43" fmla="*/ 95873 h 487691"/>
                <a:gd name="connsiteX44" fmla="*/ 535925 w 571490"/>
                <a:gd name="connsiteY44" fmla="*/ 95873 h 487691"/>
                <a:gd name="connsiteX45" fmla="*/ 535925 w 571490"/>
                <a:gd name="connsiteY45" fmla="*/ 438280 h 487691"/>
                <a:gd name="connsiteX46" fmla="*/ 382833 w 571490"/>
                <a:gd name="connsiteY46" fmla="*/ 438280 h 487691"/>
                <a:gd name="connsiteX47" fmla="*/ 382833 w 571490"/>
                <a:gd name="connsiteY47" fmla="*/ 95873 h 487691"/>
                <a:gd name="connsiteX48" fmla="*/ 227735 w 571490"/>
                <a:gd name="connsiteY48" fmla="*/ 14288 h 487691"/>
                <a:gd name="connsiteX49" fmla="*/ 341124 w 571490"/>
                <a:gd name="connsiteY49" fmla="*/ 14288 h 487691"/>
                <a:gd name="connsiteX50" fmla="*/ 341124 w 571490"/>
                <a:gd name="connsiteY50" fmla="*/ 28938 h 487691"/>
                <a:gd name="connsiteX51" fmla="*/ 227735 w 571490"/>
                <a:gd name="connsiteY51" fmla="*/ 28938 h 487691"/>
                <a:gd name="connsiteX52" fmla="*/ 200314 w 571490"/>
                <a:gd name="connsiteY52" fmla="*/ 43225 h 487691"/>
                <a:gd name="connsiteX53" fmla="*/ 368545 w 571490"/>
                <a:gd name="connsiteY53" fmla="*/ 43225 h 487691"/>
                <a:gd name="connsiteX54" fmla="*/ 368545 w 571490"/>
                <a:gd name="connsiteY54" fmla="*/ 438280 h 487691"/>
                <a:gd name="connsiteX55" fmla="*/ 337970 w 571490"/>
                <a:gd name="connsiteY55" fmla="*/ 438280 h 487691"/>
                <a:gd name="connsiteX56" fmla="*/ 337970 w 571490"/>
                <a:gd name="connsiteY56" fmla="*/ 311172 h 487691"/>
                <a:gd name="connsiteX57" fmla="*/ 330826 w 571490"/>
                <a:gd name="connsiteY57" fmla="*/ 304028 h 487691"/>
                <a:gd name="connsiteX58" fmla="*/ 238032 w 571490"/>
                <a:gd name="connsiteY58" fmla="*/ 304028 h 487691"/>
                <a:gd name="connsiteX59" fmla="*/ 230888 w 571490"/>
                <a:gd name="connsiteY59" fmla="*/ 311172 h 487691"/>
                <a:gd name="connsiteX60" fmla="*/ 230888 w 571490"/>
                <a:gd name="connsiteY60" fmla="*/ 438280 h 487691"/>
                <a:gd name="connsiteX61" fmla="*/ 200313 w 571490"/>
                <a:gd name="connsiteY61" fmla="*/ 438280 h 487691"/>
                <a:gd name="connsiteX62" fmla="*/ 323682 w 571490"/>
                <a:gd name="connsiteY62" fmla="*/ 318316 h 487691"/>
                <a:gd name="connsiteX63" fmla="*/ 323682 w 571490"/>
                <a:gd name="connsiteY63" fmla="*/ 438280 h 487691"/>
                <a:gd name="connsiteX64" fmla="*/ 291573 w 571490"/>
                <a:gd name="connsiteY64" fmla="*/ 438280 h 487691"/>
                <a:gd name="connsiteX65" fmla="*/ 291573 w 571490"/>
                <a:gd name="connsiteY65" fmla="*/ 318316 h 487691"/>
                <a:gd name="connsiteX66" fmla="*/ 277285 w 571490"/>
                <a:gd name="connsiteY66" fmla="*/ 438280 h 487691"/>
                <a:gd name="connsiteX67" fmla="*/ 245176 w 571490"/>
                <a:gd name="connsiteY67" fmla="*/ 438280 h 487691"/>
                <a:gd name="connsiteX68" fmla="*/ 245176 w 571490"/>
                <a:gd name="connsiteY68" fmla="*/ 318316 h 487691"/>
                <a:gd name="connsiteX69" fmla="*/ 277285 w 571490"/>
                <a:gd name="connsiteY69" fmla="*/ 318316 h 487691"/>
                <a:gd name="connsiteX70" fmla="*/ 79112 w 571490"/>
                <a:gd name="connsiteY70" fmla="*/ 65620 h 487691"/>
                <a:gd name="connsiteX71" fmla="*/ 142043 w 571490"/>
                <a:gd name="connsiteY71" fmla="*/ 65620 h 487691"/>
                <a:gd name="connsiteX72" fmla="*/ 142043 w 571490"/>
                <a:gd name="connsiteY72" fmla="*/ 81585 h 487691"/>
                <a:gd name="connsiteX73" fmla="*/ 79112 w 571490"/>
                <a:gd name="connsiteY73" fmla="*/ 81585 h 487691"/>
                <a:gd name="connsiteX74" fmla="*/ 32933 w 571490"/>
                <a:gd name="connsiteY74" fmla="*/ 261812 h 487691"/>
                <a:gd name="connsiteX75" fmla="*/ 32933 w 571490"/>
                <a:gd name="connsiteY75" fmla="*/ 95873 h 487691"/>
                <a:gd name="connsiteX76" fmla="*/ 186026 w 571490"/>
                <a:gd name="connsiteY76" fmla="*/ 95873 h 487691"/>
                <a:gd name="connsiteX77" fmla="*/ 186026 w 571490"/>
                <a:gd name="connsiteY77" fmla="*/ 438280 h 487691"/>
                <a:gd name="connsiteX78" fmla="*/ 32933 w 571490"/>
                <a:gd name="connsiteY78" fmla="*/ 438280 h 487691"/>
                <a:gd name="connsiteX79" fmla="*/ 557203 w 571490"/>
                <a:gd name="connsiteY79" fmla="*/ 473404 h 487691"/>
                <a:gd name="connsiteX80" fmla="*/ 14288 w 571490"/>
                <a:gd name="connsiteY80" fmla="*/ 473404 h 487691"/>
                <a:gd name="connsiteX81" fmla="*/ 14288 w 571490"/>
                <a:gd name="connsiteY81" fmla="*/ 452568 h 487691"/>
                <a:gd name="connsiteX82" fmla="*/ 193146 w 571490"/>
                <a:gd name="connsiteY82" fmla="*/ 452568 h 487691"/>
                <a:gd name="connsiteX83" fmla="*/ 193170 w 571490"/>
                <a:gd name="connsiteY83" fmla="*/ 452573 h 487691"/>
                <a:gd name="connsiteX84" fmla="*/ 375689 w 571490"/>
                <a:gd name="connsiteY84" fmla="*/ 452573 h 487691"/>
                <a:gd name="connsiteX85" fmla="*/ 375712 w 571490"/>
                <a:gd name="connsiteY85" fmla="*/ 452568 h 487691"/>
                <a:gd name="connsiteX86" fmla="*/ 557203 w 571490"/>
                <a:gd name="connsiteY86" fmla="*/ 452568 h 487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71490" h="487691">
                  <a:moveTo>
                    <a:pt x="564347" y="438280"/>
                  </a:moveTo>
                  <a:lnTo>
                    <a:pt x="550213" y="438280"/>
                  </a:lnTo>
                  <a:lnTo>
                    <a:pt x="550213" y="88729"/>
                  </a:lnTo>
                  <a:cubicBezTo>
                    <a:pt x="550212" y="84785"/>
                    <a:pt x="547014" y="81587"/>
                    <a:pt x="543069" y="81585"/>
                  </a:cubicBezTo>
                  <a:lnTo>
                    <a:pt x="504035" y="81585"/>
                  </a:lnTo>
                  <a:lnTo>
                    <a:pt x="504035" y="58476"/>
                  </a:lnTo>
                  <a:cubicBezTo>
                    <a:pt x="504034" y="54531"/>
                    <a:pt x="500835" y="51333"/>
                    <a:pt x="496891" y="51332"/>
                  </a:cubicBezTo>
                  <a:lnTo>
                    <a:pt x="419673" y="51332"/>
                  </a:lnTo>
                  <a:cubicBezTo>
                    <a:pt x="415727" y="51333"/>
                    <a:pt x="412530" y="54531"/>
                    <a:pt x="412529" y="58476"/>
                  </a:cubicBezTo>
                  <a:lnTo>
                    <a:pt x="412529" y="81585"/>
                  </a:lnTo>
                  <a:lnTo>
                    <a:pt x="382833" y="81585"/>
                  </a:lnTo>
                  <a:lnTo>
                    <a:pt x="382833" y="36082"/>
                  </a:lnTo>
                  <a:cubicBezTo>
                    <a:pt x="382832" y="32137"/>
                    <a:pt x="379633" y="28939"/>
                    <a:pt x="375689" y="28938"/>
                  </a:cubicBezTo>
                  <a:lnTo>
                    <a:pt x="355411" y="28938"/>
                  </a:lnTo>
                  <a:lnTo>
                    <a:pt x="355411" y="7144"/>
                  </a:lnTo>
                  <a:cubicBezTo>
                    <a:pt x="355410" y="3199"/>
                    <a:pt x="352213" y="1"/>
                    <a:pt x="348267" y="0"/>
                  </a:cubicBezTo>
                  <a:lnTo>
                    <a:pt x="220591" y="0"/>
                  </a:lnTo>
                  <a:cubicBezTo>
                    <a:pt x="216646" y="1"/>
                    <a:pt x="213449" y="3199"/>
                    <a:pt x="213448" y="7144"/>
                  </a:cubicBezTo>
                  <a:lnTo>
                    <a:pt x="213448" y="28938"/>
                  </a:lnTo>
                  <a:lnTo>
                    <a:pt x="193170" y="28938"/>
                  </a:lnTo>
                  <a:cubicBezTo>
                    <a:pt x="189225" y="28939"/>
                    <a:pt x="186027" y="32137"/>
                    <a:pt x="186026" y="36082"/>
                  </a:cubicBezTo>
                  <a:lnTo>
                    <a:pt x="186026" y="81585"/>
                  </a:lnTo>
                  <a:lnTo>
                    <a:pt x="156330" y="81585"/>
                  </a:lnTo>
                  <a:lnTo>
                    <a:pt x="156330" y="58476"/>
                  </a:lnTo>
                  <a:cubicBezTo>
                    <a:pt x="156329" y="54531"/>
                    <a:pt x="153132" y="51333"/>
                    <a:pt x="149186" y="51332"/>
                  </a:cubicBezTo>
                  <a:lnTo>
                    <a:pt x="71968" y="51332"/>
                  </a:lnTo>
                  <a:cubicBezTo>
                    <a:pt x="68023" y="51333"/>
                    <a:pt x="64825" y="54531"/>
                    <a:pt x="64824" y="58476"/>
                  </a:cubicBezTo>
                  <a:lnTo>
                    <a:pt x="64824" y="81585"/>
                  </a:lnTo>
                  <a:lnTo>
                    <a:pt x="25789" y="81585"/>
                  </a:lnTo>
                  <a:cubicBezTo>
                    <a:pt x="21844" y="81587"/>
                    <a:pt x="18646" y="84785"/>
                    <a:pt x="18645" y="88729"/>
                  </a:cubicBezTo>
                  <a:lnTo>
                    <a:pt x="18645" y="438280"/>
                  </a:lnTo>
                  <a:lnTo>
                    <a:pt x="7144" y="438280"/>
                  </a:lnTo>
                  <a:cubicBezTo>
                    <a:pt x="3199" y="438281"/>
                    <a:pt x="1" y="441479"/>
                    <a:pt x="0" y="445424"/>
                  </a:cubicBezTo>
                  <a:lnTo>
                    <a:pt x="0" y="480548"/>
                  </a:lnTo>
                  <a:cubicBezTo>
                    <a:pt x="1" y="484493"/>
                    <a:pt x="3199" y="487690"/>
                    <a:pt x="7144" y="487691"/>
                  </a:cubicBezTo>
                  <a:lnTo>
                    <a:pt x="564347" y="487691"/>
                  </a:lnTo>
                  <a:cubicBezTo>
                    <a:pt x="568292" y="487690"/>
                    <a:pt x="571490" y="484493"/>
                    <a:pt x="571491" y="480548"/>
                  </a:cubicBezTo>
                  <a:lnTo>
                    <a:pt x="571491" y="445424"/>
                  </a:lnTo>
                  <a:cubicBezTo>
                    <a:pt x="571490" y="441479"/>
                    <a:pt x="568292" y="438281"/>
                    <a:pt x="564347" y="438280"/>
                  </a:cubicBezTo>
                  <a:close/>
                  <a:moveTo>
                    <a:pt x="426815" y="65620"/>
                  </a:moveTo>
                  <a:lnTo>
                    <a:pt x="489746" y="65620"/>
                  </a:lnTo>
                  <a:lnTo>
                    <a:pt x="489746" y="81585"/>
                  </a:lnTo>
                  <a:lnTo>
                    <a:pt x="426816" y="81585"/>
                  </a:lnTo>
                  <a:close/>
                  <a:moveTo>
                    <a:pt x="419672" y="95873"/>
                  </a:moveTo>
                  <a:lnTo>
                    <a:pt x="535925" y="95873"/>
                  </a:lnTo>
                  <a:lnTo>
                    <a:pt x="535925" y="438280"/>
                  </a:lnTo>
                  <a:lnTo>
                    <a:pt x="382833" y="438280"/>
                  </a:lnTo>
                  <a:lnTo>
                    <a:pt x="382833" y="95873"/>
                  </a:lnTo>
                  <a:close/>
                  <a:moveTo>
                    <a:pt x="227735" y="14288"/>
                  </a:moveTo>
                  <a:lnTo>
                    <a:pt x="341124" y="14288"/>
                  </a:lnTo>
                  <a:lnTo>
                    <a:pt x="341124" y="28938"/>
                  </a:lnTo>
                  <a:lnTo>
                    <a:pt x="227735" y="28938"/>
                  </a:lnTo>
                  <a:close/>
                  <a:moveTo>
                    <a:pt x="200314" y="43225"/>
                  </a:moveTo>
                  <a:lnTo>
                    <a:pt x="368545" y="43225"/>
                  </a:lnTo>
                  <a:lnTo>
                    <a:pt x="368545" y="438280"/>
                  </a:lnTo>
                  <a:lnTo>
                    <a:pt x="337970" y="438280"/>
                  </a:lnTo>
                  <a:lnTo>
                    <a:pt x="337970" y="311172"/>
                  </a:lnTo>
                  <a:cubicBezTo>
                    <a:pt x="337969" y="307227"/>
                    <a:pt x="334771" y="304029"/>
                    <a:pt x="330826" y="304028"/>
                  </a:cubicBezTo>
                  <a:lnTo>
                    <a:pt x="238032" y="304028"/>
                  </a:lnTo>
                  <a:cubicBezTo>
                    <a:pt x="234087" y="304029"/>
                    <a:pt x="230889" y="307227"/>
                    <a:pt x="230888" y="311172"/>
                  </a:cubicBezTo>
                  <a:lnTo>
                    <a:pt x="230888" y="438280"/>
                  </a:lnTo>
                  <a:lnTo>
                    <a:pt x="200313" y="438280"/>
                  </a:lnTo>
                  <a:close/>
                  <a:moveTo>
                    <a:pt x="323682" y="318316"/>
                  </a:moveTo>
                  <a:lnTo>
                    <a:pt x="323682" y="438280"/>
                  </a:lnTo>
                  <a:lnTo>
                    <a:pt x="291573" y="438280"/>
                  </a:lnTo>
                  <a:lnTo>
                    <a:pt x="291573" y="318316"/>
                  </a:lnTo>
                  <a:close/>
                  <a:moveTo>
                    <a:pt x="277285" y="438280"/>
                  </a:moveTo>
                  <a:lnTo>
                    <a:pt x="245176" y="438280"/>
                  </a:lnTo>
                  <a:lnTo>
                    <a:pt x="245176" y="318316"/>
                  </a:lnTo>
                  <a:lnTo>
                    <a:pt x="277285" y="318316"/>
                  </a:lnTo>
                  <a:close/>
                  <a:moveTo>
                    <a:pt x="79112" y="65620"/>
                  </a:moveTo>
                  <a:lnTo>
                    <a:pt x="142043" y="65620"/>
                  </a:lnTo>
                  <a:lnTo>
                    <a:pt x="142043" y="81585"/>
                  </a:lnTo>
                  <a:lnTo>
                    <a:pt x="79112" y="81585"/>
                  </a:lnTo>
                  <a:close/>
                  <a:moveTo>
                    <a:pt x="32933" y="261812"/>
                  </a:moveTo>
                  <a:lnTo>
                    <a:pt x="32933" y="95873"/>
                  </a:lnTo>
                  <a:lnTo>
                    <a:pt x="186026" y="95873"/>
                  </a:lnTo>
                  <a:lnTo>
                    <a:pt x="186026" y="438280"/>
                  </a:lnTo>
                  <a:lnTo>
                    <a:pt x="32933" y="438280"/>
                  </a:lnTo>
                  <a:close/>
                  <a:moveTo>
                    <a:pt x="557203" y="473404"/>
                  </a:moveTo>
                  <a:lnTo>
                    <a:pt x="14288" y="473404"/>
                  </a:lnTo>
                  <a:lnTo>
                    <a:pt x="14288" y="452568"/>
                  </a:lnTo>
                  <a:lnTo>
                    <a:pt x="193146" y="452568"/>
                  </a:lnTo>
                  <a:lnTo>
                    <a:pt x="193170" y="452573"/>
                  </a:lnTo>
                  <a:lnTo>
                    <a:pt x="375689" y="452573"/>
                  </a:lnTo>
                  <a:lnTo>
                    <a:pt x="375712" y="452568"/>
                  </a:lnTo>
                  <a:lnTo>
                    <a:pt x="557203" y="452568"/>
                  </a:lnTo>
                  <a:close/>
                </a:path>
              </a:pathLst>
            </a:custGeom>
            <a:grpFill/>
            <a:ln w="9525" cap="flat">
              <a:noFill/>
              <a:prstDash val="solid"/>
              <a:miter/>
            </a:ln>
          </p:spPr>
          <p:txBody>
            <a:bodyPr rtlCol="0" anchor="ctr"/>
            <a:lstStyle/>
            <a:p>
              <a:endParaRPr lang="fr-FR"/>
            </a:p>
          </p:txBody>
        </p:sp>
      </p:grpSp>
      <p:grpSp>
        <p:nvGrpSpPr>
          <p:cNvPr id="18" name="Groupe 17">
            <a:extLst>
              <a:ext uri="{FF2B5EF4-FFF2-40B4-BE49-F238E27FC236}">
                <a16:creationId xmlns:a16="http://schemas.microsoft.com/office/drawing/2014/main" id="{B5BEC36E-DCD6-793C-1A37-360CED9A9E18}"/>
              </a:ext>
            </a:extLst>
          </p:cNvPr>
          <p:cNvGrpSpPr>
            <a:grpSpLocks noChangeAspect="1"/>
          </p:cNvGrpSpPr>
          <p:nvPr/>
        </p:nvGrpSpPr>
        <p:grpSpPr>
          <a:xfrm>
            <a:off x="4800586" y="2921149"/>
            <a:ext cx="393935" cy="336172"/>
            <a:chOff x="5810254" y="3108954"/>
            <a:chExt cx="571490" cy="487691"/>
          </a:xfrm>
          <a:solidFill>
            <a:schemeClr val="accent6"/>
          </a:solidFill>
        </p:grpSpPr>
        <p:sp>
          <p:nvSpPr>
            <p:cNvPr id="19" name="Forme libre : forme 18">
              <a:extLst>
                <a:ext uri="{FF2B5EF4-FFF2-40B4-BE49-F238E27FC236}">
                  <a16:creationId xmlns:a16="http://schemas.microsoft.com/office/drawing/2014/main" id="{ED7D6AFD-3995-F77E-5277-190C7A8FC8AA}"/>
                </a:ext>
              </a:extLst>
            </p:cNvPr>
            <p:cNvSpPr/>
            <p:nvPr/>
          </p:nvSpPr>
          <p:spPr>
            <a:xfrm>
              <a:off x="5866744" y="3226737"/>
              <a:ext cx="108179" cy="185393"/>
            </a:xfrm>
            <a:custGeom>
              <a:avLst/>
              <a:gdLst>
                <a:gd name="connsiteX0" fmla="*/ 101036 w 108179"/>
                <a:gd name="connsiteY0" fmla="*/ 0 h 185393"/>
                <a:gd name="connsiteX1" fmla="*/ 7144 w 108179"/>
                <a:gd name="connsiteY1" fmla="*/ 0 h 185393"/>
                <a:gd name="connsiteX2" fmla="*/ 0 w 108179"/>
                <a:gd name="connsiteY2" fmla="*/ 7144 h 185393"/>
                <a:gd name="connsiteX3" fmla="*/ 0 w 108179"/>
                <a:gd name="connsiteY3" fmla="*/ 178250 h 185393"/>
                <a:gd name="connsiteX4" fmla="*/ 7144 w 108179"/>
                <a:gd name="connsiteY4" fmla="*/ 185394 h 185393"/>
                <a:gd name="connsiteX5" fmla="*/ 101036 w 108179"/>
                <a:gd name="connsiteY5" fmla="*/ 185394 h 185393"/>
                <a:gd name="connsiteX6" fmla="*/ 108180 w 108179"/>
                <a:gd name="connsiteY6" fmla="*/ 178250 h 185393"/>
                <a:gd name="connsiteX7" fmla="*/ 108180 w 108179"/>
                <a:gd name="connsiteY7" fmla="*/ 7144 h 185393"/>
                <a:gd name="connsiteX8" fmla="*/ 101036 w 108179"/>
                <a:gd name="connsiteY8" fmla="*/ 0 h 185393"/>
                <a:gd name="connsiteX9" fmla="*/ 14288 w 108179"/>
                <a:gd name="connsiteY9" fmla="*/ 70392 h 185393"/>
                <a:gd name="connsiteX10" fmla="*/ 46946 w 108179"/>
                <a:gd name="connsiteY10" fmla="*/ 70392 h 185393"/>
                <a:gd name="connsiteX11" fmla="*/ 46946 w 108179"/>
                <a:gd name="connsiteY11" fmla="*/ 113193 h 185393"/>
                <a:gd name="connsiteX12" fmla="*/ 14288 w 108179"/>
                <a:gd name="connsiteY12" fmla="*/ 113193 h 185393"/>
                <a:gd name="connsiteX13" fmla="*/ 61234 w 108179"/>
                <a:gd name="connsiteY13" fmla="*/ 70392 h 185393"/>
                <a:gd name="connsiteX14" fmla="*/ 93892 w 108179"/>
                <a:gd name="connsiteY14" fmla="*/ 70392 h 185393"/>
                <a:gd name="connsiteX15" fmla="*/ 93892 w 108179"/>
                <a:gd name="connsiteY15" fmla="*/ 113193 h 185393"/>
                <a:gd name="connsiteX16" fmla="*/ 61234 w 108179"/>
                <a:gd name="connsiteY16" fmla="*/ 113193 h 185393"/>
                <a:gd name="connsiteX17" fmla="*/ 93892 w 108179"/>
                <a:gd name="connsiteY17" fmla="*/ 56104 h 185393"/>
                <a:gd name="connsiteX18" fmla="*/ 61234 w 108179"/>
                <a:gd name="connsiteY18" fmla="*/ 56104 h 185393"/>
                <a:gd name="connsiteX19" fmla="*/ 61234 w 108179"/>
                <a:gd name="connsiteY19" fmla="*/ 14288 h 185393"/>
                <a:gd name="connsiteX20" fmla="*/ 93892 w 108179"/>
                <a:gd name="connsiteY20" fmla="*/ 14288 h 185393"/>
                <a:gd name="connsiteX21" fmla="*/ 46946 w 108179"/>
                <a:gd name="connsiteY21" fmla="*/ 14288 h 185393"/>
                <a:gd name="connsiteX22" fmla="*/ 46946 w 108179"/>
                <a:gd name="connsiteY22" fmla="*/ 56104 h 185393"/>
                <a:gd name="connsiteX23" fmla="*/ 14288 w 108179"/>
                <a:gd name="connsiteY23" fmla="*/ 56104 h 185393"/>
                <a:gd name="connsiteX24" fmla="*/ 14288 w 108179"/>
                <a:gd name="connsiteY24" fmla="*/ 14288 h 185393"/>
                <a:gd name="connsiteX25" fmla="*/ 14288 w 108179"/>
                <a:gd name="connsiteY25" fmla="*/ 127481 h 185393"/>
                <a:gd name="connsiteX26" fmla="*/ 46946 w 108179"/>
                <a:gd name="connsiteY26" fmla="*/ 127481 h 185393"/>
                <a:gd name="connsiteX27" fmla="*/ 46946 w 108179"/>
                <a:gd name="connsiteY27" fmla="*/ 171106 h 185393"/>
                <a:gd name="connsiteX28" fmla="*/ 14288 w 108179"/>
                <a:gd name="connsiteY28" fmla="*/ 171106 h 185393"/>
                <a:gd name="connsiteX29" fmla="*/ 61234 w 108179"/>
                <a:gd name="connsiteY29" fmla="*/ 171106 h 185393"/>
                <a:gd name="connsiteX30" fmla="*/ 61234 w 108179"/>
                <a:gd name="connsiteY30" fmla="*/ 127481 h 185393"/>
                <a:gd name="connsiteX31" fmla="*/ 93892 w 108179"/>
                <a:gd name="connsiteY31" fmla="*/ 127481 h 185393"/>
                <a:gd name="connsiteX32" fmla="*/ 93892 w 108179"/>
                <a:gd name="connsiteY32" fmla="*/ 171106 h 18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8179" h="185393">
                  <a:moveTo>
                    <a:pt x="101036" y="0"/>
                  </a:moveTo>
                  <a:lnTo>
                    <a:pt x="7144" y="0"/>
                  </a:lnTo>
                  <a:cubicBezTo>
                    <a:pt x="3199" y="1"/>
                    <a:pt x="1" y="3199"/>
                    <a:pt x="0" y="7144"/>
                  </a:cubicBezTo>
                  <a:lnTo>
                    <a:pt x="0" y="178250"/>
                  </a:lnTo>
                  <a:cubicBezTo>
                    <a:pt x="1" y="182195"/>
                    <a:pt x="3199" y="185393"/>
                    <a:pt x="7144" y="185394"/>
                  </a:cubicBezTo>
                  <a:lnTo>
                    <a:pt x="101036" y="185394"/>
                  </a:lnTo>
                  <a:cubicBezTo>
                    <a:pt x="104980" y="185393"/>
                    <a:pt x="108179" y="182195"/>
                    <a:pt x="108180" y="178250"/>
                  </a:cubicBezTo>
                  <a:lnTo>
                    <a:pt x="108180" y="7144"/>
                  </a:lnTo>
                  <a:cubicBezTo>
                    <a:pt x="108179" y="3199"/>
                    <a:pt x="104980" y="1"/>
                    <a:pt x="101036" y="0"/>
                  </a:cubicBezTo>
                  <a:close/>
                  <a:moveTo>
                    <a:pt x="14288" y="70392"/>
                  </a:moveTo>
                  <a:lnTo>
                    <a:pt x="46946" y="70392"/>
                  </a:lnTo>
                  <a:lnTo>
                    <a:pt x="46946" y="113193"/>
                  </a:lnTo>
                  <a:lnTo>
                    <a:pt x="14288" y="113193"/>
                  </a:lnTo>
                  <a:close/>
                  <a:moveTo>
                    <a:pt x="61234" y="70392"/>
                  </a:moveTo>
                  <a:lnTo>
                    <a:pt x="93892" y="70392"/>
                  </a:lnTo>
                  <a:lnTo>
                    <a:pt x="93892" y="113193"/>
                  </a:lnTo>
                  <a:lnTo>
                    <a:pt x="61234" y="113193"/>
                  </a:lnTo>
                  <a:close/>
                  <a:moveTo>
                    <a:pt x="93892" y="56104"/>
                  </a:moveTo>
                  <a:lnTo>
                    <a:pt x="61234" y="56104"/>
                  </a:lnTo>
                  <a:lnTo>
                    <a:pt x="61234" y="14288"/>
                  </a:lnTo>
                  <a:lnTo>
                    <a:pt x="93892" y="14288"/>
                  </a:lnTo>
                  <a:close/>
                  <a:moveTo>
                    <a:pt x="46946" y="14288"/>
                  </a:moveTo>
                  <a:lnTo>
                    <a:pt x="46946" y="56104"/>
                  </a:lnTo>
                  <a:lnTo>
                    <a:pt x="14288" y="56104"/>
                  </a:lnTo>
                  <a:lnTo>
                    <a:pt x="14288" y="14288"/>
                  </a:lnTo>
                  <a:close/>
                  <a:moveTo>
                    <a:pt x="14288" y="127481"/>
                  </a:moveTo>
                  <a:lnTo>
                    <a:pt x="46946" y="127481"/>
                  </a:lnTo>
                  <a:lnTo>
                    <a:pt x="46946" y="171106"/>
                  </a:lnTo>
                  <a:lnTo>
                    <a:pt x="14288" y="171106"/>
                  </a:lnTo>
                  <a:close/>
                  <a:moveTo>
                    <a:pt x="61234" y="171106"/>
                  </a:moveTo>
                  <a:lnTo>
                    <a:pt x="61234" y="127481"/>
                  </a:lnTo>
                  <a:lnTo>
                    <a:pt x="93892" y="127481"/>
                  </a:lnTo>
                  <a:lnTo>
                    <a:pt x="93892" y="171106"/>
                  </a:lnTo>
                  <a:close/>
                </a:path>
              </a:pathLst>
            </a:custGeom>
            <a:grpFill/>
            <a:ln w="9525" cap="flat">
              <a:noFill/>
              <a:prstDash val="solid"/>
              <a:miter/>
            </a:ln>
          </p:spPr>
          <p:txBody>
            <a:bodyPr rtlCol="0" anchor="ctr"/>
            <a:lstStyle/>
            <a:p>
              <a:endParaRPr lang="fr-FR"/>
            </a:p>
          </p:txBody>
        </p:sp>
        <p:sp>
          <p:nvSpPr>
            <p:cNvPr id="20" name="Forme libre : forme 19">
              <a:extLst>
                <a:ext uri="{FF2B5EF4-FFF2-40B4-BE49-F238E27FC236}">
                  <a16:creationId xmlns:a16="http://schemas.microsoft.com/office/drawing/2014/main" id="{8BF45E37-B13E-B6E3-5A35-2228ADF1D012}"/>
                </a:ext>
              </a:extLst>
            </p:cNvPr>
            <p:cNvSpPr/>
            <p:nvPr/>
          </p:nvSpPr>
          <p:spPr>
            <a:xfrm>
              <a:off x="6041142" y="3179349"/>
              <a:ext cx="107081" cy="96553"/>
            </a:xfrm>
            <a:custGeom>
              <a:avLst/>
              <a:gdLst>
                <a:gd name="connsiteX0" fmla="*/ 7144 w 107081"/>
                <a:gd name="connsiteY0" fmla="*/ 96553 h 96553"/>
                <a:gd name="connsiteX1" fmla="*/ 99938 w 107081"/>
                <a:gd name="connsiteY1" fmla="*/ 96553 h 96553"/>
                <a:gd name="connsiteX2" fmla="*/ 107082 w 107081"/>
                <a:gd name="connsiteY2" fmla="*/ 89409 h 96553"/>
                <a:gd name="connsiteX3" fmla="*/ 107082 w 107081"/>
                <a:gd name="connsiteY3" fmla="*/ 7144 h 96553"/>
                <a:gd name="connsiteX4" fmla="*/ 99938 w 107081"/>
                <a:gd name="connsiteY4" fmla="*/ 0 h 96553"/>
                <a:gd name="connsiteX5" fmla="*/ 7144 w 107081"/>
                <a:gd name="connsiteY5" fmla="*/ 0 h 96553"/>
                <a:gd name="connsiteX6" fmla="*/ 0 w 107081"/>
                <a:gd name="connsiteY6" fmla="*/ 7144 h 96553"/>
                <a:gd name="connsiteX7" fmla="*/ 0 w 107081"/>
                <a:gd name="connsiteY7" fmla="*/ 89408 h 96553"/>
                <a:gd name="connsiteX8" fmla="*/ 7144 w 107081"/>
                <a:gd name="connsiteY8" fmla="*/ 96553 h 96553"/>
                <a:gd name="connsiteX9" fmla="*/ 14288 w 107081"/>
                <a:gd name="connsiteY9" fmla="*/ 82266 h 96553"/>
                <a:gd name="connsiteX10" fmla="*/ 14288 w 107081"/>
                <a:gd name="connsiteY10" fmla="*/ 54434 h 96553"/>
                <a:gd name="connsiteX11" fmla="*/ 46397 w 107081"/>
                <a:gd name="connsiteY11" fmla="*/ 54434 h 96553"/>
                <a:gd name="connsiteX12" fmla="*/ 46397 w 107081"/>
                <a:gd name="connsiteY12" fmla="*/ 82266 h 96553"/>
                <a:gd name="connsiteX13" fmla="*/ 14288 w 107081"/>
                <a:gd name="connsiteY13" fmla="*/ 82266 h 96553"/>
                <a:gd name="connsiteX14" fmla="*/ 71131 w 107081"/>
                <a:gd name="connsiteY14" fmla="*/ 82266 h 96553"/>
                <a:gd name="connsiteX15" fmla="*/ 60685 w 107081"/>
                <a:gd name="connsiteY15" fmla="*/ 82266 h 96553"/>
                <a:gd name="connsiteX16" fmla="*/ 60685 w 107081"/>
                <a:gd name="connsiteY16" fmla="*/ 54434 h 96553"/>
                <a:gd name="connsiteX17" fmla="*/ 92794 w 107081"/>
                <a:gd name="connsiteY17" fmla="*/ 54434 h 96553"/>
                <a:gd name="connsiteX18" fmla="*/ 92794 w 107081"/>
                <a:gd name="connsiteY18" fmla="*/ 82266 h 96553"/>
                <a:gd name="connsiteX19" fmla="*/ 92794 w 107081"/>
                <a:gd name="connsiteY19" fmla="*/ 14288 h 96553"/>
                <a:gd name="connsiteX20" fmla="*/ 92794 w 107081"/>
                <a:gd name="connsiteY20" fmla="*/ 40146 h 96553"/>
                <a:gd name="connsiteX21" fmla="*/ 60685 w 107081"/>
                <a:gd name="connsiteY21" fmla="*/ 40146 h 96553"/>
                <a:gd name="connsiteX22" fmla="*/ 60685 w 107081"/>
                <a:gd name="connsiteY22" fmla="*/ 14288 h 96553"/>
                <a:gd name="connsiteX23" fmla="*/ 92794 w 107081"/>
                <a:gd name="connsiteY23" fmla="*/ 14288 h 96553"/>
                <a:gd name="connsiteX24" fmla="*/ 21710 w 107081"/>
                <a:gd name="connsiteY24" fmla="*/ 14288 h 96553"/>
                <a:gd name="connsiteX25" fmla="*/ 46397 w 107081"/>
                <a:gd name="connsiteY25" fmla="*/ 14288 h 96553"/>
                <a:gd name="connsiteX26" fmla="*/ 46397 w 107081"/>
                <a:gd name="connsiteY26" fmla="*/ 40146 h 96553"/>
                <a:gd name="connsiteX27" fmla="*/ 14288 w 107081"/>
                <a:gd name="connsiteY27" fmla="*/ 40146 h 96553"/>
                <a:gd name="connsiteX28" fmla="*/ 14288 w 107081"/>
                <a:gd name="connsiteY28" fmla="*/ 14288 h 9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7081" h="96553">
                  <a:moveTo>
                    <a:pt x="7144" y="96553"/>
                  </a:moveTo>
                  <a:lnTo>
                    <a:pt x="99938" y="96553"/>
                  </a:lnTo>
                  <a:cubicBezTo>
                    <a:pt x="103883" y="96551"/>
                    <a:pt x="107081" y="93354"/>
                    <a:pt x="107082" y="89409"/>
                  </a:cubicBezTo>
                  <a:lnTo>
                    <a:pt x="107082" y="7144"/>
                  </a:lnTo>
                  <a:cubicBezTo>
                    <a:pt x="107081" y="3198"/>
                    <a:pt x="103883" y="1"/>
                    <a:pt x="99938" y="0"/>
                  </a:cubicBezTo>
                  <a:lnTo>
                    <a:pt x="7144" y="0"/>
                  </a:lnTo>
                  <a:cubicBezTo>
                    <a:pt x="3199" y="1"/>
                    <a:pt x="1" y="3198"/>
                    <a:pt x="0" y="7144"/>
                  </a:cubicBezTo>
                  <a:lnTo>
                    <a:pt x="0" y="89408"/>
                  </a:lnTo>
                  <a:cubicBezTo>
                    <a:pt x="1" y="93354"/>
                    <a:pt x="3198" y="96551"/>
                    <a:pt x="7144" y="96553"/>
                  </a:cubicBezTo>
                  <a:close/>
                  <a:moveTo>
                    <a:pt x="14288" y="82266"/>
                  </a:moveTo>
                  <a:lnTo>
                    <a:pt x="14288" y="54434"/>
                  </a:lnTo>
                  <a:lnTo>
                    <a:pt x="46397" y="54434"/>
                  </a:lnTo>
                  <a:lnTo>
                    <a:pt x="46397" y="82266"/>
                  </a:lnTo>
                  <a:lnTo>
                    <a:pt x="14288" y="82266"/>
                  </a:lnTo>
                  <a:close/>
                  <a:moveTo>
                    <a:pt x="71131" y="82266"/>
                  </a:moveTo>
                  <a:lnTo>
                    <a:pt x="60685" y="82266"/>
                  </a:lnTo>
                  <a:lnTo>
                    <a:pt x="60685" y="54434"/>
                  </a:lnTo>
                  <a:lnTo>
                    <a:pt x="92794" y="54434"/>
                  </a:lnTo>
                  <a:lnTo>
                    <a:pt x="92794" y="82266"/>
                  </a:lnTo>
                  <a:close/>
                  <a:moveTo>
                    <a:pt x="92794" y="14288"/>
                  </a:moveTo>
                  <a:lnTo>
                    <a:pt x="92794" y="40146"/>
                  </a:lnTo>
                  <a:lnTo>
                    <a:pt x="60685" y="40146"/>
                  </a:lnTo>
                  <a:lnTo>
                    <a:pt x="60685" y="14288"/>
                  </a:lnTo>
                  <a:lnTo>
                    <a:pt x="92794" y="14288"/>
                  </a:lnTo>
                  <a:close/>
                  <a:moveTo>
                    <a:pt x="21710" y="14288"/>
                  </a:moveTo>
                  <a:lnTo>
                    <a:pt x="46397" y="14288"/>
                  </a:lnTo>
                  <a:lnTo>
                    <a:pt x="46397" y="40146"/>
                  </a:lnTo>
                  <a:lnTo>
                    <a:pt x="14288" y="40146"/>
                  </a:lnTo>
                  <a:lnTo>
                    <a:pt x="14288" y="14288"/>
                  </a:lnTo>
                  <a:close/>
                </a:path>
              </a:pathLst>
            </a:custGeom>
            <a:grpFill/>
            <a:ln w="9525" cap="flat">
              <a:noFill/>
              <a:prstDash val="solid"/>
              <a:miter/>
            </a:ln>
          </p:spPr>
          <p:txBody>
            <a:bodyPr rtlCol="0" anchor="ctr"/>
            <a:lstStyle/>
            <a:p>
              <a:endParaRPr lang="fr-FR"/>
            </a:p>
          </p:txBody>
        </p:sp>
        <p:sp>
          <p:nvSpPr>
            <p:cNvPr id="28" name="Forme libre : forme 27">
              <a:extLst>
                <a:ext uri="{FF2B5EF4-FFF2-40B4-BE49-F238E27FC236}">
                  <a16:creationId xmlns:a16="http://schemas.microsoft.com/office/drawing/2014/main" id="{422EC1E6-A7C2-0006-9184-9C1FE170F790}"/>
                </a:ext>
              </a:extLst>
            </p:cNvPr>
            <p:cNvSpPr/>
            <p:nvPr/>
          </p:nvSpPr>
          <p:spPr>
            <a:xfrm>
              <a:off x="6214444" y="3226737"/>
              <a:ext cx="108179" cy="185393"/>
            </a:xfrm>
            <a:custGeom>
              <a:avLst/>
              <a:gdLst>
                <a:gd name="connsiteX0" fmla="*/ 7144 w 108179"/>
                <a:gd name="connsiteY0" fmla="*/ 185394 h 185393"/>
                <a:gd name="connsiteX1" fmla="*/ 101035 w 108179"/>
                <a:gd name="connsiteY1" fmla="*/ 185394 h 185393"/>
                <a:gd name="connsiteX2" fmla="*/ 108179 w 108179"/>
                <a:gd name="connsiteY2" fmla="*/ 178250 h 185393"/>
                <a:gd name="connsiteX3" fmla="*/ 108179 w 108179"/>
                <a:gd name="connsiteY3" fmla="*/ 7144 h 185393"/>
                <a:gd name="connsiteX4" fmla="*/ 101035 w 108179"/>
                <a:gd name="connsiteY4" fmla="*/ 0 h 185393"/>
                <a:gd name="connsiteX5" fmla="*/ 7144 w 108179"/>
                <a:gd name="connsiteY5" fmla="*/ 0 h 185393"/>
                <a:gd name="connsiteX6" fmla="*/ 0 w 108179"/>
                <a:gd name="connsiteY6" fmla="*/ 7144 h 185393"/>
                <a:gd name="connsiteX7" fmla="*/ 0 w 108179"/>
                <a:gd name="connsiteY7" fmla="*/ 178250 h 185393"/>
                <a:gd name="connsiteX8" fmla="*/ 7144 w 108179"/>
                <a:gd name="connsiteY8" fmla="*/ 185394 h 185393"/>
                <a:gd name="connsiteX9" fmla="*/ 93892 w 108179"/>
                <a:gd name="connsiteY9" fmla="*/ 113193 h 185393"/>
                <a:gd name="connsiteX10" fmla="*/ 61233 w 108179"/>
                <a:gd name="connsiteY10" fmla="*/ 113193 h 185393"/>
                <a:gd name="connsiteX11" fmla="*/ 61233 w 108179"/>
                <a:gd name="connsiteY11" fmla="*/ 70392 h 185393"/>
                <a:gd name="connsiteX12" fmla="*/ 93892 w 108179"/>
                <a:gd name="connsiteY12" fmla="*/ 70392 h 185393"/>
                <a:gd name="connsiteX13" fmla="*/ 46946 w 108179"/>
                <a:gd name="connsiteY13" fmla="*/ 113193 h 185393"/>
                <a:gd name="connsiteX14" fmla="*/ 14288 w 108179"/>
                <a:gd name="connsiteY14" fmla="*/ 113193 h 185393"/>
                <a:gd name="connsiteX15" fmla="*/ 14288 w 108179"/>
                <a:gd name="connsiteY15" fmla="*/ 70392 h 185393"/>
                <a:gd name="connsiteX16" fmla="*/ 46946 w 108179"/>
                <a:gd name="connsiteY16" fmla="*/ 70392 h 185393"/>
                <a:gd name="connsiteX17" fmla="*/ 14288 w 108179"/>
                <a:gd name="connsiteY17" fmla="*/ 127481 h 185393"/>
                <a:gd name="connsiteX18" fmla="*/ 46946 w 108179"/>
                <a:gd name="connsiteY18" fmla="*/ 127481 h 185393"/>
                <a:gd name="connsiteX19" fmla="*/ 46946 w 108179"/>
                <a:gd name="connsiteY19" fmla="*/ 171106 h 185393"/>
                <a:gd name="connsiteX20" fmla="*/ 14288 w 108179"/>
                <a:gd name="connsiteY20" fmla="*/ 171106 h 185393"/>
                <a:gd name="connsiteX21" fmla="*/ 61233 w 108179"/>
                <a:gd name="connsiteY21" fmla="*/ 171106 h 185393"/>
                <a:gd name="connsiteX22" fmla="*/ 61233 w 108179"/>
                <a:gd name="connsiteY22" fmla="*/ 127481 h 185393"/>
                <a:gd name="connsiteX23" fmla="*/ 93892 w 108179"/>
                <a:gd name="connsiteY23" fmla="*/ 127481 h 185393"/>
                <a:gd name="connsiteX24" fmla="*/ 93892 w 108179"/>
                <a:gd name="connsiteY24" fmla="*/ 171106 h 185393"/>
                <a:gd name="connsiteX25" fmla="*/ 93892 w 108179"/>
                <a:gd name="connsiteY25" fmla="*/ 56104 h 185393"/>
                <a:gd name="connsiteX26" fmla="*/ 61233 w 108179"/>
                <a:gd name="connsiteY26" fmla="*/ 56104 h 185393"/>
                <a:gd name="connsiteX27" fmla="*/ 61233 w 108179"/>
                <a:gd name="connsiteY27" fmla="*/ 14288 h 185393"/>
                <a:gd name="connsiteX28" fmla="*/ 93892 w 108179"/>
                <a:gd name="connsiteY28" fmla="*/ 14288 h 185393"/>
                <a:gd name="connsiteX29" fmla="*/ 46946 w 108179"/>
                <a:gd name="connsiteY29" fmla="*/ 14288 h 185393"/>
                <a:gd name="connsiteX30" fmla="*/ 46946 w 108179"/>
                <a:gd name="connsiteY30" fmla="*/ 56104 h 185393"/>
                <a:gd name="connsiteX31" fmla="*/ 14288 w 108179"/>
                <a:gd name="connsiteY31" fmla="*/ 56104 h 185393"/>
                <a:gd name="connsiteX32" fmla="*/ 14288 w 108179"/>
                <a:gd name="connsiteY32" fmla="*/ 14288 h 18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8179" h="185393">
                  <a:moveTo>
                    <a:pt x="7144" y="185394"/>
                  </a:moveTo>
                  <a:lnTo>
                    <a:pt x="101035" y="185394"/>
                  </a:lnTo>
                  <a:cubicBezTo>
                    <a:pt x="104980" y="185393"/>
                    <a:pt x="108178" y="182195"/>
                    <a:pt x="108179" y="178250"/>
                  </a:cubicBezTo>
                  <a:lnTo>
                    <a:pt x="108179" y="7144"/>
                  </a:lnTo>
                  <a:cubicBezTo>
                    <a:pt x="108178" y="3199"/>
                    <a:pt x="104980" y="1"/>
                    <a:pt x="101035" y="0"/>
                  </a:cubicBezTo>
                  <a:lnTo>
                    <a:pt x="7144" y="0"/>
                  </a:lnTo>
                  <a:cubicBezTo>
                    <a:pt x="3198" y="1"/>
                    <a:pt x="1" y="3199"/>
                    <a:pt x="0" y="7144"/>
                  </a:cubicBezTo>
                  <a:lnTo>
                    <a:pt x="0" y="178250"/>
                  </a:lnTo>
                  <a:cubicBezTo>
                    <a:pt x="1" y="182195"/>
                    <a:pt x="3198" y="185393"/>
                    <a:pt x="7144" y="185394"/>
                  </a:cubicBezTo>
                  <a:close/>
                  <a:moveTo>
                    <a:pt x="93892" y="113193"/>
                  </a:moveTo>
                  <a:lnTo>
                    <a:pt x="61233" y="113193"/>
                  </a:lnTo>
                  <a:lnTo>
                    <a:pt x="61233" y="70392"/>
                  </a:lnTo>
                  <a:lnTo>
                    <a:pt x="93892" y="70392"/>
                  </a:lnTo>
                  <a:close/>
                  <a:moveTo>
                    <a:pt x="46946" y="113193"/>
                  </a:moveTo>
                  <a:lnTo>
                    <a:pt x="14288" y="113193"/>
                  </a:lnTo>
                  <a:lnTo>
                    <a:pt x="14288" y="70392"/>
                  </a:lnTo>
                  <a:lnTo>
                    <a:pt x="46946" y="70392"/>
                  </a:lnTo>
                  <a:close/>
                  <a:moveTo>
                    <a:pt x="14288" y="127481"/>
                  </a:moveTo>
                  <a:lnTo>
                    <a:pt x="46946" y="127481"/>
                  </a:lnTo>
                  <a:lnTo>
                    <a:pt x="46946" y="171106"/>
                  </a:lnTo>
                  <a:lnTo>
                    <a:pt x="14288" y="171106"/>
                  </a:lnTo>
                  <a:close/>
                  <a:moveTo>
                    <a:pt x="61233" y="171106"/>
                  </a:moveTo>
                  <a:lnTo>
                    <a:pt x="61233" y="127481"/>
                  </a:lnTo>
                  <a:lnTo>
                    <a:pt x="93892" y="127481"/>
                  </a:lnTo>
                  <a:lnTo>
                    <a:pt x="93892" y="171106"/>
                  </a:lnTo>
                  <a:close/>
                  <a:moveTo>
                    <a:pt x="93892" y="56104"/>
                  </a:moveTo>
                  <a:lnTo>
                    <a:pt x="61233" y="56104"/>
                  </a:lnTo>
                  <a:lnTo>
                    <a:pt x="61233" y="14288"/>
                  </a:lnTo>
                  <a:lnTo>
                    <a:pt x="93892" y="14288"/>
                  </a:lnTo>
                  <a:close/>
                  <a:moveTo>
                    <a:pt x="46946" y="14288"/>
                  </a:moveTo>
                  <a:lnTo>
                    <a:pt x="46946" y="56104"/>
                  </a:lnTo>
                  <a:lnTo>
                    <a:pt x="14288" y="56104"/>
                  </a:lnTo>
                  <a:lnTo>
                    <a:pt x="14288" y="14288"/>
                  </a:lnTo>
                  <a:close/>
                </a:path>
              </a:pathLst>
            </a:custGeom>
            <a:grpFill/>
            <a:ln w="9525" cap="flat">
              <a:noFill/>
              <a:prstDash val="solid"/>
              <a:miter/>
            </a:ln>
          </p:spPr>
          <p:txBody>
            <a:bodyPr rtlCol="0" anchor="ctr"/>
            <a:lstStyle/>
            <a:p>
              <a:endParaRPr lang="fr-FR"/>
            </a:p>
          </p:txBody>
        </p:sp>
        <p:sp>
          <p:nvSpPr>
            <p:cNvPr id="29" name="Forme libre : forme 28">
              <a:extLst>
                <a:ext uri="{FF2B5EF4-FFF2-40B4-BE49-F238E27FC236}">
                  <a16:creationId xmlns:a16="http://schemas.microsoft.com/office/drawing/2014/main" id="{B9EAC224-175A-4297-4C0A-DFA36B751071}"/>
                </a:ext>
              </a:extLst>
            </p:cNvPr>
            <p:cNvSpPr/>
            <p:nvPr/>
          </p:nvSpPr>
          <p:spPr>
            <a:xfrm>
              <a:off x="5810254" y="3108954"/>
              <a:ext cx="571490" cy="487691"/>
            </a:xfrm>
            <a:custGeom>
              <a:avLst/>
              <a:gdLst>
                <a:gd name="connsiteX0" fmla="*/ 564347 w 571490"/>
                <a:gd name="connsiteY0" fmla="*/ 438280 h 487691"/>
                <a:gd name="connsiteX1" fmla="*/ 550213 w 571490"/>
                <a:gd name="connsiteY1" fmla="*/ 438280 h 487691"/>
                <a:gd name="connsiteX2" fmla="*/ 550213 w 571490"/>
                <a:gd name="connsiteY2" fmla="*/ 88729 h 487691"/>
                <a:gd name="connsiteX3" fmla="*/ 543069 w 571490"/>
                <a:gd name="connsiteY3" fmla="*/ 81585 h 487691"/>
                <a:gd name="connsiteX4" fmla="*/ 504035 w 571490"/>
                <a:gd name="connsiteY4" fmla="*/ 81585 h 487691"/>
                <a:gd name="connsiteX5" fmla="*/ 504035 w 571490"/>
                <a:gd name="connsiteY5" fmla="*/ 58476 h 487691"/>
                <a:gd name="connsiteX6" fmla="*/ 496891 w 571490"/>
                <a:gd name="connsiteY6" fmla="*/ 51332 h 487691"/>
                <a:gd name="connsiteX7" fmla="*/ 419673 w 571490"/>
                <a:gd name="connsiteY7" fmla="*/ 51332 h 487691"/>
                <a:gd name="connsiteX8" fmla="*/ 412529 w 571490"/>
                <a:gd name="connsiteY8" fmla="*/ 58476 h 487691"/>
                <a:gd name="connsiteX9" fmla="*/ 412529 w 571490"/>
                <a:gd name="connsiteY9" fmla="*/ 81585 h 487691"/>
                <a:gd name="connsiteX10" fmla="*/ 382833 w 571490"/>
                <a:gd name="connsiteY10" fmla="*/ 81585 h 487691"/>
                <a:gd name="connsiteX11" fmla="*/ 382833 w 571490"/>
                <a:gd name="connsiteY11" fmla="*/ 36082 h 487691"/>
                <a:gd name="connsiteX12" fmla="*/ 375689 w 571490"/>
                <a:gd name="connsiteY12" fmla="*/ 28938 h 487691"/>
                <a:gd name="connsiteX13" fmla="*/ 355411 w 571490"/>
                <a:gd name="connsiteY13" fmla="*/ 28938 h 487691"/>
                <a:gd name="connsiteX14" fmla="*/ 355411 w 571490"/>
                <a:gd name="connsiteY14" fmla="*/ 7144 h 487691"/>
                <a:gd name="connsiteX15" fmla="*/ 348267 w 571490"/>
                <a:gd name="connsiteY15" fmla="*/ 0 h 487691"/>
                <a:gd name="connsiteX16" fmla="*/ 220591 w 571490"/>
                <a:gd name="connsiteY16" fmla="*/ 0 h 487691"/>
                <a:gd name="connsiteX17" fmla="*/ 213448 w 571490"/>
                <a:gd name="connsiteY17" fmla="*/ 7144 h 487691"/>
                <a:gd name="connsiteX18" fmla="*/ 213448 w 571490"/>
                <a:gd name="connsiteY18" fmla="*/ 28938 h 487691"/>
                <a:gd name="connsiteX19" fmla="*/ 193170 w 571490"/>
                <a:gd name="connsiteY19" fmla="*/ 28938 h 487691"/>
                <a:gd name="connsiteX20" fmla="*/ 186026 w 571490"/>
                <a:gd name="connsiteY20" fmla="*/ 36082 h 487691"/>
                <a:gd name="connsiteX21" fmla="*/ 186026 w 571490"/>
                <a:gd name="connsiteY21" fmla="*/ 81585 h 487691"/>
                <a:gd name="connsiteX22" fmla="*/ 156330 w 571490"/>
                <a:gd name="connsiteY22" fmla="*/ 81585 h 487691"/>
                <a:gd name="connsiteX23" fmla="*/ 156330 w 571490"/>
                <a:gd name="connsiteY23" fmla="*/ 58476 h 487691"/>
                <a:gd name="connsiteX24" fmla="*/ 149186 w 571490"/>
                <a:gd name="connsiteY24" fmla="*/ 51332 h 487691"/>
                <a:gd name="connsiteX25" fmla="*/ 71968 w 571490"/>
                <a:gd name="connsiteY25" fmla="*/ 51332 h 487691"/>
                <a:gd name="connsiteX26" fmla="*/ 64824 w 571490"/>
                <a:gd name="connsiteY26" fmla="*/ 58476 h 487691"/>
                <a:gd name="connsiteX27" fmla="*/ 64824 w 571490"/>
                <a:gd name="connsiteY27" fmla="*/ 81585 h 487691"/>
                <a:gd name="connsiteX28" fmla="*/ 25789 w 571490"/>
                <a:gd name="connsiteY28" fmla="*/ 81585 h 487691"/>
                <a:gd name="connsiteX29" fmla="*/ 18645 w 571490"/>
                <a:gd name="connsiteY29" fmla="*/ 88729 h 487691"/>
                <a:gd name="connsiteX30" fmla="*/ 18645 w 571490"/>
                <a:gd name="connsiteY30" fmla="*/ 438280 h 487691"/>
                <a:gd name="connsiteX31" fmla="*/ 7144 w 571490"/>
                <a:gd name="connsiteY31" fmla="*/ 438280 h 487691"/>
                <a:gd name="connsiteX32" fmla="*/ 0 w 571490"/>
                <a:gd name="connsiteY32" fmla="*/ 445424 h 487691"/>
                <a:gd name="connsiteX33" fmla="*/ 0 w 571490"/>
                <a:gd name="connsiteY33" fmla="*/ 480548 h 487691"/>
                <a:gd name="connsiteX34" fmla="*/ 7144 w 571490"/>
                <a:gd name="connsiteY34" fmla="*/ 487691 h 487691"/>
                <a:gd name="connsiteX35" fmla="*/ 564347 w 571490"/>
                <a:gd name="connsiteY35" fmla="*/ 487691 h 487691"/>
                <a:gd name="connsiteX36" fmla="*/ 571491 w 571490"/>
                <a:gd name="connsiteY36" fmla="*/ 480548 h 487691"/>
                <a:gd name="connsiteX37" fmla="*/ 571491 w 571490"/>
                <a:gd name="connsiteY37" fmla="*/ 445424 h 487691"/>
                <a:gd name="connsiteX38" fmla="*/ 564347 w 571490"/>
                <a:gd name="connsiteY38" fmla="*/ 438280 h 487691"/>
                <a:gd name="connsiteX39" fmla="*/ 426815 w 571490"/>
                <a:gd name="connsiteY39" fmla="*/ 65620 h 487691"/>
                <a:gd name="connsiteX40" fmla="*/ 489746 w 571490"/>
                <a:gd name="connsiteY40" fmla="*/ 65620 h 487691"/>
                <a:gd name="connsiteX41" fmla="*/ 489746 w 571490"/>
                <a:gd name="connsiteY41" fmla="*/ 81585 h 487691"/>
                <a:gd name="connsiteX42" fmla="*/ 426816 w 571490"/>
                <a:gd name="connsiteY42" fmla="*/ 81585 h 487691"/>
                <a:gd name="connsiteX43" fmla="*/ 419672 w 571490"/>
                <a:gd name="connsiteY43" fmla="*/ 95873 h 487691"/>
                <a:gd name="connsiteX44" fmla="*/ 535925 w 571490"/>
                <a:gd name="connsiteY44" fmla="*/ 95873 h 487691"/>
                <a:gd name="connsiteX45" fmla="*/ 535925 w 571490"/>
                <a:gd name="connsiteY45" fmla="*/ 438280 h 487691"/>
                <a:gd name="connsiteX46" fmla="*/ 382833 w 571490"/>
                <a:gd name="connsiteY46" fmla="*/ 438280 h 487691"/>
                <a:gd name="connsiteX47" fmla="*/ 382833 w 571490"/>
                <a:gd name="connsiteY47" fmla="*/ 95873 h 487691"/>
                <a:gd name="connsiteX48" fmla="*/ 227735 w 571490"/>
                <a:gd name="connsiteY48" fmla="*/ 14288 h 487691"/>
                <a:gd name="connsiteX49" fmla="*/ 341124 w 571490"/>
                <a:gd name="connsiteY49" fmla="*/ 14288 h 487691"/>
                <a:gd name="connsiteX50" fmla="*/ 341124 w 571490"/>
                <a:gd name="connsiteY50" fmla="*/ 28938 h 487691"/>
                <a:gd name="connsiteX51" fmla="*/ 227735 w 571490"/>
                <a:gd name="connsiteY51" fmla="*/ 28938 h 487691"/>
                <a:gd name="connsiteX52" fmla="*/ 200314 w 571490"/>
                <a:gd name="connsiteY52" fmla="*/ 43225 h 487691"/>
                <a:gd name="connsiteX53" fmla="*/ 368545 w 571490"/>
                <a:gd name="connsiteY53" fmla="*/ 43225 h 487691"/>
                <a:gd name="connsiteX54" fmla="*/ 368545 w 571490"/>
                <a:gd name="connsiteY54" fmla="*/ 438280 h 487691"/>
                <a:gd name="connsiteX55" fmla="*/ 337970 w 571490"/>
                <a:gd name="connsiteY55" fmla="*/ 438280 h 487691"/>
                <a:gd name="connsiteX56" fmla="*/ 337970 w 571490"/>
                <a:gd name="connsiteY56" fmla="*/ 311172 h 487691"/>
                <a:gd name="connsiteX57" fmla="*/ 330826 w 571490"/>
                <a:gd name="connsiteY57" fmla="*/ 304028 h 487691"/>
                <a:gd name="connsiteX58" fmla="*/ 238032 w 571490"/>
                <a:gd name="connsiteY58" fmla="*/ 304028 h 487691"/>
                <a:gd name="connsiteX59" fmla="*/ 230888 w 571490"/>
                <a:gd name="connsiteY59" fmla="*/ 311172 h 487691"/>
                <a:gd name="connsiteX60" fmla="*/ 230888 w 571490"/>
                <a:gd name="connsiteY60" fmla="*/ 438280 h 487691"/>
                <a:gd name="connsiteX61" fmla="*/ 200313 w 571490"/>
                <a:gd name="connsiteY61" fmla="*/ 438280 h 487691"/>
                <a:gd name="connsiteX62" fmla="*/ 323682 w 571490"/>
                <a:gd name="connsiteY62" fmla="*/ 318316 h 487691"/>
                <a:gd name="connsiteX63" fmla="*/ 323682 w 571490"/>
                <a:gd name="connsiteY63" fmla="*/ 438280 h 487691"/>
                <a:gd name="connsiteX64" fmla="*/ 291573 w 571490"/>
                <a:gd name="connsiteY64" fmla="*/ 438280 h 487691"/>
                <a:gd name="connsiteX65" fmla="*/ 291573 w 571490"/>
                <a:gd name="connsiteY65" fmla="*/ 318316 h 487691"/>
                <a:gd name="connsiteX66" fmla="*/ 277285 w 571490"/>
                <a:gd name="connsiteY66" fmla="*/ 438280 h 487691"/>
                <a:gd name="connsiteX67" fmla="*/ 245176 w 571490"/>
                <a:gd name="connsiteY67" fmla="*/ 438280 h 487691"/>
                <a:gd name="connsiteX68" fmla="*/ 245176 w 571490"/>
                <a:gd name="connsiteY68" fmla="*/ 318316 h 487691"/>
                <a:gd name="connsiteX69" fmla="*/ 277285 w 571490"/>
                <a:gd name="connsiteY69" fmla="*/ 318316 h 487691"/>
                <a:gd name="connsiteX70" fmla="*/ 79112 w 571490"/>
                <a:gd name="connsiteY70" fmla="*/ 65620 h 487691"/>
                <a:gd name="connsiteX71" fmla="*/ 142043 w 571490"/>
                <a:gd name="connsiteY71" fmla="*/ 65620 h 487691"/>
                <a:gd name="connsiteX72" fmla="*/ 142043 w 571490"/>
                <a:gd name="connsiteY72" fmla="*/ 81585 h 487691"/>
                <a:gd name="connsiteX73" fmla="*/ 79112 w 571490"/>
                <a:gd name="connsiteY73" fmla="*/ 81585 h 487691"/>
                <a:gd name="connsiteX74" fmla="*/ 32933 w 571490"/>
                <a:gd name="connsiteY74" fmla="*/ 261812 h 487691"/>
                <a:gd name="connsiteX75" fmla="*/ 32933 w 571490"/>
                <a:gd name="connsiteY75" fmla="*/ 95873 h 487691"/>
                <a:gd name="connsiteX76" fmla="*/ 186026 w 571490"/>
                <a:gd name="connsiteY76" fmla="*/ 95873 h 487691"/>
                <a:gd name="connsiteX77" fmla="*/ 186026 w 571490"/>
                <a:gd name="connsiteY77" fmla="*/ 438280 h 487691"/>
                <a:gd name="connsiteX78" fmla="*/ 32933 w 571490"/>
                <a:gd name="connsiteY78" fmla="*/ 438280 h 487691"/>
                <a:gd name="connsiteX79" fmla="*/ 557203 w 571490"/>
                <a:gd name="connsiteY79" fmla="*/ 473404 h 487691"/>
                <a:gd name="connsiteX80" fmla="*/ 14288 w 571490"/>
                <a:gd name="connsiteY80" fmla="*/ 473404 h 487691"/>
                <a:gd name="connsiteX81" fmla="*/ 14288 w 571490"/>
                <a:gd name="connsiteY81" fmla="*/ 452568 h 487691"/>
                <a:gd name="connsiteX82" fmla="*/ 193146 w 571490"/>
                <a:gd name="connsiteY82" fmla="*/ 452568 h 487691"/>
                <a:gd name="connsiteX83" fmla="*/ 193170 w 571490"/>
                <a:gd name="connsiteY83" fmla="*/ 452573 h 487691"/>
                <a:gd name="connsiteX84" fmla="*/ 375689 w 571490"/>
                <a:gd name="connsiteY84" fmla="*/ 452573 h 487691"/>
                <a:gd name="connsiteX85" fmla="*/ 375712 w 571490"/>
                <a:gd name="connsiteY85" fmla="*/ 452568 h 487691"/>
                <a:gd name="connsiteX86" fmla="*/ 557203 w 571490"/>
                <a:gd name="connsiteY86" fmla="*/ 452568 h 487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71490" h="487691">
                  <a:moveTo>
                    <a:pt x="564347" y="438280"/>
                  </a:moveTo>
                  <a:lnTo>
                    <a:pt x="550213" y="438280"/>
                  </a:lnTo>
                  <a:lnTo>
                    <a:pt x="550213" y="88729"/>
                  </a:lnTo>
                  <a:cubicBezTo>
                    <a:pt x="550212" y="84785"/>
                    <a:pt x="547014" y="81587"/>
                    <a:pt x="543069" y="81585"/>
                  </a:cubicBezTo>
                  <a:lnTo>
                    <a:pt x="504035" y="81585"/>
                  </a:lnTo>
                  <a:lnTo>
                    <a:pt x="504035" y="58476"/>
                  </a:lnTo>
                  <a:cubicBezTo>
                    <a:pt x="504034" y="54531"/>
                    <a:pt x="500835" y="51333"/>
                    <a:pt x="496891" y="51332"/>
                  </a:cubicBezTo>
                  <a:lnTo>
                    <a:pt x="419673" y="51332"/>
                  </a:lnTo>
                  <a:cubicBezTo>
                    <a:pt x="415727" y="51333"/>
                    <a:pt x="412530" y="54531"/>
                    <a:pt x="412529" y="58476"/>
                  </a:cubicBezTo>
                  <a:lnTo>
                    <a:pt x="412529" y="81585"/>
                  </a:lnTo>
                  <a:lnTo>
                    <a:pt x="382833" y="81585"/>
                  </a:lnTo>
                  <a:lnTo>
                    <a:pt x="382833" y="36082"/>
                  </a:lnTo>
                  <a:cubicBezTo>
                    <a:pt x="382832" y="32137"/>
                    <a:pt x="379633" y="28939"/>
                    <a:pt x="375689" y="28938"/>
                  </a:cubicBezTo>
                  <a:lnTo>
                    <a:pt x="355411" y="28938"/>
                  </a:lnTo>
                  <a:lnTo>
                    <a:pt x="355411" y="7144"/>
                  </a:lnTo>
                  <a:cubicBezTo>
                    <a:pt x="355410" y="3199"/>
                    <a:pt x="352213" y="1"/>
                    <a:pt x="348267" y="0"/>
                  </a:cubicBezTo>
                  <a:lnTo>
                    <a:pt x="220591" y="0"/>
                  </a:lnTo>
                  <a:cubicBezTo>
                    <a:pt x="216646" y="1"/>
                    <a:pt x="213449" y="3199"/>
                    <a:pt x="213448" y="7144"/>
                  </a:cubicBezTo>
                  <a:lnTo>
                    <a:pt x="213448" y="28938"/>
                  </a:lnTo>
                  <a:lnTo>
                    <a:pt x="193170" y="28938"/>
                  </a:lnTo>
                  <a:cubicBezTo>
                    <a:pt x="189225" y="28939"/>
                    <a:pt x="186027" y="32137"/>
                    <a:pt x="186026" y="36082"/>
                  </a:cubicBezTo>
                  <a:lnTo>
                    <a:pt x="186026" y="81585"/>
                  </a:lnTo>
                  <a:lnTo>
                    <a:pt x="156330" y="81585"/>
                  </a:lnTo>
                  <a:lnTo>
                    <a:pt x="156330" y="58476"/>
                  </a:lnTo>
                  <a:cubicBezTo>
                    <a:pt x="156329" y="54531"/>
                    <a:pt x="153132" y="51333"/>
                    <a:pt x="149186" y="51332"/>
                  </a:cubicBezTo>
                  <a:lnTo>
                    <a:pt x="71968" y="51332"/>
                  </a:lnTo>
                  <a:cubicBezTo>
                    <a:pt x="68023" y="51333"/>
                    <a:pt x="64825" y="54531"/>
                    <a:pt x="64824" y="58476"/>
                  </a:cubicBezTo>
                  <a:lnTo>
                    <a:pt x="64824" y="81585"/>
                  </a:lnTo>
                  <a:lnTo>
                    <a:pt x="25789" y="81585"/>
                  </a:lnTo>
                  <a:cubicBezTo>
                    <a:pt x="21844" y="81587"/>
                    <a:pt x="18646" y="84785"/>
                    <a:pt x="18645" y="88729"/>
                  </a:cubicBezTo>
                  <a:lnTo>
                    <a:pt x="18645" y="438280"/>
                  </a:lnTo>
                  <a:lnTo>
                    <a:pt x="7144" y="438280"/>
                  </a:lnTo>
                  <a:cubicBezTo>
                    <a:pt x="3199" y="438281"/>
                    <a:pt x="1" y="441479"/>
                    <a:pt x="0" y="445424"/>
                  </a:cubicBezTo>
                  <a:lnTo>
                    <a:pt x="0" y="480548"/>
                  </a:lnTo>
                  <a:cubicBezTo>
                    <a:pt x="1" y="484493"/>
                    <a:pt x="3199" y="487690"/>
                    <a:pt x="7144" y="487691"/>
                  </a:cubicBezTo>
                  <a:lnTo>
                    <a:pt x="564347" y="487691"/>
                  </a:lnTo>
                  <a:cubicBezTo>
                    <a:pt x="568292" y="487690"/>
                    <a:pt x="571490" y="484493"/>
                    <a:pt x="571491" y="480548"/>
                  </a:cubicBezTo>
                  <a:lnTo>
                    <a:pt x="571491" y="445424"/>
                  </a:lnTo>
                  <a:cubicBezTo>
                    <a:pt x="571490" y="441479"/>
                    <a:pt x="568292" y="438281"/>
                    <a:pt x="564347" y="438280"/>
                  </a:cubicBezTo>
                  <a:close/>
                  <a:moveTo>
                    <a:pt x="426815" y="65620"/>
                  </a:moveTo>
                  <a:lnTo>
                    <a:pt x="489746" y="65620"/>
                  </a:lnTo>
                  <a:lnTo>
                    <a:pt x="489746" y="81585"/>
                  </a:lnTo>
                  <a:lnTo>
                    <a:pt x="426816" y="81585"/>
                  </a:lnTo>
                  <a:close/>
                  <a:moveTo>
                    <a:pt x="419672" y="95873"/>
                  </a:moveTo>
                  <a:lnTo>
                    <a:pt x="535925" y="95873"/>
                  </a:lnTo>
                  <a:lnTo>
                    <a:pt x="535925" y="438280"/>
                  </a:lnTo>
                  <a:lnTo>
                    <a:pt x="382833" y="438280"/>
                  </a:lnTo>
                  <a:lnTo>
                    <a:pt x="382833" y="95873"/>
                  </a:lnTo>
                  <a:close/>
                  <a:moveTo>
                    <a:pt x="227735" y="14288"/>
                  </a:moveTo>
                  <a:lnTo>
                    <a:pt x="341124" y="14288"/>
                  </a:lnTo>
                  <a:lnTo>
                    <a:pt x="341124" y="28938"/>
                  </a:lnTo>
                  <a:lnTo>
                    <a:pt x="227735" y="28938"/>
                  </a:lnTo>
                  <a:close/>
                  <a:moveTo>
                    <a:pt x="200314" y="43225"/>
                  </a:moveTo>
                  <a:lnTo>
                    <a:pt x="368545" y="43225"/>
                  </a:lnTo>
                  <a:lnTo>
                    <a:pt x="368545" y="438280"/>
                  </a:lnTo>
                  <a:lnTo>
                    <a:pt x="337970" y="438280"/>
                  </a:lnTo>
                  <a:lnTo>
                    <a:pt x="337970" y="311172"/>
                  </a:lnTo>
                  <a:cubicBezTo>
                    <a:pt x="337969" y="307227"/>
                    <a:pt x="334771" y="304029"/>
                    <a:pt x="330826" y="304028"/>
                  </a:cubicBezTo>
                  <a:lnTo>
                    <a:pt x="238032" y="304028"/>
                  </a:lnTo>
                  <a:cubicBezTo>
                    <a:pt x="234087" y="304029"/>
                    <a:pt x="230889" y="307227"/>
                    <a:pt x="230888" y="311172"/>
                  </a:cubicBezTo>
                  <a:lnTo>
                    <a:pt x="230888" y="438280"/>
                  </a:lnTo>
                  <a:lnTo>
                    <a:pt x="200313" y="438280"/>
                  </a:lnTo>
                  <a:close/>
                  <a:moveTo>
                    <a:pt x="323682" y="318316"/>
                  </a:moveTo>
                  <a:lnTo>
                    <a:pt x="323682" y="438280"/>
                  </a:lnTo>
                  <a:lnTo>
                    <a:pt x="291573" y="438280"/>
                  </a:lnTo>
                  <a:lnTo>
                    <a:pt x="291573" y="318316"/>
                  </a:lnTo>
                  <a:close/>
                  <a:moveTo>
                    <a:pt x="277285" y="438280"/>
                  </a:moveTo>
                  <a:lnTo>
                    <a:pt x="245176" y="438280"/>
                  </a:lnTo>
                  <a:lnTo>
                    <a:pt x="245176" y="318316"/>
                  </a:lnTo>
                  <a:lnTo>
                    <a:pt x="277285" y="318316"/>
                  </a:lnTo>
                  <a:close/>
                  <a:moveTo>
                    <a:pt x="79112" y="65620"/>
                  </a:moveTo>
                  <a:lnTo>
                    <a:pt x="142043" y="65620"/>
                  </a:lnTo>
                  <a:lnTo>
                    <a:pt x="142043" y="81585"/>
                  </a:lnTo>
                  <a:lnTo>
                    <a:pt x="79112" y="81585"/>
                  </a:lnTo>
                  <a:close/>
                  <a:moveTo>
                    <a:pt x="32933" y="261812"/>
                  </a:moveTo>
                  <a:lnTo>
                    <a:pt x="32933" y="95873"/>
                  </a:lnTo>
                  <a:lnTo>
                    <a:pt x="186026" y="95873"/>
                  </a:lnTo>
                  <a:lnTo>
                    <a:pt x="186026" y="438280"/>
                  </a:lnTo>
                  <a:lnTo>
                    <a:pt x="32933" y="438280"/>
                  </a:lnTo>
                  <a:close/>
                  <a:moveTo>
                    <a:pt x="557203" y="473404"/>
                  </a:moveTo>
                  <a:lnTo>
                    <a:pt x="14288" y="473404"/>
                  </a:lnTo>
                  <a:lnTo>
                    <a:pt x="14288" y="452568"/>
                  </a:lnTo>
                  <a:lnTo>
                    <a:pt x="193146" y="452568"/>
                  </a:lnTo>
                  <a:lnTo>
                    <a:pt x="193170" y="452573"/>
                  </a:lnTo>
                  <a:lnTo>
                    <a:pt x="375689" y="452573"/>
                  </a:lnTo>
                  <a:lnTo>
                    <a:pt x="375712" y="452568"/>
                  </a:lnTo>
                  <a:lnTo>
                    <a:pt x="557203" y="452568"/>
                  </a:lnTo>
                  <a:close/>
                </a:path>
              </a:pathLst>
            </a:custGeom>
            <a:grpFill/>
            <a:ln w="9525" cap="flat">
              <a:noFill/>
              <a:prstDash val="solid"/>
              <a:miter/>
            </a:ln>
          </p:spPr>
          <p:txBody>
            <a:bodyPr rtlCol="0" anchor="ctr"/>
            <a:lstStyle/>
            <a:p>
              <a:endParaRPr lang="fr-FR"/>
            </a:p>
          </p:txBody>
        </p:sp>
      </p:grpSp>
      <p:pic>
        <p:nvPicPr>
          <p:cNvPr id="49" name="Picture 2" descr="Quel est le prix d’une mutuelle santé à Strasbourg">
            <a:extLst>
              <a:ext uri="{FF2B5EF4-FFF2-40B4-BE49-F238E27FC236}">
                <a16:creationId xmlns:a16="http://schemas.microsoft.com/office/drawing/2014/main" id="{E0242875-B528-5BB0-E495-2D44183E0D5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8792" b="12199"/>
          <a:stretch/>
        </p:blipFill>
        <p:spPr bwMode="auto">
          <a:xfrm>
            <a:off x="5150314" y="3720345"/>
            <a:ext cx="615584" cy="486367"/>
          </a:xfrm>
          <a:prstGeom prst="rect">
            <a:avLst/>
          </a:prstGeom>
          <a:noFill/>
          <a:extLst>
            <a:ext uri="{909E8E84-426E-40DD-AFC4-6F175D3DCCD1}">
              <a14:hiddenFill xmlns:a14="http://schemas.microsoft.com/office/drawing/2010/main">
                <a:solidFill>
                  <a:srgbClr val="FFFFFF"/>
                </a:solidFill>
              </a14:hiddenFill>
            </a:ext>
          </a:extLst>
        </p:spPr>
      </p:pic>
      <p:pic>
        <p:nvPicPr>
          <p:cNvPr id="54" name="Image 53">
            <a:extLst>
              <a:ext uri="{FF2B5EF4-FFF2-40B4-BE49-F238E27FC236}">
                <a16:creationId xmlns:a16="http://schemas.microsoft.com/office/drawing/2014/main" id="{0CC75377-D09C-6F04-2BA8-5EDA6D38EDAD}"/>
              </a:ext>
            </a:extLst>
          </p:cNvPr>
          <p:cNvPicPr>
            <a:picLocks noChangeAspect="1"/>
          </p:cNvPicPr>
          <p:nvPr/>
        </p:nvPicPr>
        <p:blipFill>
          <a:blip r:embed="rId6"/>
          <a:stretch>
            <a:fillRect/>
          </a:stretch>
        </p:blipFill>
        <p:spPr>
          <a:xfrm>
            <a:off x="4256751" y="3819237"/>
            <a:ext cx="694718" cy="288583"/>
          </a:xfrm>
          <a:prstGeom prst="rect">
            <a:avLst/>
          </a:prstGeom>
        </p:spPr>
      </p:pic>
      <p:pic>
        <p:nvPicPr>
          <p:cNvPr id="55" name="Picture 4" descr="iAssure, courtier grossiste en assurance emprunteur">
            <a:extLst>
              <a:ext uri="{FF2B5EF4-FFF2-40B4-BE49-F238E27FC236}">
                <a16:creationId xmlns:a16="http://schemas.microsoft.com/office/drawing/2014/main" id="{566F9760-B841-394D-7313-FF9F0600AEE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834" t="17067" r="22209" b="21800"/>
          <a:stretch/>
        </p:blipFill>
        <p:spPr bwMode="auto">
          <a:xfrm>
            <a:off x="3442322" y="3759603"/>
            <a:ext cx="615584" cy="407850"/>
          </a:xfrm>
          <a:prstGeom prst="rect">
            <a:avLst/>
          </a:prstGeom>
          <a:noFill/>
          <a:extLst>
            <a:ext uri="{909E8E84-426E-40DD-AFC4-6F175D3DCCD1}">
              <a14:hiddenFill xmlns:a14="http://schemas.microsoft.com/office/drawing/2010/main">
                <a:solidFill>
                  <a:srgbClr val="FFFFFF"/>
                </a:solidFill>
              </a14:hiddenFill>
            </a:ext>
          </a:extLst>
        </p:spPr>
      </p:pic>
      <p:sp>
        <p:nvSpPr>
          <p:cNvPr id="58" name="ZoneTexte 57">
            <a:extLst>
              <a:ext uri="{FF2B5EF4-FFF2-40B4-BE49-F238E27FC236}">
                <a16:creationId xmlns:a16="http://schemas.microsoft.com/office/drawing/2014/main" id="{33996D55-C7C3-BB18-A669-7040C2CF165F}"/>
              </a:ext>
            </a:extLst>
          </p:cNvPr>
          <p:cNvSpPr txBox="1"/>
          <p:nvPr/>
        </p:nvSpPr>
        <p:spPr>
          <a:xfrm>
            <a:off x="467746" y="5236642"/>
            <a:ext cx="2926451" cy="276999"/>
          </a:xfrm>
          <a:prstGeom prst="rect">
            <a:avLst/>
          </a:prstGeom>
          <a:noFill/>
        </p:spPr>
        <p:txBody>
          <a:bodyPr wrap="square" rtlCol="0">
            <a:spAutoFit/>
          </a:bodyPr>
          <a:lstStyle/>
          <a:p>
            <a:pPr algn="ctr"/>
            <a:r>
              <a:rPr lang="fr-FR" sz="1200">
                <a:solidFill>
                  <a:schemeClr val="bg2"/>
                </a:solidFill>
              </a:rPr>
              <a:t>Courtiers et gestionnaires </a:t>
            </a:r>
          </a:p>
        </p:txBody>
      </p:sp>
      <p:sp>
        <p:nvSpPr>
          <p:cNvPr id="59" name="ZoneTexte 58">
            <a:extLst>
              <a:ext uri="{FF2B5EF4-FFF2-40B4-BE49-F238E27FC236}">
                <a16:creationId xmlns:a16="http://schemas.microsoft.com/office/drawing/2014/main" id="{CBAF0517-238D-7149-785F-CB5E620BDA8F}"/>
              </a:ext>
            </a:extLst>
          </p:cNvPr>
          <p:cNvSpPr txBox="1"/>
          <p:nvPr/>
        </p:nvSpPr>
        <p:spPr>
          <a:xfrm>
            <a:off x="3275413" y="5236642"/>
            <a:ext cx="2736000" cy="276999"/>
          </a:xfrm>
          <a:prstGeom prst="rect">
            <a:avLst/>
          </a:prstGeom>
          <a:noFill/>
        </p:spPr>
        <p:txBody>
          <a:bodyPr wrap="square" rtlCol="0">
            <a:spAutoFit/>
          </a:bodyPr>
          <a:lstStyle/>
          <a:p>
            <a:pPr algn="ctr"/>
            <a:r>
              <a:rPr lang="fr-FR" sz="1200">
                <a:solidFill>
                  <a:schemeClr val="bg2"/>
                </a:solidFill>
              </a:rPr>
              <a:t>Courtiers grossistes et gestionnaires</a:t>
            </a:r>
          </a:p>
        </p:txBody>
      </p:sp>
      <p:sp>
        <p:nvSpPr>
          <p:cNvPr id="60" name="ZoneTexte 59">
            <a:extLst>
              <a:ext uri="{FF2B5EF4-FFF2-40B4-BE49-F238E27FC236}">
                <a16:creationId xmlns:a16="http://schemas.microsoft.com/office/drawing/2014/main" id="{E37C64BC-55F1-E6FB-E64E-AF2B6F155CE7}"/>
              </a:ext>
            </a:extLst>
          </p:cNvPr>
          <p:cNvSpPr txBox="1"/>
          <p:nvPr/>
        </p:nvSpPr>
        <p:spPr>
          <a:xfrm>
            <a:off x="614073" y="3358892"/>
            <a:ext cx="1010657" cy="307777"/>
          </a:xfrm>
          <a:prstGeom prst="rect">
            <a:avLst/>
          </a:prstGeom>
          <a:noFill/>
        </p:spPr>
        <p:txBody>
          <a:bodyPr wrap="square" rtlCol="0">
            <a:spAutoFit/>
          </a:bodyPr>
          <a:lstStyle/>
          <a:p>
            <a:r>
              <a:rPr lang="fr-FR" sz="1400" b="1">
                <a:solidFill>
                  <a:schemeClr val="bg2"/>
                </a:solidFill>
              </a:rPr>
              <a:t>GROUPE</a:t>
            </a:r>
          </a:p>
        </p:txBody>
      </p:sp>
      <p:sp>
        <p:nvSpPr>
          <p:cNvPr id="61" name="ZoneTexte 60">
            <a:extLst>
              <a:ext uri="{FF2B5EF4-FFF2-40B4-BE49-F238E27FC236}">
                <a16:creationId xmlns:a16="http://schemas.microsoft.com/office/drawing/2014/main" id="{038141E5-5C7A-D441-7919-B2B11E58D492}"/>
              </a:ext>
            </a:extLst>
          </p:cNvPr>
          <p:cNvSpPr txBox="1"/>
          <p:nvPr/>
        </p:nvSpPr>
        <p:spPr>
          <a:xfrm>
            <a:off x="3176100" y="3297449"/>
            <a:ext cx="2926451" cy="276999"/>
          </a:xfrm>
          <a:prstGeom prst="rect">
            <a:avLst/>
          </a:prstGeom>
          <a:noFill/>
        </p:spPr>
        <p:txBody>
          <a:bodyPr wrap="square" rtlCol="0">
            <a:spAutoFit/>
          </a:bodyPr>
          <a:lstStyle/>
          <a:p>
            <a:pPr algn="ctr"/>
            <a:r>
              <a:rPr lang="fr-FR" sz="1200">
                <a:solidFill>
                  <a:schemeClr val="accent6"/>
                </a:solidFill>
              </a:rPr>
              <a:t>Courtiers</a:t>
            </a:r>
          </a:p>
        </p:txBody>
      </p:sp>
      <p:sp>
        <p:nvSpPr>
          <p:cNvPr id="62" name="ZoneTexte 61">
            <a:extLst>
              <a:ext uri="{FF2B5EF4-FFF2-40B4-BE49-F238E27FC236}">
                <a16:creationId xmlns:a16="http://schemas.microsoft.com/office/drawing/2014/main" id="{93472FFA-19B4-AF6D-55C6-2465D6DA8091}"/>
              </a:ext>
            </a:extLst>
          </p:cNvPr>
          <p:cNvSpPr txBox="1"/>
          <p:nvPr/>
        </p:nvSpPr>
        <p:spPr>
          <a:xfrm>
            <a:off x="1814536" y="6141303"/>
            <a:ext cx="2926451" cy="276999"/>
          </a:xfrm>
          <a:prstGeom prst="rect">
            <a:avLst/>
          </a:prstGeom>
          <a:noFill/>
        </p:spPr>
        <p:txBody>
          <a:bodyPr wrap="square" rtlCol="0">
            <a:spAutoFit/>
          </a:bodyPr>
          <a:lstStyle/>
          <a:p>
            <a:pPr algn="ctr"/>
            <a:r>
              <a:rPr lang="fr-FR" sz="1200">
                <a:solidFill>
                  <a:schemeClr val="tx2"/>
                </a:solidFill>
              </a:rPr>
              <a:t>Assureurs</a:t>
            </a:r>
          </a:p>
        </p:txBody>
      </p:sp>
      <p:sp>
        <p:nvSpPr>
          <p:cNvPr id="64" name="ZoneTexte 63">
            <a:extLst>
              <a:ext uri="{FF2B5EF4-FFF2-40B4-BE49-F238E27FC236}">
                <a16:creationId xmlns:a16="http://schemas.microsoft.com/office/drawing/2014/main" id="{63FAAAEC-26DD-FF05-D8AD-888DECB95D87}"/>
              </a:ext>
            </a:extLst>
          </p:cNvPr>
          <p:cNvSpPr txBox="1"/>
          <p:nvPr/>
        </p:nvSpPr>
        <p:spPr>
          <a:xfrm>
            <a:off x="1814536" y="2297809"/>
            <a:ext cx="2926451" cy="276999"/>
          </a:xfrm>
          <a:prstGeom prst="rect">
            <a:avLst/>
          </a:prstGeom>
          <a:noFill/>
        </p:spPr>
        <p:txBody>
          <a:bodyPr wrap="square" rtlCol="0">
            <a:spAutoFit/>
          </a:bodyPr>
          <a:lstStyle/>
          <a:p>
            <a:pPr algn="ctr"/>
            <a:r>
              <a:rPr lang="fr-FR" sz="1200">
                <a:solidFill>
                  <a:schemeClr val="accent1">
                    <a:lumMod val="60000"/>
                    <a:lumOff val="40000"/>
                  </a:schemeClr>
                </a:solidFill>
              </a:rPr>
              <a:t>Clients assurés</a:t>
            </a:r>
          </a:p>
        </p:txBody>
      </p:sp>
      <p:sp>
        <p:nvSpPr>
          <p:cNvPr id="83" name="Rectangle 82">
            <a:extLst>
              <a:ext uri="{FF2B5EF4-FFF2-40B4-BE49-F238E27FC236}">
                <a16:creationId xmlns:a16="http://schemas.microsoft.com/office/drawing/2014/main" id="{230408EB-2317-D689-A2A8-45B9FC4971D5}"/>
              </a:ext>
            </a:extLst>
          </p:cNvPr>
          <p:cNvSpPr/>
          <p:nvPr/>
        </p:nvSpPr>
        <p:spPr>
          <a:xfrm>
            <a:off x="6307064" y="1209610"/>
            <a:ext cx="5488281" cy="58025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ZoneTexte 51">
            <a:extLst>
              <a:ext uri="{FF2B5EF4-FFF2-40B4-BE49-F238E27FC236}">
                <a16:creationId xmlns:a16="http://schemas.microsoft.com/office/drawing/2014/main" id="{7ABFBC85-064A-7847-5303-B7B945134DC5}"/>
              </a:ext>
            </a:extLst>
          </p:cNvPr>
          <p:cNvSpPr txBox="1"/>
          <p:nvPr/>
        </p:nvSpPr>
        <p:spPr>
          <a:xfrm>
            <a:off x="7351893" y="1327252"/>
            <a:ext cx="3398623" cy="307777"/>
          </a:xfrm>
          <a:prstGeom prst="rect">
            <a:avLst/>
          </a:prstGeom>
          <a:noFill/>
        </p:spPr>
        <p:txBody>
          <a:bodyPr wrap="square" rtlCol="0">
            <a:spAutoFit/>
          </a:bodyPr>
          <a:lstStyle/>
          <a:p>
            <a:pPr algn="ctr"/>
            <a:r>
              <a:rPr lang="fr-FR" sz="1400" b="1">
                <a:solidFill>
                  <a:schemeClr val="bg1"/>
                </a:solidFill>
              </a:rPr>
              <a:t>LES ENJEUX DU GROUPE KEREIS</a:t>
            </a:r>
          </a:p>
        </p:txBody>
      </p:sp>
      <p:sp>
        <p:nvSpPr>
          <p:cNvPr id="107" name="ZoneTexte 106">
            <a:extLst>
              <a:ext uri="{FF2B5EF4-FFF2-40B4-BE49-F238E27FC236}">
                <a16:creationId xmlns:a16="http://schemas.microsoft.com/office/drawing/2014/main" id="{7D507D3E-AF4A-D99D-432E-8492E6C9EF1F}"/>
              </a:ext>
            </a:extLst>
          </p:cNvPr>
          <p:cNvSpPr txBox="1"/>
          <p:nvPr/>
        </p:nvSpPr>
        <p:spPr>
          <a:xfrm>
            <a:off x="1510018" y="1327252"/>
            <a:ext cx="3112236" cy="307777"/>
          </a:xfrm>
          <a:prstGeom prst="rect">
            <a:avLst/>
          </a:prstGeom>
          <a:noFill/>
        </p:spPr>
        <p:txBody>
          <a:bodyPr wrap="square" rtlCol="0">
            <a:spAutoFit/>
          </a:bodyPr>
          <a:lstStyle/>
          <a:p>
            <a:pPr algn="ctr"/>
            <a:r>
              <a:rPr lang="fr-FR" sz="1400" b="1">
                <a:solidFill>
                  <a:schemeClr val="bg1"/>
                </a:solidFill>
              </a:rPr>
              <a:t>L’ÉCOSYSTÈME KEREIS</a:t>
            </a:r>
          </a:p>
        </p:txBody>
      </p:sp>
      <p:sp>
        <p:nvSpPr>
          <p:cNvPr id="109" name="Rectangle 108">
            <a:extLst>
              <a:ext uri="{FF2B5EF4-FFF2-40B4-BE49-F238E27FC236}">
                <a16:creationId xmlns:a16="http://schemas.microsoft.com/office/drawing/2014/main" id="{0CB62A5A-3593-DCF0-128F-A6528451837D}"/>
              </a:ext>
            </a:extLst>
          </p:cNvPr>
          <p:cNvSpPr/>
          <p:nvPr/>
        </p:nvSpPr>
        <p:spPr>
          <a:xfrm>
            <a:off x="573423" y="1209610"/>
            <a:ext cx="5488281" cy="580254"/>
          </a:xfrm>
          <a:prstGeom prst="rect">
            <a:avLst/>
          </a:prstGeom>
          <a:solidFill>
            <a:srgbClr val="443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0" name="ZoneTexte 109">
            <a:extLst>
              <a:ext uri="{FF2B5EF4-FFF2-40B4-BE49-F238E27FC236}">
                <a16:creationId xmlns:a16="http://schemas.microsoft.com/office/drawing/2014/main" id="{F0BD6880-3F76-7890-2570-A098D32C18B1}"/>
              </a:ext>
            </a:extLst>
          </p:cNvPr>
          <p:cNvSpPr txBox="1"/>
          <p:nvPr/>
        </p:nvSpPr>
        <p:spPr>
          <a:xfrm>
            <a:off x="1919556" y="1327252"/>
            <a:ext cx="2716411" cy="307777"/>
          </a:xfrm>
          <a:prstGeom prst="rect">
            <a:avLst/>
          </a:prstGeom>
          <a:noFill/>
        </p:spPr>
        <p:txBody>
          <a:bodyPr wrap="square" rtlCol="0">
            <a:spAutoFit/>
          </a:bodyPr>
          <a:lstStyle/>
          <a:p>
            <a:pPr algn="ctr"/>
            <a:r>
              <a:rPr lang="fr-FR" sz="1400" b="1">
                <a:solidFill>
                  <a:schemeClr val="bg1"/>
                </a:solidFill>
              </a:rPr>
              <a:t>L’ÉCOSYSTÈME KEREIS</a:t>
            </a:r>
          </a:p>
        </p:txBody>
      </p:sp>
      <p:sp>
        <p:nvSpPr>
          <p:cNvPr id="119" name="Forme libre : forme 118">
            <a:extLst>
              <a:ext uri="{FF2B5EF4-FFF2-40B4-BE49-F238E27FC236}">
                <a16:creationId xmlns:a16="http://schemas.microsoft.com/office/drawing/2014/main" id="{B6172B17-1CAD-D56C-B283-CABDDBC8A09F}"/>
              </a:ext>
            </a:extLst>
          </p:cNvPr>
          <p:cNvSpPr>
            <a:spLocks noChangeAspect="1"/>
          </p:cNvSpPr>
          <p:nvPr/>
        </p:nvSpPr>
        <p:spPr>
          <a:xfrm rot="6359447">
            <a:off x="4239524" y="2335765"/>
            <a:ext cx="403294" cy="471759"/>
          </a:xfrm>
          <a:custGeom>
            <a:avLst/>
            <a:gdLst>
              <a:gd name="connsiteX0" fmla="*/ 681704 w 682417"/>
              <a:gd name="connsiteY0" fmla="*/ 80445 h 798267"/>
              <a:gd name="connsiteX1" fmla="*/ 677580 w 682417"/>
              <a:gd name="connsiteY1" fmla="*/ 77425 h 798267"/>
              <a:gd name="connsiteX2" fmla="*/ 681704 w 682417"/>
              <a:gd name="connsiteY2" fmla="*/ 80445 h 798267"/>
              <a:gd name="connsiteX3" fmla="*/ 630488 w 682417"/>
              <a:gd name="connsiteY3" fmla="*/ 184210 h 798267"/>
              <a:gd name="connsiteX4" fmla="*/ 635946 w 682417"/>
              <a:gd name="connsiteY4" fmla="*/ 179343 h 798267"/>
              <a:gd name="connsiteX5" fmla="*/ 630488 w 682417"/>
              <a:gd name="connsiteY5" fmla="*/ 184210 h 798267"/>
              <a:gd name="connsiteX6" fmla="*/ 627859 w 682417"/>
              <a:gd name="connsiteY6" fmla="*/ 117678 h 798267"/>
              <a:gd name="connsiteX7" fmla="*/ 628221 w 682417"/>
              <a:gd name="connsiteY7" fmla="*/ 122383 h 798267"/>
              <a:gd name="connsiteX8" fmla="*/ 627859 w 682417"/>
              <a:gd name="connsiteY8" fmla="*/ 117678 h 798267"/>
              <a:gd name="connsiteX9" fmla="*/ 577253 w 682417"/>
              <a:gd name="connsiteY9" fmla="*/ 265601 h 798267"/>
              <a:gd name="connsiteX10" fmla="*/ 579301 w 682417"/>
              <a:gd name="connsiteY10" fmla="*/ 274059 h 798267"/>
              <a:gd name="connsiteX11" fmla="*/ 577253 w 682417"/>
              <a:gd name="connsiteY11" fmla="*/ 265601 h 798267"/>
              <a:gd name="connsiteX12" fmla="*/ 610753 w 682417"/>
              <a:gd name="connsiteY12" fmla="*/ 54489 h 798267"/>
              <a:gd name="connsiteX13" fmla="*/ 606992 w 682417"/>
              <a:gd name="connsiteY13" fmla="*/ 53866 h 798267"/>
              <a:gd name="connsiteX14" fmla="*/ 605866 w 682417"/>
              <a:gd name="connsiteY14" fmla="*/ 55975 h 798267"/>
              <a:gd name="connsiteX15" fmla="*/ 610753 w 682417"/>
              <a:gd name="connsiteY15" fmla="*/ 54499 h 798267"/>
              <a:gd name="connsiteX16" fmla="*/ 564032 w 682417"/>
              <a:gd name="connsiteY16" fmla="*/ 288871 h 798267"/>
              <a:gd name="connsiteX17" fmla="*/ 567414 w 682417"/>
              <a:gd name="connsiteY17" fmla="*/ 289442 h 798267"/>
              <a:gd name="connsiteX18" fmla="*/ 564032 w 682417"/>
              <a:gd name="connsiteY18" fmla="*/ 288871 h 798267"/>
              <a:gd name="connsiteX19" fmla="*/ 561956 w 682417"/>
              <a:gd name="connsiteY19" fmla="*/ 294309 h 798267"/>
              <a:gd name="connsiteX20" fmla="*/ 562127 w 682417"/>
              <a:gd name="connsiteY20" fmla="*/ 300139 h 798267"/>
              <a:gd name="connsiteX21" fmla="*/ 564985 w 682417"/>
              <a:gd name="connsiteY21" fmla="*/ 297138 h 798267"/>
              <a:gd name="connsiteX22" fmla="*/ 561956 w 682417"/>
              <a:gd name="connsiteY22" fmla="*/ 294309 h 798267"/>
              <a:gd name="connsiteX23" fmla="*/ 538144 w 682417"/>
              <a:gd name="connsiteY23" fmla="*/ 352869 h 798267"/>
              <a:gd name="connsiteX24" fmla="*/ 537381 w 682417"/>
              <a:gd name="connsiteY24" fmla="*/ 357374 h 798267"/>
              <a:gd name="connsiteX25" fmla="*/ 538096 w 682417"/>
              <a:gd name="connsiteY25" fmla="*/ 352869 h 798267"/>
              <a:gd name="connsiteX26" fmla="*/ 514179 w 682417"/>
              <a:gd name="connsiteY26" fmla="*/ 323294 h 798267"/>
              <a:gd name="connsiteX27" fmla="*/ 510997 w 682417"/>
              <a:gd name="connsiteY27" fmla="*/ 321599 h 798267"/>
              <a:gd name="connsiteX28" fmla="*/ 510616 w 682417"/>
              <a:gd name="connsiteY28" fmla="*/ 323846 h 798267"/>
              <a:gd name="connsiteX29" fmla="*/ 514131 w 682417"/>
              <a:gd name="connsiteY29" fmla="*/ 323294 h 798267"/>
              <a:gd name="connsiteX30" fmla="*/ 539267 w 682417"/>
              <a:gd name="connsiteY30" fmla="*/ 100323 h 798267"/>
              <a:gd name="connsiteX31" fmla="*/ 535134 w 682417"/>
              <a:gd name="connsiteY31" fmla="*/ 97304 h 798267"/>
              <a:gd name="connsiteX32" fmla="*/ 539220 w 682417"/>
              <a:gd name="connsiteY32" fmla="*/ 100323 h 798267"/>
              <a:gd name="connsiteX33" fmla="*/ 532286 w 682417"/>
              <a:gd name="connsiteY33" fmla="*/ 107257 h 798267"/>
              <a:gd name="connsiteX34" fmla="*/ 536096 w 682417"/>
              <a:gd name="connsiteY34" fmla="*/ 105572 h 798267"/>
              <a:gd name="connsiteX35" fmla="*/ 532895 w 682417"/>
              <a:gd name="connsiteY35" fmla="*/ 103876 h 798267"/>
              <a:gd name="connsiteX36" fmla="*/ 489423 w 682417"/>
              <a:gd name="connsiteY36" fmla="*/ 366633 h 798267"/>
              <a:gd name="connsiteX37" fmla="*/ 487166 w 682417"/>
              <a:gd name="connsiteY37" fmla="*/ 366252 h 798267"/>
              <a:gd name="connsiteX38" fmla="*/ 486785 w 682417"/>
              <a:gd name="connsiteY38" fmla="*/ 368500 h 798267"/>
              <a:gd name="connsiteX39" fmla="*/ 489042 w 682417"/>
              <a:gd name="connsiteY39" fmla="*/ 368881 h 798267"/>
              <a:gd name="connsiteX40" fmla="*/ 501082 w 682417"/>
              <a:gd name="connsiteY40" fmla="*/ 31286 h 798267"/>
              <a:gd name="connsiteX41" fmla="*/ 498081 w 682417"/>
              <a:gd name="connsiteY41" fmla="*/ 28429 h 798267"/>
              <a:gd name="connsiteX42" fmla="*/ 501082 w 682417"/>
              <a:gd name="connsiteY42" fmla="*/ 31286 h 798267"/>
              <a:gd name="connsiteX43" fmla="*/ 494348 w 682417"/>
              <a:gd name="connsiteY43" fmla="*/ 23190 h 798267"/>
              <a:gd name="connsiteX44" fmla="*/ 497338 w 682417"/>
              <a:gd name="connsiteY44" fmla="*/ 26047 h 798267"/>
              <a:gd name="connsiteX45" fmla="*/ 491528 w 682417"/>
              <a:gd name="connsiteY45" fmla="*/ 19275 h 798267"/>
              <a:gd name="connsiteX46" fmla="*/ 493024 w 682417"/>
              <a:gd name="connsiteY46" fmla="*/ 24161 h 798267"/>
              <a:gd name="connsiteX47" fmla="*/ 494348 w 682417"/>
              <a:gd name="connsiteY47" fmla="*/ 23152 h 798267"/>
              <a:gd name="connsiteX48" fmla="*/ 485851 w 682417"/>
              <a:gd name="connsiteY48" fmla="*/ 32181 h 798267"/>
              <a:gd name="connsiteX49" fmla="*/ 486623 w 682417"/>
              <a:gd name="connsiteY49" fmla="*/ 27676 h 798267"/>
              <a:gd name="connsiteX50" fmla="*/ 485851 w 682417"/>
              <a:gd name="connsiteY50" fmla="*/ 32143 h 798267"/>
              <a:gd name="connsiteX51" fmla="*/ 430263 w 682417"/>
              <a:gd name="connsiteY51" fmla="*/ 216328 h 798267"/>
              <a:gd name="connsiteX52" fmla="*/ 434578 w 682417"/>
              <a:gd name="connsiteY52" fmla="*/ 218233 h 798267"/>
              <a:gd name="connsiteX53" fmla="*/ 435150 w 682417"/>
              <a:gd name="connsiteY53" fmla="*/ 214852 h 798267"/>
              <a:gd name="connsiteX54" fmla="*/ 430263 w 682417"/>
              <a:gd name="connsiteY54" fmla="*/ 216328 h 798267"/>
              <a:gd name="connsiteX55" fmla="*/ 430092 w 682417"/>
              <a:gd name="connsiteY55" fmla="*/ 210499 h 798267"/>
              <a:gd name="connsiteX56" fmla="*/ 430092 w 682417"/>
              <a:gd name="connsiteY56" fmla="*/ 210499 h 798267"/>
              <a:gd name="connsiteX57" fmla="*/ 456705 w 682417"/>
              <a:gd name="connsiteY57" fmla="*/ 26047 h 798267"/>
              <a:gd name="connsiteX58" fmla="*/ 461810 w 682417"/>
              <a:gd name="connsiteY58" fmla="*/ 16522 h 798267"/>
              <a:gd name="connsiteX59" fmla="*/ 458810 w 682417"/>
              <a:gd name="connsiteY59" fmla="*/ 13665 h 798267"/>
              <a:gd name="connsiteX60" fmla="*/ 455057 w 682417"/>
              <a:gd name="connsiteY60" fmla="*/ 15341 h 798267"/>
              <a:gd name="connsiteX61" fmla="*/ 453371 w 682417"/>
              <a:gd name="connsiteY61" fmla="*/ 11579 h 798267"/>
              <a:gd name="connsiteX62" fmla="*/ 456705 w 682417"/>
              <a:gd name="connsiteY62" fmla="*/ 26047 h 798267"/>
              <a:gd name="connsiteX63" fmla="*/ 426882 w 682417"/>
              <a:gd name="connsiteY63" fmla="*/ 215747 h 798267"/>
              <a:gd name="connsiteX64" fmla="*/ 424815 w 682417"/>
              <a:gd name="connsiteY64" fmla="*/ 214242 h 798267"/>
              <a:gd name="connsiteX65" fmla="*/ 422205 w 682417"/>
              <a:gd name="connsiteY65" fmla="*/ 209156 h 798267"/>
              <a:gd name="connsiteX66" fmla="*/ 421062 w 682417"/>
              <a:gd name="connsiteY66" fmla="*/ 215919 h 798267"/>
              <a:gd name="connsiteX67" fmla="*/ 427434 w 682417"/>
              <a:gd name="connsiteY67" fmla="*/ 219319 h 798267"/>
              <a:gd name="connsiteX68" fmla="*/ 426882 w 682417"/>
              <a:gd name="connsiteY68" fmla="*/ 215747 h 798267"/>
              <a:gd name="connsiteX69" fmla="*/ 445837 w 682417"/>
              <a:gd name="connsiteY69" fmla="*/ 28829 h 798267"/>
              <a:gd name="connsiteX70" fmla="*/ 447551 w 682417"/>
              <a:gd name="connsiteY70" fmla="*/ 25647 h 798267"/>
              <a:gd name="connsiteX71" fmla="*/ 445837 w 682417"/>
              <a:gd name="connsiteY71" fmla="*/ 28829 h 798267"/>
              <a:gd name="connsiteX72" fmla="*/ 404812 w 682417"/>
              <a:gd name="connsiteY72" fmla="*/ 181857 h 798267"/>
              <a:gd name="connsiteX73" fmla="*/ 396345 w 682417"/>
              <a:gd name="connsiteY73" fmla="*/ 183905 h 798267"/>
              <a:gd name="connsiteX74" fmla="*/ 400279 w 682417"/>
              <a:gd name="connsiteY74" fmla="*/ 188049 h 798267"/>
              <a:gd name="connsiteX75" fmla="*/ 404812 w 682417"/>
              <a:gd name="connsiteY75" fmla="*/ 181857 h 798267"/>
              <a:gd name="connsiteX76" fmla="*/ 420910 w 682417"/>
              <a:gd name="connsiteY76" fmla="*/ 11855 h 798267"/>
              <a:gd name="connsiteX77" fmla="*/ 417157 w 682417"/>
              <a:gd name="connsiteY77" fmla="*/ 6578 h 798267"/>
              <a:gd name="connsiteX78" fmla="*/ 420910 w 682417"/>
              <a:gd name="connsiteY78" fmla="*/ 11855 h 798267"/>
              <a:gd name="connsiteX79" fmla="*/ 388125 w 682417"/>
              <a:gd name="connsiteY79" fmla="*/ 34144 h 798267"/>
              <a:gd name="connsiteX80" fmla="*/ 389801 w 682417"/>
              <a:gd name="connsiteY80" fmla="*/ 37906 h 798267"/>
              <a:gd name="connsiteX81" fmla="*/ 388125 w 682417"/>
              <a:gd name="connsiteY81" fmla="*/ 34144 h 798267"/>
              <a:gd name="connsiteX82" fmla="*/ 337833 w 682417"/>
              <a:gd name="connsiteY82" fmla="*/ 269078 h 798267"/>
              <a:gd name="connsiteX83" fmla="*/ 341786 w 682417"/>
              <a:gd name="connsiteY83" fmla="*/ 266220 h 798267"/>
              <a:gd name="connsiteX84" fmla="*/ 337852 w 682417"/>
              <a:gd name="connsiteY84" fmla="*/ 269049 h 798267"/>
              <a:gd name="connsiteX85" fmla="*/ 334289 w 682417"/>
              <a:gd name="connsiteY85" fmla="*/ 9902 h 798267"/>
              <a:gd name="connsiteX86" fmla="*/ 332032 w 682417"/>
              <a:gd name="connsiteY86" fmla="*/ 9521 h 798267"/>
              <a:gd name="connsiteX87" fmla="*/ 331651 w 682417"/>
              <a:gd name="connsiteY87" fmla="*/ 11779 h 798267"/>
              <a:gd name="connsiteX88" fmla="*/ 333899 w 682417"/>
              <a:gd name="connsiteY88" fmla="*/ 12160 h 798267"/>
              <a:gd name="connsiteX89" fmla="*/ 334289 w 682417"/>
              <a:gd name="connsiteY89" fmla="*/ 9902 h 798267"/>
              <a:gd name="connsiteX90" fmla="*/ 322945 w 682417"/>
              <a:gd name="connsiteY90" fmla="*/ 28857 h 798267"/>
              <a:gd name="connsiteX91" fmla="*/ 327650 w 682417"/>
              <a:gd name="connsiteY91" fmla="*/ 28486 h 798267"/>
              <a:gd name="connsiteX92" fmla="*/ 328412 w 682417"/>
              <a:gd name="connsiteY92" fmla="*/ 23980 h 798267"/>
              <a:gd name="connsiteX93" fmla="*/ 319192 w 682417"/>
              <a:gd name="connsiteY93" fmla="*/ 30534 h 798267"/>
              <a:gd name="connsiteX94" fmla="*/ 322945 w 682417"/>
              <a:gd name="connsiteY94" fmla="*/ 28857 h 798267"/>
              <a:gd name="connsiteX95" fmla="*/ 318364 w 682417"/>
              <a:gd name="connsiteY95" fmla="*/ 55899 h 798267"/>
              <a:gd name="connsiteX96" fmla="*/ 315363 w 682417"/>
              <a:gd name="connsiteY96" fmla="*/ 53041 h 798267"/>
              <a:gd name="connsiteX97" fmla="*/ 318364 w 682417"/>
              <a:gd name="connsiteY97" fmla="*/ 55899 h 798267"/>
              <a:gd name="connsiteX98" fmla="*/ 278120 w 682417"/>
              <a:gd name="connsiteY98" fmla="*/ 258934 h 798267"/>
              <a:gd name="connsiteX99" fmla="*/ 280740 w 682417"/>
              <a:gd name="connsiteY99" fmla="*/ 264010 h 798267"/>
              <a:gd name="connsiteX100" fmla="*/ 278120 w 682417"/>
              <a:gd name="connsiteY100" fmla="*/ 258934 h 798267"/>
              <a:gd name="connsiteX101" fmla="*/ 316382 w 682417"/>
              <a:gd name="connsiteY101" fmla="*/ 26600 h 798267"/>
              <a:gd name="connsiteX102" fmla="*/ 316744 w 682417"/>
              <a:gd name="connsiteY102" fmla="*/ 31296 h 798267"/>
              <a:gd name="connsiteX103" fmla="*/ 316382 w 682417"/>
              <a:gd name="connsiteY103" fmla="*/ 26581 h 798267"/>
              <a:gd name="connsiteX104" fmla="*/ 312572 w 682417"/>
              <a:gd name="connsiteY104" fmla="*/ 49136 h 798267"/>
              <a:gd name="connsiteX105" fmla="*/ 308762 w 682417"/>
              <a:gd name="connsiteY105" fmla="*/ 50812 h 798267"/>
              <a:gd name="connsiteX106" fmla="*/ 312553 w 682417"/>
              <a:gd name="connsiteY106" fmla="*/ 49117 h 798267"/>
              <a:gd name="connsiteX107" fmla="*/ 243288 w 682417"/>
              <a:gd name="connsiteY107" fmla="*/ 348069 h 798267"/>
              <a:gd name="connsiteX108" fmla="*/ 242907 w 682417"/>
              <a:gd name="connsiteY108" fmla="*/ 350316 h 798267"/>
              <a:gd name="connsiteX109" fmla="*/ 243859 w 682417"/>
              <a:gd name="connsiteY109" fmla="*/ 351640 h 798267"/>
              <a:gd name="connsiteX110" fmla="*/ 245183 w 682417"/>
              <a:gd name="connsiteY110" fmla="*/ 350688 h 798267"/>
              <a:gd name="connsiteX111" fmla="*/ 245916 w 682417"/>
              <a:gd name="connsiteY111" fmla="*/ 353136 h 798267"/>
              <a:gd name="connsiteX112" fmla="*/ 243288 w 682417"/>
              <a:gd name="connsiteY112" fmla="*/ 348069 h 798267"/>
              <a:gd name="connsiteX113" fmla="*/ 230476 w 682417"/>
              <a:gd name="connsiteY113" fmla="*/ 293719 h 798267"/>
              <a:gd name="connsiteX114" fmla="*/ 230476 w 682417"/>
              <a:gd name="connsiteY114" fmla="*/ 293719 h 798267"/>
              <a:gd name="connsiteX115" fmla="*/ 153857 w 682417"/>
              <a:gd name="connsiteY115" fmla="*/ 472008 h 798267"/>
              <a:gd name="connsiteX116" fmla="*/ 160620 w 682417"/>
              <a:gd name="connsiteY116" fmla="*/ 473160 h 798267"/>
              <a:gd name="connsiteX117" fmla="*/ 161573 w 682417"/>
              <a:gd name="connsiteY117" fmla="*/ 467522 h 798267"/>
              <a:gd name="connsiteX118" fmla="*/ 153857 w 682417"/>
              <a:gd name="connsiteY118" fmla="*/ 472008 h 798267"/>
              <a:gd name="connsiteX119" fmla="*/ 154010 w 682417"/>
              <a:gd name="connsiteY119" fmla="*/ 484790 h 798267"/>
              <a:gd name="connsiteX120" fmla="*/ 160220 w 682417"/>
              <a:gd name="connsiteY120" fmla="*/ 482362 h 798267"/>
              <a:gd name="connsiteX121" fmla="*/ 154010 w 682417"/>
              <a:gd name="connsiteY121" fmla="*/ 484790 h 798267"/>
              <a:gd name="connsiteX122" fmla="*/ 163335 w 682417"/>
              <a:gd name="connsiteY122" fmla="*/ 388978 h 798267"/>
              <a:gd name="connsiteX123" fmla="*/ 167478 w 682417"/>
              <a:gd name="connsiteY123" fmla="*/ 385054 h 798267"/>
              <a:gd name="connsiteX124" fmla="*/ 163335 w 682417"/>
              <a:gd name="connsiteY124" fmla="*/ 388978 h 798267"/>
              <a:gd name="connsiteX125" fmla="*/ 163935 w 682417"/>
              <a:gd name="connsiteY125" fmla="*/ 378653 h 798267"/>
              <a:gd name="connsiteX126" fmla="*/ 163935 w 682417"/>
              <a:gd name="connsiteY126" fmla="*/ 378653 h 798267"/>
              <a:gd name="connsiteX127" fmla="*/ 128521 w 682417"/>
              <a:gd name="connsiteY127" fmla="*/ 525681 h 798267"/>
              <a:gd name="connsiteX128" fmla="*/ 131521 w 682417"/>
              <a:gd name="connsiteY128" fmla="*/ 528539 h 798267"/>
              <a:gd name="connsiteX129" fmla="*/ 128521 w 682417"/>
              <a:gd name="connsiteY129" fmla="*/ 525681 h 798267"/>
              <a:gd name="connsiteX130" fmla="*/ 135607 w 682417"/>
              <a:gd name="connsiteY130" fmla="*/ 415582 h 798267"/>
              <a:gd name="connsiteX131" fmla="*/ 140475 w 682417"/>
              <a:gd name="connsiteY131" fmla="*/ 421049 h 798267"/>
              <a:gd name="connsiteX132" fmla="*/ 135607 w 682417"/>
              <a:gd name="connsiteY132" fmla="*/ 415582 h 798267"/>
              <a:gd name="connsiteX133" fmla="*/ 125378 w 682417"/>
              <a:gd name="connsiteY133" fmla="*/ 441671 h 798267"/>
              <a:gd name="connsiteX134" fmla="*/ 129188 w 682417"/>
              <a:gd name="connsiteY134" fmla="*/ 439994 h 798267"/>
              <a:gd name="connsiteX135" fmla="*/ 128435 w 682417"/>
              <a:gd name="connsiteY135" fmla="*/ 437546 h 798267"/>
              <a:gd name="connsiteX136" fmla="*/ 125378 w 682417"/>
              <a:gd name="connsiteY136" fmla="*/ 441671 h 798267"/>
              <a:gd name="connsiteX137" fmla="*/ 105156 w 682417"/>
              <a:gd name="connsiteY137" fmla="*/ 485771 h 798267"/>
              <a:gd name="connsiteX138" fmla="*/ 102537 w 682417"/>
              <a:gd name="connsiteY138" fmla="*/ 480695 h 798267"/>
              <a:gd name="connsiteX139" fmla="*/ 105156 w 682417"/>
              <a:gd name="connsiteY139" fmla="*/ 485771 h 798267"/>
              <a:gd name="connsiteX140" fmla="*/ 103070 w 682417"/>
              <a:gd name="connsiteY140" fmla="*/ 491220 h 798267"/>
              <a:gd name="connsiteX141" fmla="*/ 102899 w 682417"/>
              <a:gd name="connsiteY141" fmla="*/ 485390 h 798267"/>
              <a:gd name="connsiteX142" fmla="*/ 99708 w 682417"/>
              <a:gd name="connsiteY142" fmla="*/ 483695 h 798267"/>
              <a:gd name="connsiteX143" fmla="*/ 97431 w 682417"/>
              <a:gd name="connsiteY143" fmla="*/ 490267 h 798267"/>
              <a:gd name="connsiteX144" fmla="*/ 103070 w 682417"/>
              <a:gd name="connsiteY144" fmla="*/ 491220 h 798267"/>
              <a:gd name="connsiteX145" fmla="*/ 37014 w 682417"/>
              <a:gd name="connsiteY145" fmla="*/ 784914 h 798267"/>
              <a:gd name="connsiteX146" fmla="*/ 30794 w 682417"/>
              <a:gd name="connsiteY146" fmla="*/ 787343 h 798267"/>
              <a:gd name="connsiteX147" fmla="*/ 23851 w 682417"/>
              <a:gd name="connsiteY147" fmla="*/ 787343 h 798267"/>
              <a:gd name="connsiteX148" fmla="*/ 26460 w 682417"/>
              <a:gd name="connsiteY148" fmla="*/ 792419 h 798267"/>
              <a:gd name="connsiteX149" fmla="*/ 29318 w 682417"/>
              <a:gd name="connsiteY149" fmla="*/ 789419 h 798267"/>
              <a:gd name="connsiteX150" fmla="*/ 33614 w 682417"/>
              <a:gd name="connsiteY150" fmla="*/ 798268 h 798267"/>
              <a:gd name="connsiteX151" fmla="*/ 33442 w 682417"/>
              <a:gd name="connsiteY151" fmla="*/ 792438 h 798267"/>
              <a:gd name="connsiteX152" fmla="*/ 34957 w 682417"/>
              <a:gd name="connsiteY152" fmla="*/ 790381 h 798267"/>
              <a:gd name="connsiteX153" fmla="*/ 37586 w 682417"/>
              <a:gd name="connsiteY153" fmla="*/ 788476 h 798267"/>
              <a:gd name="connsiteX154" fmla="*/ 37014 w 682417"/>
              <a:gd name="connsiteY154" fmla="*/ 784914 h 798267"/>
              <a:gd name="connsiteX155" fmla="*/ 29127 w 682417"/>
              <a:gd name="connsiteY155" fmla="*/ 783580 h 798267"/>
              <a:gd name="connsiteX156" fmla="*/ 36452 w 682417"/>
              <a:gd name="connsiteY156" fmla="*/ 781342 h 798267"/>
              <a:gd name="connsiteX157" fmla="*/ 37776 w 682417"/>
              <a:gd name="connsiteY157" fmla="*/ 780389 h 798267"/>
              <a:gd name="connsiteX158" fmla="*/ 29127 w 682417"/>
              <a:gd name="connsiteY158" fmla="*/ 783580 h 798267"/>
              <a:gd name="connsiteX159" fmla="*/ 27061 w 682417"/>
              <a:gd name="connsiteY159" fmla="*/ 782066 h 798267"/>
              <a:gd name="connsiteX160" fmla="*/ 24422 w 682417"/>
              <a:gd name="connsiteY160" fmla="*/ 783971 h 798267"/>
              <a:gd name="connsiteX161" fmla="*/ 27061 w 682417"/>
              <a:gd name="connsiteY161" fmla="*/ 782066 h 798267"/>
              <a:gd name="connsiteX162" fmla="*/ 678799 w 682417"/>
              <a:gd name="connsiteY162" fmla="*/ 111296 h 798267"/>
              <a:gd name="connsiteX163" fmla="*/ 679752 w 682417"/>
              <a:gd name="connsiteY163" fmla="*/ 112620 h 798267"/>
              <a:gd name="connsiteX164" fmla="*/ 679561 w 682417"/>
              <a:gd name="connsiteY164" fmla="*/ 113744 h 798267"/>
              <a:gd name="connsiteX165" fmla="*/ 678799 w 682417"/>
              <a:gd name="connsiteY165" fmla="*/ 111296 h 798267"/>
              <a:gd name="connsiteX166" fmla="*/ 677847 w 682417"/>
              <a:gd name="connsiteY166" fmla="*/ 116935 h 798267"/>
              <a:gd name="connsiteX167" fmla="*/ 676142 w 682417"/>
              <a:gd name="connsiteY167" fmla="*/ 120126 h 798267"/>
              <a:gd name="connsiteX168" fmla="*/ 669569 w 682417"/>
              <a:gd name="connsiteY168" fmla="*/ 117849 h 798267"/>
              <a:gd name="connsiteX169" fmla="*/ 664293 w 682417"/>
              <a:gd name="connsiteY169" fmla="*/ 121593 h 798267"/>
              <a:gd name="connsiteX170" fmla="*/ 663531 w 682417"/>
              <a:gd name="connsiteY170" fmla="*/ 126098 h 798267"/>
              <a:gd name="connsiteX171" fmla="*/ 668045 w 682417"/>
              <a:gd name="connsiteY171" fmla="*/ 126869 h 798267"/>
              <a:gd name="connsiteX172" fmla="*/ 666702 w 682417"/>
              <a:gd name="connsiteY172" fmla="*/ 134756 h 798267"/>
              <a:gd name="connsiteX173" fmla="*/ 659940 w 682417"/>
              <a:gd name="connsiteY173" fmla="*/ 133604 h 798267"/>
              <a:gd name="connsiteX174" fmla="*/ 661045 w 682417"/>
              <a:gd name="connsiteY174" fmla="*/ 140747 h 798267"/>
              <a:gd name="connsiteX175" fmla="*/ 663683 w 682417"/>
              <a:gd name="connsiteY175" fmla="*/ 138842 h 798267"/>
              <a:gd name="connsiteX176" fmla="*/ 658406 w 682417"/>
              <a:gd name="connsiteY176" fmla="*/ 142586 h 798267"/>
              <a:gd name="connsiteX177" fmla="*/ 661406 w 682417"/>
              <a:gd name="connsiteY177" fmla="*/ 145443 h 798267"/>
              <a:gd name="connsiteX178" fmla="*/ 658778 w 682417"/>
              <a:gd name="connsiteY178" fmla="*/ 147348 h 798267"/>
              <a:gd name="connsiteX179" fmla="*/ 656139 w 682417"/>
              <a:gd name="connsiteY179" fmla="*/ 149253 h 798267"/>
              <a:gd name="connsiteX180" fmla="*/ 659321 w 682417"/>
              <a:gd name="connsiteY180" fmla="*/ 150949 h 798267"/>
              <a:gd name="connsiteX181" fmla="*/ 660073 w 682417"/>
              <a:gd name="connsiteY181" fmla="*/ 153397 h 798267"/>
              <a:gd name="connsiteX182" fmla="*/ 654806 w 682417"/>
              <a:gd name="connsiteY182" fmla="*/ 157140 h 798267"/>
              <a:gd name="connsiteX183" fmla="*/ 654053 w 682417"/>
              <a:gd name="connsiteY183" fmla="*/ 154692 h 798267"/>
              <a:gd name="connsiteX184" fmla="*/ 645595 w 682417"/>
              <a:gd name="connsiteY184" fmla="*/ 156740 h 798267"/>
              <a:gd name="connsiteX185" fmla="*/ 644071 w 682417"/>
              <a:gd name="connsiteY185" fmla="*/ 165751 h 798267"/>
              <a:gd name="connsiteX186" fmla="*/ 639366 w 682417"/>
              <a:gd name="connsiteY186" fmla="*/ 166112 h 798267"/>
              <a:gd name="connsiteX187" fmla="*/ 639728 w 682417"/>
              <a:gd name="connsiteY187" fmla="*/ 170808 h 798267"/>
              <a:gd name="connsiteX188" fmla="*/ 636175 w 682417"/>
              <a:gd name="connsiteY188" fmla="*/ 164417 h 798267"/>
              <a:gd name="connsiteX189" fmla="*/ 631117 w 682417"/>
              <a:gd name="connsiteY189" fmla="*/ 160074 h 798267"/>
              <a:gd name="connsiteX190" fmla="*/ 636556 w 682417"/>
              <a:gd name="connsiteY190" fmla="*/ 162160 h 798267"/>
              <a:gd name="connsiteX191" fmla="*/ 639194 w 682417"/>
              <a:gd name="connsiteY191" fmla="*/ 160255 h 798267"/>
              <a:gd name="connsiteX192" fmla="*/ 635813 w 682417"/>
              <a:gd name="connsiteY192" fmla="*/ 159683 h 798267"/>
              <a:gd name="connsiteX193" fmla="*/ 635260 w 682417"/>
              <a:gd name="connsiteY193" fmla="*/ 156111 h 798267"/>
              <a:gd name="connsiteX194" fmla="*/ 633946 w 682417"/>
              <a:gd name="connsiteY194" fmla="*/ 157064 h 798267"/>
              <a:gd name="connsiteX195" fmla="*/ 629431 w 682417"/>
              <a:gd name="connsiteY195" fmla="*/ 156302 h 798267"/>
              <a:gd name="connsiteX196" fmla="*/ 624145 w 682417"/>
              <a:gd name="connsiteY196" fmla="*/ 166998 h 798267"/>
              <a:gd name="connsiteX197" fmla="*/ 623192 w 682417"/>
              <a:gd name="connsiteY197" fmla="*/ 172637 h 798267"/>
              <a:gd name="connsiteX198" fmla="*/ 628079 w 682417"/>
              <a:gd name="connsiteY198" fmla="*/ 171142 h 798267"/>
              <a:gd name="connsiteX199" fmla="*/ 628821 w 682417"/>
              <a:gd name="connsiteY199" fmla="*/ 173590 h 798267"/>
              <a:gd name="connsiteX200" fmla="*/ 634641 w 682417"/>
              <a:gd name="connsiteY200" fmla="*/ 173418 h 798267"/>
              <a:gd name="connsiteX201" fmla="*/ 630698 w 682417"/>
              <a:gd name="connsiteY201" fmla="*/ 176276 h 798267"/>
              <a:gd name="connsiteX202" fmla="*/ 625993 w 682417"/>
              <a:gd name="connsiteY202" fmla="*/ 176638 h 798267"/>
              <a:gd name="connsiteX203" fmla="*/ 626545 w 682417"/>
              <a:gd name="connsiteY203" fmla="*/ 180209 h 798267"/>
              <a:gd name="connsiteX204" fmla="*/ 627097 w 682417"/>
              <a:gd name="connsiteY204" fmla="*/ 183772 h 798267"/>
              <a:gd name="connsiteX205" fmla="*/ 630098 w 682417"/>
              <a:gd name="connsiteY205" fmla="*/ 186629 h 798267"/>
              <a:gd name="connsiteX206" fmla="*/ 633289 w 682417"/>
              <a:gd name="connsiteY206" fmla="*/ 188325 h 798267"/>
              <a:gd name="connsiteX207" fmla="*/ 637242 w 682417"/>
              <a:gd name="connsiteY207" fmla="*/ 185515 h 798267"/>
              <a:gd name="connsiteX208" fmla="*/ 635337 w 682417"/>
              <a:gd name="connsiteY208" fmla="*/ 189830 h 798267"/>
              <a:gd name="connsiteX209" fmla="*/ 629707 w 682417"/>
              <a:gd name="connsiteY209" fmla="*/ 188877 h 798267"/>
              <a:gd name="connsiteX210" fmla="*/ 632127 w 682417"/>
              <a:gd name="connsiteY210" fmla="*/ 195088 h 798267"/>
              <a:gd name="connsiteX211" fmla="*/ 628564 w 682417"/>
              <a:gd name="connsiteY211" fmla="*/ 195640 h 798267"/>
              <a:gd name="connsiteX212" fmla="*/ 623097 w 682417"/>
              <a:gd name="connsiteY212" fmla="*/ 200507 h 798267"/>
              <a:gd name="connsiteX213" fmla="*/ 619906 w 682417"/>
              <a:gd name="connsiteY213" fmla="*/ 198812 h 798267"/>
              <a:gd name="connsiteX214" fmla="*/ 619506 w 682417"/>
              <a:gd name="connsiteY214" fmla="*/ 208013 h 798267"/>
              <a:gd name="connsiteX215" fmla="*/ 616887 w 682417"/>
              <a:gd name="connsiteY215" fmla="*/ 202936 h 798267"/>
              <a:gd name="connsiteX216" fmla="*/ 617058 w 682417"/>
              <a:gd name="connsiteY216" fmla="*/ 208765 h 798267"/>
              <a:gd name="connsiteX217" fmla="*/ 613677 w 682417"/>
              <a:gd name="connsiteY217" fmla="*/ 208184 h 798267"/>
              <a:gd name="connsiteX218" fmla="*/ 616677 w 682417"/>
              <a:gd name="connsiteY218" fmla="*/ 211042 h 798267"/>
              <a:gd name="connsiteX219" fmla="*/ 612724 w 682417"/>
              <a:gd name="connsiteY219" fmla="*/ 213852 h 798267"/>
              <a:gd name="connsiteX220" fmla="*/ 611381 w 682417"/>
              <a:gd name="connsiteY220" fmla="*/ 221738 h 798267"/>
              <a:gd name="connsiteX221" fmla="*/ 605752 w 682417"/>
              <a:gd name="connsiteY221" fmla="*/ 220786 h 798267"/>
              <a:gd name="connsiteX222" fmla="*/ 603114 w 682417"/>
              <a:gd name="connsiteY222" fmla="*/ 222691 h 798267"/>
              <a:gd name="connsiteX223" fmla="*/ 593503 w 682417"/>
              <a:gd name="connsiteY223" fmla="*/ 231492 h 798267"/>
              <a:gd name="connsiteX224" fmla="*/ 586750 w 682417"/>
              <a:gd name="connsiteY224" fmla="*/ 230349 h 798267"/>
              <a:gd name="connsiteX225" fmla="*/ 590864 w 682417"/>
              <a:gd name="connsiteY225" fmla="*/ 233368 h 798267"/>
              <a:gd name="connsiteX226" fmla="*/ 595751 w 682417"/>
              <a:gd name="connsiteY226" fmla="*/ 231873 h 798267"/>
              <a:gd name="connsiteX227" fmla="*/ 595922 w 682417"/>
              <a:gd name="connsiteY227" fmla="*/ 237702 h 798267"/>
              <a:gd name="connsiteX228" fmla="*/ 595179 w 682417"/>
              <a:gd name="connsiteY228" fmla="*/ 235254 h 798267"/>
              <a:gd name="connsiteX229" fmla="*/ 593674 w 682417"/>
              <a:gd name="connsiteY229" fmla="*/ 237321 h 798267"/>
              <a:gd name="connsiteX230" fmla="*/ 587845 w 682417"/>
              <a:gd name="connsiteY230" fmla="*/ 237493 h 798267"/>
              <a:gd name="connsiteX231" fmla="*/ 588407 w 682417"/>
              <a:gd name="connsiteY231" fmla="*/ 241065 h 798267"/>
              <a:gd name="connsiteX232" fmla="*/ 595351 w 682417"/>
              <a:gd name="connsiteY232" fmla="*/ 241065 h 798267"/>
              <a:gd name="connsiteX233" fmla="*/ 592493 w 682417"/>
              <a:gd name="connsiteY233" fmla="*/ 244065 h 798267"/>
              <a:gd name="connsiteX234" fmla="*/ 587407 w 682417"/>
              <a:gd name="connsiteY234" fmla="*/ 246675 h 798267"/>
              <a:gd name="connsiteX235" fmla="*/ 588540 w 682417"/>
              <a:gd name="connsiteY235" fmla="*/ 246865 h 798267"/>
              <a:gd name="connsiteX236" fmla="*/ 587588 w 682417"/>
              <a:gd name="connsiteY236" fmla="*/ 252504 h 798267"/>
              <a:gd name="connsiteX237" fmla="*/ 580615 w 682417"/>
              <a:gd name="connsiteY237" fmla="*/ 259438 h 798267"/>
              <a:gd name="connsiteX238" fmla="*/ 577425 w 682417"/>
              <a:gd name="connsiteY238" fmla="*/ 257733 h 798267"/>
              <a:gd name="connsiteX239" fmla="*/ 573472 w 682417"/>
              <a:gd name="connsiteY239" fmla="*/ 260543 h 798267"/>
              <a:gd name="connsiteX240" fmla="*/ 574958 w 682417"/>
              <a:gd name="connsiteY240" fmla="*/ 265439 h 798267"/>
              <a:gd name="connsiteX241" fmla="*/ 573624 w 682417"/>
              <a:gd name="connsiteY241" fmla="*/ 273316 h 798267"/>
              <a:gd name="connsiteX242" fmla="*/ 577005 w 682417"/>
              <a:gd name="connsiteY242" fmla="*/ 273897 h 798267"/>
              <a:gd name="connsiteX243" fmla="*/ 575100 w 682417"/>
              <a:gd name="connsiteY243" fmla="*/ 278212 h 798267"/>
              <a:gd name="connsiteX244" fmla="*/ 573396 w 682417"/>
              <a:gd name="connsiteY244" fmla="*/ 281403 h 798267"/>
              <a:gd name="connsiteX245" fmla="*/ 570538 w 682417"/>
              <a:gd name="connsiteY245" fmla="*/ 277450 h 798267"/>
              <a:gd name="connsiteX246" fmla="*/ 568633 w 682417"/>
              <a:gd name="connsiteY246" fmla="*/ 281765 h 798267"/>
              <a:gd name="connsiteX247" fmla="*/ 571633 w 682417"/>
              <a:gd name="connsiteY247" fmla="*/ 284623 h 798267"/>
              <a:gd name="connsiteX248" fmla="*/ 564299 w 682417"/>
              <a:gd name="connsiteY248" fmla="*/ 286851 h 798267"/>
              <a:gd name="connsiteX249" fmla="*/ 562813 w 682417"/>
              <a:gd name="connsiteY249" fmla="*/ 281965 h 798267"/>
              <a:gd name="connsiteX250" fmla="*/ 558298 w 682417"/>
              <a:gd name="connsiteY250" fmla="*/ 281194 h 798267"/>
              <a:gd name="connsiteX251" fmla="*/ 557727 w 682417"/>
              <a:gd name="connsiteY251" fmla="*/ 284575 h 798267"/>
              <a:gd name="connsiteX252" fmla="*/ 554355 w 682417"/>
              <a:gd name="connsiteY252" fmla="*/ 284003 h 798267"/>
              <a:gd name="connsiteX253" fmla="*/ 555098 w 682417"/>
              <a:gd name="connsiteY253" fmla="*/ 286451 h 798267"/>
              <a:gd name="connsiteX254" fmla="*/ 562242 w 682417"/>
              <a:gd name="connsiteY254" fmla="*/ 285346 h 798267"/>
              <a:gd name="connsiteX255" fmla="*/ 560537 w 682417"/>
              <a:gd name="connsiteY255" fmla="*/ 288528 h 798267"/>
              <a:gd name="connsiteX256" fmla="*/ 558089 w 682417"/>
              <a:gd name="connsiteY256" fmla="*/ 289280 h 798267"/>
              <a:gd name="connsiteX257" fmla="*/ 556031 w 682417"/>
              <a:gd name="connsiteY257" fmla="*/ 287766 h 798267"/>
              <a:gd name="connsiteX258" fmla="*/ 550202 w 682417"/>
              <a:gd name="connsiteY258" fmla="*/ 287937 h 798267"/>
              <a:gd name="connsiteX259" fmla="*/ 558641 w 682417"/>
              <a:gd name="connsiteY259" fmla="*/ 292843 h 798267"/>
              <a:gd name="connsiteX260" fmla="*/ 558260 w 682417"/>
              <a:gd name="connsiteY260" fmla="*/ 295100 h 798267"/>
              <a:gd name="connsiteX261" fmla="*/ 560165 w 682417"/>
              <a:gd name="connsiteY261" fmla="*/ 297738 h 798267"/>
              <a:gd name="connsiteX262" fmla="*/ 559403 w 682417"/>
              <a:gd name="connsiteY262" fmla="*/ 302244 h 798267"/>
              <a:gd name="connsiteX263" fmla="*/ 553383 w 682417"/>
              <a:gd name="connsiteY263" fmla="*/ 303549 h 798267"/>
              <a:gd name="connsiteX264" fmla="*/ 549812 w 682417"/>
              <a:gd name="connsiteY264" fmla="*/ 304101 h 798267"/>
              <a:gd name="connsiteX265" fmla="*/ 550174 w 682417"/>
              <a:gd name="connsiteY265" fmla="*/ 308797 h 798267"/>
              <a:gd name="connsiteX266" fmla="*/ 546964 w 682417"/>
              <a:gd name="connsiteY266" fmla="*/ 314055 h 798267"/>
              <a:gd name="connsiteX267" fmla="*/ 553164 w 682417"/>
              <a:gd name="connsiteY267" fmla="*/ 311626 h 798267"/>
              <a:gd name="connsiteX268" fmla="*/ 547516 w 682417"/>
              <a:gd name="connsiteY268" fmla="*/ 317617 h 798267"/>
              <a:gd name="connsiteX269" fmla="*/ 547516 w 682417"/>
              <a:gd name="connsiteY269" fmla="*/ 324570 h 798267"/>
              <a:gd name="connsiteX270" fmla="*/ 539439 w 682417"/>
              <a:gd name="connsiteY270" fmla="*/ 324361 h 798267"/>
              <a:gd name="connsiteX271" fmla="*/ 542049 w 682417"/>
              <a:gd name="connsiteY271" fmla="*/ 329438 h 798267"/>
              <a:gd name="connsiteX272" fmla="*/ 547878 w 682417"/>
              <a:gd name="connsiteY272" fmla="*/ 329266 h 798267"/>
              <a:gd name="connsiteX273" fmla="*/ 545430 w 682417"/>
              <a:gd name="connsiteY273" fmla="*/ 330019 h 798267"/>
              <a:gd name="connsiteX274" fmla="*/ 542411 w 682417"/>
              <a:gd name="connsiteY274" fmla="*/ 334143 h 798267"/>
              <a:gd name="connsiteX275" fmla="*/ 539410 w 682417"/>
              <a:gd name="connsiteY275" fmla="*/ 331285 h 798267"/>
              <a:gd name="connsiteX276" fmla="*/ 532438 w 682417"/>
              <a:gd name="connsiteY276" fmla="*/ 338220 h 798267"/>
              <a:gd name="connsiteX277" fmla="*/ 534124 w 682417"/>
              <a:gd name="connsiteY277" fmla="*/ 342030 h 798267"/>
              <a:gd name="connsiteX278" fmla="*/ 536572 w 682417"/>
              <a:gd name="connsiteY278" fmla="*/ 341287 h 798267"/>
              <a:gd name="connsiteX279" fmla="*/ 538477 w 682417"/>
              <a:gd name="connsiteY279" fmla="*/ 343925 h 798267"/>
              <a:gd name="connsiteX280" fmla="*/ 539782 w 682417"/>
              <a:gd name="connsiteY280" fmla="*/ 342973 h 798267"/>
              <a:gd name="connsiteX281" fmla="*/ 543163 w 682417"/>
              <a:gd name="connsiteY281" fmla="*/ 343544 h 798267"/>
              <a:gd name="connsiteX282" fmla="*/ 540525 w 682417"/>
              <a:gd name="connsiteY282" fmla="*/ 345449 h 798267"/>
              <a:gd name="connsiteX283" fmla="*/ 536762 w 682417"/>
              <a:gd name="connsiteY283" fmla="*/ 347126 h 798267"/>
              <a:gd name="connsiteX284" fmla="*/ 536000 w 682417"/>
              <a:gd name="connsiteY284" fmla="*/ 351631 h 798267"/>
              <a:gd name="connsiteX285" fmla="*/ 535229 w 682417"/>
              <a:gd name="connsiteY285" fmla="*/ 356146 h 798267"/>
              <a:gd name="connsiteX286" fmla="*/ 529962 w 682417"/>
              <a:gd name="connsiteY286" fmla="*/ 359889 h 798267"/>
              <a:gd name="connsiteX287" fmla="*/ 525199 w 682417"/>
              <a:gd name="connsiteY287" fmla="*/ 367204 h 798267"/>
              <a:gd name="connsiteX288" fmla="*/ 521084 w 682417"/>
              <a:gd name="connsiteY288" fmla="*/ 364185 h 798267"/>
              <a:gd name="connsiteX289" fmla="*/ 520684 w 682417"/>
              <a:gd name="connsiteY289" fmla="*/ 373386 h 798267"/>
              <a:gd name="connsiteX290" fmla="*/ 515045 w 682417"/>
              <a:gd name="connsiteY290" fmla="*/ 372434 h 798267"/>
              <a:gd name="connsiteX291" fmla="*/ 517665 w 682417"/>
              <a:gd name="connsiteY291" fmla="*/ 377510 h 798267"/>
              <a:gd name="connsiteX292" fmla="*/ 513702 w 682417"/>
              <a:gd name="connsiteY292" fmla="*/ 380368 h 798267"/>
              <a:gd name="connsiteX293" fmla="*/ 513131 w 682417"/>
              <a:gd name="connsiteY293" fmla="*/ 383749 h 798267"/>
              <a:gd name="connsiteX294" fmla="*/ 519894 w 682417"/>
              <a:gd name="connsiteY294" fmla="*/ 384902 h 798267"/>
              <a:gd name="connsiteX295" fmla="*/ 515007 w 682417"/>
              <a:gd name="connsiteY295" fmla="*/ 386388 h 798267"/>
              <a:gd name="connsiteX296" fmla="*/ 517627 w 682417"/>
              <a:gd name="connsiteY296" fmla="*/ 391474 h 798267"/>
              <a:gd name="connsiteX297" fmla="*/ 514598 w 682417"/>
              <a:gd name="connsiteY297" fmla="*/ 395598 h 798267"/>
              <a:gd name="connsiteX298" fmla="*/ 514217 w 682417"/>
              <a:gd name="connsiteY298" fmla="*/ 397846 h 798267"/>
              <a:gd name="connsiteX299" fmla="*/ 510645 w 682417"/>
              <a:gd name="connsiteY299" fmla="*/ 398399 h 798267"/>
              <a:gd name="connsiteX300" fmla="*/ 507082 w 682417"/>
              <a:gd name="connsiteY300" fmla="*/ 398951 h 798267"/>
              <a:gd name="connsiteX301" fmla="*/ 506520 w 682417"/>
              <a:gd name="connsiteY301" fmla="*/ 395379 h 798267"/>
              <a:gd name="connsiteX302" fmla="*/ 503663 w 682417"/>
              <a:gd name="connsiteY302" fmla="*/ 391426 h 798267"/>
              <a:gd name="connsiteX303" fmla="*/ 501758 w 682417"/>
              <a:gd name="connsiteY303" fmla="*/ 395741 h 798267"/>
              <a:gd name="connsiteX304" fmla="*/ 503663 w 682417"/>
              <a:gd name="connsiteY304" fmla="*/ 398380 h 798267"/>
              <a:gd name="connsiteX305" fmla="*/ 501968 w 682417"/>
              <a:gd name="connsiteY305" fmla="*/ 401570 h 798267"/>
              <a:gd name="connsiteX306" fmla="*/ 502139 w 682417"/>
              <a:gd name="connsiteY306" fmla="*/ 407400 h 798267"/>
              <a:gd name="connsiteX307" fmla="*/ 493509 w 682417"/>
              <a:gd name="connsiteY307" fmla="*/ 403590 h 798267"/>
              <a:gd name="connsiteX308" fmla="*/ 498567 w 682417"/>
              <a:gd name="connsiteY308" fmla="*/ 407924 h 798267"/>
              <a:gd name="connsiteX309" fmla="*/ 496853 w 682417"/>
              <a:gd name="connsiteY309" fmla="*/ 418068 h 798267"/>
              <a:gd name="connsiteX310" fmla="*/ 487251 w 682417"/>
              <a:gd name="connsiteY310" fmla="*/ 419973 h 798267"/>
              <a:gd name="connsiteX311" fmla="*/ 490842 w 682417"/>
              <a:gd name="connsiteY311" fmla="*/ 412467 h 798267"/>
              <a:gd name="connsiteX312" fmla="*/ 488594 w 682417"/>
              <a:gd name="connsiteY312" fmla="*/ 412077 h 798267"/>
              <a:gd name="connsiteX313" fmla="*/ 488404 w 682417"/>
              <a:gd name="connsiteY313" fmla="*/ 413210 h 798267"/>
              <a:gd name="connsiteX314" fmla="*/ 484451 w 682417"/>
              <a:gd name="connsiteY314" fmla="*/ 416010 h 798267"/>
              <a:gd name="connsiteX315" fmla="*/ 480641 w 682417"/>
              <a:gd name="connsiteY315" fmla="*/ 417696 h 798267"/>
              <a:gd name="connsiteX316" fmla="*/ 479336 w 682417"/>
              <a:gd name="connsiteY316" fmla="*/ 411677 h 798267"/>
              <a:gd name="connsiteX317" fmla="*/ 483680 w 682417"/>
              <a:gd name="connsiteY317" fmla="*/ 406619 h 798267"/>
              <a:gd name="connsiteX318" fmla="*/ 478050 w 682417"/>
              <a:gd name="connsiteY318" fmla="*/ 405666 h 798267"/>
              <a:gd name="connsiteX319" fmla="*/ 476364 w 682417"/>
              <a:gd name="connsiteY319" fmla="*/ 401856 h 798267"/>
              <a:gd name="connsiteX320" fmla="*/ 479384 w 682417"/>
              <a:gd name="connsiteY320" fmla="*/ 397741 h 798267"/>
              <a:gd name="connsiteX321" fmla="*/ 480698 w 682417"/>
              <a:gd name="connsiteY321" fmla="*/ 396789 h 798267"/>
              <a:gd name="connsiteX322" fmla="*/ 480146 w 682417"/>
              <a:gd name="connsiteY322" fmla="*/ 393217 h 798267"/>
              <a:gd name="connsiteX323" fmla="*/ 483156 w 682417"/>
              <a:gd name="connsiteY323" fmla="*/ 389093 h 798267"/>
              <a:gd name="connsiteX324" fmla="*/ 480298 w 682417"/>
              <a:gd name="connsiteY324" fmla="*/ 392093 h 798267"/>
              <a:gd name="connsiteX325" fmla="*/ 478393 w 682417"/>
              <a:gd name="connsiteY325" fmla="*/ 389455 h 798267"/>
              <a:gd name="connsiteX326" fmla="*/ 473688 w 682417"/>
              <a:gd name="connsiteY326" fmla="*/ 389817 h 798267"/>
              <a:gd name="connsiteX327" fmla="*/ 476326 w 682417"/>
              <a:gd name="connsiteY327" fmla="*/ 387912 h 798267"/>
              <a:gd name="connsiteX328" fmla="*/ 477469 w 682417"/>
              <a:gd name="connsiteY328" fmla="*/ 381149 h 798267"/>
              <a:gd name="connsiteX329" fmla="*/ 484803 w 682417"/>
              <a:gd name="connsiteY329" fmla="*/ 378910 h 798267"/>
              <a:gd name="connsiteX330" fmla="*/ 487251 w 682417"/>
              <a:gd name="connsiteY330" fmla="*/ 378168 h 798267"/>
              <a:gd name="connsiteX331" fmla="*/ 486299 w 682417"/>
              <a:gd name="connsiteY331" fmla="*/ 376844 h 798267"/>
              <a:gd name="connsiteX332" fmla="*/ 493271 w 682417"/>
              <a:gd name="connsiteY332" fmla="*/ 369919 h 798267"/>
              <a:gd name="connsiteX333" fmla="*/ 492142 w 682417"/>
              <a:gd name="connsiteY333" fmla="*/ 368744 h 798267"/>
              <a:gd name="connsiteX334" fmla="*/ 491023 w 682417"/>
              <a:gd name="connsiteY334" fmla="*/ 369538 h 798267"/>
              <a:gd name="connsiteX335" fmla="*/ 491404 w 682417"/>
              <a:gd name="connsiteY335" fmla="*/ 367280 h 798267"/>
              <a:gd name="connsiteX336" fmla="*/ 490452 w 682417"/>
              <a:gd name="connsiteY336" fmla="*/ 365966 h 798267"/>
              <a:gd name="connsiteX337" fmla="*/ 493862 w 682417"/>
              <a:gd name="connsiteY337" fmla="*/ 359584 h 798267"/>
              <a:gd name="connsiteX338" fmla="*/ 493690 w 682417"/>
              <a:gd name="connsiteY338" fmla="*/ 353764 h 798267"/>
              <a:gd name="connsiteX339" fmla="*/ 495595 w 682417"/>
              <a:gd name="connsiteY339" fmla="*/ 349440 h 798267"/>
              <a:gd name="connsiteX340" fmla="*/ 498805 w 682417"/>
              <a:gd name="connsiteY340" fmla="*/ 344192 h 798267"/>
              <a:gd name="connsiteX341" fmla="*/ 506139 w 682417"/>
              <a:gd name="connsiteY341" fmla="*/ 341954 h 798267"/>
              <a:gd name="connsiteX342" fmla="*/ 503282 w 682417"/>
              <a:gd name="connsiteY342" fmla="*/ 338001 h 798267"/>
              <a:gd name="connsiteX343" fmla="*/ 505558 w 682417"/>
              <a:gd name="connsiteY343" fmla="*/ 331438 h 798267"/>
              <a:gd name="connsiteX344" fmla="*/ 508940 w 682417"/>
              <a:gd name="connsiteY344" fmla="*/ 332009 h 798267"/>
              <a:gd name="connsiteX345" fmla="*/ 509711 w 682417"/>
              <a:gd name="connsiteY345" fmla="*/ 327504 h 798267"/>
              <a:gd name="connsiteX346" fmla="*/ 515722 w 682417"/>
              <a:gd name="connsiteY346" fmla="*/ 326199 h 798267"/>
              <a:gd name="connsiteX347" fmla="*/ 516674 w 682417"/>
              <a:gd name="connsiteY347" fmla="*/ 320570 h 798267"/>
              <a:gd name="connsiteX348" fmla="*/ 520636 w 682417"/>
              <a:gd name="connsiteY348" fmla="*/ 317712 h 798267"/>
              <a:gd name="connsiteX349" fmla="*/ 528161 w 682417"/>
              <a:gd name="connsiteY349" fmla="*/ 314350 h 798267"/>
              <a:gd name="connsiteX350" fmla="*/ 525523 w 682417"/>
              <a:gd name="connsiteY350" fmla="*/ 316255 h 798267"/>
              <a:gd name="connsiteX351" fmla="*/ 519522 w 682417"/>
              <a:gd name="connsiteY351" fmla="*/ 310607 h 798267"/>
              <a:gd name="connsiteX352" fmla="*/ 515407 w 682417"/>
              <a:gd name="connsiteY352" fmla="*/ 307587 h 798267"/>
              <a:gd name="connsiteX353" fmla="*/ 513912 w 682417"/>
              <a:gd name="connsiteY353" fmla="*/ 302701 h 798267"/>
              <a:gd name="connsiteX354" fmla="*/ 520694 w 682417"/>
              <a:gd name="connsiteY354" fmla="*/ 296891 h 798267"/>
              <a:gd name="connsiteX355" fmla="*/ 529152 w 682417"/>
              <a:gd name="connsiteY355" fmla="*/ 294852 h 798267"/>
              <a:gd name="connsiteX356" fmla="*/ 520713 w 682417"/>
              <a:gd name="connsiteY356" fmla="*/ 289937 h 798267"/>
              <a:gd name="connsiteX357" fmla="*/ 528980 w 682417"/>
              <a:gd name="connsiteY357" fmla="*/ 288985 h 798267"/>
              <a:gd name="connsiteX358" fmla="*/ 526923 w 682417"/>
              <a:gd name="connsiteY358" fmla="*/ 287470 h 798267"/>
              <a:gd name="connsiteX359" fmla="*/ 528619 w 682417"/>
              <a:gd name="connsiteY359" fmla="*/ 284289 h 798267"/>
              <a:gd name="connsiteX360" fmla="*/ 526713 w 682417"/>
              <a:gd name="connsiteY360" fmla="*/ 281651 h 798267"/>
              <a:gd name="connsiteX361" fmla="*/ 527285 w 682417"/>
              <a:gd name="connsiteY361" fmla="*/ 278269 h 798267"/>
              <a:gd name="connsiteX362" fmla="*/ 530495 w 682417"/>
              <a:gd name="connsiteY362" fmla="*/ 273021 h 798267"/>
              <a:gd name="connsiteX363" fmla="*/ 532933 w 682417"/>
              <a:gd name="connsiteY363" fmla="*/ 272278 h 798267"/>
              <a:gd name="connsiteX364" fmla="*/ 532381 w 682417"/>
              <a:gd name="connsiteY364" fmla="*/ 268697 h 798267"/>
              <a:gd name="connsiteX365" fmla="*/ 539744 w 682417"/>
              <a:gd name="connsiteY365" fmla="*/ 259515 h 798267"/>
              <a:gd name="connsiteX366" fmla="*/ 544058 w 682417"/>
              <a:gd name="connsiteY366" fmla="*/ 261420 h 798267"/>
              <a:gd name="connsiteX367" fmla="*/ 541068 w 682417"/>
              <a:gd name="connsiteY367" fmla="*/ 258562 h 798267"/>
              <a:gd name="connsiteX368" fmla="*/ 544078 w 682417"/>
              <a:gd name="connsiteY368" fmla="*/ 254438 h 798267"/>
              <a:gd name="connsiteX369" fmla="*/ 547097 w 682417"/>
              <a:gd name="connsiteY369" fmla="*/ 250313 h 798267"/>
              <a:gd name="connsiteX370" fmla="*/ 552726 w 682417"/>
              <a:gd name="connsiteY370" fmla="*/ 251266 h 798267"/>
              <a:gd name="connsiteX371" fmla="*/ 552726 w 682417"/>
              <a:gd name="connsiteY371" fmla="*/ 244313 h 798267"/>
              <a:gd name="connsiteX372" fmla="*/ 549707 w 682417"/>
              <a:gd name="connsiteY372" fmla="*/ 248437 h 798267"/>
              <a:gd name="connsiteX373" fmla="*/ 548964 w 682417"/>
              <a:gd name="connsiteY373" fmla="*/ 245999 h 798267"/>
              <a:gd name="connsiteX374" fmla="*/ 544268 w 682417"/>
              <a:gd name="connsiteY374" fmla="*/ 246361 h 798267"/>
              <a:gd name="connsiteX375" fmla="*/ 551793 w 682417"/>
              <a:gd name="connsiteY375" fmla="*/ 242998 h 798267"/>
              <a:gd name="connsiteX376" fmla="*/ 554803 w 682417"/>
              <a:gd name="connsiteY376" fmla="*/ 238864 h 798267"/>
              <a:gd name="connsiteX377" fmla="*/ 553126 w 682417"/>
              <a:gd name="connsiteY377" fmla="*/ 235112 h 798267"/>
              <a:gd name="connsiteX378" fmla="*/ 562166 w 682417"/>
              <a:gd name="connsiteY378" fmla="*/ 229682 h 798267"/>
              <a:gd name="connsiteX379" fmla="*/ 571691 w 682417"/>
              <a:gd name="connsiteY379" fmla="*/ 234788 h 798267"/>
              <a:gd name="connsiteX380" fmla="*/ 567947 w 682417"/>
              <a:gd name="connsiteY380" fmla="*/ 229511 h 798267"/>
              <a:gd name="connsiteX381" fmla="*/ 568709 w 682417"/>
              <a:gd name="connsiteY381" fmla="*/ 225006 h 798267"/>
              <a:gd name="connsiteX382" fmla="*/ 567585 w 682417"/>
              <a:gd name="connsiteY382" fmla="*/ 224815 h 798267"/>
              <a:gd name="connsiteX383" fmla="*/ 566099 w 682417"/>
              <a:gd name="connsiteY383" fmla="*/ 219929 h 798267"/>
              <a:gd name="connsiteX384" fmla="*/ 578539 w 682417"/>
              <a:gd name="connsiteY384" fmla="*/ 208127 h 798267"/>
              <a:gd name="connsiteX385" fmla="*/ 580254 w 682417"/>
              <a:gd name="connsiteY385" fmla="*/ 197983 h 798267"/>
              <a:gd name="connsiteX386" fmla="*/ 585330 w 682417"/>
              <a:gd name="connsiteY386" fmla="*/ 195364 h 798267"/>
              <a:gd name="connsiteX387" fmla="*/ 587054 w 682417"/>
              <a:gd name="connsiteY387" fmla="*/ 185229 h 798267"/>
              <a:gd name="connsiteX388" fmla="*/ 585759 w 682417"/>
              <a:gd name="connsiteY388" fmla="*/ 179209 h 798267"/>
              <a:gd name="connsiteX389" fmla="*/ 588207 w 682417"/>
              <a:gd name="connsiteY389" fmla="*/ 178457 h 798267"/>
              <a:gd name="connsiteX390" fmla="*/ 592712 w 682417"/>
              <a:gd name="connsiteY390" fmla="*/ 179228 h 798267"/>
              <a:gd name="connsiteX391" fmla="*/ 595570 w 682417"/>
              <a:gd name="connsiteY391" fmla="*/ 176228 h 798267"/>
              <a:gd name="connsiteX392" fmla="*/ 597818 w 682417"/>
              <a:gd name="connsiteY392" fmla="*/ 176609 h 798267"/>
              <a:gd name="connsiteX393" fmla="*/ 598199 w 682417"/>
              <a:gd name="connsiteY393" fmla="*/ 174352 h 798267"/>
              <a:gd name="connsiteX394" fmla="*/ 600475 w 682417"/>
              <a:gd name="connsiteY394" fmla="*/ 167789 h 798267"/>
              <a:gd name="connsiteX395" fmla="*/ 602923 w 682417"/>
              <a:gd name="connsiteY395" fmla="*/ 167046 h 798267"/>
              <a:gd name="connsiteX396" fmla="*/ 604647 w 682417"/>
              <a:gd name="connsiteY396" fmla="*/ 156902 h 798267"/>
              <a:gd name="connsiteX397" fmla="*/ 607505 w 682417"/>
              <a:gd name="connsiteY397" fmla="*/ 153901 h 798267"/>
              <a:gd name="connsiteX398" fmla="*/ 611257 w 682417"/>
              <a:gd name="connsiteY398" fmla="*/ 152215 h 798267"/>
              <a:gd name="connsiteX399" fmla="*/ 605438 w 682417"/>
              <a:gd name="connsiteY399" fmla="*/ 152396 h 798267"/>
              <a:gd name="connsiteX400" fmla="*/ 609390 w 682417"/>
              <a:gd name="connsiteY400" fmla="*/ 149587 h 798267"/>
              <a:gd name="connsiteX401" fmla="*/ 609029 w 682417"/>
              <a:gd name="connsiteY401" fmla="*/ 144891 h 798267"/>
              <a:gd name="connsiteX402" fmla="*/ 606171 w 682417"/>
              <a:gd name="connsiteY402" fmla="*/ 147882 h 798267"/>
              <a:gd name="connsiteX403" fmla="*/ 600732 w 682417"/>
              <a:gd name="connsiteY403" fmla="*/ 145805 h 798267"/>
              <a:gd name="connsiteX404" fmla="*/ 598827 w 682417"/>
              <a:gd name="connsiteY404" fmla="*/ 150110 h 798267"/>
              <a:gd name="connsiteX405" fmla="*/ 594322 w 682417"/>
              <a:gd name="connsiteY405" fmla="*/ 149348 h 798267"/>
              <a:gd name="connsiteX406" fmla="*/ 597179 w 682417"/>
              <a:gd name="connsiteY406" fmla="*/ 146358 h 798267"/>
              <a:gd name="connsiteX407" fmla="*/ 587778 w 682417"/>
              <a:gd name="connsiteY407" fmla="*/ 147082 h 798267"/>
              <a:gd name="connsiteX408" fmla="*/ 586273 w 682417"/>
              <a:gd name="connsiteY408" fmla="*/ 149139 h 798267"/>
              <a:gd name="connsiteX409" fmla="*/ 583635 w 682417"/>
              <a:gd name="connsiteY409" fmla="*/ 151044 h 798267"/>
              <a:gd name="connsiteX410" fmla="*/ 573872 w 682417"/>
              <a:gd name="connsiteY410" fmla="*/ 147062 h 798267"/>
              <a:gd name="connsiteX411" fmla="*/ 567290 w 682417"/>
              <a:gd name="connsiteY411" fmla="*/ 151749 h 798267"/>
              <a:gd name="connsiteX412" fmla="*/ 561642 w 682417"/>
              <a:gd name="connsiteY412" fmla="*/ 150796 h 798267"/>
              <a:gd name="connsiteX413" fmla="*/ 557698 w 682417"/>
              <a:gd name="connsiteY413" fmla="*/ 153654 h 798267"/>
              <a:gd name="connsiteX414" fmla="*/ 550926 w 682417"/>
              <a:gd name="connsiteY414" fmla="*/ 152501 h 798267"/>
              <a:gd name="connsiteX415" fmla="*/ 549431 w 682417"/>
              <a:gd name="connsiteY415" fmla="*/ 154568 h 798267"/>
              <a:gd name="connsiteX416" fmla="*/ 543020 w 682417"/>
              <a:gd name="connsiteY416" fmla="*/ 158121 h 798267"/>
              <a:gd name="connsiteX417" fmla="*/ 533800 w 682417"/>
              <a:gd name="connsiteY417" fmla="*/ 164674 h 798267"/>
              <a:gd name="connsiteX418" fmla="*/ 528914 w 682417"/>
              <a:gd name="connsiteY418" fmla="*/ 166160 h 798267"/>
              <a:gd name="connsiteX419" fmla="*/ 527228 w 682417"/>
              <a:gd name="connsiteY419" fmla="*/ 162398 h 798267"/>
              <a:gd name="connsiteX420" fmla="*/ 522141 w 682417"/>
              <a:gd name="connsiteY420" fmla="*/ 165017 h 798267"/>
              <a:gd name="connsiteX421" fmla="*/ 517265 w 682417"/>
              <a:gd name="connsiteY421" fmla="*/ 166503 h 798267"/>
              <a:gd name="connsiteX422" fmla="*/ 514407 w 682417"/>
              <a:gd name="connsiteY422" fmla="*/ 169494 h 798267"/>
              <a:gd name="connsiteX423" fmla="*/ 506911 w 682417"/>
              <a:gd name="connsiteY423" fmla="*/ 165912 h 798267"/>
              <a:gd name="connsiteX424" fmla="*/ 506330 w 682417"/>
              <a:gd name="connsiteY424" fmla="*/ 169284 h 798267"/>
              <a:gd name="connsiteX425" fmla="*/ 510073 w 682417"/>
              <a:gd name="connsiteY425" fmla="*/ 174561 h 798267"/>
              <a:gd name="connsiteX426" fmla="*/ 505535 w 682417"/>
              <a:gd name="connsiteY426" fmla="*/ 173564 h 798267"/>
              <a:gd name="connsiteX427" fmla="*/ 504053 w 682417"/>
              <a:gd name="connsiteY427" fmla="*/ 175857 h 798267"/>
              <a:gd name="connsiteX428" fmla="*/ 501053 w 682417"/>
              <a:gd name="connsiteY428" fmla="*/ 172999 h 798267"/>
              <a:gd name="connsiteX429" fmla="*/ 494091 w 682417"/>
              <a:gd name="connsiteY429" fmla="*/ 178952 h 798267"/>
              <a:gd name="connsiteX430" fmla="*/ 494090 w 682417"/>
              <a:gd name="connsiteY430" fmla="*/ 179943 h 798267"/>
              <a:gd name="connsiteX431" fmla="*/ 493347 w 682417"/>
              <a:gd name="connsiteY431" fmla="*/ 177495 h 798267"/>
              <a:gd name="connsiteX432" fmla="*/ 489385 w 682417"/>
              <a:gd name="connsiteY432" fmla="*/ 180295 h 798267"/>
              <a:gd name="connsiteX433" fmla="*/ 485261 w 682417"/>
              <a:gd name="connsiteY433" fmla="*/ 177276 h 798267"/>
              <a:gd name="connsiteX434" fmla="*/ 485813 w 682417"/>
              <a:gd name="connsiteY434" fmla="*/ 180848 h 798267"/>
              <a:gd name="connsiteX435" fmla="*/ 484861 w 682417"/>
              <a:gd name="connsiteY435" fmla="*/ 179533 h 798267"/>
              <a:gd name="connsiteX436" fmla="*/ 478469 w 682417"/>
              <a:gd name="connsiteY436" fmla="*/ 183086 h 798267"/>
              <a:gd name="connsiteX437" fmla="*/ 479231 w 682417"/>
              <a:gd name="connsiteY437" fmla="*/ 178581 h 798267"/>
              <a:gd name="connsiteX438" fmla="*/ 475278 w 682417"/>
              <a:gd name="connsiteY438" fmla="*/ 181391 h 798267"/>
              <a:gd name="connsiteX439" fmla="*/ 471468 w 682417"/>
              <a:gd name="connsiteY439" fmla="*/ 190020 h 798267"/>
              <a:gd name="connsiteX440" fmla="*/ 466030 w 682417"/>
              <a:gd name="connsiteY440" fmla="*/ 187934 h 798267"/>
              <a:gd name="connsiteX441" fmla="*/ 463944 w 682417"/>
              <a:gd name="connsiteY441" fmla="*/ 193383 h 798267"/>
              <a:gd name="connsiteX442" fmla="*/ 462820 w 682417"/>
              <a:gd name="connsiteY442" fmla="*/ 193192 h 798267"/>
              <a:gd name="connsiteX443" fmla="*/ 460753 w 682417"/>
              <a:gd name="connsiteY443" fmla="*/ 191678 h 798267"/>
              <a:gd name="connsiteX444" fmla="*/ 457895 w 682417"/>
              <a:gd name="connsiteY444" fmla="*/ 194678 h 798267"/>
              <a:gd name="connsiteX445" fmla="*/ 453009 w 682417"/>
              <a:gd name="connsiteY445" fmla="*/ 196164 h 798267"/>
              <a:gd name="connsiteX446" fmla="*/ 459772 w 682417"/>
              <a:gd name="connsiteY446" fmla="*/ 197316 h 798267"/>
              <a:gd name="connsiteX447" fmla="*/ 456752 w 682417"/>
              <a:gd name="connsiteY447" fmla="*/ 201441 h 798267"/>
              <a:gd name="connsiteX448" fmla="*/ 450561 w 682417"/>
              <a:gd name="connsiteY448" fmla="*/ 196907 h 798267"/>
              <a:gd name="connsiteX449" fmla="*/ 440760 w 682417"/>
              <a:gd name="connsiteY449" fmla="*/ 206841 h 798267"/>
              <a:gd name="connsiteX450" fmla="*/ 433816 w 682417"/>
              <a:gd name="connsiteY450" fmla="*/ 206841 h 798267"/>
              <a:gd name="connsiteX451" fmla="*/ 432111 w 682417"/>
              <a:gd name="connsiteY451" fmla="*/ 210032 h 798267"/>
              <a:gd name="connsiteX452" fmla="*/ 430425 w 682417"/>
              <a:gd name="connsiteY452" fmla="*/ 206270 h 798267"/>
              <a:gd name="connsiteX453" fmla="*/ 428730 w 682417"/>
              <a:gd name="connsiteY453" fmla="*/ 209451 h 798267"/>
              <a:gd name="connsiteX454" fmla="*/ 426472 w 682417"/>
              <a:gd name="connsiteY454" fmla="*/ 209070 h 798267"/>
              <a:gd name="connsiteX455" fmla="*/ 423120 w 682417"/>
              <a:gd name="connsiteY455" fmla="*/ 201545 h 798267"/>
              <a:gd name="connsiteX456" fmla="*/ 422348 w 682417"/>
              <a:gd name="connsiteY456" fmla="*/ 206051 h 798267"/>
              <a:gd name="connsiteX457" fmla="*/ 417652 w 682417"/>
              <a:gd name="connsiteY457" fmla="*/ 206413 h 798267"/>
              <a:gd name="connsiteX458" fmla="*/ 417652 w 682417"/>
              <a:gd name="connsiteY458" fmla="*/ 213366 h 798267"/>
              <a:gd name="connsiteX459" fmla="*/ 420824 w 682417"/>
              <a:gd name="connsiteY459" fmla="*/ 222024 h 798267"/>
              <a:gd name="connsiteX460" fmla="*/ 419310 w 682417"/>
              <a:gd name="connsiteY460" fmla="*/ 224082 h 798267"/>
              <a:gd name="connsiteX461" fmla="*/ 414223 w 682417"/>
              <a:gd name="connsiteY461" fmla="*/ 226701 h 798267"/>
              <a:gd name="connsiteX462" fmla="*/ 413490 w 682417"/>
              <a:gd name="connsiteY462" fmla="*/ 224263 h 798267"/>
              <a:gd name="connsiteX463" fmla="*/ 409746 w 682417"/>
              <a:gd name="connsiteY463" fmla="*/ 218976 h 798267"/>
              <a:gd name="connsiteX464" fmla="*/ 404470 w 682417"/>
              <a:gd name="connsiteY464" fmla="*/ 222729 h 798267"/>
              <a:gd name="connsiteX465" fmla="*/ 397135 w 682417"/>
              <a:gd name="connsiteY465" fmla="*/ 224958 h 798267"/>
              <a:gd name="connsiteX466" fmla="*/ 401450 w 682417"/>
              <a:gd name="connsiteY466" fmla="*/ 226863 h 798267"/>
              <a:gd name="connsiteX467" fmla="*/ 407641 w 682417"/>
              <a:gd name="connsiteY467" fmla="*/ 231387 h 798267"/>
              <a:gd name="connsiteX468" fmla="*/ 405555 w 682417"/>
              <a:gd name="connsiteY468" fmla="*/ 236836 h 798267"/>
              <a:gd name="connsiteX469" fmla="*/ 403489 w 682417"/>
              <a:gd name="connsiteY469" fmla="*/ 235321 h 798267"/>
              <a:gd name="connsiteX470" fmla="*/ 401984 w 682417"/>
              <a:gd name="connsiteY470" fmla="*/ 237379 h 798267"/>
              <a:gd name="connsiteX471" fmla="*/ 398174 w 682417"/>
              <a:gd name="connsiteY471" fmla="*/ 239064 h 798267"/>
              <a:gd name="connsiteX472" fmla="*/ 397221 w 682417"/>
              <a:gd name="connsiteY472" fmla="*/ 237750 h 798267"/>
              <a:gd name="connsiteX473" fmla="*/ 394202 w 682417"/>
              <a:gd name="connsiteY473" fmla="*/ 241874 h 798267"/>
              <a:gd name="connsiteX474" fmla="*/ 387439 w 682417"/>
              <a:gd name="connsiteY474" fmla="*/ 240722 h 798267"/>
              <a:gd name="connsiteX475" fmla="*/ 383677 w 682417"/>
              <a:gd name="connsiteY475" fmla="*/ 242408 h 798267"/>
              <a:gd name="connsiteX476" fmla="*/ 381591 w 682417"/>
              <a:gd name="connsiteY476" fmla="*/ 247846 h 798267"/>
              <a:gd name="connsiteX477" fmla="*/ 375771 w 682417"/>
              <a:gd name="connsiteY477" fmla="*/ 248018 h 798267"/>
              <a:gd name="connsiteX478" fmla="*/ 374447 w 682417"/>
              <a:gd name="connsiteY478" fmla="*/ 248970 h 798267"/>
              <a:gd name="connsiteX479" fmla="*/ 368437 w 682417"/>
              <a:gd name="connsiteY479" fmla="*/ 250275 h 798267"/>
              <a:gd name="connsiteX480" fmla="*/ 370494 w 682417"/>
              <a:gd name="connsiteY480" fmla="*/ 251780 h 798267"/>
              <a:gd name="connsiteX481" fmla="*/ 366684 w 682417"/>
              <a:gd name="connsiteY481" fmla="*/ 253466 h 798267"/>
              <a:gd name="connsiteX482" fmla="*/ 360836 w 682417"/>
              <a:gd name="connsiteY482" fmla="*/ 260581 h 798267"/>
              <a:gd name="connsiteX483" fmla="*/ 353692 w 682417"/>
              <a:gd name="connsiteY483" fmla="*/ 261696 h 798267"/>
              <a:gd name="connsiteX484" fmla="*/ 354273 w 682417"/>
              <a:gd name="connsiteY484" fmla="*/ 258305 h 798267"/>
              <a:gd name="connsiteX485" fmla="*/ 348053 w 682417"/>
              <a:gd name="connsiteY485" fmla="*/ 260734 h 798267"/>
              <a:gd name="connsiteX486" fmla="*/ 340357 w 682417"/>
              <a:gd name="connsiteY486" fmla="*/ 258267 h 798267"/>
              <a:gd name="connsiteX487" fmla="*/ 338861 w 682417"/>
              <a:gd name="connsiteY487" fmla="*/ 260334 h 798267"/>
              <a:gd name="connsiteX488" fmla="*/ 335832 w 682417"/>
              <a:gd name="connsiteY488" fmla="*/ 264458 h 798267"/>
              <a:gd name="connsiteX489" fmla="*/ 327755 w 682417"/>
              <a:gd name="connsiteY489" fmla="*/ 264249 h 798267"/>
              <a:gd name="connsiteX490" fmla="*/ 324545 w 682417"/>
              <a:gd name="connsiteY490" fmla="*/ 269497 h 798267"/>
              <a:gd name="connsiteX491" fmla="*/ 321688 w 682417"/>
              <a:gd name="connsiteY491" fmla="*/ 265544 h 798267"/>
              <a:gd name="connsiteX492" fmla="*/ 316421 w 682417"/>
              <a:gd name="connsiteY492" fmla="*/ 269287 h 798267"/>
              <a:gd name="connsiteX493" fmla="*/ 310801 w 682417"/>
              <a:gd name="connsiteY493" fmla="*/ 261382 h 798267"/>
              <a:gd name="connsiteX494" fmla="*/ 315487 w 682417"/>
              <a:gd name="connsiteY494" fmla="*/ 267973 h 798267"/>
              <a:gd name="connsiteX495" fmla="*/ 312630 w 682417"/>
              <a:gd name="connsiteY495" fmla="*/ 270964 h 798267"/>
              <a:gd name="connsiteX496" fmla="*/ 315249 w 682417"/>
              <a:gd name="connsiteY496" fmla="*/ 276050 h 798267"/>
              <a:gd name="connsiteX497" fmla="*/ 309439 w 682417"/>
              <a:gd name="connsiteY497" fmla="*/ 269268 h 798267"/>
              <a:gd name="connsiteX498" fmla="*/ 306991 w 682417"/>
              <a:gd name="connsiteY498" fmla="*/ 270011 h 798267"/>
              <a:gd name="connsiteX499" fmla="*/ 313734 w 682417"/>
              <a:gd name="connsiteY499" fmla="*/ 278107 h 798267"/>
              <a:gd name="connsiteX500" fmla="*/ 316744 w 682417"/>
              <a:gd name="connsiteY500" fmla="*/ 273983 h 798267"/>
              <a:gd name="connsiteX501" fmla="*/ 321069 w 682417"/>
              <a:gd name="connsiteY501" fmla="*/ 275888 h 798267"/>
              <a:gd name="connsiteX502" fmla="*/ 321831 w 682417"/>
              <a:gd name="connsiteY502" fmla="*/ 271383 h 798267"/>
              <a:gd name="connsiteX503" fmla="*/ 324450 w 682417"/>
              <a:gd name="connsiteY503" fmla="*/ 276460 h 798267"/>
              <a:gd name="connsiteX504" fmla="*/ 326126 w 682417"/>
              <a:gd name="connsiteY504" fmla="*/ 280222 h 798267"/>
              <a:gd name="connsiteX505" fmla="*/ 323688 w 682417"/>
              <a:gd name="connsiteY505" fmla="*/ 280974 h 798267"/>
              <a:gd name="connsiteX506" fmla="*/ 320688 w 682417"/>
              <a:gd name="connsiteY506" fmla="*/ 278117 h 798267"/>
              <a:gd name="connsiteX507" fmla="*/ 315925 w 682417"/>
              <a:gd name="connsiteY507" fmla="*/ 285432 h 798267"/>
              <a:gd name="connsiteX508" fmla="*/ 311991 w 682417"/>
              <a:gd name="connsiteY508" fmla="*/ 281289 h 798267"/>
              <a:gd name="connsiteX509" fmla="*/ 307838 w 682417"/>
              <a:gd name="connsiteY509" fmla="*/ 285223 h 798267"/>
              <a:gd name="connsiteX510" fmla="*/ 301076 w 682417"/>
              <a:gd name="connsiteY510" fmla="*/ 284080 h 798267"/>
              <a:gd name="connsiteX511" fmla="*/ 298094 w 682417"/>
              <a:gd name="connsiteY511" fmla="*/ 274297 h 798267"/>
              <a:gd name="connsiteX512" fmla="*/ 295237 w 682417"/>
              <a:gd name="connsiteY512" fmla="*/ 277298 h 798267"/>
              <a:gd name="connsiteX513" fmla="*/ 297294 w 682417"/>
              <a:gd name="connsiteY513" fmla="*/ 278803 h 798267"/>
              <a:gd name="connsiteX514" fmla="*/ 298780 w 682417"/>
              <a:gd name="connsiteY514" fmla="*/ 283699 h 798267"/>
              <a:gd name="connsiteX515" fmla="*/ 298399 w 682417"/>
              <a:gd name="connsiteY515" fmla="*/ 285947 h 798267"/>
              <a:gd name="connsiteX516" fmla="*/ 294999 w 682417"/>
              <a:gd name="connsiteY516" fmla="*/ 292328 h 798267"/>
              <a:gd name="connsiteX517" fmla="*/ 298809 w 682417"/>
              <a:gd name="connsiteY517" fmla="*/ 290652 h 798267"/>
              <a:gd name="connsiteX518" fmla="*/ 297094 w 682417"/>
              <a:gd name="connsiteY518" fmla="*/ 300796 h 798267"/>
              <a:gd name="connsiteX519" fmla="*/ 295599 w 682417"/>
              <a:gd name="connsiteY519" fmla="*/ 295900 h 798267"/>
              <a:gd name="connsiteX520" fmla="*/ 291275 w 682417"/>
              <a:gd name="connsiteY520" fmla="*/ 300958 h 798267"/>
              <a:gd name="connsiteX521" fmla="*/ 288417 w 682417"/>
              <a:gd name="connsiteY521" fmla="*/ 303958 h 798267"/>
              <a:gd name="connsiteX522" fmla="*/ 288246 w 682417"/>
              <a:gd name="connsiteY522" fmla="*/ 298138 h 798267"/>
              <a:gd name="connsiteX523" fmla="*/ 286169 w 682417"/>
              <a:gd name="connsiteY523" fmla="*/ 303577 h 798267"/>
              <a:gd name="connsiteX524" fmla="*/ 283169 w 682417"/>
              <a:gd name="connsiteY524" fmla="*/ 300720 h 798267"/>
              <a:gd name="connsiteX525" fmla="*/ 280311 w 682417"/>
              <a:gd name="connsiteY525" fmla="*/ 303720 h 798267"/>
              <a:gd name="connsiteX526" fmla="*/ 275996 w 682417"/>
              <a:gd name="connsiteY526" fmla="*/ 301815 h 798267"/>
              <a:gd name="connsiteX527" fmla="*/ 271663 w 682417"/>
              <a:gd name="connsiteY527" fmla="*/ 306873 h 798267"/>
              <a:gd name="connsiteX528" fmla="*/ 269986 w 682417"/>
              <a:gd name="connsiteY528" fmla="*/ 303111 h 798267"/>
              <a:gd name="connsiteX529" fmla="*/ 263766 w 682417"/>
              <a:gd name="connsiteY529" fmla="*/ 305539 h 798267"/>
              <a:gd name="connsiteX530" fmla="*/ 265671 w 682417"/>
              <a:gd name="connsiteY530" fmla="*/ 308178 h 798267"/>
              <a:gd name="connsiteX531" fmla="*/ 263966 w 682417"/>
              <a:gd name="connsiteY531" fmla="*/ 311369 h 798267"/>
              <a:gd name="connsiteX532" fmla="*/ 260614 w 682417"/>
              <a:gd name="connsiteY532" fmla="*/ 303844 h 798267"/>
              <a:gd name="connsiteX533" fmla="*/ 256651 w 682417"/>
              <a:gd name="connsiteY533" fmla="*/ 306644 h 798267"/>
              <a:gd name="connsiteX534" fmla="*/ 259832 w 682417"/>
              <a:gd name="connsiteY534" fmla="*/ 315303 h 798267"/>
              <a:gd name="connsiteX535" fmla="*/ 266224 w 682417"/>
              <a:gd name="connsiteY535" fmla="*/ 311750 h 798267"/>
              <a:gd name="connsiteX536" fmla="*/ 268862 w 682417"/>
              <a:gd name="connsiteY536" fmla="*/ 309845 h 798267"/>
              <a:gd name="connsiteX537" fmla="*/ 266005 w 682417"/>
              <a:gd name="connsiteY537" fmla="*/ 312836 h 798267"/>
              <a:gd name="connsiteX538" fmla="*/ 273529 w 682417"/>
              <a:gd name="connsiteY538" fmla="*/ 309473 h 798267"/>
              <a:gd name="connsiteX539" fmla="*/ 270901 w 682417"/>
              <a:gd name="connsiteY539" fmla="*/ 311378 h 798267"/>
              <a:gd name="connsiteX540" fmla="*/ 275958 w 682417"/>
              <a:gd name="connsiteY540" fmla="*/ 315712 h 798267"/>
              <a:gd name="connsiteX541" fmla="*/ 275187 w 682417"/>
              <a:gd name="connsiteY541" fmla="*/ 320217 h 798267"/>
              <a:gd name="connsiteX542" fmla="*/ 273282 w 682417"/>
              <a:gd name="connsiteY542" fmla="*/ 317579 h 798267"/>
              <a:gd name="connsiteX543" fmla="*/ 271577 w 682417"/>
              <a:gd name="connsiteY543" fmla="*/ 320779 h 798267"/>
              <a:gd name="connsiteX544" fmla="*/ 266881 w 682417"/>
              <a:gd name="connsiteY544" fmla="*/ 321132 h 798267"/>
              <a:gd name="connsiteX545" fmla="*/ 268567 w 682417"/>
              <a:gd name="connsiteY545" fmla="*/ 324942 h 798267"/>
              <a:gd name="connsiteX546" fmla="*/ 265186 w 682417"/>
              <a:gd name="connsiteY546" fmla="*/ 324370 h 798267"/>
              <a:gd name="connsiteX547" fmla="*/ 263281 w 682417"/>
              <a:gd name="connsiteY547" fmla="*/ 328685 h 798267"/>
              <a:gd name="connsiteX548" fmla="*/ 264966 w 682417"/>
              <a:gd name="connsiteY548" fmla="*/ 332495 h 798267"/>
              <a:gd name="connsiteX549" fmla="*/ 260642 w 682417"/>
              <a:gd name="connsiteY549" fmla="*/ 330590 h 798267"/>
              <a:gd name="connsiteX550" fmla="*/ 261004 w 682417"/>
              <a:gd name="connsiteY550" fmla="*/ 335286 h 798267"/>
              <a:gd name="connsiteX551" fmla="*/ 254060 w 682417"/>
              <a:gd name="connsiteY551" fmla="*/ 335286 h 798267"/>
              <a:gd name="connsiteX552" fmla="*/ 251031 w 682417"/>
              <a:gd name="connsiteY552" fmla="*/ 339410 h 798267"/>
              <a:gd name="connsiteX553" fmla="*/ 255737 w 682417"/>
              <a:gd name="connsiteY553" fmla="*/ 339048 h 798267"/>
              <a:gd name="connsiteX554" fmla="*/ 248402 w 682417"/>
              <a:gd name="connsiteY554" fmla="*/ 341287 h 798267"/>
              <a:gd name="connsiteX555" fmla="*/ 251422 w 682417"/>
              <a:gd name="connsiteY555" fmla="*/ 337153 h 798267"/>
              <a:gd name="connsiteX556" fmla="*/ 246726 w 682417"/>
              <a:gd name="connsiteY556" fmla="*/ 337524 h 798267"/>
              <a:gd name="connsiteX557" fmla="*/ 249336 w 682417"/>
              <a:gd name="connsiteY557" fmla="*/ 342601 h 798267"/>
              <a:gd name="connsiteX558" fmla="*/ 247259 w 682417"/>
              <a:gd name="connsiteY558" fmla="*/ 348050 h 798267"/>
              <a:gd name="connsiteX559" fmla="*/ 242383 w 682417"/>
              <a:gd name="connsiteY559" fmla="*/ 342582 h 798267"/>
              <a:gd name="connsiteX560" fmla="*/ 238573 w 682417"/>
              <a:gd name="connsiteY560" fmla="*/ 344268 h 798267"/>
              <a:gd name="connsiteX561" fmla="*/ 241192 w 682417"/>
              <a:gd name="connsiteY561" fmla="*/ 349345 h 798267"/>
              <a:gd name="connsiteX562" fmla="*/ 238744 w 682417"/>
              <a:gd name="connsiteY562" fmla="*/ 350088 h 798267"/>
              <a:gd name="connsiteX563" fmla="*/ 237230 w 682417"/>
              <a:gd name="connsiteY563" fmla="*/ 352155 h 798267"/>
              <a:gd name="connsiteX564" fmla="*/ 237020 w 682417"/>
              <a:gd name="connsiteY564" fmla="*/ 360232 h 798267"/>
              <a:gd name="connsiteX565" fmla="*/ 232134 w 682417"/>
              <a:gd name="connsiteY565" fmla="*/ 361718 h 798267"/>
              <a:gd name="connsiteX566" fmla="*/ 225523 w 682417"/>
              <a:gd name="connsiteY566" fmla="*/ 373348 h 798267"/>
              <a:gd name="connsiteX567" fmla="*/ 220275 w 682417"/>
              <a:gd name="connsiteY567" fmla="*/ 370138 h 798267"/>
              <a:gd name="connsiteX568" fmla="*/ 221761 w 682417"/>
              <a:gd name="connsiteY568" fmla="*/ 375034 h 798267"/>
              <a:gd name="connsiteX569" fmla="*/ 223818 w 682417"/>
              <a:gd name="connsiteY569" fmla="*/ 376539 h 798267"/>
              <a:gd name="connsiteX570" fmla="*/ 215913 w 682417"/>
              <a:gd name="connsiteY570" fmla="*/ 382159 h 798267"/>
              <a:gd name="connsiteX571" fmla="*/ 214008 w 682417"/>
              <a:gd name="connsiteY571" fmla="*/ 386473 h 798267"/>
              <a:gd name="connsiteX572" fmla="*/ 210817 w 682417"/>
              <a:gd name="connsiteY572" fmla="*/ 384768 h 798267"/>
              <a:gd name="connsiteX573" fmla="*/ 209864 w 682417"/>
              <a:gd name="connsiteY573" fmla="*/ 390407 h 798267"/>
              <a:gd name="connsiteX574" fmla="*/ 204426 w 682417"/>
              <a:gd name="connsiteY574" fmla="*/ 388321 h 798267"/>
              <a:gd name="connsiteX575" fmla="*/ 198958 w 682417"/>
              <a:gd name="connsiteY575" fmla="*/ 393188 h 798267"/>
              <a:gd name="connsiteX576" fmla="*/ 199139 w 682417"/>
              <a:gd name="connsiteY576" fmla="*/ 399018 h 798267"/>
              <a:gd name="connsiteX577" fmla="*/ 202873 w 682417"/>
              <a:gd name="connsiteY577" fmla="*/ 404295 h 798267"/>
              <a:gd name="connsiteX578" fmla="*/ 197244 w 682417"/>
              <a:gd name="connsiteY578" fmla="*/ 403342 h 798267"/>
              <a:gd name="connsiteX579" fmla="*/ 197415 w 682417"/>
              <a:gd name="connsiteY579" fmla="*/ 409171 h 798267"/>
              <a:gd name="connsiteX580" fmla="*/ 193843 w 682417"/>
              <a:gd name="connsiteY580" fmla="*/ 409724 h 798267"/>
              <a:gd name="connsiteX581" fmla="*/ 194205 w 682417"/>
              <a:gd name="connsiteY581" fmla="*/ 414420 h 798267"/>
              <a:gd name="connsiteX582" fmla="*/ 190395 w 682417"/>
              <a:gd name="connsiteY582" fmla="*/ 416096 h 798267"/>
              <a:gd name="connsiteX583" fmla="*/ 190567 w 682417"/>
              <a:gd name="connsiteY583" fmla="*/ 421925 h 798267"/>
              <a:gd name="connsiteX584" fmla="*/ 185871 w 682417"/>
              <a:gd name="connsiteY584" fmla="*/ 422287 h 798267"/>
              <a:gd name="connsiteX585" fmla="*/ 185099 w 682417"/>
              <a:gd name="connsiteY585" fmla="*/ 426802 h 798267"/>
              <a:gd name="connsiteX586" fmla="*/ 181537 w 682417"/>
              <a:gd name="connsiteY586" fmla="*/ 427345 h 798267"/>
              <a:gd name="connsiteX587" fmla="*/ 177022 w 682417"/>
              <a:gd name="connsiteY587" fmla="*/ 426583 h 798267"/>
              <a:gd name="connsiteX588" fmla="*/ 178689 w 682417"/>
              <a:gd name="connsiteY588" fmla="*/ 437299 h 798267"/>
              <a:gd name="connsiteX589" fmla="*/ 174374 w 682417"/>
              <a:gd name="connsiteY589" fmla="*/ 435394 h 798267"/>
              <a:gd name="connsiteX590" fmla="*/ 169288 w 682417"/>
              <a:gd name="connsiteY590" fmla="*/ 438013 h 798267"/>
              <a:gd name="connsiteX591" fmla="*/ 170593 w 682417"/>
              <a:gd name="connsiteY591" fmla="*/ 444033 h 798267"/>
              <a:gd name="connsiteX592" fmla="*/ 160239 w 682417"/>
              <a:gd name="connsiteY592" fmla="*/ 450396 h 798267"/>
              <a:gd name="connsiteX593" fmla="*/ 162144 w 682417"/>
              <a:gd name="connsiteY593" fmla="*/ 453025 h 798267"/>
              <a:gd name="connsiteX594" fmla="*/ 163820 w 682417"/>
              <a:gd name="connsiteY594" fmla="*/ 456835 h 798267"/>
              <a:gd name="connsiteX595" fmla="*/ 162487 w 682417"/>
              <a:gd name="connsiteY595" fmla="*/ 464721 h 798267"/>
              <a:gd name="connsiteX596" fmla="*/ 155534 w 682417"/>
              <a:gd name="connsiteY596" fmla="*/ 464721 h 798267"/>
              <a:gd name="connsiteX597" fmla="*/ 151771 w 682417"/>
              <a:gd name="connsiteY597" fmla="*/ 466398 h 798267"/>
              <a:gd name="connsiteX598" fmla="*/ 149114 w 682417"/>
              <a:gd name="connsiteY598" fmla="*/ 475218 h 798267"/>
              <a:gd name="connsiteX599" fmla="*/ 150600 w 682417"/>
              <a:gd name="connsiteY599" fmla="*/ 480104 h 798267"/>
              <a:gd name="connsiteX600" fmla="*/ 146647 w 682417"/>
              <a:gd name="connsiteY600" fmla="*/ 482914 h 798267"/>
              <a:gd name="connsiteX601" fmla="*/ 144285 w 682417"/>
              <a:gd name="connsiteY601" fmla="*/ 480866 h 798267"/>
              <a:gd name="connsiteX602" fmla="*/ 142761 w 682417"/>
              <a:gd name="connsiteY602" fmla="*/ 489877 h 798267"/>
              <a:gd name="connsiteX603" fmla="*/ 147285 w 682417"/>
              <a:gd name="connsiteY603" fmla="*/ 483685 h 798267"/>
              <a:gd name="connsiteX604" fmla="*/ 155924 w 682417"/>
              <a:gd name="connsiteY604" fmla="*/ 487495 h 798267"/>
              <a:gd name="connsiteX605" fmla="*/ 154772 w 682417"/>
              <a:gd name="connsiteY605" fmla="*/ 494258 h 798267"/>
              <a:gd name="connsiteX606" fmla="*/ 149304 w 682417"/>
              <a:gd name="connsiteY606" fmla="*/ 499126 h 798267"/>
              <a:gd name="connsiteX607" fmla="*/ 142913 w 682417"/>
              <a:gd name="connsiteY607" fmla="*/ 502678 h 798267"/>
              <a:gd name="connsiteX608" fmla="*/ 144818 w 682417"/>
              <a:gd name="connsiteY608" fmla="*/ 505317 h 798267"/>
              <a:gd name="connsiteX609" fmla="*/ 144047 w 682417"/>
              <a:gd name="connsiteY609" fmla="*/ 509822 h 798267"/>
              <a:gd name="connsiteX610" fmla="*/ 142923 w 682417"/>
              <a:gd name="connsiteY610" fmla="*/ 509632 h 798267"/>
              <a:gd name="connsiteX611" fmla="*/ 138160 w 682417"/>
              <a:gd name="connsiteY611" fmla="*/ 516947 h 798267"/>
              <a:gd name="connsiteX612" fmla="*/ 134969 w 682417"/>
              <a:gd name="connsiteY612" fmla="*/ 515242 h 798267"/>
              <a:gd name="connsiteX613" fmla="*/ 128568 w 682417"/>
              <a:gd name="connsiteY613" fmla="*/ 518795 h 798267"/>
              <a:gd name="connsiteX614" fmla="*/ 121215 w 682417"/>
              <a:gd name="connsiteY614" fmla="*/ 527977 h 798267"/>
              <a:gd name="connsiteX615" fmla="*/ 125339 w 682417"/>
              <a:gd name="connsiteY615" fmla="*/ 530996 h 798267"/>
              <a:gd name="connsiteX616" fmla="*/ 122130 w 682417"/>
              <a:gd name="connsiteY616" fmla="*/ 536254 h 798267"/>
              <a:gd name="connsiteX617" fmla="*/ 124749 w 682417"/>
              <a:gd name="connsiteY617" fmla="*/ 541331 h 798267"/>
              <a:gd name="connsiteX618" fmla="*/ 121368 w 682417"/>
              <a:gd name="connsiteY618" fmla="*/ 540759 h 798267"/>
              <a:gd name="connsiteX619" fmla="*/ 117605 w 682417"/>
              <a:gd name="connsiteY619" fmla="*/ 542436 h 798267"/>
              <a:gd name="connsiteX620" fmla="*/ 119263 w 682417"/>
              <a:gd name="connsiteY620" fmla="*/ 553151 h 798267"/>
              <a:gd name="connsiteX621" fmla="*/ 114376 w 682417"/>
              <a:gd name="connsiteY621" fmla="*/ 554637 h 798267"/>
              <a:gd name="connsiteX622" fmla="*/ 114548 w 682417"/>
              <a:gd name="connsiteY622" fmla="*/ 560467 h 798267"/>
              <a:gd name="connsiteX623" fmla="*/ 110785 w 682417"/>
              <a:gd name="connsiteY623" fmla="*/ 562152 h 798267"/>
              <a:gd name="connsiteX624" fmla="*/ 108147 w 682417"/>
              <a:gd name="connsiteY624" fmla="*/ 564057 h 798267"/>
              <a:gd name="connsiteX625" fmla="*/ 104565 w 682417"/>
              <a:gd name="connsiteY625" fmla="*/ 564610 h 798267"/>
              <a:gd name="connsiteX626" fmla="*/ 98936 w 682417"/>
              <a:gd name="connsiteY626" fmla="*/ 563657 h 798267"/>
              <a:gd name="connsiteX627" fmla="*/ 98936 w 682417"/>
              <a:gd name="connsiteY627" fmla="*/ 570611 h 798267"/>
              <a:gd name="connsiteX628" fmla="*/ 101956 w 682417"/>
              <a:gd name="connsiteY628" fmla="*/ 566486 h 798267"/>
              <a:gd name="connsiteX629" fmla="*/ 109652 w 682417"/>
              <a:gd name="connsiteY629" fmla="*/ 568944 h 798267"/>
              <a:gd name="connsiteX630" fmla="*/ 106994 w 682417"/>
              <a:gd name="connsiteY630" fmla="*/ 577773 h 798267"/>
              <a:gd name="connsiteX631" fmla="*/ 105089 w 682417"/>
              <a:gd name="connsiteY631" fmla="*/ 575135 h 798267"/>
              <a:gd name="connsiteX632" fmla="*/ 100927 w 682417"/>
              <a:gd name="connsiteY632" fmla="*/ 586022 h 798267"/>
              <a:gd name="connsiteX633" fmla="*/ 101689 w 682417"/>
              <a:gd name="connsiteY633" fmla="*/ 581507 h 798267"/>
              <a:gd name="connsiteX634" fmla="*/ 95126 w 682417"/>
              <a:gd name="connsiteY634" fmla="*/ 579240 h 798267"/>
              <a:gd name="connsiteX635" fmla="*/ 99422 w 682417"/>
              <a:gd name="connsiteY635" fmla="*/ 588089 h 798267"/>
              <a:gd name="connsiteX636" fmla="*/ 95660 w 682417"/>
              <a:gd name="connsiteY636" fmla="*/ 589765 h 798267"/>
              <a:gd name="connsiteX637" fmla="*/ 93574 w 682417"/>
              <a:gd name="connsiteY637" fmla="*/ 595204 h 798267"/>
              <a:gd name="connsiteX638" fmla="*/ 90011 w 682417"/>
              <a:gd name="connsiteY638" fmla="*/ 595766 h 798267"/>
              <a:gd name="connsiteX639" fmla="*/ 86439 w 682417"/>
              <a:gd name="connsiteY639" fmla="*/ 596319 h 798267"/>
              <a:gd name="connsiteX640" fmla="*/ 84734 w 682417"/>
              <a:gd name="connsiteY640" fmla="*/ 599500 h 798267"/>
              <a:gd name="connsiteX641" fmla="*/ 77591 w 682417"/>
              <a:gd name="connsiteY641" fmla="*/ 600614 h 798267"/>
              <a:gd name="connsiteX642" fmla="*/ 80010 w 682417"/>
              <a:gd name="connsiteY642" fmla="*/ 606815 h 798267"/>
              <a:gd name="connsiteX643" fmla="*/ 84773 w 682417"/>
              <a:gd name="connsiteY643" fmla="*/ 599500 h 798267"/>
              <a:gd name="connsiteX644" fmla="*/ 89449 w 682417"/>
              <a:gd name="connsiteY644" fmla="*/ 606091 h 798267"/>
              <a:gd name="connsiteX645" fmla="*/ 83239 w 682417"/>
              <a:gd name="connsiteY645" fmla="*/ 608520 h 798267"/>
              <a:gd name="connsiteX646" fmla="*/ 86420 w 682417"/>
              <a:gd name="connsiteY646" fmla="*/ 610216 h 798267"/>
              <a:gd name="connsiteX647" fmla="*/ 87916 w 682417"/>
              <a:gd name="connsiteY647" fmla="*/ 615111 h 798267"/>
              <a:gd name="connsiteX648" fmla="*/ 85058 w 682417"/>
              <a:gd name="connsiteY648" fmla="*/ 618102 h 798267"/>
              <a:gd name="connsiteX649" fmla="*/ 84106 w 682417"/>
              <a:gd name="connsiteY649" fmla="*/ 616797 h 798267"/>
              <a:gd name="connsiteX650" fmla="*/ 82782 w 682417"/>
              <a:gd name="connsiteY650" fmla="*/ 617750 h 798267"/>
              <a:gd name="connsiteX651" fmla="*/ 84687 w 682417"/>
              <a:gd name="connsiteY651" fmla="*/ 620388 h 798267"/>
              <a:gd name="connsiteX652" fmla="*/ 82248 w 682417"/>
              <a:gd name="connsiteY652" fmla="*/ 621141 h 798267"/>
              <a:gd name="connsiteX653" fmla="*/ 81867 w 682417"/>
              <a:gd name="connsiteY653" fmla="*/ 623389 h 798267"/>
              <a:gd name="connsiteX654" fmla="*/ 79419 w 682417"/>
              <a:gd name="connsiteY654" fmla="*/ 624132 h 798267"/>
              <a:gd name="connsiteX655" fmla="*/ 79038 w 682417"/>
              <a:gd name="connsiteY655" fmla="*/ 626389 h 798267"/>
              <a:gd name="connsiteX656" fmla="*/ 73571 w 682417"/>
              <a:gd name="connsiteY656" fmla="*/ 631256 h 798267"/>
              <a:gd name="connsiteX657" fmla="*/ 66237 w 682417"/>
              <a:gd name="connsiteY657" fmla="*/ 633485 h 798267"/>
              <a:gd name="connsiteX658" fmla="*/ 67189 w 682417"/>
              <a:gd name="connsiteY658" fmla="*/ 634809 h 798267"/>
              <a:gd name="connsiteX659" fmla="*/ 67932 w 682417"/>
              <a:gd name="connsiteY659" fmla="*/ 637257 h 798267"/>
              <a:gd name="connsiteX660" fmla="*/ 65656 w 682417"/>
              <a:gd name="connsiteY660" fmla="*/ 643820 h 798267"/>
              <a:gd name="connsiteX661" fmla="*/ 69980 w 682417"/>
              <a:gd name="connsiteY661" fmla="*/ 645725 h 798267"/>
              <a:gd name="connsiteX662" fmla="*/ 69390 w 682417"/>
              <a:gd name="connsiteY662" fmla="*/ 656059 h 798267"/>
              <a:gd name="connsiteX663" fmla="*/ 67485 w 682417"/>
              <a:gd name="connsiteY663" fmla="*/ 660374 h 798267"/>
              <a:gd name="connsiteX664" fmla="*/ 62970 w 682417"/>
              <a:gd name="connsiteY664" fmla="*/ 659612 h 798267"/>
              <a:gd name="connsiteX665" fmla="*/ 59379 w 682417"/>
              <a:gd name="connsiteY665" fmla="*/ 667118 h 798267"/>
              <a:gd name="connsiteX666" fmla="*/ 62941 w 682417"/>
              <a:gd name="connsiteY666" fmla="*/ 673519 h 798267"/>
              <a:gd name="connsiteX667" fmla="*/ 62360 w 682417"/>
              <a:gd name="connsiteY667" fmla="*/ 676900 h 798267"/>
              <a:gd name="connsiteX668" fmla="*/ 58598 w 682417"/>
              <a:gd name="connsiteY668" fmla="*/ 678577 h 798267"/>
              <a:gd name="connsiteX669" fmla="*/ 57083 w 682417"/>
              <a:gd name="connsiteY669" fmla="*/ 680634 h 798267"/>
              <a:gd name="connsiteX670" fmla="*/ 56874 w 682417"/>
              <a:gd name="connsiteY670" fmla="*/ 688721 h 798267"/>
              <a:gd name="connsiteX671" fmla="*/ 53311 w 682417"/>
              <a:gd name="connsiteY671" fmla="*/ 689273 h 798267"/>
              <a:gd name="connsiteX672" fmla="*/ 51606 w 682417"/>
              <a:gd name="connsiteY672" fmla="*/ 692464 h 798267"/>
              <a:gd name="connsiteX673" fmla="*/ 49349 w 682417"/>
              <a:gd name="connsiteY673" fmla="*/ 692083 h 798267"/>
              <a:gd name="connsiteX674" fmla="*/ 47654 w 682417"/>
              <a:gd name="connsiteY674" fmla="*/ 695274 h 798267"/>
              <a:gd name="connsiteX675" fmla="*/ 53664 w 682417"/>
              <a:gd name="connsiteY675" fmla="*/ 693969 h 798267"/>
              <a:gd name="connsiteX676" fmla="*/ 55150 w 682417"/>
              <a:gd name="connsiteY676" fmla="*/ 698865 h 798267"/>
              <a:gd name="connsiteX677" fmla="*/ 49330 w 682417"/>
              <a:gd name="connsiteY677" fmla="*/ 699027 h 798267"/>
              <a:gd name="connsiteX678" fmla="*/ 46101 w 682417"/>
              <a:gd name="connsiteY678" fmla="*/ 711238 h 798267"/>
              <a:gd name="connsiteX679" fmla="*/ 50797 w 682417"/>
              <a:gd name="connsiteY679" fmla="*/ 710876 h 798267"/>
              <a:gd name="connsiteX680" fmla="*/ 45530 w 682417"/>
              <a:gd name="connsiteY680" fmla="*/ 714619 h 798267"/>
              <a:gd name="connsiteX681" fmla="*/ 41567 w 682417"/>
              <a:gd name="connsiteY681" fmla="*/ 717420 h 798267"/>
              <a:gd name="connsiteX682" fmla="*/ 42320 w 682417"/>
              <a:gd name="connsiteY682" fmla="*/ 719867 h 798267"/>
              <a:gd name="connsiteX683" fmla="*/ 43825 w 682417"/>
              <a:gd name="connsiteY683" fmla="*/ 717810 h 798267"/>
              <a:gd name="connsiteX684" fmla="*/ 48339 w 682417"/>
              <a:gd name="connsiteY684" fmla="*/ 718572 h 798267"/>
              <a:gd name="connsiteX685" fmla="*/ 47958 w 682417"/>
              <a:gd name="connsiteY685" fmla="*/ 720829 h 798267"/>
              <a:gd name="connsiteX686" fmla="*/ 48120 w 682417"/>
              <a:gd name="connsiteY686" fmla="*/ 726649 h 798267"/>
              <a:gd name="connsiteX687" fmla="*/ 48863 w 682417"/>
              <a:gd name="connsiteY687" fmla="*/ 729097 h 798267"/>
              <a:gd name="connsiteX688" fmla="*/ 46425 w 682417"/>
              <a:gd name="connsiteY688" fmla="*/ 729840 h 798267"/>
              <a:gd name="connsiteX689" fmla="*/ 42243 w 682417"/>
              <a:gd name="connsiteY689" fmla="*/ 747680 h 798267"/>
              <a:gd name="connsiteX690" fmla="*/ 39986 w 682417"/>
              <a:gd name="connsiteY690" fmla="*/ 747299 h 798267"/>
              <a:gd name="connsiteX691" fmla="*/ 35395 w 682417"/>
              <a:gd name="connsiteY691" fmla="*/ 774341 h 798267"/>
              <a:gd name="connsiteX692" fmla="*/ 36138 w 682417"/>
              <a:gd name="connsiteY692" fmla="*/ 776789 h 798267"/>
              <a:gd name="connsiteX693" fmla="*/ 26746 w 682417"/>
              <a:gd name="connsiteY693" fmla="*/ 777513 h 798267"/>
              <a:gd name="connsiteX694" fmla="*/ 27889 w 682417"/>
              <a:gd name="connsiteY694" fmla="*/ 770750 h 798267"/>
              <a:gd name="connsiteX695" fmla="*/ 25822 w 682417"/>
              <a:gd name="connsiteY695" fmla="*/ 769245 h 798267"/>
              <a:gd name="connsiteX696" fmla="*/ 20765 w 682417"/>
              <a:gd name="connsiteY696" fmla="*/ 764911 h 798267"/>
              <a:gd name="connsiteX697" fmla="*/ 22250 w 682417"/>
              <a:gd name="connsiteY697" fmla="*/ 769797 h 798267"/>
              <a:gd name="connsiteX698" fmla="*/ 25108 w 682417"/>
              <a:gd name="connsiteY698" fmla="*/ 773750 h 798267"/>
              <a:gd name="connsiteX699" fmla="*/ 20984 w 682417"/>
              <a:gd name="connsiteY699" fmla="*/ 770731 h 798267"/>
              <a:gd name="connsiteX700" fmla="*/ 17602 w 682417"/>
              <a:gd name="connsiteY700" fmla="*/ 770159 h 798267"/>
              <a:gd name="connsiteX701" fmla="*/ 15154 w 682417"/>
              <a:gd name="connsiteY701" fmla="*/ 770902 h 798267"/>
              <a:gd name="connsiteX702" fmla="*/ 20222 w 682417"/>
              <a:gd name="connsiteY702" fmla="*/ 775246 h 798267"/>
              <a:gd name="connsiteX703" fmla="*/ 15326 w 682417"/>
              <a:gd name="connsiteY703" fmla="*/ 776732 h 798267"/>
              <a:gd name="connsiteX704" fmla="*/ 14945 w 682417"/>
              <a:gd name="connsiteY704" fmla="*/ 778980 h 798267"/>
              <a:gd name="connsiteX705" fmla="*/ 12878 w 682417"/>
              <a:gd name="connsiteY705" fmla="*/ 777475 h 798267"/>
              <a:gd name="connsiteX706" fmla="*/ 11182 w 682417"/>
              <a:gd name="connsiteY706" fmla="*/ 780656 h 798267"/>
              <a:gd name="connsiteX707" fmla="*/ 8744 w 682417"/>
              <a:gd name="connsiteY707" fmla="*/ 781408 h 798267"/>
              <a:gd name="connsiteX708" fmla="*/ 13649 w 682417"/>
              <a:gd name="connsiteY708" fmla="*/ 772969 h 798267"/>
              <a:gd name="connsiteX709" fmla="*/ 11744 w 682417"/>
              <a:gd name="connsiteY709" fmla="*/ 770331 h 798267"/>
              <a:gd name="connsiteX710" fmla="*/ 14602 w 682417"/>
              <a:gd name="connsiteY710" fmla="*/ 767331 h 798267"/>
              <a:gd name="connsiteX711" fmla="*/ 10287 w 682417"/>
              <a:gd name="connsiteY711" fmla="*/ 765425 h 798267"/>
              <a:gd name="connsiteX712" fmla="*/ 10868 w 682417"/>
              <a:gd name="connsiteY712" fmla="*/ 762044 h 798267"/>
              <a:gd name="connsiteX713" fmla="*/ 2038 w 682417"/>
              <a:gd name="connsiteY713" fmla="*/ 759387 h 798267"/>
              <a:gd name="connsiteX714" fmla="*/ 5448 w 682417"/>
              <a:gd name="connsiteY714" fmla="*/ 753014 h 798267"/>
              <a:gd name="connsiteX715" fmla="*/ 0 w 682417"/>
              <a:gd name="connsiteY715" fmla="*/ 750928 h 798267"/>
              <a:gd name="connsiteX716" fmla="*/ 5648 w 682417"/>
              <a:gd name="connsiteY716" fmla="*/ 744928 h 798267"/>
              <a:gd name="connsiteX717" fmla="*/ 7906 w 682417"/>
              <a:gd name="connsiteY717" fmla="*/ 745309 h 798267"/>
              <a:gd name="connsiteX718" fmla="*/ 7734 w 682417"/>
              <a:gd name="connsiteY718" fmla="*/ 739489 h 798267"/>
              <a:gd name="connsiteX719" fmla="*/ 11154 w 682417"/>
              <a:gd name="connsiteY719" fmla="*/ 726154 h 798267"/>
              <a:gd name="connsiteX720" fmla="*/ 12849 w 682417"/>
              <a:gd name="connsiteY720" fmla="*/ 722963 h 798267"/>
              <a:gd name="connsiteX721" fmla="*/ 13059 w 682417"/>
              <a:gd name="connsiteY721" fmla="*/ 714886 h 798267"/>
              <a:gd name="connsiteX722" fmla="*/ 22479 w 682417"/>
              <a:gd name="connsiteY722" fmla="*/ 707209 h 798267"/>
              <a:gd name="connsiteX723" fmla="*/ 21936 w 682417"/>
              <a:gd name="connsiteY723" fmla="*/ 703637 h 798267"/>
              <a:gd name="connsiteX724" fmla="*/ 20031 w 682417"/>
              <a:gd name="connsiteY724" fmla="*/ 701008 h 798267"/>
              <a:gd name="connsiteX725" fmla="*/ 18126 w 682417"/>
              <a:gd name="connsiteY725" fmla="*/ 698370 h 798267"/>
              <a:gd name="connsiteX726" fmla="*/ 15135 w 682417"/>
              <a:gd name="connsiteY726" fmla="*/ 695512 h 798267"/>
              <a:gd name="connsiteX727" fmla="*/ 17193 w 682417"/>
              <a:gd name="connsiteY727" fmla="*/ 697026 h 798267"/>
              <a:gd name="connsiteX728" fmla="*/ 22469 w 682417"/>
              <a:gd name="connsiteY728" fmla="*/ 693283 h 798267"/>
              <a:gd name="connsiteX729" fmla="*/ 23041 w 682417"/>
              <a:gd name="connsiteY729" fmla="*/ 689892 h 798267"/>
              <a:gd name="connsiteX730" fmla="*/ 19850 w 682417"/>
              <a:gd name="connsiteY730" fmla="*/ 688197 h 798267"/>
              <a:gd name="connsiteX731" fmla="*/ 17050 w 682417"/>
              <a:gd name="connsiteY731" fmla="*/ 684244 h 798267"/>
              <a:gd name="connsiteX732" fmla="*/ 19488 w 682417"/>
              <a:gd name="connsiteY732" fmla="*/ 683491 h 798267"/>
              <a:gd name="connsiteX733" fmla="*/ 19126 w 682417"/>
              <a:gd name="connsiteY733" fmla="*/ 678805 h 798267"/>
              <a:gd name="connsiteX734" fmla="*/ 15745 w 682417"/>
              <a:gd name="connsiteY734" fmla="*/ 678234 h 798267"/>
              <a:gd name="connsiteX735" fmla="*/ 14792 w 682417"/>
              <a:gd name="connsiteY735" fmla="*/ 669956 h 798267"/>
              <a:gd name="connsiteX736" fmla="*/ 20612 w 682417"/>
              <a:gd name="connsiteY736" fmla="*/ 669785 h 798267"/>
              <a:gd name="connsiteX737" fmla="*/ 18707 w 682417"/>
              <a:gd name="connsiteY737" fmla="*/ 667147 h 798267"/>
              <a:gd name="connsiteX738" fmla="*/ 25851 w 682417"/>
              <a:gd name="connsiteY738" fmla="*/ 666042 h 798267"/>
              <a:gd name="connsiteX739" fmla="*/ 24746 w 682417"/>
              <a:gd name="connsiteY739" fmla="*/ 658898 h 798267"/>
              <a:gd name="connsiteX740" fmla="*/ 29642 w 682417"/>
              <a:gd name="connsiteY740" fmla="*/ 657412 h 798267"/>
              <a:gd name="connsiteX741" fmla="*/ 31137 w 682417"/>
              <a:gd name="connsiteY741" fmla="*/ 655345 h 798267"/>
              <a:gd name="connsiteX742" fmla="*/ 33395 w 682417"/>
              <a:gd name="connsiteY742" fmla="*/ 655726 h 798267"/>
              <a:gd name="connsiteX743" fmla="*/ 33966 w 682417"/>
              <a:gd name="connsiteY743" fmla="*/ 652354 h 798267"/>
              <a:gd name="connsiteX744" fmla="*/ 34719 w 682417"/>
              <a:gd name="connsiteY744" fmla="*/ 654793 h 798267"/>
              <a:gd name="connsiteX745" fmla="*/ 35671 w 682417"/>
              <a:gd name="connsiteY745" fmla="*/ 649154 h 798267"/>
              <a:gd name="connsiteX746" fmla="*/ 33033 w 682417"/>
              <a:gd name="connsiteY746" fmla="*/ 651059 h 798267"/>
              <a:gd name="connsiteX747" fmla="*/ 34185 w 682417"/>
              <a:gd name="connsiteY747" fmla="*/ 644296 h 798267"/>
              <a:gd name="connsiteX748" fmla="*/ 32699 w 682417"/>
              <a:gd name="connsiteY748" fmla="*/ 639410 h 798267"/>
              <a:gd name="connsiteX749" fmla="*/ 31375 w 682417"/>
              <a:gd name="connsiteY749" fmla="*/ 640362 h 798267"/>
              <a:gd name="connsiteX750" fmla="*/ 29699 w 682417"/>
              <a:gd name="connsiteY750" fmla="*/ 636600 h 798267"/>
              <a:gd name="connsiteX751" fmla="*/ 36671 w 682417"/>
              <a:gd name="connsiteY751" fmla="*/ 629666 h 798267"/>
              <a:gd name="connsiteX752" fmla="*/ 29908 w 682417"/>
              <a:gd name="connsiteY752" fmla="*/ 628523 h 798267"/>
              <a:gd name="connsiteX753" fmla="*/ 33309 w 682417"/>
              <a:gd name="connsiteY753" fmla="*/ 622141 h 798267"/>
              <a:gd name="connsiteX754" fmla="*/ 28223 w 682417"/>
              <a:gd name="connsiteY754" fmla="*/ 624760 h 798267"/>
              <a:gd name="connsiteX755" fmla="*/ 32033 w 682417"/>
              <a:gd name="connsiteY755" fmla="*/ 616121 h 798267"/>
              <a:gd name="connsiteX756" fmla="*/ 35033 w 682417"/>
              <a:gd name="connsiteY756" fmla="*/ 618979 h 798267"/>
              <a:gd name="connsiteX757" fmla="*/ 36728 w 682417"/>
              <a:gd name="connsiteY757" fmla="*/ 615788 h 798267"/>
              <a:gd name="connsiteX758" fmla="*/ 39729 w 682417"/>
              <a:gd name="connsiteY758" fmla="*/ 618645 h 798267"/>
              <a:gd name="connsiteX759" fmla="*/ 41805 w 682417"/>
              <a:gd name="connsiteY759" fmla="*/ 613206 h 798267"/>
              <a:gd name="connsiteX760" fmla="*/ 43710 w 682417"/>
              <a:gd name="connsiteY760" fmla="*/ 615835 h 798267"/>
              <a:gd name="connsiteX761" fmla="*/ 52959 w 682417"/>
              <a:gd name="connsiteY761" fmla="*/ 602329 h 798267"/>
              <a:gd name="connsiteX762" fmla="*/ 48263 w 682417"/>
              <a:gd name="connsiteY762" fmla="*/ 602700 h 798267"/>
              <a:gd name="connsiteX763" fmla="*/ 45406 w 682417"/>
              <a:gd name="connsiteY763" fmla="*/ 605701 h 798267"/>
              <a:gd name="connsiteX764" fmla="*/ 42958 w 682417"/>
              <a:gd name="connsiteY764" fmla="*/ 606444 h 798267"/>
              <a:gd name="connsiteX765" fmla="*/ 39767 w 682417"/>
              <a:gd name="connsiteY765" fmla="*/ 604739 h 798267"/>
              <a:gd name="connsiteX766" fmla="*/ 38090 w 682417"/>
              <a:gd name="connsiteY766" fmla="*/ 600929 h 798267"/>
              <a:gd name="connsiteX767" fmla="*/ 44291 w 682417"/>
              <a:gd name="connsiteY767" fmla="*/ 598509 h 798267"/>
              <a:gd name="connsiteX768" fmla="*/ 40719 w 682417"/>
              <a:gd name="connsiteY768" fmla="*/ 599062 h 798267"/>
              <a:gd name="connsiteX769" fmla="*/ 43739 w 682417"/>
              <a:gd name="connsiteY769" fmla="*/ 594938 h 798267"/>
              <a:gd name="connsiteX770" fmla="*/ 45444 w 682417"/>
              <a:gd name="connsiteY770" fmla="*/ 591747 h 798267"/>
              <a:gd name="connsiteX771" fmla="*/ 43377 w 682417"/>
              <a:gd name="connsiteY771" fmla="*/ 590232 h 798267"/>
              <a:gd name="connsiteX772" fmla="*/ 49206 w 682417"/>
              <a:gd name="connsiteY772" fmla="*/ 590061 h 798267"/>
              <a:gd name="connsiteX773" fmla="*/ 50721 w 682417"/>
              <a:gd name="connsiteY773" fmla="*/ 588003 h 798267"/>
              <a:gd name="connsiteX774" fmla="*/ 56540 w 682417"/>
              <a:gd name="connsiteY774" fmla="*/ 587832 h 798267"/>
              <a:gd name="connsiteX775" fmla="*/ 53350 w 682417"/>
              <a:gd name="connsiteY775" fmla="*/ 586127 h 798267"/>
              <a:gd name="connsiteX776" fmla="*/ 54493 w 682417"/>
              <a:gd name="connsiteY776" fmla="*/ 579364 h 798267"/>
              <a:gd name="connsiteX777" fmla="*/ 57683 w 682417"/>
              <a:gd name="connsiteY777" fmla="*/ 581069 h 798267"/>
              <a:gd name="connsiteX778" fmla="*/ 58436 w 682417"/>
              <a:gd name="connsiteY778" fmla="*/ 583517 h 798267"/>
              <a:gd name="connsiteX779" fmla="*/ 59750 w 682417"/>
              <a:gd name="connsiteY779" fmla="*/ 582565 h 798267"/>
              <a:gd name="connsiteX780" fmla="*/ 61427 w 682417"/>
              <a:gd name="connsiteY780" fmla="*/ 586317 h 798267"/>
              <a:gd name="connsiteX781" fmla="*/ 62189 w 682417"/>
              <a:gd name="connsiteY781" fmla="*/ 581812 h 798267"/>
              <a:gd name="connsiteX782" fmla="*/ 65208 w 682417"/>
              <a:gd name="connsiteY782" fmla="*/ 577688 h 798267"/>
              <a:gd name="connsiteX783" fmla="*/ 59769 w 682417"/>
              <a:gd name="connsiteY783" fmla="*/ 575602 h 798267"/>
              <a:gd name="connsiteX784" fmla="*/ 65237 w 682417"/>
              <a:gd name="connsiteY784" fmla="*/ 570744 h 798267"/>
              <a:gd name="connsiteX785" fmla="*/ 62236 w 682417"/>
              <a:gd name="connsiteY785" fmla="*/ 567887 h 798267"/>
              <a:gd name="connsiteX786" fmla="*/ 61493 w 682417"/>
              <a:gd name="connsiteY786" fmla="*/ 565448 h 798267"/>
              <a:gd name="connsiteX787" fmla="*/ 63579 w 682417"/>
              <a:gd name="connsiteY787" fmla="*/ 560000 h 798267"/>
              <a:gd name="connsiteX788" fmla="*/ 67532 w 682417"/>
              <a:gd name="connsiteY788" fmla="*/ 557142 h 798267"/>
              <a:gd name="connsiteX789" fmla="*/ 64341 w 682417"/>
              <a:gd name="connsiteY789" fmla="*/ 555447 h 798267"/>
              <a:gd name="connsiteX790" fmla="*/ 65103 w 682417"/>
              <a:gd name="connsiteY790" fmla="*/ 550942 h 798267"/>
              <a:gd name="connsiteX791" fmla="*/ 67161 w 682417"/>
              <a:gd name="connsiteY791" fmla="*/ 552446 h 798267"/>
              <a:gd name="connsiteX792" fmla="*/ 75267 w 682417"/>
              <a:gd name="connsiteY792" fmla="*/ 545712 h 798267"/>
              <a:gd name="connsiteX793" fmla="*/ 75817 w 682417"/>
              <a:gd name="connsiteY793" fmla="*/ 541097 h 798267"/>
              <a:gd name="connsiteX794" fmla="*/ 78476 w 682417"/>
              <a:gd name="connsiteY794" fmla="*/ 540455 h 798267"/>
              <a:gd name="connsiteX795" fmla="*/ 78476 w 682417"/>
              <a:gd name="connsiteY795" fmla="*/ 533501 h 798267"/>
              <a:gd name="connsiteX796" fmla="*/ 82620 w 682417"/>
              <a:gd name="connsiteY796" fmla="*/ 529567 h 798267"/>
              <a:gd name="connsiteX797" fmla="*/ 77391 w 682417"/>
              <a:gd name="connsiteY797" fmla="*/ 519404 h 798267"/>
              <a:gd name="connsiteX798" fmla="*/ 82667 w 682417"/>
              <a:gd name="connsiteY798" fmla="*/ 515670 h 798267"/>
              <a:gd name="connsiteX799" fmla="*/ 84363 w 682417"/>
              <a:gd name="connsiteY799" fmla="*/ 512470 h 798267"/>
              <a:gd name="connsiteX800" fmla="*/ 87363 w 682417"/>
              <a:gd name="connsiteY800" fmla="*/ 515328 h 798267"/>
              <a:gd name="connsiteX801" fmla="*/ 84344 w 682417"/>
              <a:gd name="connsiteY801" fmla="*/ 519452 h 798267"/>
              <a:gd name="connsiteX802" fmla="*/ 88868 w 682417"/>
              <a:gd name="connsiteY802" fmla="*/ 513270 h 798267"/>
              <a:gd name="connsiteX803" fmla="*/ 90773 w 682417"/>
              <a:gd name="connsiteY803" fmla="*/ 515909 h 798267"/>
              <a:gd name="connsiteX804" fmla="*/ 92859 w 682417"/>
              <a:gd name="connsiteY804" fmla="*/ 510460 h 798267"/>
              <a:gd name="connsiteX805" fmla="*/ 96422 w 682417"/>
              <a:gd name="connsiteY805" fmla="*/ 509908 h 798267"/>
              <a:gd name="connsiteX806" fmla="*/ 91916 w 682417"/>
              <a:gd name="connsiteY806" fmla="*/ 509146 h 798267"/>
              <a:gd name="connsiteX807" fmla="*/ 90430 w 682417"/>
              <a:gd name="connsiteY807" fmla="*/ 504250 h 798267"/>
              <a:gd name="connsiteX808" fmla="*/ 89275 w 682417"/>
              <a:gd name="connsiteY808" fmla="*/ 505419 h 798267"/>
              <a:gd name="connsiteX809" fmla="*/ 90049 w 682417"/>
              <a:gd name="connsiteY809" fmla="*/ 506507 h 798267"/>
              <a:gd name="connsiteX810" fmla="*/ 85725 w 682417"/>
              <a:gd name="connsiteY810" fmla="*/ 504602 h 798267"/>
              <a:gd name="connsiteX811" fmla="*/ 88363 w 682417"/>
              <a:gd name="connsiteY811" fmla="*/ 502697 h 798267"/>
              <a:gd name="connsiteX812" fmla="*/ 92173 w 682417"/>
              <a:gd name="connsiteY812" fmla="*/ 494058 h 798267"/>
              <a:gd name="connsiteX813" fmla="*/ 90268 w 682417"/>
              <a:gd name="connsiteY813" fmla="*/ 498373 h 798267"/>
              <a:gd name="connsiteX814" fmla="*/ 98346 w 682417"/>
              <a:gd name="connsiteY814" fmla="*/ 498592 h 798267"/>
              <a:gd name="connsiteX815" fmla="*/ 98155 w 682417"/>
              <a:gd name="connsiteY815" fmla="*/ 499716 h 798267"/>
              <a:gd name="connsiteX816" fmla="*/ 108918 w 682417"/>
              <a:gd name="connsiteY816" fmla="*/ 484152 h 798267"/>
              <a:gd name="connsiteX817" fmla="*/ 108737 w 682417"/>
              <a:gd name="connsiteY817" fmla="*/ 478323 h 798267"/>
              <a:gd name="connsiteX818" fmla="*/ 109490 w 682417"/>
              <a:gd name="connsiteY818" fmla="*/ 480771 h 798267"/>
              <a:gd name="connsiteX819" fmla="*/ 113252 w 682417"/>
              <a:gd name="connsiteY819" fmla="*/ 479094 h 798267"/>
              <a:gd name="connsiteX820" fmla="*/ 110633 w 682417"/>
              <a:gd name="connsiteY820" fmla="*/ 474008 h 798267"/>
              <a:gd name="connsiteX821" fmla="*/ 113652 w 682417"/>
              <a:gd name="connsiteY821" fmla="*/ 469884 h 798267"/>
              <a:gd name="connsiteX822" fmla="*/ 120987 w 682417"/>
              <a:gd name="connsiteY822" fmla="*/ 467655 h 798267"/>
              <a:gd name="connsiteX823" fmla="*/ 122158 w 682417"/>
              <a:gd name="connsiteY823" fmla="*/ 453939 h 798267"/>
              <a:gd name="connsiteX824" fmla="*/ 129892 w 682417"/>
              <a:gd name="connsiteY824" fmla="*/ 442509 h 798267"/>
              <a:gd name="connsiteX825" fmla="*/ 133274 w 682417"/>
              <a:gd name="connsiteY825" fmla="*/ 443080 h 798267"/>
              <a:gd name="connsiteX826" fmla="*/ 130845 w 682417"/>
              <a:gd name="connsiteY826" fmla="*/ 436880 h 798267"/>
              <a:gd name="connsiteX827" fmla="*/ 134655 w 682417"/>
              <a:gd name="connsiteY827" fmla="*/ 435194 h 798267"/>
              <a:gd name="connsiteX828" fmla="*/ 134864 w 682417"/>
              <a:gd name="connsiteY828" fmla="*/ 427117 h 798267"/>
              <a:gd name="connsiteX829" fmla="*/ 137122 w 682417"/>
              <a:gd name="connsiteY829" fmla="*/ 427498 h 798267"/>
              <a:gd name="connsiteX830" fmla="*/ 135626 w 682417"/>
              <a:gd name="connsiteY830" fmla="*/ 422611 h 798267"/>
              <a:gd name="connsiteX831" fmla="*/ 139189 w 682417"/>
              <a:gd name="connsiteY831" fmla="*/ 422049 h 798267"/>
              <a:gd name="connsiteX832" fmla="*/ 142046 w 682417"/>
              <a:gd name="connsiteY832" fmla="*/ 426002 h 798267"/>
              <a:gd name="connsiteX833" fmla="*/ 145618 w 682417"/>
              <a:gd name="connsiteY833" fmla="*/ 425450 h 798267"/>
              <a:gd name="connsiteX834" fmla="*/ 140360 w 682417"/>
              <a:gd name="connsiteY834" fmla="*/ 422240 h 798267"/>
              <a:gd name="connsiteX835" fmla="*/ 138322 w 682417"/>
              <a:gd name="connsiteY835" fmla="*/ 413782 h 798267"/>
              <a:gd name="connsiteX836" fmla="*/ 143208 w 682417"/>
              <a:gd name="connsiteY836" fmla="*/ 412296 h 798267"/>
              <a:gd name="connsiteX837" fmla="*/ 143608 w 682417"/>
              <a:gd name="connsiteY837" fmla="*/ 403085 h 798267"/>
              <a:gd name="connsiteX838" fmla="*/ 146056 w 682417"/>
              <a:gd name="connsiteY838" fmla="*/ 402342 h 798267"/>
              <a:gd name="connsiteX839" fmla="*/ 145485 w 682417"/>
              <a:gd name="connsiteY839" fmla="*/ 405723 h 798267"/>
              <a:gd name="connsiteX840" fmla="*/ 147171 w 682417"/>
              <a:gd name="connsiteY840" fmla="*/ 409486 h 798267"/>
              <a:gd name="connsiteX841" fmla="*/ 152629 w 682417"/>
              <a:gd name="connsiteY841" fmla="*/ 404618 h 798267"/>
              <a:gd name="connsiteX842" fmla="*/ 151469 w 682417"/>
              <a:gd name="connsiteY842" fmla="*/ 403454 h 798267"/>
              <a:gd name="connsiteX843" fmla="*/ 150371 w 682417"/>
              <a:gd name="connsiteY843" fmla="*/ 404228 h 798267"/>
              <a:gd name="connsiteX844" fmla="*/ 154181 w 682417"/>
              <a:gd name="connsiteY844" fmla="*/ 395598 h 798267"/>
              <a:gd name="connsiteX845" fmla="*/ 159268 w 682417"/>
              <a:gd name="connsiteY845" fmla="*/ 392988 h 798267"/>
              <a:gd name="connsiteX846" fmla="*/ 162258 w 682417"/>
              <a:gd name="connsiteY846" fmla="*/ 395846 h 798267"/>
              <a:gd name="connsiteX847" fmla="*/ 169050 w 682417"/>
              <a:gd name="connsiteY847" fmla="*/ 390045 h 798267"/>
              <a:gd name="connsiteX848" fmla="*/ 167402 w 682417"/>
              <a:gd name="connsiteY848" fmla="*/ 372376 h 798267"/>
              <a:gd name="connsiteX849" fmla="*/ 172107 w 682417"/>
              <a:gd name="connsiteY849" fmla="*/ 372014 h 798267"/>
              <a:gd name="connsiteX850" fmla="*/ 173460 w 682417"/>
              <a:gd name="connsiteY850" fmla="*/ 357174 h 798267"/>
              <a:gd name="connsiteX851" fmla="*/ 175717 w 682417"/>
              <a:gd name="connsiteY851" fmla="*/ 357555 h 798267"/>
              <a:gd name="connsiteX852" fmla="*/ 175355 w 682417"/>
              <a:gd name="connsiteY852" fmla="*/ 352860 h 798267"/>
              <a:gd name="connsiteX853" fmla="*/ 182309 w 682417"/>
              <a:gd name="connsiteY853" fmla="*/ 352860 h 798267"/>
              <a:gd name="connsiteX854" fmla="*/ 183261 w 682417"/>
              <a:gd name="connsiteY854" fmla="*/ 347221 h 798267"/>
              <a:gd name="connsiteX855" fmla="*/ 188157 w 682417"/>
              <a:gd name="connsiteY855" fmla="*/ 345735 h 798267"/>
              <a:gd name="connsiteX856" fmla="*/ 193234 w 682417"/>
              <a:gd name="connsiteY856" fmla="*/ 343116 h 798267"/>
              <a:gd name="connsiteX857" fmla="*/ 196634 w 682417"/>
              <a:gd name="connsiteY857" fmla="*/ 336743 h 798267"/>
              <a:gd name="connsiteX858" fmla="*/ 201330 w 682417"/>
              <a:gd name="connsiteY858" fmla="*/ 336381 h 798267"/>
              <a:gd name="connsiteX859" fmla="*/ 199654 w 682417"/>
              <a:gd name="connsiteY859" fmla="*/ 332619 h 798267"/>
              <a:gd name="connsiteX860" fmla="*/ 202282 w 682417"/>
              <a:gd name="connsiteY860" fmla="*/ 330714 h 798267"/>
              <a:gd name="connsiteX861" fmla="*/ 198168 w 682417"/>
              <a:gd name="connsiteY861" fmla="*/ 327695 h 798267"/>
              <a:gd name="connsiteX862" fmla="*/ 199863 w 682417"/>
              <a:gd name="connsiteY862" fmla="*/ 324504 h 798267"/>
              <a:gd name="connsiteX863" fmla="*/ 198911 w 682417"/>
              <a:gd name="connsiteY863" fmla="*/ 323189 h 798267"/>
              <a:gd name="connsiteX864" fmla="*/ 200997 w 682417"/>
              <a:gd name="connsiteY864" fmla="*/ 317750 h 798267"/>
              <a:gd name="connsiteX865" fmla="*/ 201739 w 682417"/>
              <a:gd name="connsiteY865" fmla="*/ 320189 h 798267"/>
              <a:gd name="connsiteX866" fmla="*/ 209645 w 682417"/>
              <a:gd name="connsiteY866" fmla="*/ 314579 h 798267"/>
              <a:gd name="connsiteX867" fmla="*/ 214160 w 682417"/>
              <a:gd name="connsiteY867" fmla="*/ 315341 h 798267"/>
              <a:gd name="connsiteX868" fmla="*/ 215856 w 682417"/>
              <a:gd name="connsiteY868" fmla="*/ 312150 h 798267"/>
              <a:gd name="connsiteX869" fmla="*/ 218103 w 682417"/>
              <a:gd name="connsiteY869" fmla="*/ 312531 h 798267"/>
              <a:gd name="connsiteX870" fmla="*/ 219808 w 682417"/>
              <a:gd name="connsiteY870" fmla="*/ 309340 h 798267"/>
              <a:gd name="connsiteX871" fmla="*/ 223771 w 682417"/>
              <a:gd name="connsiteY871" fmla="*/ 306540 h 798267"/>
              <a:gd name="connsiteX872" fmla="*/ 229210 w 682417"/>
              <a:gd name="connsiteY872" fmla="*/ 308626 h 798267"/>
              <a:gd name="connsiteX873" fmla="*/ 234096 w 682417"/>
              <a:gd name="connsiteY873" fmla="*/ 307130 h 798267"/>
              <a:gd name="connsiteX874" fmla="*/ 237306 w 682417"/>
              <a:gd name="connsiteY874" fmla="*/ 301882 h 798267"/>
              <a:gd name="connsiteX875" fmla="*/ 234315 w 682417"/>
              <a:gd name="connsiteY875" fmla="*/ 299024 h 798267"/>
              <a:gd name="connsiteX876" fmla="*/ 235629 w 682417"/>
              <a:gd name="connsiteY876" fmla="*/ 298072 h 798267"/>
              <a:gd name="connsiteX877" fmla="*/ 233724 w 682417"/>
              <a:gd name="connsiteY877" fmla="*/ 295433 h 798267"/>
              <a:gd name="connsiteX878" fmla="*/ 234305 w 682417"/>
              <a:gd name="connsiteY878" fmla="*/ 292052 h 798267"/>
              <a:gd name="connsiteX879" fmla="*/ 233934 w 682417"/>
              <a:gd name="connsiteY879" fmla="*/ 287356 h 798267"/>
              <a:gd name="connsiteX880" fmla="*/ 235258 w 682417"/>
              <a:gd name="connsiteY880" fmla="*/ 286404 h 798267"/>
              <a:gd name="connsiteX881" fmla="*/ 238115 w 682417"/>
              <a:gd name="connsiteY881" fmla="*/ 283413 h 798267"/>
              <a:gd name="connsiteX882" fmla="*/ 237754 w 682417"/>
              <a:gd name="connsiteY882" fmla="*/ 278708 h 798267"/>
              <a:gd name="connsiteX883" fmla="*/ 242449 w 682417"/>
              <a:gd name="connsiteY883" fmla="*/ 278346 h 798267"/>
              <a:gd name="connsiteX884" fmla="*/ 243783 w 682417"/>
              <a:gd name="connsiteY884" fmla="*/ 270459 h 798267"/>
              <a:gd name="connsiteX885" fmla="*/ 250003 w 682417"/>
              <a:gd name="connsiteY885" fmla="*/ 268039 h 798267"/>
              <a:gd name="connsiteX886" fmla="*/ 252994 w 682417"/>
              <a:gd name="connsiteY886" fmla="*/ 270897 h 798267"/>
              <a:gd name="connsiteX887" fmla="*/ 255270 w 682417"/>
              <a:gd name="connsiteY887" fmla="*/ 264334 h 798267"/>
              <a:gd name="connsiteX888" fmla="*/ 263328 w 682417"/>
              <a:gd name="connsiteY888" fmla="*/ 271488 h 798267"/>
              <a:gd name="connsiteX889" fmla="*/ 265967 w 682417"/>
              <a:gd name="connsiteY889" fmla="*/ 269583 h 798267"/>
              <a:gd name="connsiteX890" fmla="*/ 261842 w 682417"/>
              <a:gd name="connsiteY890" fmla="*/ 266563 h 798267"/>
              <a:gd name="connsiteX891" fmla="*/ 262614 w 682417"/>
              <a:gd name="connsiteY891" fmla="*/ 255133 h 798267"/>
              <a:gd name="connsiteX892" fmla="*/ 266195 w 682417"/>
              <a:gd name="connsiteY892" fmla="*/ 254581 h 798267"/>
              <a:gd name="connsiteX893" fmla="*/ 271853 w 682417"/>
              <a:gd name="connsiteY893" fmla="*/ 248580 h 798267"/>
              <a:gd name="connsiteX894" fmla="*/ 271301 w 682417"/>
              <a:gd name="connsiteY894" fmla="*/ 245008 h 798267"/>
              <a:gd name="connsiteX895" fmla="*/ 278054 w 682417"/>
              <a:gd name="connsiteY895" fmla="*/ 246161 h 798267"/>
              <a:gd name="connsiteX896" fmla="*/ 275196 w 682417"/>
              <a:gd name="connsiteY896" fmla="*/ 242208 h 798267"/>
              <a:gd name="connsiteX897" fmla="*/ 283855 w 682417"/>
              <a:gd name="connsiteY897" fmla="*/ 239036 h 798267"/>
              <a:gd name="connsiteX898" fmla="*/ 283683 w 682417"/>
              <a:gd name="connsiteY898" fmla="*/ 233207 h 798267"/>
              <a:gd name="connsiteX899" fmla="*/ 288379 w 682417"/>
              <a:gd name="connsiteY899" fmla="*/ 232845 h 798267"/>
              <a:gd name="connsiteX900" fmla="*/ 291589 w 682417"/>
              <a:gd name="connsiteY900" fmla="*/ 227596 h 798267"/>
              <a:gd name="connsiteX901" fmla="*/ 293656 w 682417"/>
              <a:gd name="connsiteY901" fmla="*/ 229101 h 798267"/>
              <a:gd name="connsiteX902" fmla="*/ 302504 w 682417"/>
              <a:gd name="connsiteY902" fmla="*/ 224806 h 798267"/>
              <a:gd name="connsiteX903" fmla="*/ 303457 w 682417"/>
              <a:gd name="connsiteY903" fmla="*/ 219176 h 798267"/>
              <a:gd name="connsiteX904" fmla="*/ 305714 w 682417"/>
              <a:gd name="connsiteY904" fmla="*/ 219557 h 798267"/>
              <a:gd name="connsiteX905" fmla="*/ 306095 w 682417"/>
              <a:gd name="connsiteY905" fmla="*/ 217300 h 798267"/>
              <a:gd name="connsiteX906" fmla="*/ 308343 w 682417"/>
              <a:gd name="connsiteY906" fmla="*/ 217681 h 798267"/>
              <a:gd name="connsiteX907" fmla="*/ 311363 w 682417"/>
              <a:gd name="connsiteY907" fmla="*/ 213556 h 798267"/>
              <a:gd name="connsiteX908" fmla="*/ 312677 w 682417"/>
              <a:gd name="connsiteY908" fmla="*/ 212604 h 798267"/>
              <a:gd name="connsiteX909" fmla="*/ 316240 w 682417"/>
              <a:gd name="connsiteY909" fmla="*/ 219005 h 798267"/>
              <a:gd name="connsiteX910" fmla="*/ 319421 w 682417"/>
              <a:gd name="connsiteY910" fmla="*/ 220710 h 798267"/>
              <a:gd name="connsiteX911" fmla="*/ 319040 w 682417"/>
              <a:gd name="connsiteY911" fmla="*/ 222958 h 798267"/>
              <a:gd name="connsiteX912" fmla="*/ 326174 w 682417"/>
              <a:gd name="connsiteY912" fmla="*/ 228806 h 798267"/>
              <a:gd name="connsiteX913" fmla="*/ 324107 w 682417"/>
              <a:gd name="connsiteY913" fmla="*/ 227301 h 798267"/>
              <a:gd name="connsiteX914" fmla="*/ 323364 w 682417"/>
              <a:gd name="connsiteY914" fmla="*/ 224853 h 798267"/>
              <a:gd name="connsiteX915" fmla="*/ 323574 w 682417"/>
              <a:gd name="connsiteY915" fmla="*/ 216776 h 798267"/>
              <a:gd name="connsiteX916" fmla="*/ 329584 w 682417"/>
              <a:gd name="connsiteY916" fmla="*/ 215471 h 798267"/>
              <a:gd name="connsiteX917" fmla="*/ 326231 w 682417"/>
              <a:gd name="connsiteY917" fmla="*/ 207946 h 798267"/>
              <a:gd name="connsiteX918" fmla="*/ 331670 w 682417"/>
              <a:gd name="connsiteY918" fmla="*/ 210032 h 798267"/>
              <a:gd name="connsiteX919" fmla="*/ 332813 w 682417"/>
              <a:gd name="connsiteY919" fmla="*/ 203269 h 798267"/>
              <a:gd name="connsiteX920" fmla="*/ 338452 w 682417"/>
              <a:gd name="connsiteY920" fmla="*/ 204222 h 798267"/>
              <a:gd name="connsiteX921" fmla="*/ 343529 w 682417"/>
              <a:gd name="connsiteY921" fmla="*/ 201612 h 798267"/>
              <a:gd name="connsiteX922" fmla="*/ 344481 w 682417"/>
              <a:gd name="connsiteY922" fmla="*/ 195973 h 798267"/>
              <a:gd name="connsiteX923" fmla="*/ 350691 w 682417"/>
              <a:gd name="connsiteY923" fmla="*/ 193554 h 798267"/>
              <a:gd name="connsiteX924" fmla="*/ 352368 w 682417"/>
              <a:gd name="connsiteY924" fmla="*/ 197316 h 798267"/>
              <a:gd name="connsiteX925" fmla="*/ 355368 w 682417"/>
              <a:gd name="connsiteY925" fmla="*/ 200174 h 798267"/>
              <a:gd name="connsiteX926" fmla="*/ 358578 w 682417"/>
              <a:gd name="connsiteY926" fmla="*/ 194926 h 798267"/>
              <a:gd name="connsiteX927" fmla="*/ 356511 w 682417"/>
              <a:gd name="connsiteY927" fmla="*/ 193421 h 798267"/>
              <a:gd name="connsiteX928" fmla="*/ 358416 w 682417"/>
              <a:gd name="connsiteY928" fmla="*/ 189106 h 798267"/>
              <a:gd name="connsiteX929" fmla="*/ 361036 w 682417"/>
              <a:gd name="connsiteY929" fmla="*/ 194183 h 798267"/>
              <a:gd name="connsiteX930" fmla="*/ 365169 w 682417"/>
              <a:gd name="connsiteY930" fmla="*/ 190249 h 798267"/>
              <a:gd name="connsiteX931" fmla="*/ 367979 w 682417"/>
              <a:gd name="connsiteY931" fmla="*/ 194202 h 798267"/>
              <a:gd name="connsiteX932" fmla="*/ 369494 w 682417"/>
              <a:gd name="connsiteY932" fmla="*/ 192144 h 798267"/>
              <a:gd name="connsiteX933" fmla="*/ 374571 w 682417"/>
              <a:gd name="connsiteY933" fmla="*/ 189525 h 798267"/>
              <a:gd name="connsiteX934" fmla="*/ 375314 w 682417"/>
              <a:gd name="connsiteY934" fmla="*/ 191973 h 798267"/>
              <a:gd name="connsiteX935" fmla="*/ 377571 w 682417"/>
              <a:gd name="connsiteY935" fmla="*/ 192354 h 798267"/>
              <a:gd name="connsiteX936" fmla="*/ 381743 w 682417"/>
              <a:gd name="connsiteY936" fmla="*/ 181467 h 798267"/>
              <a:gd name="connsiteX937" fmla="*/ 390363 w 682417"/>
              <a:gd name="connsiteY937" fmla="*/ 185277 h 798267"/>
              <a:gd name="connsiteX938" fmla="*/ 386972 w 682417"/>
              <a:gd name="connsiteY938" fmla="*/ 191659 h 798267"/>
              <a:gd name="connsiteX939" fmla="*/ 392811 w 682417"/>
              <a:gd name="connsiteY939" fmla="*/ 184534 h 798267"/>
              <a:gd name="connsiteX940" fmla="*/ 399936 w 682417"/>
              <a:gd name="connsiteY940" fmla="*/ 190373 h 798267"/>
              <a:gd name="connsiteX941" fmla="*/ 408061 w 682417"/>
              <a:gd name="connsiteY941" fmla="*/ 176685 h 798267"/>
              <a:gd name="connsiteX942" fmla="*/ 405203 w 682417"/>
              <a:gd name="connsiteY942" fmla="*/ 179676 h 798267"/>
              <a:gd name="connsiteX943" fmla="*/ 402346 w 682417"/>
              <a:gd name="connsiteY943" fmla="*/ 175723 h 798267"/>
              <a:gd name="connsiteX944" fmla="*/ 398412 w 682417"/>
              <a:gd name="connsiteY944" fmla="*/ 171580 h 798267"/>
              <a:gd name="connsiteX945" fmla="*/ 404232 w 682417"/>
              <a:gd name="connsiteY945" fmla="*/ 171408 h 798267"/>
              <a:gd name="connsiteX946" fmla="*/ 403679 w 682417"/>
              <a:gd name="connsiteY946" fmla="*/ 167836 h 798267"/>
              <a:gd name="connsiteX947" fmla="*/ 407641 w 682417"/>
              <a:gd name="connsiteY947" fmla="*/ 165036 h 798267"/>
              <a:gd name="connsiteX948" fmla="*/ 411785 w 682417"/>
              <a:gd name="connsiteY948" fmla="*/ 161093 h 798267"/>
              <a:gd name="connsiteX949" fmla="*/ 420253 w 682417"/>
              <a:gd name="connsiteY949" fmla="*/ 159054 h 798267"/>
              <a:gd name="connsiteX950" fmla="*/ 421015 w 682417"/>
              <a:gd name="connsiteY950" fmla="*/ 154549 h 798267"/>
              <a:gd name="connsiteX951" fmla="*/ 431349 w 682417"/>
              <a:gd name="connsiteY951" fmla="*/ 155140 h 798267"/>
              <a:gd name="connsiteX952" fmla="*/ 433626 w 682417"/>
              <a:gd name="connsiteY952" fmla="*/ 148577 h 798267"/>
              <a:gd name="connsiteX953" fmla="*/ 436483 w 682417"/>
              <a:gd name="connsiteY953" fmla="*/ 145577 h 798267"/>
              <a:gd name="connsiteX954" fmla="*/ 439865 w 682417"/>
              <a:gd name="connsiteY954" fmla="*/ 146148 h 798267"/>
              <a:gd name="connsiteX955" fmla="*/ 449837 w 682417"/>
              <a:gd name="connsiteY955" fmla="*/ 142043 h 798267"/>
              <a:gd name="connsiteX956" fmla="*/ 449066 w 682417"/>
              <a:gd name="connsiteY956" fmla="*/ 146548 h 798267"/>
              <a:gd name="connsiteX957" fmla="*/ 450771 w 682417"/>
              <a:gd name="connsiteY957" fmla="*/ 143367 h 798267"/>
              <a:gd name="connsiteX958" fmla="*/ 455466 w 682417"/>
              <a:gd name="connsiteY958" fmla="*/ 142995 h 798267"/>
              <a:gd name="connsiteX959" fmla="*/ 459810 w 682417"/>
              <a:gd name="connsiteY959" fmla="*/ 137938 h 798267"/>
              <a:gd name="connsiteX960" fmla="*/ 459810 w 682417"/>
              <a:gd name="connsiteY960" fmla="*/ 130984 h 798267"/>
              <a:gd name="connsiteX961" fmla="*/ 466573 w 682417"/>
              <a:gd name="connsiteY961" fmla="*/ 132127 h 798267"/>
              <a:gd name="connsiteX962" fmla="*/ 468649 w 682417"/>
              <a:gd name="connsiteY962" fmla="*/ 126688 h 798267"/>
              <a:gd name="connsiteX963" fmla="*/ 473907 w 682417"/>
              <a:gd name="connsiteY963" fmla="*/ 129898 h 798267"/>
              <a:gd name="connsiteX964" fmla="*/ 472602 w 682417"/>
              <a:gd name="connsiteY964" fmla="*/ 123879 h 798267"/>
              <a:gd name="connsiteX965" fmla="*/ 474669 w 682417"/>
              <a:gd name="connsiteY965" fmla="*/ 125393 h 798267"/>
              <a:gd name="connsiteX966" fmla="*/ 481641 w 682417"/>
              <a:gd name="connsiteY966" fmla="*/ 118459 h 798267"/>
              <a:gd name="connsiteX967" fmla="*/ 484832 w 682417"/>
              <a:gd name="connsiteY967" fmla="*/ 120164 h 798267"/>
              <a:gd name="connsiteX968" fmla="*/ 486537 w 682417"/>
              <a:gd name="connsiteY968" fmla="*/ 116973 h 798267"/>
              <a:gd name="connsiteX969" fmla="*/ 492928 w 682417"/>
              <a:gd name="connsiteY969" fmla="*/ 113420 h 798267"/>
              <a:gd name="connsiteX970" fmla="*/ 496119 w 682417"/>
              <a:gd name="connsiteY970" fmla="*/ 115116 h 798267"/>
              <a:gd name="connsiteX971" fmla="*/ 499339 w 682417"/>
              <a:gd name="connsiteY971" fmla="*/ 109867 h 798267"/>
              <a:gd name="connsiteX972" fmla="*/ 503091 w 682417"/>
              <a:gd name="connsiteY972" fmla="*/ 108191 h 798267"/>
              <a:gd name="connsiteX973" fmla="*/ 505730 w 682417"/>
              <a:gd name="connsiteY973" fmla="*/ 106286 h 798267"/>
              <a:gd name="connsiteX974" fmla="*/ 508587 w 682417"/>
              <a:gd name="connsiteY974" fmla="*/ 110239 h 798267"/>
              <a:gd name="connsiteX975" fmla="*/ 514979 w 682417"/>
              <a:gd name="connsiteY975" fmla="*/ 106686 h 798267"/>
              <a:gd name="connsiteX976" fmla="*/ 525313 w 682417"/>
              <a:gd name="connsiteY976" fmla="*/ 107286 h 798267"/>
              <a:gd name="connsiteX977" fmla="*/ 519293 w 682417"/>
              <a:gd name="connsiteY977" fmla="*/ 108581 h 798267"/>
              <a:gd name="connsiteX978" fmla="*/ 527552 w 682417"/>
              <a:gd name="connsiteY978" fmla="*/ 114620 h 798267"/>
              <a:gd name="connsiteX979" fmla="*/ 531505 w 682417"/>
              <a:gd name="connsiteY979" fmla="*/ 111810 h 798267"/>
              <a:gd name="connsiteX980" fmla="*/ 536572 w 682417"/>
              <a:gd name="connsiteY980" fmla="*/ 116144 h 798267"/>
              <a:gd name="connsiteX981" fmla="*/ 542963 w 682417"/>
              <a:gd name="connsiteY981" fmla="*/ 112591 h 798267"/>
              <a:gd name="connsiteX982" fmla="*/ 540182 w 682417"/>
              <a:gd name="connsiteY982" fmla="*/ 101685 h 798267"/>
              <a:gd name="connsiteX983" fmla="*/ 544306 w 682417"/>
              <a:gd name="connsiteY983" fmla="*/ 104705 h 798267"/>
              <a:gd name="connsiteX984" fmla="*/ 547164 w 682417"/>
              <a:gd name="connsiteY984" fmla="*/ 101714 h 798267"/>
              <a:gd name="connsiteX985" fmla="*/ 544925 w 682417"/>
              <a:gd name="connsiteY985" fmla="*/ 94370 h 798267"/>
              <a:gd name="connsiteX986" fmla="*/ 553002 w 682417"/>
              <a:gd name="connsiteY986" fmla="*/ 94580 h 798267"/>
              <a:gd name="connsiteX987" fmla="*/ 556965 w 682417"/>
              <a:gd name="connsiteY987" fmla="*/ 91779 h 798267"/>
              <a:gd name="connsiteX988" fmla="*/ 548878 w 682417"/>
              <a:gd name="connsiteY988" fmla="*/ 91570 h 798267"/>
              <a:gd name="connsiteX989" fmla="*/ 542696 w 682417"/>
              <a:gd name="connsiteY989" fmla="*/ 87036 h 798267"/>
              <a:gd name="connsiteX990" fmla="*/ 541182 w 682417"/>
              <a:gd name="connsiteY990" fmla="*/ 89103 h 798267"/>
              <a:gd name="connsiteX991" fmla="*/ 535543 w 682417"/>
              <a:gd name="connsiteY991" fmla="*/ 88150 h 798267"/>
              <a:gd name="connsiteX992" fmla="*/ 529361 w 682417"/>
              <a:gd name="connsiteY992" fmla="*/ 83616 h 798267"/>
              <a:gd name="connsiteX993" fmla="*/ 519770 w 682417"/>
              <a:gd name="connsiteY993" fmla="*/ 85521 h 798267"/>
              <a:gd name="connsiteX994" fmla="*/ 514521 w 682417"/>
              <a:gd name="connsiteY994" fmla="*/ 82302 h 798267"/>
              <a:gd name="connsiteX995" fmla="*/ 499491 w 682417"/>
              <a:gd name="connsiteY995" fmla="*/ 82073 h 798267"/>
              <a:gd name="connsiteX996" fmla="*/ 498929 w 682417"/>
              <a:gd name="connsiteY996" fmla="*/ 78502 h 798267"/>
              <a:gd name="connsiteX997" fmla="*/ 494976 w 682417"/>
              <a:gd name="connsiteY997" fmla="*/ 81359 h 798267"/>
              <a:gd name="connsiteX998" fmla="*/ 490852 w 682417"/>
              <a:gd name="connsiteY998" fmla="*/ 78340 h 798267"/>
              <a:gd name="connsiteX999" fmla="*/ 478469 w 682417"/>
              <a:gd name="connsiteY999" fmla="*/ 83188 h 798267"/>
              <a:gd name="connsiteX1000" fmla="*/ 474155 w 682417"/>
              <a:gd name="connsiteY1000" fmla="*/ 81283 h 798267"/>
              <a:gd name="connsiteX1001" fmla="*/ 475298 w 682417"/>
              <a:gd name="connsiteY1001" fmla="*/ 74530 h 798267"/>
              <a:gd name="connsiteX1002" fmla="*/ 469087 w 682417"/>
              <a:gd name="connsiteY1002" fmla="*/ 76949 h 798267"/>
              <a:gd name="connsiteX1003" fmla="*/ 464772 w 682417"/>
              <a:gd name="connsiteY1003" fmla="*/ 75044 h 798267"/>
              <a:gd name="connsiteX1004" fmla="*/ 459877 w 682417"/>
              <a:gd name="connsiteY1004" fmla="*/ 76530 h 798267"/>
              <a:gd name="connsiteX1005" fmla="*/ 460648 w 682417"/>
              <a:gd name="connsiteY1005" fmla="*/ 72025 h 798267"/>
              <a:gd name="connsiteX1006" fmla="*/ 456695 w 682417"/>
              <a:gd name="connsiteY1006" fmla="*/ 74834 h 798267"/>
              <a:gd name="connsiteX1007" fmla="*/ 440369 w 682417"/>
              <a:gd name="connsiteY1007" fmla="*/ 68586 h 798267"/>
              <a:gd name="connsiteX1008" fmla="*/ 426463 w 682417"/>
              <a:gd name="connsiteY1008" fmla="*/ 68538 h 798267"/>
              <a:gd name="connsiteX1009" fmla="*/ 421586 w 682417"/>
              <a:gd name="connsiteY1009" fmla="*/ 63081 h 798267"/>
              <a:gd name="connsiteX1010" fmla="*/ 415385 w 682417"/>
              <a:gd name="connsiteY1010" fmla="*/ 65500 h 798267"/>
              <a:gd name="connsiteX1011" fmla="*/ 410518 w 682417"/>
              <a:gd name="connsiteY1011" fmla="*/ 60033 h 798267"/>
              <a:gd name="connsiteX1012" fmla="*/ 410870 w 682417"/>
              <a:gd name="connsiteY1012" fmla="*/ 64738 h 798267"/>
              <a:gd name="connsiteX1013" fmla="*/ 408242 w 682417"/>
              <a:gd name="connsiteY1013" fmla="*/ 66643 h 798267"/>
              <a:gd name="connsiteX1014" fmla="*/ 400545 w 682417"/>
              <a:gd name="connsiteY1014" fmla="*/ 64185 h 798267"/>
              <a:gd name="connsiteX1015" fmla="*/ 396221 w 682417"/>
              <a:gd name="connsiteY1015" fmla="*/ 62280 h 798267"/>
              <a:gd name="connsiteX1016" fmla="*/ 398288 w 682417"/>
              <a:gd name="connsiteY1016" fmla="*/ 63785 h 798267"/>
              <a:gd name="connsiteX1017" fmla="*/ 393202 w 682417"/>
              <a:gd name="connsiteY1017" fmla="*/ 66405 h 798267"/>
              <a:gd name="connsiteX1018" fmla="*/ 386448 w 682417"/>
              <a:gd name="connsiteY1018" fmla="*/ 65252 h 798267"/>
              <a:gd name="connsiteX1019" fmla="*/ 387020 w 682417"/>
              <a:gd name="connsiteY1019" fmla="*/ 61880 h 798267"/>
              <a:gd name="connsiteX1020" fmla="*/ 379495 w 682417"/>
              <a:gd name="connsiteY1020" fmla="*/ 65233 h 798267"/>
              <a:gd name="connsiteX1021" fmla="*/ 371608 w 682417"/>
              <a:gd name="connsiteY1021" fmla="*/ 63900 h 798267"/>
              <a:gd name="connsiteX1022" fmla="*/ 368437 w 682417"/>
              <a:gd name="connsiteY1022" fmla="*/ 55251 h 798267"/>
              <a:gd name="connsiteX1023" fmla="*/ 365970 w 682417"/>
              <a:gd name="connsiteY1023" fmla="*/ 62938 h 798267"/>
              <a:gd name="connsiteX1024" fmla="*/ 360150 w 682417"/>
              <a:gd name="connsiteY1024" fmla="*/ 63119 h 798267"/>
              <a:gd name="connsiteX1025" fmla="*/ 361464 w 682417"/>
              <a:gd name="connsiteY1025" fmla="*/ 62166 h 798267"/>
              <a:gd name="connsiteX1026" fmla="*/ 359969 w 682417"/>
              <a:gd name="connsiteY1026" fmla="*/ 57280 h 798267"/>
              <a:gd name="connsiteX1027" fmla="*/ 353568 w 682417"/>
              <a:gd name="connsiteY1027" fmla="*/ 60833 h 798267"/>
              <a:gd name="connsiteX1028" fmla="*/ 348129 w 682417"/>
              <a:gd name="connsiteY1028" fmla="*/ 58747 h 798267"/>
              <a:gd name="connsiteX1029" fmla="*/ 344919 w 682417"/>
              <a:gd name="connsiteY1029" fmla="*/ 63995 h 798267"/>
              <a:gd name="connsiteX1030" fmla="*/ 344176 w 682417"/>
              <a:gd name="connsiteY1030" fmla="*/ 61557 h 798267"/>
              <a:gd name="connsiteX1031" fmla="*/ 339290 w 682417"/>
              <a:gd name="connsiteY1031" fmla="*/ 63042 h 798267"/>
              <a:gd name="connsiteX1032" fmla="*/ 339671 w 682417"/>
              <a:gd name="connsiteY1032" fmla="*/ 60795 h 798267"/>
              <a:gd name="connsiteX1033" fmla="*/ 331394 w 682417"/>
              <a:gd name="connsiteY1033" fmla="*/ 61747 h 798267"/>
              <a:gd name="connsiteX1034" fmla="*/ 332908 w 682417"/>
              <a:gd name="connsiteY1034" fmla="*/ 59680 h 798267"/>
              <a:gd name="connsiteX1035" fmla="*/ 329336 w 682417"/>
              <a:gd name="connsiteY1035" fmla="*/ 60233 h 798267"/>
              <a:gd name="connsiteX1036" fmla="*/ 328032 w 682417"/>
              <a:gd name="connsiteY1036" fmla="*/ 54222 h 798267"/>
              <a:gd name="connsiteX1037" fmla="*/ 327079 w 682417"/>
              <a:gd name="connsiteY1037" fmla="*/ 52898 h 798267"/>
              <a:gd name="connsiteX1038" fmla="*/ 328574 w 682417"/>
              <a:gd name="connsiteY1038" fmla="*/ 50831 h 798267"/>
              <a:gd name="connsiteX1039" fmla="*/ 327841 w 682417"/>
              <a:gd name="connsiteY1039" fmla="*/ 48393 h 798267"/>
              <a:gd name="connsiteX1040" fmla="*/ 330279 w 682417"/>
              <a:gd name="connsiteY1040" fmla="*/ 47650 h 798267"/>
              <a:gd name="connsiteX1041" fmla="*/ 327660 w 682417"/>
              <a:gd name="connsiteY1041" fmla="*/ 42564 h 798267"/>
              <a:gd name="connsiteX1042" fmla="*/ 324288 w 682417"/>
              <a:gd name="connsiteY1042" fmla="*/ 41992 h 798267"/>
              <a:gd name="connsiteX1043" fmla="*/ 321821 w 682417"/>
              <a:gd name="connsiteY1043" fmla="*/ 49688 h 798267"/>
              <a:gd name="connsiteX1044" fmla="*/ 318821 w 682417"/>
              <a:gd name="connsiteY1044" fmla="*/ 46831 h 798267"/>
              <a:gd name="connsiteX1045" fmla="*/ 319183 w 682417"/>
              <a:gd name="connsiteY1045" fmla="*/ 51536 h 798267"/>
              <a:gd name="connsiteX1046" fmla="*/ 313382 w 682417"/>
              <a:gd name="connsiteY1046" fmla="*/ 44754 h 798267"/>
              <a:gd name="connsiteX1047" fmla="*/ 315830 w 682417"/>
              <a:gd name="connsiteY1047" fmla="*/ 44002 h 798267"/>
              <a:gd name="connsiteX1048" fmla="*/ 312630 w 682417"/>
              <a:gd name="connsiteY1048" fmla="*/ 42307 h 798267"/>
              <a:gd name="connsiteX1049" fmla="*/ 310953 w 682417"/>
              <a:gd name="connsiteY1049" fmla="*/ 38544 h 798267"/>
              <a:gd name="connsiteX1050" fmla="*/ 313420 w 682417"/>
              <a:gd name="connsiteY1050" fmla="*/ 30848 h 798267"/>
              <a:gd name="connsiteX1051" fmla="*/ 320183 w 682417"/>
              <a:gd name="connsiteY1051" fmla="*/ 31991 h 798267"/>
              <a:gd name="connsiteX1052" fmla="*/ 320535 w 682417"/>
              <a:gd name="connsiteY1052" fmla="*/ 36687 h 798267"/>
              <a:gd name="connsiteX1053" fmla="*/ 328070 w 682417"/>
              <a:gd name="connsiteY1053" fmla="*/ 33334 h 798267"/>
              <a:gd name="connsiteX1054" fmla="*/ 328841 w 682417"/>
              <a:gd name="connsiteY1054" fmla="*/ 28829 h 798267"/>
              <a:gd name="connsiteX1055" fmla="*/ 336166 w 682417"/>
              <a:gd name="connsiteY1055" fmla="*/ 26590 h 798267"/>
              <a:gd name="connsiteX1056" fmla="*/ 328089 w 682417"/>
              <a:gd name="connsiteY1056" fmla="*/ 26381 h 798267"/>
              <a:gd name="connsiteX1057" fmla="*/ 329603 w 682417"/>
              <a:gd name="connsiteY1057" fmla="*/ 24314 h 798267"/>
              <a:gd name="connsiteX1058" fmla="*/ 332623 w 682417"/>
              <a:gd name="connsiteY1058" fmla="*/ 20189 h 798267"/>
              <a:gd name="connsiteX1059" fmla="*/ 331870 w 682417"/>
              <a:gd name="connsiteY1059" fmla="*/ 17742 h 798267"/>
              <a:gd name="connsiteX1060" fmla="*/ 334509 w 682417"/>
              <a:gd name="connsiteY1060" fmla="*/ 15837 h 798267"/>
              <a:gd name="connsiteX1061" fmla="*/ 331327 w 682417"/>
              <a:gd name="connsiteY1061" fmla="*/ 14141 h 798267"/>
              <a:gd name="connsiteX1062" fmla="*/ 337147 w 682417"/>
              <a:gd name="connsiteY1062" fmla="*/ 13960 h 798267"/>
              <a:gd name="connsiteX1063" fmla="*/ 340004 w 682417"/>
              <a:gd name="connsiteY1063" fmla="*/ 10969 h 798267"/>
              <a:gd name="connsiteX1064" fmla="*/ 351844 w 682417"/>
              <a:gd name="connsiteY1064" fmla="*/ 9502 h 798267"/>
              <a:gd name="connsiteX1065" fmla="*/ 350891 w 682417"/>
              <a:gd name="connsiteY1065" fmla="*/ 15132 h 798267"/>
              <a:gd name="connsiteX1066" fmla="*/ 359159 w 682417"/>
              <a:gd name="connsiteY1066" fmla="*/ 14179 h 798267"/>
              <a:gd name="connsiteX1067" fmla="*/ 367808 w 682417"/>
              <a:gd name="connsiteY1067" fmla="*/ 11007 h 798267"/>
              <a:gd name="connsiteX1068" fmla="*/ 370427 w 682417"/>
              <a:gd name="connsiteY1068" fmla="*/ 16094 h 798267"/>
              <a:gd name="connsiteX1069" fmla="*/ 372866 w 682417"/>
              <a:gd name="connsiteY1069" fmla="*/ 15341 h 798267"/>
              <a:gd name="connsiteX1070" fmla="*/ 373075 w 682417"/>
              <a:gd name="connsiteY1070" fmla="*/ 7264 h 798267"/>
              <a:gd name="connsiteX1071" fmla="*/ 375933 w 682417"/>
              <a:gd name="connsiteY1071" fmla="*/ 11217 h 798267"/>
              <a:gd name="connsiteX1072" fmla="*/ 379895 w 682417"/>
              <a:gd name="connsiteY1072" fmla="*/ 8417 h 798267"/>
              <a:gd name="connsiteX1073" fmla="*/ 378762 w 682417"/>
              <a:gd name="connsiteY1073" fmla="*/ 8226 h 798267"/>
              <a:gd name="connsiteX1074" fmla="*/ 378601 w 682417"/>
              <a:gd name="connsiteY1074" fmla="*/ 509 h 798267"/>
              <a:gd name="connsiteX1075" fmla="*/ 378981 w 682417"/>
              <a:gd name="connsiteY1075" fmla="*/ 149 h 798267"/>
              <a:gd name="connsiteX1076" fmla="*/ 379343 w 682417"/>
              <a:gd name="connsiteY1076" fmla="*/ 4845 h 798267"/>
              <a:gd name="connsiteX1077" fmla="*/ 385353 w 682417"/>
              <a:gd name="connsiteY1077" fmla="*/ 3540 h 798267"/>
              <a:gd name="connsiteX1078" fmla="*/ 387420 w 682417"/>
              <a:gd name="connsiteY1078" fmla="*/ 5054 h 798267"/>
              <a:gd name="connsiteX1079" fmla="*/ 387591 w 682417"/>
              <a:gd name="connsiteY1079" fmla="*/ 10884 h 798267"/>
              <a:gd name="connsiteX1080" fmla="*/ 399793 w 682417"/>
              <a:gd name="connsiteY1080" fmla="*/ 14113 h 798267"/>
              <a:gd name="connsiteX1081" fmla="*/ 401869 w 682417"/>
              <a:gd name="connsiteY1081" fmla="*/ 8664 h 798267"/>
              <a:gd name="connsiteX1082" fmla="*/ 409575 w 682417"/>
              <a:gd name="connsiteY1082" fmla="*/ 11131 h 798267"/>
              <a:gd name="connsiteX1083" fmla="*/ 417652 w 682417"/>
              <a:gd name="connsiteY1083" fmla="*/ 11341 h 798267"/>
              <a:gd name="connsiteX1084" fmla="*/ 418605 w 682417"/>
              <a:gd name="connsiteY1084" fmla="*/ 12655 h 798267"/>
              <a:gd name="connsiteX1085" fmla="*/ 415966 w 682417"/>
              <a:gd name="connsiteY1085" fmla="*/ 14560 h 798267"/>
              <a:gd name="connsiteX1086" fmla="*/ 417262 w 682417"/>
              <a:gd name="connsiteY1086" fmla="*/ 20580 h 798267"/>
              <a:gd name="connsiteX1087" fmla="*/ 421630 w 682417"/>
              <a:gd name="connsiteY1087" fmla="*/ 21149 h 798267"/>
              <a:gd name="connsiteX1088" fmla="*/ 421767 w 682417"/>
              <a:gd name="connsiteY1088" fmla="*/ 21342 h 798267"/>
              <a:gd name="connsiteX1089" fmla="*/ 422922 w 682417"/>
              <a:gd name="connsiteY1089" fmla="*/ 20173 h 798267"/>
              <a:gd name="connsiteX1090" fmla="*/ 422148 w 682417"/>
              <a:gd name="connsiteY1090" fmla="*/ 19085 h 798267"/>
              <a:gd name="connsiteX1091" fmla="*/ 430416 w 682417"/>
              <a:gd name="connsiteY1091" fmla="*/ 18132 h 798267"/>
              <a:gd name="connsiteX1092" fmla="*/ 428911 w 682417"/>
              <a:gd name="connsiteY1092" fmla="*/ 20199 h 798267"/>
              <a:gd name="connsiteX1093" fmla="*/ 427215 w 682417"/>
              <a:gd name="connsiteY1093" fmla="*/ 23390 h 798267"/>
              <a:gd name="connsiteX1094" fmla="*/ 425891 w 682417"/>
              <a:gd name="connsiteY1094" fmla="*/ 24342 h 798267"/>
              <a:gd name="connsiteX1095" fmla="*/ 423624 w 682417"/>
              <a:gd name="connsiteY1095" fmla="*/ 30915 h 798267"/>
              <a:gd name="connsiteX1096" fmla="*/ 425853 w 682417"/>
              <a:gd name="connsiteY1096" fmla="*/ 38249 h 798267"/>
              <a:gd name="connsiteX1097" fmla="*/ 433378 w 682417"/>
              <a:gd name="connsiteY1097" fmla="*/ 34887 h 798267"/>
              <a:gd name="connsiteX1098" fmla="*/ 438817 w 682417"/>
              <a:gd name="connsiteY1098" fmla="*/ 36973 h 798267"/>
              <a:gd name="connsiteX1099" fmla="*/ 438417 w 682417"/>
              <a:gd name="connsiteY1099" fmla="*/ 46174 h 798267"/>
              <a:gd name="connsiteX1100" fmla="*/ 440322 w 682417"/>
              <a:gd name="connsiteY1100" fmla="*/ 41859 h 798267"/>
              <a:gd name="connsiteX1101" fmla="*/ 440512 w 682417"/>
              <a:gd name="connsiteY1101" fmla="*/ 40735 h 798267"/>
              <a:gd name="connsiteX1102" fmla="*/ 441855 w 682417"/>
              <a:gd name="connsiteY1102" fmla="*/ 32848 h 798267"/>
              <a:gd name="connsiteX1103" fmla="*/ 442598 w 682417"/>
              <a:gd name="connsiteY1103" fmla="*/ 35287 h 798267"/>
              <a:gd name="connsiteX1104" fmla="*/ 446913 w 682417"/>
              <a:gd name="connsiteY1104" fmla="*/ 37192 h 798267"/>
              <a:gd name="connsiteX1105" fmla="*/ 451247 w 682417"/>
              <a:gd name="connsiteY1105" fmla="*/ 32134 h 798267"/>
              <a:gd name="connsiteX1106" fmla="*/ 459515 w 682417"/>
              <a:gd name="connsiteY1106" fmla="*/ 31181 h 798267"/>
              <a:gd name="connsiteX1107" fmla="*/ 460077 w 682417"/>
              <a:gd name="connsiteY1107" fmla="*/ 34753 h 798267"/>
              <a:gd name="connsiteX1108" fmla="*/ 467773 w 682417"/>
              <a:gd name="connsiteY1108" fmla="*/ 37220 h 798267"/>
              <a:gd name="connsiteX1109" fmla="*/ 471707 w 682417"/>
              <a:gd name="connsiteY1109" fmla="*/ 41364 h 798267"/>
              <a:gd name="connsiteX1110" fmla="*/ 474155 w 682417"/>
              <a:gd name="connsiteY1110" fmla="*/ 40630 h 798267"/>
              <a:gd name="connsiteX1111" fmla="*/ 473974 w 682417"/>
              <a:gd name="connsiteY1111" fmla="*/ 34801 h 798267"/>
              <a:gd name="connsiteX1112" fmla="*/ 476974 w 682417"/>
              <a:gd name="connsiteY1112" fmla="*/ 37658 h 798267"/>
              <a:gd name="connsiteX1113" fmla="*/ 478660 w 682417"/>
              <a:gd name="connsiteY1113" fmla="*/ 41468 h 798267"/>
              <a:gd name="connsiteX1114" fmla="*/ 475078 w 682417"/>
              <a:gd name="connsiteY1114" fmla="*/ 42011 h 798267"/>
              <a:gd name="connsiteX1115" fmla="*/ 475440 w 682417"/>
              <a:gd name="connsiteY1115" fmla="*/ 46717 h 798267"/>
              <a:gd name="connsiteX1116" fmla="*/ 476955 w 682417"/>
              <a:gd name="connsiteY1116" fmla="*/ 44659 h 798267"/>
              <a:gd name="connsiteX1117" fmla="*/ 483718 w 682417"/>
              <a:gd name="connsiteY1117" fmla="*/ 45802 h 798267"/>
              <a:gd name="connsiteX1118" fmla="*/ 479593 w 682417"/>
              <a:gd name="connsiteY1118" fmla="*/ 42783 h 798267"/>
              <a:gd name="connsiteX1119" fmla="*/ 482060 w 682417"/>
              <a:gd name="connsiteY1119" fmla="*/ 35087 h 798267"/>
              <a:gd name="connsiteX1120" fmla="*/ 483737 w 682417"/>
              <a:gd name="connsiteY1120" fmla="*/ 38849 h 798267"/>
              <a:gd name="connsiteX1121" fmla="*/ 484689 w 682417"/>
              <a:gd name="connsiteY1121" fmla="*/ 33220 h 798267"/>
              <a:gd name="connsiteX1122" fmla="*/ 491842 w 682417"/>
              <a:gd name="connsiteY1122" fmla="*/ 32105 h 798267"/>
              <a:gd name="connsiteX1123" fmla="*/ 490890 w 682417"/>
              <a:gd name="connsiteY1123" fmla="*/ 37744 h 798267"/>
              <a:gd name="connsiteX1124" fmla="*/ 487128 w 682417"/>
              <a:gd name="connsiteY1124" fmla="*/ 39420 h 798267"/>
              <a:gd name="connsiteX1125" fmla="*/ 491642 w 682417"/>
              <a:gd name="connsiteY1125" fmla="*/ 40182 h 798267"/>
              <a:gd name="connsiteX1126" fmla="*/ 492595 w 682417"/>
              <a:gd name="connsiteY1126" fmla="*/ 41506 h 798267"/>
              <a:gd name="connsiteX1127" fmla="*/ 498986 w 682417"/>
              <a:gd name="connsiteY1127" fmla="*/ 37954 h 798267"/>
              <a:gd name="connsiteX1128" fmla="*/ 504615 w 682417"/>
              <a:gd name="connsiteY1128" fmla="*/ 38906 h 798267"/>
              <a:gd name="connsiteX1129" fmla="*/ 505177 w 682417"/>
              <a:gd name="connsiteY1129" fmla="*/ 42478 h 798267"/>
              <a:gd name="connsiteX1130" fmla="*/ 504806 w 682417"/>
              <a:gd name="connsiteY1130" fmla="*/ 37782 h 798267"/>
              <a:gd name="connsiteX1131" fmla="*/ 508387 w 682417"/>
              <a:gd name="connsiteY1131" fmla="*/ 37230 h 798267"/>
              <a:gd name="connsiteX1132" fmla="*/ 510292 w 682417"/>
              <a:gd name="connsiteY1132" fmla="*/ 32915 h 798267"/>
              <a:gd name="connsiteX1133" fmla="*/ 511969 w 682417"/>
              <a:gd name="connsiteY1133" fmla="*/ 36677 h 798267"/>
              <a:gd name="connsiteX1134" fmla="*/ 514045 w 682417"/>
              <a:gd name="connsiteY1134" fmla="*/ 31229 h 798267"/>
              <a:gd name="connsiteX1135" fmla="*/ 519684 w 682417"/>
              <a:gd name="connsiteY1135" fmla="*/ 32181 h 798267"/>
              <a:gd name="connsiteX1136" fmla="*/ 522303 w 682417"/>
              <a:gd name="connsiteY1136" fmla="*/ 37258 h 798267"/>
              <a:gd name="connsiteX1137" fmla="*/ 521541 w 682417"/>
              <a:gd name="connsiteY1137" fmla="*/ 41764 h 798267"/>
              <a:gd name="connsiteX1138" fmla="*/ 525656 w 682417"/>
              <a:gd name="connsiteY1138" fmla="*/ 44783 h 798267"/>
              <a:gd name="connsiteX1139" fmla="*/ 525275 w 682417"/>
              <a:gd name="connsiteY1139" fmla="*/ 47040 h 798267"/>
              <a:gd name="connsiteX1140" fmla="*/ 526599 w 682417"/>
              <a:gd name="connsiteY1140" fmla="*/ 46088 h 798267"/>
              <a:gd name="connsiteX1141" fmla="*/ 529971 w 682417"/>
              <a:gd name="connsiteY1141" fmla="*/ 46659 h 798267"/>
              <a:gd name="connsiteX1142" fmla="*/ 540858 w 682417"/>
              <a:gd name="connsiteY1142" fmla="*/ 50822 h 798267"/>
              <a:gd name="connsiteX1143" fmla="*/ 540858 w 682417"/>
              <a:gd name="connsiteY1143" fmla="*/ 43869 h 798267"/>
              <a:gd name="connsiteX1144" fmla="*/ 547078 w 682417"/>
              <a:gd name="connsiteY1144" fmla="*/ 41449 h 798267"/>
              <a:gd name="connsiteX1145" fmla="*/ 551193 w 682417"/>
              <a:gd name="connsiteY1145" fmla="*/ 44469 h 798267"/>
              <a:gd name="connsiteX1146" fmla="*/ 554212 w 682417"/>
              <a:gd name="connsiteY1146" fmla="*/ 40335 h 798267"/>
              <a:gd name="connsiteX1147" fmla="*/ 556470 w 682417"/>
              <a:gd name="connsiteY1147" fmla="*/ 40725 h 798267"/>
              <a:gd name="connsiteX1148" fmla="*/ 562127 w 682417"/>
              <a:gd name="connsiteY1148" fmla="*/ 34725 h 798267"/>
              <a:gd name="connsiteX1149" fmla="*/ 563080 w 682417"/>
              <a:gd name="connsiteY1149" fmla="*/ 42992 h 798267"/>
              <a:gd name="connsiteX1150" fmla="*/ 564985 w 682417"/>
              <a:gd name="connsiteY1150" fmla="*/ 38677 h 798267"/>
              <a:gd name="connsiteX1151" fmla="*/ 568376 w 682417"/>
              <a:gd name="connsiteY1151" fmla="*/ 39249 h 798267"/>
              <a:gd name="connsiteX1152" fmla="*/ 573624 w 682417"/>
              <a:gd name="connsiteY1152" fmla="*/ 42468 h 798267"/>
              <a:gd name="connsiteX1153" fmla="*/ 571538 w 682417"/>
              <a:gd name="connsiteY1153" fmla="*/ 47907 h 798267"/>
              <a:gd name="connsiteX1154" fmla="*/ 574920 w 682417"/>
              <a:gd name="connsiteY1154" fmla="*/ 48479 h 798267"/>
              <a:gd name="connsiteX1155" fmla="*/ 577920 w 682417"/>
              <a:gd name="connsiteY1155" fmla="*/ 51336 h 798267"/>
              <a:gd name="connsiteX1156" fmla="*/ 576967 w 682417"/>
              <a:gd name="connsiteY1156" fmla="*/ 56975 h 798267"/>
              <a:gd name="connsiteX1157" fmla="*/ 579977 w 682417"/>
              <a:gd name="connsiteY1157" fmla="*/ 52851 h 798267"/>
              <a:gd name="connsiteX1158" fmla="*/ 580530 w 682417"/>
              <a:gd name="connsiteY1158" fmla="*/ 56413 h 798267"/>
              <a:gd name="connsiteX1159" fmla="*/ 584492 w 682417"/>
              <a:gd name="connsiteY1159" fmla="*/ 53613 h 798267"/>
              <a:gd name="connsiteX1160" fmla="*/ 587121 w 682417"/>
              <a:gd name="connsiteY1160" fmla="*/ 51708 h 798267"/>
              <a:gd name="connsiteX1161" fmla="*/ 589931 w 682417"/>
              <a:gd name="connsiteY1161" fmla="*/ 55670 h 798267"/>
              <a:gd name="connsiteX1162" fmla="*/ 599523 w 682417"/>
              <a:gd name="connsiteY1162" fmla="*/ 53765 h 798267"/>
              <a:gd name="connsiteX1163" fmla="*/ 604771 w 682417"/>
              <a:gd name="connsiteY1163" fmla="*/ 56975 h 798267"/>
              <a:gd name="connsiteX1164" fmla="*/ 599670 w 682417"/>
              <a:gd name="connsiteY1164" fmla="*/ 57833 h 798267"/>
              <a:gd name="connsiteX1165" fmla="*/ 598942 w 682417"/>
              <a:gd name="connsiteY1165" fmla="*/ 57146 h 798267"/>
              <a:gd name="connsiteX1166" fmla="*/ 600627 w 682417"/>
              <a:gd name="connsiteY1166" fmla="*/ 60909 h 798267"/>
              <a:gd name="connsiteX1167" fmla="*/ 605333 w 682417"/>
              <a:gd name="connsiteY1167" fmla="*/ 60547 h 798267"/>
              <a:gd name="connsiteX1168" fmla="*/ 608190 w 682417"/>
              <a:gd name="connsiteY1168" fmla="*/ 57547 h 798267"/>
              <a:gd name="connsiteX1169" fmla="*/ 616058 w 682417"/>
              <a:gd name="connsiteY1169" fmla="*/ 65833 h 798267"/>
              <a:gd name="connsiteX1170" fmla="*/ 615515 w 682417"/>
              <a:gd name="connsiteY1170" fmla="*/ 62271 h 798267"/>
              <a:gd name="connsiteX1171" fmla="*/ 621887 w 682417"/>
              <a:gd name="connsiteY1171" fmla="*/ 65671 h 798267"/>
              <a:gd name="connsiteX1172" fmla="*/ 619839 w 682417"/>
              <a:gd name="connsiteY1172" fmla="*/ 57204 h 798267"/>
              <a:gd name="connsiteX1173" fmla="*/ 625278 w 682417"/>
              <a:gd name="connsiteY1173" fmla="*/ 59290 h 798267"/>
              <a:gd name="connsiteX1174" fmla="*/ 630927 w 682417"/>
              <a:gd name="connsiteY1174" fmla="*/ 60242 h 798267"/>
              <a:gd name="connsiteX1175" fmla="*/ 636365 w 682417"/>
              <a:gd name="connsiteY1175" fmla="*/ 62328 h 798267"/>
              <a:gd name="connsiteX1176" fmla="*/ 635803 w 682417"/>
              <a:gd name="connsiteY1176" fmla="*/ 58756 h 798267"/>
              <a:gd name="connsiteX1177" fmla="*/ 638813 w 682417"/>
              <a:gd name="connsiteY1177" fmla="*/ 61614 h 798267"/>
              <a:gd name="connsiteX1178" fmla="*/ 644643 w 682417"/>
              <a:gd name="connsiteY1178" fmla="*/ 61442 h 798267"/>
              <a:gd name="connsiteX1179" fmla="*/ 645214 w 682417"/>
              <a:gd name="connsiteY1179" fmla="*/ 58061 h 798267"/>
              <a:gd name="connsiteX1180" fmla="*/ 649719 w 682417"/>
              <a:gd name="connsiteY1180" fmla="*/ 58823 h 798267"/>
              <a:gd name="connsiteX1181" fmla="*/ 654606 w 682417"/>
              <a:gd name="connsiteY1181" fmla="*/ 57337 h 798267"/>
              <a:gd name="connsiteX1182" fmla="*/ 654968 w 682417"/>
              <a:gd name="connsiteY1182" fmla="*/ 62042 h 798267"/>
              <a:gd name="connsiteX1183" fmla="*/ 659730 w 682417"/>
              <a:gd name="connsiteY1183" fmla="*/ 54718 h 798267"/>
              <a:gd name="connsiteX1184" fmla="*/ 661787 w 682417"/>
              <a:gd name="connsiteY1184" fmla="*/ 56232 h 798267"/>
              <a:gd name="connsiteX1185" fmla="*/ 660283 w 682417"/>
              <a:gd name="connsiteY1185" fmla="*/ 58289 h 798267"/>
              <a:gd name="connsiteX1186" fmla="*/ 658197 w 682417"/>
              <a:gd name="connsiteY1186" fmla="*/ 63738 h 798267"/>
              <a:gd name="connsiteX1187" fmla="*/ 660264 w 682417"/>
              <a:gd name="connsiteY1187" fmla="*/ 65243 h 798267"/>
              <a:gd name="connsiteX1188" fmla="*/ 657625 w 682417"/>
              <a:gd name="connsiteY1188" fmla="*/ 67148 h 798267"/>
              <a:gd name="connsiteX1189" fmla="*/ 657987 w 682417"/>
              <a:gd name="connsiteY1189" fmla="*/ 71844 h 798267"/>
              <a:gd name="connsiteX1190" fmla="*/ 653663 w 682417"/>
              <a:gd name="connsiteY1190" fmla="*/ 69939 h 798267"/>
              <a:gd name="connsiteX1191" fmla="*/ 651605 w 682417"/>
              <a:gd name="connsiteY1191" fmla="*/ 68424 h 798267"/>
              <a:gd name="connsiteX1192" fmla="*/ 650462 w 682417"/>
              <a:gd name="connsiteY1192" fmla="*/ 75187 h 798267"/>
              <a:gd name="connsiteX1193" fmla="*/ 648014 w 682417"/>
              <a:gd name="connsiteY1193" fmla="*/ 75930 h 798267"/>
              <a:gd name="connsiteX1194" fmla="*/ 652329 w 682417"/>
              <a:gd name="connsiteY1194" fmla="*/ 77835 h 798267"/>
              <a:gd name="connsiteX1195" fmla="*/ 651948 w 682417"/>
              <a:gd name="connsiteY1195" fmla="*/ 80092 h 798267"/>
              <a:gd name="connsiteX1196" fmla="*/ 655501 w 682417"/>
              <a:gd name="connsiteY1196" fmla="*/ 86493 h 798267"/>
              <a:gd name="connsiteX1197" fmla="*/ 656073 w 682417"/>
              <a:gd name="connsiteY1197" fmla="*/ 83112 h 798267"/>
              <a:gd name="connsiteX1198" fmla="*/ 657025 w 682417"/>
              <a:gd name="connsiteY1198" fmla="*/ 84436 h 798267"/>
              <a:gd name="connsiteX1199" fmla="*/ 660778 w 682417"/>
              <a:gd name="connsiteY1199" fmla="*/ 82750 h 798267"/>
              <a:gd name="connsiteX1200" fmla="*/ 661330 w 682417"/>
              <a:gd name="connsiteY1200" fmla="*/ 86322 h 798267"/>
              <a:gd name="connsiteX1201" fmla="*/ 662845 w 682417"/>
              <a:gd name="connsiteY1201" fmla="*/ 84255 h 798267"/>
              <a:gd name="connsiteX1202" fmla="*/ 670379 w 682417"/>
              <a:gd name="connsiteY1202" fmla="*/ 80902 h 798267"/>
              <a:gd name="connsiteX1203" fmla="*/ 676008 w 682417"/>
              <a:gd name="connsiteY1203" fmla="*/ 81854 h 798267"/>
              <a:gd name="connsiteX1204" fmla="*/ 669798 w 682417"/>
              <a:gd name="connsiteY1204" fmla="*/ 84283 h 798267"/>
              <a:gd name="connsiteX1205" fmla="*/ 672598 w 682417"/>
              <a:gd name="connsiteY1205" fmla="*/ 88236 h 798267"/>
              <a:gd name="connsiteX1206" fmla="*/ 674284 w 682417"/>
              <a:gd name="connsiteY1206" fmla="*/ 91998 h 798267"/>
              <a:gd name="connsiteX1207" fmla="*/ 676370 w 682417"/>
              <a:gd name="connsiteY1207" fmla="*/ 86550 h 798267"/>
              <a:gd name="connsiteX1208" fmla="*/ 672951 w 682417"/>
              <a:gd name="connsiteY1208" fmla="*/ 99885 h 798267"/>
              <a:gd name="connsiteX1209" fmla="*/ 674408 w 682417"/>
              <a:gd name="connsiteY1209" fmla="*/ 111725 h 798267"/>
              <a:gd name="connsiteX1210" fmla="*/ 678218 w 682417"/>
              <a:gd name="connsiteY1210" fmla="*/ 110048 h 798267"/>
              <a:gd name="connsiteX1211" fmla="*/ 676513 w 682417"/>
              <a:gd name="connsiteY1211" fmla="*/ 113239 h 798267"/>
              <a:gd name="connsiteX1212" fmla="*/ 677847 w 682417"/>
              <a:gd name="connsiteY1212" fmla="*/ 116887 h 798267"/>
              <a:gd name="connsiteX1213" fmla="*/ 321974 w 682417"/>
              <a:gd name="connsiteY1213" fmla="*/ 41440 h 798267"/>
              <a:gd name="connsiteX1214" fmla="*/ 321974 w 682417"/>
              <a:gd name="connsiteY1214" fmla="*/ 41440 h 798267"/>
              <a:gd name="connsiteX1215" fmla="*/ 343881 w 682417"/>
              <a:gd name="connsiteY1215" fmla="*/ 15008 h 798267"/>
              <a:gd name="connsiteX1216" fmla="*/ 342567 w 682417"/>
              <a:gd name="connsiteY1216" fmla="*/ 15960 h 798267"/>
              <a:gd name="connsiteX1217" fmla="*/ 342186 w 682417"/>
              <a:gd name="connsiteY1217" fmla="*/ 18218 h 798267"/>
              <a:gd name="connsiteX1218" fmla="*/ 343843 w 682417"/>
              <a:gd name="connsiteY1218" fmla="*/ 15008 h 798267"/>
              <a:gd name="connsiteX1219" fmla="*/ 360588 w 682417"/>
              <a:gd name="connsiteY1219" fmla="*/ 25962 h 798267"/>
              <a:gd name="connsiteX1220" fmla="*/ 360207 w 682417"/>
              <a:gd name="connsiteY1220" fmla="*/ 28210 h 798267"/>
              <a:gd name="connsiteX1221" fmla="*/ 352482 w 682417"/>
              <a:gd name="connsiteY1221" fmla="*/ 32696 h 798267"/>
              <a:gd name="connsiteX1222" fmla="*/ 349625 w 682417"/>
              <a:gd name="connsiteY1222" fmla="*/ 28743 h 798267"/>
              <a:gd name="connsiteX1223" fmla="*/ 345119 w 682417"/>
              <a:gd name="connsiteY1223" fmla="*/ 27981 h 798267"/>
              <a:gd name="connsiteX1224" fmla="*/ 351111 w 682417"/>
              <a:gd name="connsiteY1224" fmla="*/ 33629 h 798267"/>
              <a:gd name="connsiteX1225" fmla="*/ 361083 w 682417"/>
              <a:gd name="connsiteY1225" fmla="*/ 29524 h 798267"/>
              <a:gd name="connsiteX1226" fmla="*/ 360550 w 682417"/>
              <a:gd name="connsiteY1226" fmla="*/ 25962 h 798267"/>
              <a:gd name="connsiteX1227" fmla="*/ 403060 w 682417"/>
              <a:gd name="connsiteY1227" fmla="*/ 21571 h 798267"/>
              <a:gd name="connsiteX1228" fmla="*/ 404012 w 682417"/>
              <a:gd name="connsiteY1228" fmla="*/ 22885 h 798267"/>
              <a:gd name="connsiteX1229" fmla="*/ 400460 w 682417"/>
              <a:gd name="connsiteY1229" fmla="*/ 16484 h 798267"/>
              <a:gd name="connsiteX1230" fmla="*/ 403022 w 682417"/>
              <a:gd name="connsiteY1230" fmla="*/ 21571 h 798267"/>
              <a:gd name="connsiteX1231" fmla="*/ 395745 w 682417"/>
              <a:gd name="connsiteY1231" fmla="*/ 16808 h 798267"/>
              <a:gd name="connsiteX1232" fmla="*/ 398002 w 682417"/>
              <a:gd name="connsiteY1232" fmla="*/ 17199 h 798267"/>
              <a:gd name="connsiteX1233" fmla="*/ 398383 w 682417"/>
              <a:gd name="connsiteY1233" fmla="*/ 14941 h 798267"/>
              <a:gd name="connsiteX1234" fmla="*/ 396126 w 682417"/>
              <a:gd name="connsiteY1234" fmla="*/ 14560 h 798267"/>
              <a:gd name="connsiteX1235" fmla="*/ 394983 w 682417"/>
              <a:gd name="connsiteY1235" fmla="*/ 21323 h 798267"/>
              <a:gd name="connsiteX1236" fmla="*/ 390858 w 682417"/>
              <a:gd name="connsiteY1236" fmla="*/ 18304 h 798267"/>
              <a:gd name="connsiteX1237" fmla="*/ 389534 w 682417"/>
              <a:gd name="connsiteY1237" fmla="*/ 19256 h 798267"/>
              <a:gd name="connsiteX1238" fmla="*/ 394945 w 682417"/>
              <a:gd name="connsiteY1238" fmla="*/ 21361 h 798267"/>
              <a:gd name="connsiteX1239" fmla="*/ 383553 w 682417"/>
              <a:gd name="connsiteY1239" fmla="*/ 20532 h 798267"/>
              <a:gd name="connsiteX1240" fmla="*/ 385239 w 682417"/>
              <a:gd name="connsiteY1240" fmla="*/ 24295 h 798267"/>
              <a:gd name="connsiteX1241" fmla="*/ 383477 w 682417"/>
              <a:gd name="connsiteY1241" fmla="*/ 20570 h 798267"/>
              <a:gd name="connsiteX1242" fmla="*/ 378495 w 682417"/>
              <a:gd name="connsiteY1242" fmla="*/ 16198 h 798267"/>
              <a:gd name="connsiteX1243" fmla="*/ 381495 w 682417"/>
              <a:gd name="connsiteY1243" fmla="*/ 19056 h 798267"/>
              <a:gd name="connsiteX1244" fmla="*/ 378419 w 682417"/>
              <a:gd name="connsiteY1244" fmla="*/ 16237 h 798267"/>
              <a:gd name="connsiteX1245" fmla="*/ 379800 w 682417"/>
              <a:gd name="connsiteY1245" fmla="*/ 22218 h 798267"/>
              <a:gd name="connsiteX1246" fmla="*/ 379228 w 682417"/>
              <a:gd name="connsiteY1246" fmla="*/ 25590 h 798267"/>
              <a:gd name="connsiteX1247" fmla="*/ 382086 w 682417"/>
              <a:gd name="connsiteY1247" fmla="*/ 22599 h 798267"/>
              <a:gd name="connsiteX1248" fmla="*/ 381248 w 682417"/>
              <a:gd name="connsiteY1248" fmla="*/ 41011 h 798267"/>
              <a:gd name="connsiteX1249" fmla="*/ 378990 w 682417"/>
              <a:gd name="connsiteY1249" fmla="*/ 40630 h 798267"/>
              <a:gd name="connsiteX1250" fmla="*/ 378600 w 682417"/>
              <a:gd name="connsiteY1250" fmla="*/ 42878 h 798267"/>
              <a:gd name="connsiteX1251" fmla="*/ 380857 w 682417"/>
              <a:gd name="connsiteY1251" fmla="*/ 43269 h 798267"/>
              <a:gd name="connsiteX1252" fmla="*/ 400574 w 682417"/>
              <a:gd name="connsiteY1252" fmla="*/ 50088 h 798267"/>
              <a:gd name="connsiteX1253" fmla="*/ 396764 w 682417"/>
              <a:gd name="connsiteY1253" fmla="*/ 51765 h 798267"/>
              <a:gd name="connsiteX1254" fmla="*/ 400507 w 682417"/>
              <a:gd name="connsiteY1254" fmla="*/ 50127 h 798267"/>
              <a:gd name="connsiteX1255" fmla="*/ 407156 w 682417"/>
              <a:gd name="connsiteY1255" fmla="*/ 45402 h 798267"/>
              <a:gd name="connsiteX1256" fmla="*/ 401888 w 682417"/>
              <a:gd name="connsiteY1256" fmla="*/ 49145 h 798267"/>
              <a:gd name="connsiteX1257" fmla="*/ 406394 w 682417"/>
              <a:gd name="connsiteY1257" fmla="*/ 49917 h 798267"/>
              <a:gd name="connsiteX1258" fmla="*/ 407079 w 682417"/>
              <a:gd name="connsiteY1258" fmla="*/ 45440 h 798267"/>
              <a:gd name="connsiteX1259" fmla="*/ 406270 w 682417"/>
              <a:gd name="connsiteY1259" fmla="*/ 30162 h 798267"/>
              <a:gd name="connsiteX1260" fmla="*/ 407775 w 682417"/>
              <a:gd name="connsiteY1260" fmla="*/ 28105 h 798267"/>
              <a:gd name="connsiteX1261" fmla="*/ 405717 w 682417"/>
              <a:gd name="connsiteY1261" fmla="*/ 26590 h 798267"/>
              <a:gd name="connsiteX1262" fmla="*/ 400822 w 682417"/>
              <a:gd name="connsiteY1262" fmla="*/ 28086 h 798267"/>
              <a:gd name="connsiteX1263" fmla="*/ 399307 w 682417"/>
              <a:gd name="connsiteY1263" fmla="*/ 30143 h 798267"/>
              <a:gd name="connsiteX1264" fmla="*/ 392001 w 682417"/>
              <a:gd name="connsiteY1264" fmla="*/ 25428 h 798267"/>
              <a:gd name="connsiteX1265" fmla="*/ 387658 w 682417"/>
              <a:gd name="connsiteY1265" fmla="*/ 30486 h 798267"/>
              <a:gd name="connsiteX1266" fmla="*/ 377523 w 682417"/>
              <a:gd name="connsiteY1266" fmla="*/ 28771 h 798267"/>
              <a:gd name="connsiteX1267" fmla="*/ 372056 w 682417"/>
              <a:gd name="connsiteY1267" fmla="*/ 33629 h 798267"/>
              <a:gd name="connsiteX1268" fmla="*/ 367741 w 682417"/>
              <a:gd name="connsiteY1268" fmla="*/ 31724 h 798267"/>
              <a:gd name="connsiteX1269" fmla="*/ 371675 w 682417"/>
              <a:gd name="connsiteY1269" fmla="*/ 35868 h 798267"/>
              <a:gd name="connsiteX1270" fmla="*/ 373351 w 682417"/>
              <a:gd name="connsiteY1270" fmla="*/ 39630 h 798267"/>
              <a:gd name="connsiteX1271" fmla="*/ 378628 w 682417"/>
              <a:gd name="connsiteY1271" fmla="*/ 35887 h 798267"/>
              <a:gd name="connsiteX1272" fmla="*/ 380686 w 682417"/>
              <a:gd name="connsiteY1272" fmla="*/ 37401 h 798267"/>
              <a:gd name="connsiteX1273" fmla="*/ 382200 w 682417"/>
              <a:gd name="connsiteY1273" fmla="*/ 35334 h 798267"/>
              <a:gd name="connsiteX1274" fmla="*/ 385582 w 682417"/>
              <a:gd name="connsiteY1274" fmla="*/ 35906 h 798267"/>
              <a:gd name="connsiteX1275" fmla="*/ 391382 w 682417"/>
              <a:gd name="connsiteY1275" fmla="*/ 42688 h 798267"/>
              <a:gd name="connsiteX1276" fmla="*/ 401164 w 682417"/>
              <a:gd name="connsiteY1276" fmla="*/ 39716 h 798267"/>
              <a:gd name="connsiteX1277" fmla="*/ 402307 w 682417"/>
              <a:gd name="connsiteY1277" fmla="*/ 32953 h 798267"/>
              <a:gd name="connsiteX1278" fmla="*/ 407175 w 682417"/>
              <a:gd name="connsiteY1278" fmla="*/ 38420 h 798267"/>
              <a:gd name="connsiteX1279" fmla="*/ 406222 w 682417"/>
              <a:gd name="connsiteY1279" fmla="*/ 30219 h 798267"/>
              <a:gd name="connsiteX1280" fmla="*/ 416404 w 682417"/>
              <a:gd name="connsiteY1280" fmla="*/ 31886 h 798267"/>
              <a:gd name="connsiteX1281" fmla="*/ 422043 w 682417"/>
              <a:gd name="connsiteY1281" fmla="*/ 32839 h 798267"/>
              <a:gd name="connsiteX1282" fmla="*/ 423948 w 682417"/>
              <a:gd name="connsiteY1282" fmla="*/ 28524 h 798267"/>
              <a:gd name="connsiteX1283" fmla="*/ 418128 w 682417"/>
              <a:gd name="connsiteY1283" fmla="*/ 28695 h 798267"/>
              <a:gd name="connsiteX1284" fmla="*/ 418836 w 682417"/>
              <a:gd name="connsiteY1284" fmla="*/ 30178 h 798267"/>
              <a:gd name="connsiteX1285" fmla="*/ 417738 w 682417"/>
              <a:gd name="connsiteY1285" fmla="*/ 30953 h 798267"/>
              <a:gd name="connsiteX1286" fmla="*/ 412290 w 682417"/>
              <a:gd name="connsiteY1286" fmla="*/ 28867 h 798267"/>
              <a:gd name="connsiteX1287" fmla="*/ 409289 w 682417"/>
              <a:gd name="connsiteY1287" fmla="*/ 26009 h 798267"/>
              <a:gd name="connsiteX1288" fmla="*/ 409842 w 682417"/>
              <a:gd name="connsiteY1288" fmla="*/ 29581 h 798267"/>
              <a:gd name="connsiteX1289" fmla="*/ 414528 w 682417"/>
              <a:gd name="connsiteY1289" fmla="*/ 36172 h 798267"/>
              <a:gd name="connsiteX1290" fmla="*/ 416328 w 682417"/>
              <a:gd name="connsiteY1290" fmla="*/ 31943 h 798267"/>
              <a:gd name="connsiteX1291" fmla="*/ 425587 w 682417"/>
              <a:gd name="connsiteY1291" fmla="*/ 39239 h 798267"/>
              <a:gd name="connsiteX1292" fmla="*/ 417700 w 682417"/>
              <a:gd name="connsiteY1292" fmla="*/ 37896 h 798267"/>
              <a:gd name="connsiteX1293" fmla="*/ 416747 w 682417"/>
              <a:gd name="connsiteY1293" fmla="*/ 43535 h 798267"/>
              <a:gd name="connsiteX1294" fmla="*/ 425015 w 682417"/>
              <a:gd name="connsiteY1294" fmla="*/ 42583 h 798267"/>
              <a:gd name="connsiteX1295" fmla="*/ 429720 w 682417"/>
              <a:gd name="connsiteY1295" fmla="*/ 42259 h 798267"/>
              <a:gd name="connsiteX1296" fmla="*/ 431425 w 682417"/>
              <a:gd name="connsiteY1296" fmla="*/ 39068 h 798267"/>
              <a:gd name="connsiteX1297" fmla="*/ 429644 w 682417"/>
              <a:gd name="connsiteY1297" fmla="*/ 42316 h 798267"/>
              <a:gd name="connsiteX1298" fmla="*/ 434045 w 682417"/>
              <a:gd name="connsiteY1298" fmla="*/ 44164 h 798267"/>
              <a:gd name="connsiteX1299" fmla="*/ 431787 w 682417"/>
              <a:gd name="connsiteY1299" fmla="*/ 43773 h 798267"/>
              <a:gd name="connsiteX1300" fmla="*/ 431406 w 682417"/>
              <a:gd name="connsiteY1300" fmla="*/ 46031 h 798267"/>
              <a:gd name="connsiteX1301" fmla="*/ 433664 w 682417"/>
              <a:gd name="connsiteY1301" fmla="*/ 46412 h 798267"/>
              <a:gd name="connsiteX1302" fmla="*/ 451685 w 682417"/>
              <a:gd name="connsiteY1302" fmla="*/ 49469 h 798267"/>
              <a:gd name="connsiteX1303" fmla="*/ 448304 w 682417"/>
              <a:gd name="connsiteY1303" fmla="*/ 48898 h 798267"/>
              <a:gd name="connsiteX1304" fmla="*/ 449799 w 682417"/>
              <a:gd name="connsiteY1304" fmla="*/ 53794 h 798267"/>
              <a:gd name="connsiteX1305" fmla="*/ 451609 w 682417"/>
              <a:gd name="connsiteY1305" fmla="*/ 49517 h 798267"/>
              <a:gd name="connsiteX1306" fmla="*/ 455105 w 682417"/>
              <a:gd name="connsiteY1306" fmla="*/ 36134 h 798267"/>
              <a:gd name="connsiteX1307" fmla="*/ 452476 w 682417"/>
              <a:gd name="connsiteY1307" fmla="*/ 38039 h 798267"/>
              <a:gd name="connsiteX1308" fmla="*/ 455028 w 682417"/>
              <a:gd name="connsiteY1308" fmla="*/ 36191 h 798267"/>
              <a:gd name="connsiteX1309" fmla="*/ 465582 w 682417"/>
              <a:gd name="connsiteY1309" fmla="*/ 49469 h 798267"/>
              <a:gd name="connsiteX1310" fmla="*/ 468601 w 682417"/>
              <a:gd name="connsiteY1310" fmla="*/ 45345 h 798267"/>
              <a:gd name="connsiteX1311" fmla="*/ 464658 w 682417"/>
              <a:gd name="connsiteY1311" fmla="*/ 41202 h 798267"/>
              <a:gd name="connsiteX1312" fmla="*/ 462391 w 682417"/>
              <a:gd name="connsiteY1312" fmla="*/ 47774 h 798267"/>
              <a:gd name="connsiteX1313" fmla="*/ 465515 w 682417"/>
              <a:gd name="connsiteY1313" fmla="*/ 49555 h 798267"/>
              <a:gd name="connsiteX1314" fmla="*/ 468944 w 682417"/>
              <a:gd name="connsiteY1314" fmla="*/ 57004 h 798267"/>
              <a:gd name="connsiteX1315" fmla="*/ 466687 w 682417"/>
              <a:gd name="connsiteY1315" fmla="*/ 56623 h 798267"/>
              <a:gd name="connsiteX1316" fmla="*/ 466306 w 682417"/>
              <a:gd name="connsiteY1316" fmla="*/ 58880 h 798267"/>
              <a:gd name="connsiteX1317" fmla="*/ 468563 w 682417"/>
              <a:gd name="connsiteY1317" fmla="*/ 59261 h 798267"/>
              <a:gd name="connsiteX1318" fmla="*/ 503301 w 682417"/>
              <a:gd name="connsiteY1318" fmla="*/ 66310 h 798267"/>
              <a:gd name="connsiteX1319" fmla="*/ 500282 w 682417"/>
              <a:gd name="connsiteY1319" fmla="*/ 70434 h 798267"/>
              <a:gd name="connsiteX1320" fmla="*/ 503234 w 682417"/>
              <a:gd name="connsiteY1320" fmla="*/ 66395 h 798267"/>
              <a:gd name="connsiteX1321" fmla="*/ 512778 w 682417"/>
              <a:gd name="connsiteY1321" fmla="*/ 37735 h 798267"/>
              <a:gd name="connsiteX1322" fmla="*/ 513731 w 682417"/>
              <a:gd name="connsiteY1322" fmla="*/ 46012 h 798267"/>
              <a:gd name="connsiteX1323" fmla="*/ 512712 w 682417"/>
              <a:gd name="connsiteY1323" fmla="*/ 37858 h 798267"/>
              <a:gd name="connsiteX1324" fmla="*/ 543906 w 682417"/>
              <a:gd name="connsiteY1324" fmla="*/ 59251 h 798267"/>
              <a:gd name="connsiteX1325" fmla="*/ 539210 w 682417"/>
              <a:gd name="connsiteY1325" fmla="*/ 59613 h 798267"/>
              <a:gd name="connsiteX1326" fmla="*/ 537305 w 682417"/>
              <a:gd name="connsiteY1326" fmla="*/ 63928 h 798267"/>
              <a:gd name="connsiteX1327" fmla="*/ 532419 w 682417"/>
              <a:gd name="connsiteY1327" fmla="*/ 65414 h 798267"/>
              <a:gd name="connsiteX1328" fmla="*/ 535772 w 682417"/>
              <a:gd name="connsiteY1328" fmla="*/ 72939 h 798267"/>
              <a:gd name="connsiteX1329" fmla="*/ 534486 w 682417"/>
              <a:gd name="connsiteY1329" fmla="*/ 66929 h 798267"/>
              <a:gd name="connsiteX1330" fmla="*/ 539563 w 682417"/>
              <a:gd name="connsiteY1330" fmla="*/ 64309 h 798267"/>
              <a:gd name="connsiteX1331" fmla="*/ 545011 w 682417"/>
              <a:gd name="connsiteY1331" fmla="*/ 66395 h 798267"/>
              <a:gd name="connsiteX1332" fmla="*/ 544409 w 682417"/>
              <a:gd name="connsiteY1332" fmla="*/ 59782 h 798267"/>
              <a:gd name="connsiteX1333" fmla="*/ 543839 w 682417"/>
              <a:gd name="connsiteY1333" fmla="*/ 59375 h 798267"/>
              <a:gd name="connsiteX1334" fmla="*/ 547888 w 682417"/>
              <a:gd name="connsiteY1334" fmla="*/ 49488 h 798267"/>
              <a:gd name="connsiteX1335" fmla="*/ 542801 w 682417"/>
              <a:gd name="connsiteY1335" fmla="*/ 52108 h 798267"/>
              <a:gd name="connsiteX1336" fmla="*/ 545992 w 682417"/>
              <a:gd name="connsiteY1336" fmla="*/ 53803 h 798267"/>
              <a:gd name="connsiteX1337" fmla="*/ 547821 w 682417"/>
              <a:gd name="connsiteY1337" fmla="*/ 49612 h 798267"/>
              <a:gd name="connsiteX1338" fmla="*/ 51454 w 682417"/>
              <a:gd name="connsiteY1338" fmla="*/ 597243 h 798267"/>
              <a:gd name="connsiteX1339" fmla="*/ 50502 w 682417"/>
              <a:gd name="connsiteY1339" fmla="*/ 595919 h 798267"/>
              <a:gd name="connsiteX1340" fmla="*/ 48244 w 682417"/>
              <a:gd name="connsiteY1340" fmla="*/ 595538 h 798267"/>
              <a:gd name="connsiteX1341" fmla="*/ 51454 w 682417"/>
              <a:gd name="connsiteY1341" fmla="*/ 597243 h 798267"/>
              <a:gd name="connsiteX1342" fmla="*/ 9658 w 682417"/>
              <a:gd name="connsiteY1342" fmla="*/ 754767 h 798267"/>
              <a:gd name="connsiteX1343" fmla="*/ 11154 w 682417"/>
              <a:gd name="connsiteY1343" fmla="*/ 759663 h 798267"/>
              <a:gd name="connsiteX1344" fmla="*/ 9658 w 682417"/>
              <a:gd name="connsiteY1344" fmla="*/ 754767 h 798267"/>
              <a:gd name="connsiteX1345" fmla="*/ 20355 w 682417"/>
              <a:gd name="connsiteY1345" fmla="*/ 760063 h 798267"/>
              <a:gd name="connsiteX1346" fmla="*/ 16783 w 682417"/>
              <a:gd name="connsiteY1346" fmla="*/ 760615 h 798267"/>
              <a:gd name="connsiteX1347" fmla="*/ 14145 w 682417"/>
              <a:gd name="connsiteY1347" fmla="*/ 762520 h 798267"/>
              <a:gd name="connsiteX1348" fmla="*/ 20355 w 682417"/>
              <a:gd name="connsiteY1348" fmla="*/ 760063 h 798267"/>
              <a:gd name="connsiteX1349" fmla="*/ 26813 w 682417"/>
              <a:gd name="connsiteY1349" fmla="*/ 674214 h 798267"/>
              <a:gd name="connsiteX1350" fmla="*/ 24908 w 682417"/>
              <a:gd name="connsiteY1350" fmla="*/ 671566 h 798267"/>
              <a:gd name="connsiteX1351" fmla="*/ 21888 w 682417"/>
              <a:gd name="connsiteY1351" fmla="*/ 675700 h 798267"/>
              <a:gd name="connsiteX1352" fmla="*/ 26813 w 682417"/>
              <a:gd name="connsiteY1352" fmla="*/ 674224 h 798267"/>
              <a:gd name="connsiteX1353" fmla="*/ 26175 w 682417"/>
              <a:gd name="connsiteY1353" fmla="*/ 691492 h 798267"/>
              <a:gd name="connsiteX1354" fmla="*/ 24470 w 682417"/>
              <a:gd name="connsiteY1354" fmla="*/ 694683 h 798267"/>
              <a:gd name="connsiteX1355" fmla="*/ 26175 w 682417"/>
              <a:gd name="connsiteY1355" fmla="*/ 691492 h 798267"/>
              <a:gd name="connsiteX1356" fmla="*/ 27889 w 682417"/>
              <a:gd name="connsiteY1356" fmla="*/ 681348 h 798267"/>
              <a:gd name="connsiteX1357" fmla="*/ 29575 w 682417"/>
              <a:gd name="connsiteY1357" fmla="*/ 685111 h 798267"/>
              <a:gd name="connsiteX1358" fmla="*/ 27908 w 682417"/>
              <a:gd name="connsiteY1358" fmla="*/ 681348 h 798267"/>
              <a:gd name="connsiteX1359" fmla="*/ 40072 w 682417"/>
              <a:gd name="connsiteY1359" fmla="*/ 637076 h 798267"/>
              <a:gd name="connsiteX1360" fmla="*/ 35728 w 682417"/>
              <a:gd name="connsiteY1360" fmla="*/ 642143 h 798267"/>
              <a:gd name="connsiteX1361" fmla="*/ 40072 w 682417"/>
              <a:gd name="connsiteY1361" fmla="*/ 637076 h 798267"/>
              <a:gd name="connsiteX1362" fmla="*/ 44929 w 682417"/>
              <a:gd name="connsiteY1362" fmla="*/ 710943 h 798267"/>
              <a:gd name="connsiteX1363" fmla="*/ 41167 w 682417"/>
              <a:gd name="connsiteY1363" fmla="*/ 712619 h 798267"/>
              <a:gd name="connsiteX1364" fmla="*/ 44929 w 682417"/>
              <a:gd name="connsiteY1364" fmla="*/ 710904 h 798267"/>
              <a:gd name="connsiteX1365" fmla="*/ 57998 w 682417"/>
              <a:gd name="connsiteY1365" fmla="*/ 674900 h 798267"/>
              <a:gd name="connsiteX1366" fmla="*/ 52730 w 682417"/>
              <a:gd name="connsiteY1366" fmla="*/ 678643 h 798267"/>
              <a:gd name="connsiteX1367" fmla="*/ 57998 w 682417"/>
              <a:gd name="connsiteY1367" fmla="*/ 674862 h 798267"/>
              <a:gd name="connsiteX1368" fmla="*/ 58579 w 682417"/>
              <a:gd name="connsiteY1368" fmla="*/ 603120 h 798267"/>
              <a:gd name="connsiteX1369" fmla="*/ 53883 w 682417"/>
              <a:gd name="connsiteY1369" fmla="*/ 603481 h 798267"/>
              <a:gd name="connsiteX1370" fmla="*/ 58560 w 682417"/>
              <a:gd name="connsiteY1370" fmla="*/ 603081 h 798267"/>
              <a:gd name="connsiteX1371" fmla="*/ 65780 w 682417"/>
              <a:gd name="connsiteY1371" fmla="*/ 649554 h 798267"/>
              <a:gd name="connsiteX1372" fmla="*/ 68399 w 682417"/>
              <a:gd name="connsiteY1372" fmla="*/ 654640 h 798267"/>
              <a:gd name="connsiteX1373" fmla="*/ 65780 w 682417"/>
              <a:gd name="connsiteY1373" fmla="*/ 649516 h 798267"/>
              <a:gd name="connsiteX1374" fmla="*/ 96965 w 682417"/>
              <a:gd name="connsiteY1374" fmla="*/ 520366 h 798267"/>
              <a:gd name="connsiteX1375" fmla="*/ 93774 w 682417"/>
              <a:gd name="connsiteY1375" fmla="*/ 518661 h 798267"/>
              <a:gd name="connsiteX1376" fmla="*/ 91869 w 682417"/>
              <a:gd name="connsiteY1376" fmla="*/ 522976 h 798267"/>
              <a:gd name="connsiteX1377" fmla="*/ 96965 w 682417"/>
              <a:gd name="connsiteY1377" fmla="*/ 520328 h 798267"/>
              <a:gd name="connsiteX1378" fmla="*/ 124587 w 682417"/>
              <a:gd name="connsiteY1378" fmla="*/ 514651 h 798267"/>
              <a:gd name="connsiteX1379" fmla="*/ 121958 w 682417"/>
              <a:gd name="connsiteY1379" fmla="*/ 516556 h 798267"/>
              <a:gd name="connsiteX1380" fmla="*/ 124606 w 682417"/>
              <a:gd name="connsiteY1380" fmla="*/ 514585 h 798267"/>
              <a:gd name="connsiteX1381" fmla="*/ 136827 w 682417"/>
              <a:gd name="connsiteY1381" fmla="*/ 442528 h 798267"/>
              <a:gd name="connsiteX1382" fmla="*/ 134579 w 682417"/>
              <a:gd name="connsiteY1382" fmla="*/ 442147 h 798267"/>
              <a:gd name="connsiteX1383" fmla="*/ 134198 w 682417"/>
              <a:gd name="connsiteY1383" fmla="*/ 444404 h 798267"/>
              <a:gd name="connsiteX1384" fmla="*/ 136436 w 682417"/>
              <a:gd name="connsiteY1384" fmla="*/ 444785 h 798267"/>
              <a:gd name="connsiteX1385" fmla="*/ 141170 w 682417"/>
              <a:gd name="connsiteY1385" fmla="*/ 498916 h 798267"/>
              <a:gd name="connsiteX1386" fmla="*/ 140218 w 682417"/>
              <a:gd name="connsiteY1386" fmla="*/ 497592 h 798267"/>
              <a:gd name="connsiteX1387" fmla="*/ 137960 w 682417"/>
              <a:gd name="connsiteY1387" fmla="*/ 497211 h 798267"/>
              <a:gd name="connsiteX1388" fmla="*/ 141189 w 682417"/>
              <a:gd name="connsiteY1388" fmla="*/ 498849 h 798267"/>
              <a:gd name="connsiteX1389" fmla="*/ 144370 w 682417"/>
              <a:gd name="connsiteY1389" fmla="*/ 432241 h 798267"/>
              <a:gd name="connsiteX1390" fmla="*/ 141732 w 682417"/>
              <a:gd name="connsiteY1390" fmla="*/ 434146 h 798267"/>
              <a:gd name="connsiteX1391" fmla="*/ 139284 w 682417"/>
              <a:gd name="connsiteY1391" fmla="*/ 434898 h 798267"/>
              <a:gd name="connsiteX1392" fmla="*/ 142484 w 682417"/>
              <a:gd name="connsiteY1392" fmla="*/ 436594 h 798267"/>
              <a:gd name="connsiteX1393" fmla="*/ 144389 w 682417"/>
              <a:gd name="connsiteY1393" fmla="*/ 432146 h 798267"/>
              <a:gd name="connsiteX1394" fmla="*/ 178146 w 682417"/>
              <a:gd name="connsiteY1394" fmla="*/ 383483 h 798267"/>
              <a:gd name="connsiteX1395" fmla="*/ 176451 w 682417"/>
              <a:gd name="connsiteY1395" fmla="*/ 386673 h 798267"/>
              <a:gd name="connsiteX1396" fmla="*/ 178165 w 682417"/>
              <a:gd name="connsiteY1396" fmla="*/ 383387 h 798267"/>
              <a:gd name="connsiteX1397" fmla="*/ 190414 w 682417"/>
              <a:gd name="connsiteY1397" fmla="*/ 365852 h 798267"/>
              <a:gd name="connsiteX1398" fmla="*/ 187614 w 682417"/>
              <a:gd name="connsiteY1398" fmla="*/ 361908 h 798267"/>
              <a:gd name="connsiteX1399" fmla="*/ 185890 w 682417"/>
              <a:gd name="connsiteY1399" fmla="*/ 372043 h 798267"/>
              <a:gd name="connsiteX1400" fmla="*/ 190033 w 682417"/>
              <a:gd name="connsiteY1400" fmla="*/ 368109 h 798267"/>
              <a:gd name="connsiteX1401" fmla="*/ 191938 w 682417"/>
              <a:gd name="connsiteY1401" fmla="*/ 370748 h 798267"/>
              <a:gd name="connsiteX1402" fmla="*/ 190433 w 682417"/>
              <a:gd name="connsiteY1402" fmla="*/ 365756 h 798267"/>
              <a:gd name="connsiteX1403" fmla="*/ 195177 w 682417"/>
              <a:gd name="connsiteY1403" fmla="*/ 399132 h 798267"/>
              <a:gd name="connsiteX1404" fmla="*/ 193110 w 682417"/>
              <a:gd name="connsiteY1404" fmla="*/ 397627 h 798267"/>
              <a:gd name="connsiteX1405" fmla="*/ 194796 w 682417"/>
              <a:gd name="connsiteY1405" fmla="*/ 401389 h 798267"/>
              <a:gd name="connsiteX1406" fmla="*/ 195224 w 682417"/>
              <a:gd name="connsiteY1406" fmla="*/ 399037 h 798267"/>
              <a:gd name="connsiteX1407" fmla="*/ 198844 w 682417"/>
              <a:gd name="connsiteY1407" fmla="*/ 363813 h 798267"/>
              <a:gd name="connsiteX1408" fmla="*/ 201292 w 682417"/>
              <a:gd name="connsiteY1408" fmla="*/ 363070 h 798267"/>
              <a:gd name="connsiteX1409" fmla="*/ 201673 w 682417"/>
              <a:gd name="connsiteY1409" fmla="*/ 360823 h 798267"/>
              <a:gd name="connsiteX1410" fmla="*/ 198482 w 682417"/>
              <a:gd name="connsiteY1410" fmla="*/ 359118 h 798267"/>
              <a:gd name="connsiteX1411" fmla="*/ 198892 w 682417"/>
              <a:gd name="connsiteY1411" fmla="*/ 363709 h 798267"/>
              <a:gd name="connsiteX1412" fmla="*/ 203359 w 682417"/>
              <a:gd name="connsiteY1412" fmla="*/ 364585 h 798267"/>
              <a:gd name="connsiteX1413" fmla="*/ 199549 w 682417"/>
              <a:gd name="connsiteY1413" fmla="*/ 366261 h 798267"/>
              <a:gd name="connsiteX1414" fmla="*/ 198977 w 682417"/>
              <a:gd name="connsiteY1414" fmla="*/ 369643 h 798267"/>
              <a:gd name="connsiteX1415" fmla="*/ 202940 w 682417"/>
              <a:gd name="connsiteY1415" fmla="*/ 366833 h 798267"/>
              <a:gd name="connsiteX1416" fmla="*/ 206121 w 682417"/>
              <a:gd name="connsiteY1416" fmla="*/ 368528 h 798267"/>
              <a:gd name="connsiteX1417" fmla="*/ 203406 w 682417"/>
              <a:gd name="connsiteY1417" fmla="*/ 364490 h 798267"/>
              <a:gd name="connsiteX1418" fmla="*/ 209074 w 682417"/>
              <a:gd name="connsiteY1418" fmla="*/ 344678 h 798267"/>
              <a:gd name="connsiteX1419" fmla="*/ 207007 w 682417"/>
              <a:gd name="connsiteY1419" fmla="*/ 343173 h 798267"/>
              <a:gd name="connsiteX1420" fmla="*/ 208693 w 682417"/>
              <a:gd name="connsiteY1420" fmla="*/ 346935 h 798267"/>
              <a:gd name="connsiteX1421" fmla="*/ 210645 w 682417"/>
              <a:gd name="connsiteY1421" fmla="*/ 321760 h 798267"/>
              <a:gd name="connsiteX1422" fmla="*/ 211198 w 682417"/>
              <a:gd name="connsiteY1422" fmla="*/ 325332 h 798267"/>
              <a:gd name="connsiteX1423" fmla="*/ 210674 w 682417"/>
              <a:gd name="connsiteY1423" fmla="*/ 321665 h 798267"/>
              <a:gd name="connsiteX1424" fmla="*/ 225266 w 682417"/>
              <a:gd name="connsiteY1424" fmla="*/ 331200 h 798267"/>
              <a:gd name="connsiteX1425" fmla="*/ 218323 w 682417"/>
              <a:gd name="connsiteY1425" fmla="*/ 331200 h 798267"/>
              <a:gd name="connsiteX1426" fmla="*/ 219065 w 682417"/>
              <a:gd name="connsiteY1426" fmla="*/ 333648 h 798267"/>
              <a:gd name="connsiteX1427" fmla="*/ 217741 w 682417"/>
              <a:gd name="connsiteY1427" fmla="*/ 334600 h 798267"/>
              <a:gd name="connsiteX1428" fmla="*/ 216789 w 682417"/>
              <a:gd name="connsiteY1428" fmla="*/ 333276 h 798267"/>
              <a:gd name="connsiteX1429" fmla="*/ 217225 w 682417"/>
              <a:gd name="connsiteY1429" fmla="*/ 338742 h 798267"/>
              <a:gd name="connsiteX1430" fmla="*/ 218084 w 682417"/>
              <a:gd name="connsiteY1430" fmla="*/ 339296 h 798267"/>
              <a:gd name="connsiteX1431" fmla="*/ 224295 w 682417"/>
              <a:gd name="connsiteY1431" fmla="*/ 336867 h 798267"/>
              <a:gd name="connsiteX1432" fmla="*/ 225295 w 682417"/>
              <a:gd name="connsiteY1432" fmla="*/ 331105 h 798267"/>
              <a:gd name="connsiteX1433" fmla="*/ 239535 w 682417"/>
              <a:gd name="connsiteY1433" fmla="*/ 295252 h 798267"/>
              <a:gd name="connsiteX1434" fmla="*/ 235982 w 682417"/>
              <a:gd name="connsiteY1434" fmla="*/ 288852 h 798267"/>
              <a:gd name="connsiteX1435" fmla="*/ 235220 w 682417"/>
              <a:gd name="connsiteY1435" fmla="*/ 293357 h 798267"/>
              <a:gd name="connsiteX1436" fmla="*/ 239535 w 682417"/>
              <a:gd name="connsiteY1436" fmla="*/ 295252 h 798267"/>
              <a:gd name="connsiteX1437" fmla="*/ 244040 w 682417"/>
              <a:gd name="connsiteY1437" fmla="*/ 296014 h 798267"/>
              <a:gd name="connsiteX1438" fmla="*/ 238763 w 682417"/>
              <a:gd name="connsiteY1438" fmla="*/ 299758 h 798267"/>
              <a:gd name="connsiteX1439" fmla="*/ 244002 w 682417"/>
              <a:gd name="connsiteY1439" fmla="*/ 296014 h 798267"/>
              <a:gd name="connsiteX1440" fmla="*/ 253565 w 682417"/>
              <a:gd name="connsiteY1440" fmla="*/ 315064 h 798267"/>
              <a:gd name="connsiteX1441" fmla="*/ 255241 w 682417"/>
              <a:gd name="connsiteY1441" fmla="*/ 318827 h 798267"/>
              <a:gd name="connsiteX1442" fmla="*/ 253536 w 682417"/>
              <a:gd name="connsiteY1442" fmla="*/ 315026 h 798267"/>
              <a:gd name="connsiteX1443" fmla="*/ 257585 w 682417"/>
              <a:gd name="connsiteY1443" fmla="*/ 291395 h 798267"/>
              <a:gd name="connsiteX1444" fmla="*/ 251555 w 682417"/>
              <a:gd name="connsiteY1444" fmla="*/ 292700 h 798267"/>
              <a:gd name="connsiteX1445" fmla="*/ 257556 w 682417"/>
              <a:gd name="connsiteY1445" fmla="*/ 291319 h 798267"/>
              <a:gd name="connsiteX1446" fmla="*/ 290570 w 682417"/>
              <a:gd name="connsiteY1446" fmla="*/ 254095 h 798267"/>
              <a:gd name="connsiteX1447" fmla="*/ 290922 w 682417"/>
              <a:gd name="connsiteY1447" fmla="*/ 258800 h 798267"/>
              <a:gd name="connsiteX1448" fmla="*/ 296199 w 682417"/>
              <a:gd name="connsiteY1448" fmla="*/ 255057 h 798267"/>
              <a:gd name="connsiteX1449" fmla="*/ 292646 w 682417"/>
              <a:gd name="connsiteY1449" fmla="*/ 248656 h 798267"/>
              <a:gd name="connsiteX1450" fmla="*/ 294351 w 682417"/>
              <a:gd name="connsiteY1450" fmla="*/ 245465 h 798267"/>
              <a:gd name="connsiteX1451" fmla="*/ 292618 w 682417"/>
              <a:gd name="connsiteY1451" fmla="*/ 248618 h 798267"/>
              <a:gd name="connsiteX1452" fmla="*/ 293599 w 682417"/>
              <a:gd name="connsiteY1452" fmla="*/ 236074 h 798267"/>
              <a:gd name="connsiteX1453" fmla="*/ 295504 w 682417"/>
              <a:gd name="connsiteY1453" fmla="*/ 231749 h 798267"/>
              <a:gd name="connsiteX1454" fmla="*/ 289874 w 682417"/>
              <a:gd name="connsiteY1454" fmla="*/ 230797 h 798267"/>
              <a:gd name="connsiteX1455" fmla="*/ 293599 w 682417"/>
              <a:gd name="connsiteY1455" fmla="*/ 236074 h 798267"/>
              <a:gd name="connsiteX1456" fmla="*/ 286045 w 682417"/>
              <a:gd name="connsiteY1456" fmla="*/ 246380 h 798267"/>
              <a:gd name="connsiteX1457" fmla="*/ 288112 w 682417"/>
              <a:gd name="connsiteY1457" fmla="*/ 247885 h 798267"/>
              <a:gd name="connsiteX1458" fmla="*/ 289627 w 682417"/>
              <a:gd name="connsiteY1458" fmla="*/ 245827 h 798267"/>
              <a:gd name="connsiteX1459" fmla="*/ 287560 w 682417"/>
              <a:gd name="connsiteY1459" fmla="*/ 244322 h 798267"/>
              <a:gd name="connsiteX1460" fmla="*/ 286045 w 682417"/>
              <a:gd name="connsiteY1460" fmla="*/ 246342 h 798267"/>
              <a:gd name="connsiteX1461" fmla="*/ 272272 w 682417"/>
              <a:gd name="connsiteY1461" fmla="*/ 266068 h 798267"/>
              <a:gd name="connsiteX1462" fmla="*/ 273958 w 682417"/>
              <a:gd name="connsiteY1462" fmla="*/ 269830 h 798267"/>
              <a:gd name="connsiteX1463" fmla="*/ 272272 w 682417"/>
              <a:gd name="connsiteY1463" fmla="*/ 266030 h 798267"/>
              <a:gd name="connsiteX1464" fmla="*/ 292751 w 682417"/>
              <a:gd name="connsiteY1464" fmla="*/ 268382 h 798267"/>
              <a:gd name="connsiteX1465" fmla="*/ 284178 w 682417"/>
              <a:gd name="connsiteY1465" fmla="*/ 257648 h 798267"/>
              <a:gd name="connsiteX1466" fmla="*/ 278930 w 682417"/>
              <a:gd name="connsiteY1466" fmla="*/ 254438 h 798267"/>
              <a:gd name="connsiteX1467" fmla="*/ 277435 w 682417"/>
              <a:gd name="connsiteY1467" fmla="*/ 249551 h 798267"/>
              <a:gd name="connsiteX1468" fmla="*/ 273844 w 682417"/>
              <a:gd name="connsiteY1468" fmla="*/ 257057 h 798267"/>
              <a:gd name="connsiteX1469" fmla="*/ 267633 w 682417"/>
              <a:gd name="connsiteY1469" fmla="*/ 259477 h 798267"/>
              <a:gd name="connsiteX1470" fmla="*/ 267062 w 682417"/>
              <a:gd name="connsiteY1470" fmla="*/ 262858 h 798267"/>
              <a:gd name="connsiteX1471" fmla="*/ 263490 w 682417"/>
              <a:gd name="connsiteY1471" fmla="*/ 263410 h 798267"/>
              <a:gd name="connsiteX1472" fmla="*/ 268938 w 682417"/>
              <a:gd name="connsiteY1472" fmla="*/ 265496 h 798267"/>
              <a:gd name="connsiteX1473" fmla="*/ 271948 w 682417"/>
              <a:gd name="connsiteY1473" fmla="*/ 261372 h 798267"/>
              <a:gd name="connsiteX1474" fmla="*/ 279463 w 682417"/>
              <a:gd name="connsiteY1474" fmla="*/ 264963 h 798267"/>
              <a:gd name="connsiteX1475" fmla="*/ 283007 w 682417"/>
              <a:gd name="connsiteY1475" fmla="*/ 271364 h 798267"/>
              <a:gd name="connsiteX1476" fmla="*/ 287350 w 682417"/>
              <a:gd name="connsiteY1476" fmla="*/ 266306 h 798267"/>
              <a:gd name="connsiteX1477" fmla="*/ 292751 w 682417"/>
              <a:gd name="connsiteY1477" fmla="*/ 268344 h 798267"/>
              <a:gd name="connsiteX1478" fmla="*/ 295408 w 682417"/>
              <a:gd name="connsiteY1478" fmla="*/ 259562 h 798267"/>
              <a:gd name="connsiteX1479" fmla="*/ 291598 w 682417"/>
              <a:gd name="connsiteY1479" fmla="*/ 261248 h 798267"/>
              <a:gd name="connsiteX1480" fmla="*/ 295723 w 682417"/>
              <a:gd name="connsiteY1480" fmla="*/ 264258 h 798267"/>
              <a:gd name="connsiteX1481" fmla="*/ 295408 w 682417"/>
              <a:gd name="connsiteY1481" fmla="*/ 259524 h 798267"/>
              <a:gd name="connsiteX1482" fmla="*/ 297933 w 682417"/>
              <a:gd name="connsiteY1482" fmla="*/ 230987 h 798267"/>
              <a:gd name="connsiteX1483" fmla="*/ 301695 w 682417"/>
              <a:gd name="connsiteY1483" fmla="*/ 229301 h 798267"/>
              <a:gd name="connsiteX1484" fmla="*/ 299447 w 682417"/>
              <a:gd name="connsiteY1484" fmla="*/ 228920 h 798267"/>
              <a:gd name="connsiteX1485" fmla="*/ 297933 w 682417"/>
              <a:gd name="connsiteY1485" fmla="*/ 230968 h 798267"/>
              <a:gd name="connsiteX1486" fmla="*/ 297704 w 682417"/>
              <a:gd name="connsiteY1486" fmla="*/ 246018 h 798267"/>
              <a:gd name="connsiteX1487" fmla="*/ 299380 w 682417"/>
              <a:gd name="connsiteY1487" fmla="*/ 249780 h 798267"/>
              <a:gd name="connsiteX1488" fmla="*/ 297704 w 682417"/>
              <a:gd name="connsiteY1488" fmla="*/ 245999 h 798267"/>
              <a:gd name="connsiteX1489" fmla="*/ 302171 w 682417"/>
              <a:gd name="connsiteY1489" fmla="*/ 260686 h 798267"/>
              <a:gd name="connsiteX1490" fmla="*/ 303124 w 682417"/>
              <a:gd name="connsiteY1490" fmla="*/ 255057 h 798267"/>
              <a:gd name="connsiteX1491" fmla="*/ 305029 w 682417"/>
              <a:gd name="connsiteY1491" fmla="*/ 257695 h 798267"/>
              <a:gd name="connsiteX1492" fmla="*/ 302409 w 682417"/>
              <a:gd name="connsiteY1492" fmla="*/ 252609 h 798267"/>
              <a:gd name="connsiteX1493" fmla="*/ 299971 w 682417"/>
              <a:gd name="connsiteY1493" fmla="*/ 253352 h 798267"/>
              <a:gd name="connsiteX1494" fmla="*/ 302171 w 682417"/>
              <a:gd name="connsiteY1494" fmla="*/ 260667 h 798267"/>
              <a:gd name="connsiteX1495" fmla="*/ 307210 w 682417"/>
              <a:gd name="connsiteY1495" fmla="*/ 271983 h 798267"/>
              <a:gd name="connsiteX1496" fmla="*/ 302324 w 682417"/>
              <a:gd name="connsiteY1496" fmla="*/ 273469 h 798267"/>
              <a:gd name="connsiteX1497" fmla="*/ 307210 w 682417"/>
              <a:gd name="connsiteY1497" fmla="*/ 271964 h 798267"/>
              <a:gd name="connsiteX1498" fmla="*/ 307210 w 682417"/>
              <a:gd name="connsiteY1498" fmla="*/ 278927 h 798267"/>
              <a:gd name="connsiteX1499" fmla="*/ 308696 w 682417"/>
              <a:gd name="connsiteY1499" fmla="*/ 283822 h 798267"/>
              <a:gd name="connsiteX1500" fmla="*/ 307162 w 682417"/>
              <a:gd name="connsiteY1500" fmla="*/ 278936 h 798267"/>
              <a:gd name="connsiteX1501" fmla="*/ 316392 w 682417"/>
              <a:gd name="connsiteY1501" fmla="*/ 224844 h 798267"/>
              <a:gd name="connsiteX1502" fmla="*/ 315839 w 682417"/>
              <a:gd name="connsiteY1502" fmla="*/ 221272 h 798267"/>
              <a:gd name="connsiteX1503" fmla="*/ 314516 w 682417"/>
              <a:gd name="connsiteY1503" fmla="*/ 222224 h 798267"/>
              <a:gd name="connsiteX1504" fmla="*/ 313392 w 682417"/>
              <a:gd name="connsiteY1504" fmla="*/ 222034 h 798267"/>
              <a:gd name="connsiteX1505" fmla="*/ 316373 w 682417"/>
              <a:gd name="connsiteY1505" fmla="*/ 224825 h 798267"/>
              <a:gd name="connsiteX1506" fmla="*/ 318735 w 682417"/>
              <a:gd name="connsiteY1506" fmla="*/ 258857 h 798267"/>
              <a:gd name="connsiteX1507" fmla="*/ 317240 w 682417"/>
              <a:gd name="connsiteY1507" fmla="*/ 253971 h 798267"/>
              <a:gd name="connsiteX1508" fmla="*/ 316659 w 682417"/>
              <a:gd name="connsiteY1508" fmla="*/ 257738 h 798267"/>
              <a:gd name="connsiteX1509" fmla="*/ 318716 w 682417"/>
              <a:gd name="connsiteY1509" fmla="*/ 258838 h 798267"/>
              <a:gd name="connsiteX1510" fmla="*/ 334080 w 682417"/>
              <a:gd name="connsiteY1510" fmla="*/ 216252 h 798267"/>
              <a:gd name="connsiteX1511" fmla="*/ 332175 w 682417"/>
              <a:gd name="connsiteY1511" fmla="*/ 220567 h 798267"/>
              <a:gd name="connsiteX1512" fmla="*/ 333489 w 682417"/>
              <a:gd name="connsiteY1512" fmla="*/ 219614 h 798267"/>
              <a:gd name="connsiteX1513" fmla="*/ 337995 w 682417"/>
              <a:gd name="connsiteY1513" fmla="*/ 220376 h 798267"/>
              <a:gd name="connsiteX1514" fmla="*/ 340424 w 682417"/>
              <a:gd name="connsiteY1514" fmla="*/ 226577 h 798267"/>
              <a:gd name="connsiteX1515" fmla="*/ 339059 w 682417"/>
              <a:gd name="connsiteY1515" fmla="*/ 217425 h 798267"/>
              <a:gd name="connsiteX1516" fmla="*/ 334061 w 682417"/>
              <a:gd name="connsiteY1516" fmla="*/ 216233 h 798267"/>
              <a:gd name="connsiteX1517" fmla="*/ 352282 w 682417"/>
              <a:gd name="connsiteY1517" fmla="*/ 225129 h 798267"/>
              <a:gd name="connsiteX1518" fmla="*/ 352882 w 682417"/>
              <a:gd name="connsiteY1518" fmla="*/ 221786 h 798267"/>
              <a:gd name="connsiteX1519" fmla="*/ 354940 w 682417"/>
              <a:gd name="connsiteY1519" fmla="*/ 223291 h 798267"/>
              <a:gd name="connsiteX1520" fmla="*/ 357959 w 682417"/>
              <a:gd name="connsiteY1520" fmla="*/ 219167 h 798267"/>
              <a:gd name="connsiteX1521" fmla="*/ 359254 w 682417"/>
              <a:gd name="connsiteY1521" fmla="*/ 225177 h 798267"/>
              <a:gd name="connsiteX1522" fmla="*/ 360597 w 682417"/>
              <a:gd name="connsiteY1522" fmla="*/ 217290 h 798267"/>
              <a:gd name="connsiteX1523" fmla="*/ 362293 w 682417"/>
              <a:gd name="connsiteY1523" fmla="*/ 214109 h 798267"/>
              <a:gd name="connsiteX1524" fmla="*/ 355349 w 682417"/>
              <a:gd name="connsiteY1524" fmla="*/ 214109 h 798267"/>
              <a:gd name="connsiteX1525" fmla="*/ 352263 w 682417"/>
              <a:gd name="connsiteY1525" fmla="*/ 225110 h 798267"/>
              <a:gd name="connsiteX1526" fmla="*/ 346853 w 682417"/>
              <a:gd name="connsiteY1526" fmla="*/ 216100 h 798267"/>
              <a:gd name="connsiteX1527" fmla="*/ 351930 w 682417"/>
              <a:gd name="connsiteY1527" fmla="*/ 213480 h 798267"/>
              <a:gd name="connsiteX1528" fmla="*/ 348929 w 682417"/>
              <a:gd name="connsiteY1528" fmla="*/ 210623 h 798267"/>
              <a:gd name="connsiteX1529" fmla="*/ 346834 w 682417"/>
              <a:gd name="connsiteY1529" fmla="*/ 216071 h 798267"/>
              <a:gd name="connsiteX1530" fmla="*/ 350177 w 682417"/>
              <a:gd name="connsiteY1530" fmla="*/ 237531 h 798267"/>
              <a:gd name="connsiteX1531" fmla="*/ 347177 w 682417"/>
              <a:gd name="connsiteY1531" fmla="*/ 234673 h 798267"/>
              <a:gd name="connsiteX1532" fmla="*/ 350158 w 682417"/>
              <a:gd name="connsiteY1532" fmla="*/ 237512 h 798267"/>
              <a:gd name="connsiteX1533" fmla="*/ 358750 w 682417"/>
              <a:gd name="connsiteY1533" fmla="*/ 248266 h 798267"/>
              <a:gd name="connsiteX1534" fmla="*/ 351425 w 682417"/>
              <a:gd name="connsiteY1534" fmla="*/ 243503 h 798267"/>
              <a:gd name="connsiteX1535" fmla="*/ 347433 w 682417"/>
              <a:gd name="connsiteY1535" fmla="*/ 246898 h 798267"/>
              <a:gd name="connsiteX1536" fmla="*/ 345224 w 682417"/>
              <a:gd name="connsiteY1536" fmla="*/ 245932 h 798267"/>
              <a:gd name="connsiteX1537" fmla="*/ 348967 w 682417"/>
              <a:gd name="connsiteY1537" fmla="*/ 251209 h 798267"/>
              <a:gd name="connsiteX1538" fmla="*/ 351987 w 682417"/>
              <a:gd name="connsiteY1538" fmla="*/ 247084 h 798267"/>
              <a:gd name="connsiteX1539" fmla="*/ 355178 w 682417"/>
              <a:gd name="connsiteY1539" fmla="*/ 248780 h 798267"/>
              <a:gd name="connsiteX1540" fmla="*/ 353273 w 682417"/>
              <a:gd name="connsiteY1540" fmla="*/ 246142 h 798267"/>
              <a:gd name="connsiteX1541" fmla="*/ 358769 w 682417"/>
              <a:gd name="connsiteY1541" fmla="*/ 248247 h 798267"/>
              <a:gd name="connsiteX1542" fmla="*/ 366522 w 682417"/>
              <a:gd name="connsiteY1542" fmla="*/ 222920 h 798267"/>
              <a:gd name="connsiteX1543" fmla="*/ 362712 w 682417"/>
              <a:gd name="connsiteY1543" fmla="*/ 231549 h 798267"/>
              <a:gd name="connsiteX1544" fmla="*/ 361036 w 682417"/>
              <a:gd name="connsiteY1544" fmla="*/ 227739 h 798267"/>
              <a:gd name="connsiteX1545" fmla="*/ 356692 w 682417"/>
              <a:gd name="connsiteY1545" fmla="*/ 232807 h 798267"/>
              <a:gd name="connsiteX1546" fmla="*/ 364198 w 682417"/>
              <a:gd name="connsiteY1546" fmla="*/ 236397 h 798267"/>
              <a:gd name="connsiteX1547" fmla="*/ 363836 w 682417"/>
              <a:gd name="connsiteY1547" fmla="*/ 231692 h 798267"/>
              <a:gd name="connsiteX1548" fmla="*/ 366112 w 682417"/>
              <a:gd name="connsiteY1548" fmla="*/ 225129 h 798267"/>
              <a:gd name="connsiteX1549" fmla="*/ 367243 w 682417"/>
              <a:gd name="connsiteY1549" fmla="*/ 223937 h 798267"/>
              <a:gd name="connsiteX1550" fmla="*/ 366541 w 682417"/>
              <a:gd name="connsiteY1550" fmla="*/ 222901 h 798267"/>
              <a:gd name="connsiteX1551" fmla="*/ 380810 w 682417"/>
              <a:gd name="connsiteY1551" fmla="*/ 227682 h 798267"/>
              <a:gd name="connsiteX1552" fmla="*/ 383086 w 682417"/>
              <a:gd name="connsiteY1552" fmla="*/ 221110 h 798267"/>
              <a:gd name="connsiteX1553" fmla="*/ 380810 w 682417"/>
              <a:gd name="connsiteY1553" fmla="*/ 227644 h 798267"/>
              <a:gd name="connsiteX1554" fmla="*/ 383591 w 682417"/>
              <a:gd name="connsiteY1554" fmla="*/ 238579 h 798267"/>
              <a:gd name="connsiteX1555" fmla="*/ 374771 w 682417"/>
              <a:gd name="connsiteY1555" fmla="*/ 235931 h 798267"/>
              <a:gd name="connsiteX1556" fmla="*/ 378905 w 682417"/>
              <a:gd name="connsiteY1556" fmla="*/ 238950 h 798267"/>
              <a:gd name="connsiteX1557" fmla="*/ 383591 w 682417"/>
              <a:gd name="connsiteY1557" fmla="*/ 238541 h 798267"/>
              <a:gd name="connsiteX1558" fmla="*/ 385801 w 682417"/>
              <a:gd name="connsiteY1558" fmla="*/ 191430 h 798267"/>
              <a:gd name="connsiteX1559" fmla="*/ 386182 w 682417"/>
              <a:gd name="connsiteY1559" fmla="*/ 189172 h 798267"/>
              <a:gd name="connsiteX1560" fmla="*/ 383934 w 682417"/>
              <a:gd name="connsiteY1560" fmla="*/ 188791 h 798267"/>
              <a:gd name="connsiteX1561" fmla="*/ 383543 w 682417"/>
              <a:gd name="connsiteY1561" fmla="*/ 191039 h 798267"/>
              <a:gd name="connsiteX1562" fmla="*/ 386258 w 682417"/>
              <a:gd name="connsiteY1562" fmla="*/ 229759 h 798267"/>
              <a:gd name="connsiteX1563" fmla="*/ 386429 w 682417"/>
              <a:gd name="connsiteY1563" fmla="*/ 235588 h 798267"/>
              <a:gd name="connsiteX1564" fmla="*/ 386220 w 682417"/>
              <a:gd name="connsiteY1564" fmla="*/ 229720 h 798267"/>
              <a:gd name="connsiteX1565" fmla="*/ 391354 w 682417"/>
              <a:gd name="connsiteY1565" fmla="*/ 220234 h 798267"/>
              <a:gd name="connsiteX1566" fmla="*/ 387401 w 682417"/>
              <a:gd name="connsiteY1566" fmla="*/ 223034 h 798267"/>
              <a:gd name="connsiteX1567" fmla="*/ 391354 w 682417"/>
              <a:gd name="connsiteY1567" fmla="*/ 220157 h 798267"/>
              <a:gd name="connsiteX1568" fmla="*/ 391897 w 682417"/>
              <a:gd name="connsiteY1568" fmla="*/ 230711 h 798267"/>
              <a:gd name="connsiteX1569" fmla="*/ 397145 w 682417"/>
              <a:gd name="connsiteY1569" fmla="*/ 233930 h 798267"/>
              <a:gd name="connsiteX1570" fmla="*/ 398097 w 682417"/>
              <a:gd name="connsiteY1570" fmla="*/ 228292 h 798267"/>
              <a:gd name="connsiteX1571" fmla="*/ 391935 w 682417"/>
              <a:gd name="connsiteY1571" fmla="*/ 230673 h 798267"/>
              <a:gd name="connsiteX1572" fmla="*/ 395859 w 682417"/>
              <a:gd name="connsiteY1572" fmla="*/ 220957 h 798267"/>
              <a:gd name="connsiteX1573" fmla="*/ 395097 w 682417"/>
              <a:gd name="connsiteY1573" fmla="*/ 225463 h 798267"/>
              <a:gd name="connsiteX1574" fmla="*/ 395859 w 682417"/>
              <a:gd name="connsiteY1574" fmla="*/ 220919 h 798267"/>
              <a:gd name="connsiteX1575" fmla="*/ 404365 w 682417"/>
              <a:gd name="connsiteY1575" fmla="*/ 205013 h 798267"/>
              <a:gd name="connsiteX1576" fmla="*/ 398536 w 682417"/>
              <a:gd name="connsiteY1576" fmla="*/ 205184 h 798267"/>
              <a:gd name="connsiteX1577" fmla="*/ 398707 w 682417"/>
              <a:gd name="connsiteY1577" fmla="*/ 211004 h 798267"/>
              <a:gd name="connsiteX1578" fmla="*/ 401726 w 682417"/>
              <a:gd name="connsiteY1578" fmla="*/ 206879 h 798267"/>
              <a:gd name="connsiteX1579" fmla="*/ 404365 w 682417"/>
              <a:gd name="connsiteY1579" fmla="*/ 204974 h 798267"/>
              <a:gd name="connsiteX1580" fmla="*/ 410385 w 682417"/>
              <a:gd name="connsiteY1580" fmla="*/ 203717 h 798267"/>
              <a:gd name="connsiteX1581" fmla="*/ 408480 w 682417"/>
              <a:gd name="connsiteY1581" fmla="*/ 201079 h 798267"/>
              <a:gd name="connsiteX1582" fmla="*/ 406575 w 682417"/>
              <a:gd name="connsiteY1582" fmla="*/ 205394 h 798267"/>
              <a:gd name="connsiteX1583" fmla="*/ 408823 w 682417"/>
              <a:gd name="connsiteY1583" fmla="*/ 205775 h 798267"/>
              <a:gd name="connsiteX1584" fmla="*/ 410385 w 682417"/>
              <a:gd name="connsiteY1584" fmla="*/ 203689 h 798267"/>
              <a:gd name="connsiteX1585" fmla="*/ 410385 w 682417"/>
              <a:gd name="connsiteY1585" fmla="*/ 217624 h 798267"/>
              <a:gd name="connsiteX1586" fmla="*/ 413375 w 682417"/>
              <a:gd name="connsiteY1586" fmla="*/ 220481 h 798267"/>
              <a:gd name="connsiteX1587" fmla="*/ 410347 w 682417"/>
              <a:gd name="connsiteY1587" fmla="*/ 217586 h 798267"/>
              <a:gd name="connsiteX1588" fmla="*/ 416614 w 682417"/>
              <a:gd name="connsiteY1588" fmla="*/ 208242 h 798267"/>
              <a:gd name="connsiteX1589" fmla="*/ 413423 w 682417"/>
              <a:gd name="connsiteY1589" fmla="*/ 206537 h 798267"/>
              <a:gd name="connsiteX1590" fmla="*/ 414709 w 682417"/>
              <a:gd name="connsiteY1590" fmla="*/ 212556 h 798267"/>
              <a:gd name="connsiteX1591" fmla="*/ 416966 w 682417"/>
              <a:gd name="connsiteY1591" fmla="*/ 212937 h 798267"/>
              <a:gd name="connsiteX1592" fmla="*/ 416576 w 682417"/>
              <a:gd name="connsiteY1592" fmla="*/ 208203 h 798267"/>
              <a:gd name="connsiteX1593" fmla="*/ 415890 w 682417"/>
              <a:gd name="connsiteY1593" fmla="*/ 198840 h 798267"/>
              <a:gd name="connsiteX1594" fmla="*/ 417195 w 682417"/>
              <a:gd name="connsiteY1594" fmla="*/ 197888 h 798267"/>
              <a:gd name="connsiteX1595" fmla="*/ 415119 w 682417"/>
              <a:gd name="connsiteY1595" fmla="*/ 203336 h 798267"/>
              <a:gd name="connsiteX1596" fmla="*/ 418500 w 682417"/>
              <a:gd name="connsiteY1596" fmla="*/ 203908 h 798267"/>
              <a:gd name="connsiteX1597" fmla="*/ 415852 w 682417"/>
              <a:gd name="connsiteY1597" fmla="*/ 198802 h 798267"/>
              <a:gd name="connsiteX1598" fmla="*/ 489737 w 682417"/>
              <a:gd name="connsiteY1598" fmla="*/ 132537 h 798267"/>
              <a:gd name="connsiteX1599" fmla="*/ 496862 w 682417"/>
              <a:gd name="connsiteY1599" fmla="*/ 138385 h 798267"/>
              <a:gd name="connsiteX1600" fmla="*/ 501005 w 682417"/>
              <a:gd name="connsiteY1600" fmla="*/ 134451 h 798267"/>
              <a:gd name="connsiteX1601" fmla="*/ 500263 w 682417"/>
              <a:gd name="connsiteY1601" fmla="*/ 132003 h 798267"/>
              <a:gd name="connsiteX1602" fmla="*/ 503263 w 682417"/>
              <a:gd name="connsiteY1602" fmla="*/ 134861 h 798267"/>
              <a:gd name="connsiteX1603" fmla="*/ 503091 w 682417"/>
              <a:gd name="connsiteY1603" fmla="*/ 129032 h 798267"/>
              <a:gd name="connsiteX1604" fmla="*/ 498386 w 682417"/>
              <a:gd name="connsiteY1604" fmla="*/ 129394 h 798267"/>
              <a:gd name="connsiteX1605" fmla="*/ 496881 w 682417"/>
              <a:gd name="connsiteY1605" fmla="*/ 131461 h 798267"/>
              <a:gd name="connsiteX1606" fmla="*/ 493881 w 682417"/>
              <a:gd name="connsiteY1606" fmla="*/ 128603 h 798267"/>
              <a:gd name="connsiteX1607" fmla="*/ 491242 w 682417"/>
              <a:gd name="connsiteY1607" fmla="*/ 130508 h 798267"/>
              <a:gd name="connsiteX1608" fmla="*/ 489699 w 682417"/>
              <a:gd name="connsiteY1608" fmla="*/ 132499 h 798267"/>
              <a:gd name="connsiteX1609" fmla="*/ 457086 w 682417"/>
              <a:gd name="connsiteY1609" fmla="*/ 181486 h 798267"/>
              <a:gd name="connsiteX1610" fmla="*/ 455028 w 682417"/>
              <a:gd name="connsiteY1610" fmla="*/ 179981 h 798267"/>
              <a:gd name="connsiteX1611" fmla="*/ 454276 w 682417"/>
              <a:gd name="connsiteY1611" fmla="*/ 177533 h 798267"/>
              <a:gd name="connsiteX1612" fmla="*/ 449189 w 682417"/>
              <a:gd name="connsiteY1612" fmla="*/ 187058 h 798267"/>
              <a:gd name="connsiteX1613" fmla="*/ 446180 w 682417"/>
              <a:gd name="connsiteY1613" fmla="*/ 184200 h 798267"/>
              <a:gd name="connsiteX1614" fmla="*/ 456133 w 682417"/>
              <a:gd name="connsiteY1614" fmla="*/ 187058 h 798267"/>
              <a:gd name="connsiteX1615" fmla="*/ 457048 w 682417"/>
              <a:gd name="connsiteY1615" fmla="*/ 181448 h 798267"/>
              <a:gd name="connsiteX1616" fmla="*/ 473278 w 682417"/>
              <a:gd name="connsiteY1616" fmla="*/ 181905 h 798267"/>
              <a:gd name="connsiteX1617" fmla="*/ 468220 w 682417"/>
              <a:gd name="connsiteY1617" fmla="*/ 177571 h 798267"/>
              <a:gd name="connsiteX1618" fmla="*/ 462210 w 682417"/>
              <a:gd name="connsiteY1618" fmla="*/ 171913 h 798267"/>
              <a:gd name="connsiteX1619" fmla="*/ 462210 w 682417"/>
              <a:gd name="connsiteY1619" fmla="*/ 178876 h 798267"/>
              <a:gd name="connsiteX1620" fmla="*/ 466725 w 682417"/>
              <a:gd name="connsiteY1620" fmla="*/ 179638 h 798267"/>
              <a:gd name="connsiteX1621" fmla="*/ 468982 w 682417"/>
              <a:gd name="connsiteY1621" fmla="*/ 180019 h 798267"/>
              <a:gd name="connsiteX1622" fmla="*/ 467468 w 682417"/>
              <a:gd name="connsiteY1622" fmla="*/ 182076 h 798267"/>
              <a:gd name="connsiteX1623" fmla="*/ 462020 w 682417"/>
              <a:gd name="connsiteY1623" fmla="*/ 180000 h 798267"/>
              <a:gd name="connsiteX1624" fmla="*/ 473212 w 682417"/>
              <a:gd name="connsiteY1624" fmla="*/ 181867 h 798267"/>
              <a:gd name="connsiteX1625" fmla="*/ 485089 w 682417"/>
              <a:gd name="connsiteY1625" fmla="*/ 166541 h 798267"/>
              <a:gd name="connsiteX1626" fmla="*/ 484137 w 682417"/>
              <a:gd name="connsiteY1626" fmla="*/ 172180 h 798267"/>
              <a:gd name="connsiteX1627" fmla="*/ 485089 w 682417"/>
              <a:gd name="connsiteY1627" fmla="*/ 166541 h 798267"/>
              <a:gd name="connsiteX1628" fmla="*/ 493900 w 682417"/>
              <a:gd name="connsiteY1628" fmla="*/ 176152 h 798267"/>
              <a:gd name="connsiteX1629" fmla="*/ 493900 w 682417"/>
              <a:gd name="connsiteY1629" fmla="*/ 176152 h 798267"/>
              <a:gd name="connsiteX1630" fmla="*/ 495100 w 682417"/>
              <a:gd name="connsiteY1630" fmla="*/ 148529 h 798267"/>
              <a:gd name="connsiteX1631" fmla="*/ 490976 w 682417"/>
              <a:gd name="connsiteY1631" fmla="*/ 145500 h 798267"/>
              <a:gd name="connsiteX1632" fmla="*/ 489280 w 682417"/>
              <a:gd name="connsiteY1632" fmla="*/ 148701 h 798267"/>
              <a:gd name="connsiteX1633" fmla="*/ 487042 w 682417"/>
              <a:gd name="connsiteY1633" fmla="*/ 141357 h 798267"/>
              <a:gd name="connsiteX1634" fmla="*/ 482155 w 682417"/>
              <a:gd name="connsiteY1634" fmla="*/ 142852 h 798267"/>
              <a:gd name="connsiteX1635" fmla="*/ 476326 w 682417"/>
              <a:gd name="connsiteY1635" fmla="*/ 143024 h 798267"/>
              <a:gd name="connsiteX1636" fmla="*/ 475374 w 682417"/>
              <a:gd name="connsiteY1636" fmla="*/ 141709 h 798267"/>
              <a:gd name="connsiteX1637" fmla="*/ 470868 w 682417"/>
              <a:gd name="connsiteY1637" fmla="*/ 140938 h 798267"/>
              <a:gd name="connsiteX1638" fmla="*/ 472373 w 682417"/>
              <a:gd name="connsiteY1638" fmla="*/ 138871 h 798267"/>
              <a:gd name="connsiteX1639" fmla="*/ 466906 w 682417"/>
              <a:gd name="connsiteY1639" fmla="*/ 143748 h 798267"/>
              <a:gd name="connsiteX1640" fmla="*/ 465782 w 682417"/>
              <a:gd name="connsiteY1640" fmla="*/ 143557 h 798267"/>
              <a:gd name="connsiteX1641" fmla="*/ 466525 w 682417"/>
              <a:gd name="connsiteY1641" fmla="*/ 146005 h 798267"/>
              <a:gd name="connsiteX1642" fmla="*/ 459381 w 682417"/>
              <a:gd name="connsiteY1642" fmla="*/ 147110 h 798267"/>
              <a:gd name="connsiteX1643" fmla="*/ 455819 w 682417"/>
              <a:gd name="connsiteY1643" fmla="*/ 147663 h 798267"/>
              <a:gd name="connsiteX1644" fmla="*/ 457876 w 682417"/>
              <a:gd name="connsiteY1644" fmla="*/ 149167 h 798267"/>
              <a:gd name="connsiteX1645" fmla="*/ 456362 w 682417"/>
              <a:gd name="connsiteY1645" fmla="*/ 151234 h 798267"/>
              <a:gd name="connsiteX1646" fmla="*/ 461258 w 682417"/>
              <a:gd name="connsiteY1646" fmla="*/ 149749 h 798267"/>
              <a:gd name="connsiteX1647" fmla="*/ 467830 w 682417"/>
              <a:gd name="connsiteY1647" fmla="*/ 152015 h 798267"/>
              <a:gd name="connsiteX1648" fmla="*/ 469525 w 682417"/>
              <a:gd name="connsiteY1648" fmla="*/ 148825 h 798267"/>
              <a:gd name="connsiteX1649" fmla="*/ 473659 w 682417"/>
              <a:gd name="connsiteY1649" fmla="*/ 151844 h 798267"/>
              <a:gd name="connsiteX1650" fmla="*/ 471021 w 682417"/>
              <a:gd name="connsiteY1650" fmla="*/ 153749 h 798267"/>
              <a:gd name="connsiteX1651" fmla="*/ 468954 w 682417"/>
              <a:gd name="connsiteY1651" fmla="*/ 152235 h 798267"/>
              <a:gd name="connsiteX1652" fmla="*/ 465744 w 682417"/>
              <a:gd name="connsiteY1652" fmla="*/ 157483 h 798267"/>
              <a:gd name="connsiteX1653" fmla="*/ 471764 w 682417"/>
              <a:gd name="connsiteY1653" fmla="*/ 156197 h 798267"/>
              <a:gd name="connsiteX1654" fmla="*/ 477012 w 682417"/>
              <a:gd name="connsiteY1654" fmla="*/ 159397 h 798267"/>
              <a:gd name="connsiteX1655" fmla="*/ 478698 w 682417"/>
              <a:gd name="connsiteY1655" fmla="*/ 163160 h 798267"/>
              <a:gd name="connsiteX1656" fmla="*/ 480603 w 682417"/>
              <a:gd name="connsiteY1656" fmla="*/ 158845 h 798267"/>
              <a:gd name="connsiteX1657" fmla="*/ 484908 w 682417"/>
              <a:gd name="connsiteY1657" fmla="*/ 160750 h 798267"/>
              <a:gd name="connsiteX1658" fmla="*/ 488671 w 682417"/>
              <a:gd name="connsiteY1658" fmla="*/ 159073 h 798267"/>
              <a:gd name="connsiteX1659" fmla="*/ 490376 w 682417"/>
              <a:gd name="connsiteY1659" fmla="*/ 155883 h 798267"/>
              <a:gd name="connsiteX1660" fmla="*/ 496195 w 682417"/>
              <a:gd name="connsiteY1660" fmla="*/ 155711 h 798267"/>
              <a:gd name="connsiteX1661" fmla="*/ 495100 w 682417"/>
              <a:gd name="connsiteY1661" fmla="*/ 148491 h 798267"/>
              <a:gd name="connsiteX1662" fmla="*/ 501634 w 682417"/>
              <a:gd name="connsiteY1662" fmla="*/ 164722 h 798267"/>
              <a:gd name="connsiteX1663" fmla="*/ 504263 w 682417"/>
              <a:gd name="connsiteY1663" fmla="*/ 162817 h 798267"/>
              <a:gd name="connsiteX1664" fmla="*/ 497491 w 682417"/>
              <a:gd name="connsiteY1664" fmla="*/ 168618 h 798267"/>
              <a:gd name="connsiteX1665" fmla="*/ 504244 w 682417"/>
              <a:gd name="connsiteY1665" fmla="*/ 169770 h 798267"/>
              <a:gd name="connsiteX1666" fmla="*/ 501634 w 682417"/>
              <a:gd name="connsiteY1666" fmla="*/ 164636 h 798267"/>
              <a:gd name="connsiteX1667" fmla="*/ 505625 w 682417"/>
              <a:gd name="connsiteY1667" fmla="*/ 148005 h 798267"/>
              <a:gd name="connsiteX1668" fmla="*/ 496414 w 682417"/>
              <a:gd name="connsiteY1668" fmla="*/ 147605 h 798267"/>
              <a:gd name="connsiteX1669" fmla="*/ 505987 w 682417"/>
              <a:gd name="connsiteY1669" fmla="*/ 152711 h 798267"/>
              <a:gd name="connsiteX1670" fmla="*/ 505625 w 682417"/>
              <a:gd name="connsiteY1670" fmla="*/ 147948 h 798267"/>
              <a:gd name="connsiteX1671" fmla="*/ 509435 w 682417"/>
              <a:gd name="connsiteY1671" fmla="*/ 125469 h 798267"/>
              <a:gd name="connsiteX1672" fmla="*/ 504577 w 682417"/>
              <a:gd name="connsiteY1672" fmla="*/ 120011 h 798267"/>
              <a:gd name="connsiteX1673" fmla="*/ 503806 w 682417"/>
              <a:gd name="connsiteY1673" fmla="*/ 124517 h 798267"/>
              <a:gd name="connsiteX1674" fmla="*/ 509445 w 682417"/>
              <a:gd name="connsiteY1674" fmla="*/ 125412 h 798267"/>
              <a:gd name="connsiteX1675" fmla="*/ 514055 w 682417"/>
              <a:gd name="connsiteY1675" fmla="*/ 152920 h 798267"/>
              <a:gd name="connsiteX1676" fmla="*/ 509921 w 682417"/>
              <a:gd name="connsiteY1676" fmla="*/ 156854 h 798267"/>
              <a:gd name="connsiteX1677" fmla="*/ 514064 w 682417"/>
              <a:gd name="connsiteY1677" fmla="*/ 152863 h 798267"/>
              <a:gd name="connsiteX1678" fmla="*/ 517417 w 682417"/>
              <a:gd name="connsiteY1678" fmla="*/ 160445 h 798267"/>
              <a:gd name="connsiteX1679" fmla="*/ 517617 w 682417"/>
              <a:gd name="connsiteY1679" fmla="*/ 159321 h 798267"/>
              <a:gd name="connsiteX1680" fmla="*/ 518360 w 682417"/>
              <a:gd name="connsiteY1680" fmla="*/ 161769 h 798267"/>
              <a:gd name="connsiteX1681" fmla="*/ 517427 w 682417"/>
              <a:gd name="connsiteY1681" fmla="*/ 160388 h 798267"/>
              <a:gd name="connsiteX1682" fmla="*/ 526152 w 682417"/>
              <a:gd name="connsiteY1682" fmla="*/ 129470 h 798267"/>
              <a:gd name="connsiteX1683" fmla="*/ 520903 w 682417"/>
              <a:gd name="connsiteY1683" fmla="*/ 126260 h 798267"/>
              <a:gd name="connsiteX1684" fmla="*/ 517141 w 682417"/>
              <a:gd name="connsiteY1684" fmla="*/ 127936 h 798267"/>
              <a:gd name="connsiteX1685" fmla="*/ 510950 w 682417"/>
              <a:gd name="connsiteY1685" fmla="*/ 123412 h 798267"/>
              <a:gd name="connsiteX1686" fmla="*/ 519198 w 682417"/>
              <a:gd name="connsiteY1686" fmla="*/ 129451 h 798267"/>
              <a:gd name="connsiteX1687" fmla="*/ 520884 w 682417"/>
              <a:gd name="connsiteY1687" fmla="*/ 133213 h 798267"/>
              <a:gd name="connsiteX1688" fmla="*/ 526161 w 682417"/>
              <a:gd name="connsiteY1688" fmla="*/ 129394 h 798267"/>
              <a:gd name="connsiteX1689" fmla="*/ 544592 w 682417"/>
              <a:gd name="connsiteY1689" fmla="*/ 123317 h 798267"/>
              <a:gd name="connsiteX1690" fmla="*/ 546668 w 682417"/>
              <a:gd name="connsiteY1690" fmla="*/ 117878 h 798267"/>
              <a:gd name="connsiteX1691" fmla="*/ 544601 w 682417"/>
              <a:gd name="connsiteY1691" fmla="*/ 123259 h 798267"/>
              <a:gd name="connsiteX1692" fmla="*/ 541934 w 682417"/>
              <a:gd name="connsiteY1692" fmla="*/ 132146 h 798267"/>
              <a:gd name="connsiteX1693" fmla="*/ 543992 w 682417"/>
              <a:gd name="connsiteY1693" fmla="*/ 133651 h 798267"/>
              <a:gd name="connsiteX1694" fmla="*/ 546430 w 682417"/>
              <a:gd name="connsiteY1694" fmla="*/ 132908 h 798267"/>
              <a:gd name="connsiteX1695" fmla="*/ 545325 w 682417"/>
              <a:gd name="connsiteY1695" fmla="*/ 125765 h 798267"/>
              <a:gd name="connsiteX1696" fmla="*/ 541953 w 682417"/>
              <a:gd name="connsiteY1696" fmla="*/ 125193 h 798267"/>
              <a:gd name="connsiteX1697" fmla="*/ 536296 w 682417"/>
              <a:gd name="connsiteY1697" fmla="*/ 131184 h 798267"/>
              <a:gd name="connsiteX1698" fmla="*/ 532171 w 682417"/>
              <a:gd name="connsiteY1698" fmla="*/ 128174 h 798267"/>
              <a:gd name="connsiteX1699" fmla="*/ 528771 w 682417"/>
              <a:gd name="connsiteY1699" fmla="*/ 134547 h 798267"/>
              <a:gd name="connsiteX1700" fmla="*/ 532324 w 682417"/>
              <a:gd name="connsiteY1700" fmla="*/ 140947 h 798267"/>
              <a:gd name="connsiteX1701" fmla="*/ 534981 w 682417"/>
              <a:gd name="connsiteY1701" fmla="*/ 132127 h 798267"/>
              <a:gd name="connsiteX1702" fmla="*/ 537972 w 682417"/>
              <a:gd name="connsiteY1702" fmla="*/ 134985 h 798267"/>
              <a:gd name="connsiteX1703" fmla="*/ 541944 w 682417"/>
              <a:gd name="connsiteY1703" fmla="*/ 132089 h 798267"/>
              <a:gd name="connsiteX1704" fmla="*/ 546240 w 682417"/>
              <a:gd name="connsiteY1704" fmla="*/ 134051 h 798267"/>
              <a:gd name="connsiteX1705" fmla="*/ 542677 w 682417"/>
              <a:gd name="connsiteY1705" fmla="*/ 134613 h 798267"/>
              <a:gd name="connsiteX1706" fmla="*/ 541725 w 682417"/>
              <a:gd name="connsiteY1706" fmla="*/ 140243 h 798267"/>
              <a:gd name="connsiteX1707" fmla="*/ 546240 w 682417"/>
              <a:gd name="connsiteY1707" fmla="*/ 133975 h 798267"/>
              <a:gd name="connsiteX1708" fmla="*/ 552326 w 682417"/>
              <a:gd name="connsiteY1708" fmla="*/ 111906 h 798267"/>
              <a:gd name="connsiteX1709" fmla="*/ 550240 w 682417"/>
              <a:gd name="connsiteY1709" fmla="*/ 117344 h 798267"/>
              <a:gd name="connsiteX1710" fmla="*/ 553812 w 682417"/>
              <a:gd name="connsiteY1710" fmla="*/ 116792 h 798267"/>
              <a:gd name="connsiteX1711" fmla="*/ 552336 w 682417"/>
              <a:gd name="connsiteY1711" fmla="*/ 111829 h 798267"/>
              <a:gd name="connsiteX1712" fmla="*/ 559460 w 682417"/>
              <a:gd name="connsiteY1712" fmla="*/ 49345 h 798267"/>
              <a:gd name="connsiteX1713" fmla="*/ 557555 w 682417"/>
              <a:gd name="connsiteY1713" fmla="*/ 46707 h 798267"/>
              <a:gd name="connsiteX1714" fmla="*/ 555108 w 682417"/>
              <a:gd name="connsiteY1714" fmla="*/ 47460 h 798267"/>
              <a:gd name="connsiteX1715" fmla="*/ 559470 w 682417"/>
              <a:gd name="connsiteY1715" fmla="*/ 49269 h 798267"/>
              <a:gd name="connsiteX1716" fmla="*/ 558270 w 682417"/>
              <a:gd name="connsiteY1716" fmla="*/ 70015 h 798267"/>
              <a:gd name="connsiteX1717" fmla="*/ 561480 w 682417"/>
              <a:gd name="connsiteY1717" fmla="*/ 64766 h 798267"/>
              <a:gd name="connsiteX1718" fmla="*/ 553593 w 682417"/>
              <a:gd name="connsiteY1718" fmla="*/ 63423 h 798267"/>
              <a:gd name="connsiteX1719" fmla="*/ 551898 w 682417"/>
              <a:gd name="connsiteY1719" fmla="*/ 66614 h 798267"/>
              <a:gd name="connsiteX1720" fmla="*/ 552431 w 682417"/>
              <a:gd name="connsiteY1720" fmla="*/ 77139 h 798267"/>
              <a:gd name="connsiteX1721" fmla="*/ 558279 w 682417"/>
              <a:gd name="connsiteY1721" fmla="*/ 69939 h 798267"/>
              <a:gd name="connsiteX1722" fmla="*/ 563385 w 682417"/>
              <a:gd name="connsiteY1722" fmla="*/ 121897 h 798267"/>
              <a:gd name="connsiteX1723" fmla="*/ 559441 w 682417"/>
              <a:gd name="connsiteY1723" fmla="*/ 117745 h 798267"/>
              <a:gd name="connsiteX1724" fmla="*/ 557536 w 682417"/>
              <a:gd name="connsiteY1724" fmla="*/ 115106 h 798267"/>
              <a:gd name="connsiteX1725" fmla="*/ 556193 w 682417"/>
              <a:gd name="connsiteY1725" fmla="*/ 122993 h 798267"/>
              <a:gd name="connsiteX1726" fmla="*/ 563385 w 682417"/>
              <a:gd name="connsiteY1726" fmla="*/ 121821 h 798267"/>
              <a:gd name="connsiteX1727" fmla="*/ 571129 w 682417"/>
              <a:gd name="connsiteY1727" fmla="*/ 42049 h 798267"/>
              <a:gd name="connsiteX1728" fmla="*/ 569224 w 682417"/>
              <a:gd name="connsiteY1728" fmla="*/ 46374 h 798267"/>
              <a:gd name="connsiteX1729" fmla="*/ 571138 w 682417"/>
              <a:gd name="connsiteY1729" fmla="*/ 41973 h 798267"/>
              <a:gd name="connsiteX1730" fmla="*/ 592274 w 682417"/>
              <a:gd name="connsiteY1730" fmla="*/ 74625 h 798267"/>
              <a:gd name="connsiteX1731" fmla="*/ 596027 w 682417"/>
              <a:gd name="connsiteY1731" fmla="*/ 72939 h 798267"/>
              <a:gd name="connsiteX1732" fmla="*/ 593779 w 682417"/>
              <a:gd name="connsiteY1732" fmla="*/ 72558 h 798267"/>
              <a:gd name="connsiteX1733" fmla="*/ 592284 w 682417"/>
              <a:gd name="connsiteY1733" fmla="*/ 74549 h 798267"/>
              <a:gd name="connsiteX1734" fmla="*/ 584873 w 682417"/>
              <a:gd name="connsiteY1734" fmla="*/ 97713 h 798267"/>
              <a:gd name="connsiteX1735" fmla="*/ 583387 w 682417"/>
              <a:gd name="connsiteY1735" fmla="*/ 92827 h 798267"/>
              <a:gd name="connsiteX1736" fmla="*/ 584883 w 682417"/>
              <a:gd name="connsiteY1736" fmla="*/ 97637 h 798267"/>
              <a:gd name="connsiteX1737" fmla="*/ 572767 w 682417"/>
              <a:gd name="connsiteY1737" fmla="*/ 128117 h 798267"/>
              <a:gd name="connsiteX1738" fmla="*/ 575015 w 682417"/>
              <a:gd name="connsiteY1738" fmla="*/ 128498 h 798267"/>
              <a:gd name="connsiteX1739" fmla="*/ 575405 w 682417"/>
              <a:gd name="connsiteY1739" fmla="*/ 126250 h 798267"/>
              <a:gd name="connsiteX1740" fmla="*/ 573148 w 682417"/>
              <a:gd name="connsiteY1740" fmla="*/ 125869 h 798267"/>
              <a:gd name="connsiteX1741" fmla="*/ 572776 w 682417"/>
              <a:gd name="connsiteY1741" fmla="*/ 128041 h 798267"/>
              <a:gd name="connsiteX1742" fmla="*/ 574224 w 682417"/>
              <a:gd name="connsiteY1742" fmla="*/ 139966 h 798267"/>
              <a:gd name="connsiteX1743" fmla="*/ 574224 w 682417"/>
              <a:gd name="connsiteY1743" fmla="*/ 139966 h 798267"/>
              <a:gd name="connsiteX1744" fmla="*/ 578034 w 682417"/>
              <a:gd name="connsiteY1744" fmla="*/ 131327 h 798267"/>
              <a:gd name="connsiteX1745" fmla="*/ 574815 w 682417"/>
              <a:gd name="connsiteY1745" fmla="*/ 136585 h 798267"/>
              <a:gd name="connsiteX1746" fmla="*/ 578025 w 682417"/>
              <a:gd name="connsiteY1746" fmla="*/ 131299 h 798267"/>
              <a:gd name="connsiteX1747" fmla="*/ 594455 w 682417"/>
              <a:gd name="connsiteY1747" fmla="*/ 102724 h 798267"/>
              <a:gd name="connsiteX1748" fmla="*/ 589198 w 682417"/>
              <a:gd name="connsiteY1748" fmla="*/ 99504 h 798267"/>
              <a:gd name="connsiteX1749" fmla="*/ 585435 w 682417"/>
              <a:gd name="connsiteY1749" fmla="*/ 101190 h 798267"/>
              <a:gd name="connsiteX1750" fmla="*/ 584673 w 682417"/>
              <a:gd name="connsiteY1750" fmla="*/ 105695 h 798267"/>
              <a:gd name="connsiteX1751" fmla="*/ 577548 w 682417"/>
              <a:gd name="connsiteY1751" fmla="*/ 99857 h 798267"/>
              <a:gd name="connsiteX1752" fmla="*/ 577901 w 682417"/>
              <a:gd name="connsiteY1752" fmla="*/ 104552 h 798267"/>
              <a:gd name="connsiteX1753" fmla="*/ 582225 w 682417"/>
              <a:gd name="connsiteY1753" fmla="*/ 106457 h 798267"/>
              <a:gd name="connsiteX1754" fmla="*/ 577320 w 682417"/>
              <a:gd name="connsiteY1754" fmla="*/ 114897 h 798267"/>
              <a:gd name="connsiteX1755" fmla="*/ 585759 w 682417"/>
              <a:gd name="connsiteY1755" fmla="*/ 119802 h 798267"/>
              <a:gd name="connsiteX1756" fmla="*/ 587264 w 682417"/>
              <a:gd name="connsiteY1756" fmla="*/ 117745 h 798267"/>
              <a:gd name="connsiteX1757" fmla="*/ 585035 w 682417"/>
              <a:gd name="connsiteY1757" fmla="*/ 110410 h 798267"/>
              <a:gd name="connsiteX1758" fmla="*/ 582016 w 682417"/>
              <a:gd name="connsiteY1758" fmla="*/ 114535 h 798267"/>
              <a:gd name="connsiteX1759" fmla="*/ 581273 w 682417"/>
              <a:gd name="connsiteY1759" fmla="*/ 112087 h 798267"/>
              <a:gd name="connsiteX1760" fmla="*/ 585607 w 682417"/>
              <a:gd name="connsiteY1760" fmla="*/ 107029 h 798267"/>
              <a:gd name="connsiteX1761" fmla="*/ 587664 w 682417"/>
              <a:gd name="connsiteY1761" fmla="*/ 108534 h 798267"/>
              <a:gd name="connsiteX1762" fmla="*/ 589369 w 682417"/>
              <a:gd name="connsiteY1762" fmla="*/ 105343 h 798267"/>
              <a:gd name="connsiteX1763" fmla="*/ 592369 w 682417"/>
              <a:gd name="connsiteY1763" fmla="*/ 108200 h 798267"/>
              <a:gd name="connsiteX1764" fmla="*/ 594455 w 682417"/>
              <a:gd name="connsiteY1764" fmla="*/ 102724 h 798267"/>
              <a:gd name="connsiteX1765" fmla="*/ 606838 w 682417"/>
              <a:gd name="connsiteY1765" fmla="*/ 97866 h 798267"/>
              <a:gd name="connsiteX1766" fmla="*/ 592922 w 682417"/>
              <a:gd name="connsiteY1766" fmla="*/ 97866 h 798267"/>
              <a:gd name="connsiteX1767" fmla="*/ 596732 w 682417"/>
              <a:gd name="connsiteY1767" fmla="*/ 96189 h 798267"/>
              <a:gd name="connsiteX1768" fmla="*/ 598408 w 682417"/>
              <a:gd name="connsiteY1768" fmla="*/ 99952 h 798267"/>
              <a:gd name="connsiteX1769" fmla="*/ 598989 w 682417"/>
              <a:gd name="connsiteY1769" fmla="*/ 96570 h 798267"/>
              <a:gd name="connsiteX1770" fmla="*/ 602151 w 682417"/>
              <a:gd name="connsiteY1770" fmla="*/ 105229 h 798267"/>
              <a:gd name="connsiteX1771" fmla="*/ 603104 w 682417"/>
              <a:gd name="connsiteY1771" fmla="*/ 99590 h 798267"/>
              <a:gd name="connsiteX1772" fmla="*/ 606876 w 682417"/>
              <a:gd name="connsiteY1772" fmla="*/ 97885 h 798267"/>
              <a:gd name="connsiteX1773" fmla="*/ 487289 w 682417"/>
              <a:gd name="connsiteY1773" fmla="*/ 379025 h 798267"/>
              <a:gd name="connsiteX1774" fmla="*/ 485975 w 682417"/>
              <a:gd name="connsiteY1774" fmla="*/ 379977 h 798267"/>
              <a:gd name="connsiteX1775" fmla="*/ 487651 w 682417"/>
              <a:gd name="connsiteY1775" fmla="*/ 383787 h 798267"/>
              <a:gd name="connsiteX1776" fmla="*/ 487289 w 682417"/>
              <a:gd name="connsiteY1776" fmla="*/ 379025 h 798267"/>
              <a:gd name="connsiteX1777" fmla="*/ 491185 w 682417"/>
              <a:gd name="connsiteY1777" fmla="*/ 397046 h 798267"/>
              <a:gd name="connsiteX1778" fmla="*/ 491738 w 682417"/>
              <a:gd name="connsiteY1778" fmla="*/ 400628 h 798267"/>
              <a:gd name="connsiteX1779" fmla="*/ 491185 w 682417"/>
              <a:gd name="connsiteY1779" fmla="*/ 397046 h 798267"/>
              <a:gd name="connsiteX1780" fmla="*/ 511121 w 682417"/>
              <a:gd name="connsiteY1780" fmla="*/ 388845 h 798267"/>
              <a:gd name="connsiteX1781" fmla="*/ 509807 w 682417"/>
              <a:gd name="connsiteY1781" fmla="*/ 389798 h 798267"/>
              <a:gd name="connsiteX1782" fmla="*/ 509426 w 682417"/>
              <a:gd name="connsiteY1782" fmla="*/ 392045 h 798267"/>
              <a:gd name="connsiteX1783" fmla="*/ 514121 w 682417"/>
              <a:gd name="connsiteY1783" fmla="*/ 391684 h 798267"/>
              <a:gd name="connsiteX1784" fmla="*/ 511121 w 682417"/>
              <a:gd name="connsiteY1784" fmla="*/ 388874 h 798267"/>
              <a:gd name="connsiteX1785" fmla="*/ 520303 w 682417"/>
              <a:gd name="connsiteY1785" fmla="*/ 334753 h 798267"/>
              <a:gd name="connsiteX1786" fmla="*/ 512026 w 682417"/>
              <a:gd name="connsiteY1786" fmla="*/ 335705 h 798267"/>
              <a:gd name="connsiteX1787" fmla="*/ 510721 w 682417"/>
              <a:gd name="connsiteY1787" fmla="*/ 336658 h 798267"/>
              <a:gd name="connsiteX1788" fmla="*/ 512626 w 682417"/>
              <a:gd name="connsiteY1788" fmla="*/ 339296 h 798267"/>
              <a:gd name="connsiteX1789" fmla="*/ 520303 w 682417"/>
              <a:gd name="connsiteY1789" fmla="*/ 334781 h 798267"/>
              <a:gd name="connsiteX1790" fmla="*/ 535486 w 682417"/>
              <a:gd name="connsiteY1790" fmla="*/ 347764 h 798267"/>
              <a:gd name="connsiteX1791" fmla="*/ 536258 w 682417"/>
              <a:gd name="connsiteY1791" fmla="*/ 343249 h 798267"/>
              <a:gd name="connsiteX1792" fmla="*/ 535486 w 682417"/>
              <a:gd name="connsiteY1792" fmla="*/ 347792 h 798267"/>
              <a:gd name="connsiteX1793" fmla="*/ 530247 w 682417"/>
              <a:gd name="connsiteY1793" fmla="*/ 337601 h 798267"/>
              <a:gd name="connsiteX1794" fmla="*/ 529866 w 682417"/>
              <a:gd name="connsiteY1794" fmla="*/ 339848 h 798267"/>
              <a:gd name="connsiteX1795" fmla="*/ 521408 w 682417"/>
              <a:gd name="connsiteY1795" fmla="*/ 341896 h 798267"/>
              <a:gd name="connsiteX1796" fmla="*/ 524789 w 682417"/>
              <a:gd name="connsiteY1796" fmla="*/ 342468 h 798267"/>
              <a:gd name="connsiteX1797" fmla="*/ 527790 w 682417"/>
              <a:gd name="connsiteY1797" fmla="*/ 345325 h 798267"/>
              <a:gd name="connsiteX1798" fmla="*/ 530247 w 682417"/>
              <a:gd name="connsiteY1798" fmla="*/ 337629 h 798267"/>
              <a:gd name="connsiteX1799" fmla="*/ 553964 w 682417"/>
              <a:gd name="connsiteY1799" fmla="*/ 259305 h 798267"/>
              <a:gd name="connsiteX1800" fmla="*/ 550231 w 682417"/>
              <a:gd name="connsiteY1800" fmla="*/ 254038 h 798267"/>
              <a:gd name="connsiteX1801" fmla="*/ 550755 w 682417"/>
              <a:gd name="connsiteY1801" fmla="*/ 264515 h 798267"/>
              <a:gd name="connsiteX1802" fmla="*/ 553964 w 682417"/>
              <a:gd name="connsiteY1802" fmla="*/ 259334 h 798267"/>
              <a:gd name="connsiteX1803" fmla="*/ 561480 w 682417"/>
              <a:gd name="connsiteY1803" fmla="*/ 255981 h 798267"/>
              <a:gd name="connsiteX1804" fmla="*/ 559575 w 682417"/>
              <a:gd name="connsiteY1804" fmla="*/ 260296 h 798267"/>
              <a:gd name="connsiteX1805" fmla="*/ 561480 w 682417"/>
              <a:gd name="connsiteY1805" fmla="*/ 255981 h 798267"/>
              <a:gd name="connsiteX1806" fmla="*/ 567509 w 682417"/>
              <a:gd name="connsiteY1806" fmla="*/ 247723 h 798267"/>
              <a:gd name="connsiteX1807" fmla="*/ 565261 w 682417"/>
              <a:gd name="connsiteY1807" fmla="*/ 247342 h 798267"/>
              <a:gd name="connsiteX1808" fmla="*/ 564880 w 682417"/>
              <a:gd name="connsiteY1808" fmla="*/ 249599 h 798267"/>
              <a:gd name="connsiteX1809" fmla="*/ 567128 w 682417"/>
              <a:gd name="connsiteY1809" fmla="*/ 249980 h 798267"/>
              <a:gd name="connsiteX1810" fmla="*/ 581882 w 682417"/>
              <a:gd name="connsiteY1810" fmla="*/ 224644 h 798267"/>
              <a:gd name="connsiteX1811" fmla="*/ 576805 w 682417"/>
              <a:gd name="connsiteY1811" fmla="*/ 227263 h 798267"/>
              <a:gd name="connsiteX1812" fmla="*/ 575853 w 682417"/>
              <a:gd name="connsiteY1812" fmla="*/ 225949 h 798267"/>
              <a:gd name="connsiteX1813" fmla="*/ 576215 w 682417"/>
              <a:gd name="connsiteY1813" fmla="*/ 230644 h 798267"/>
              <a:gd name="connsiteX1814" fmla="*/ 581882 w 682417"/>
              <a:gd name="connsiteY1814" fmla="*/ 224644 h 798267"/>
              <a:gd name="connsiteX1815" fmla="*/ 609905 w 682417"/>
              <a:gd name="connsiteY1815" fmla="*/ 216652 h 798267"/>
              <a:gd name="connsiteX1816" fmla="*/ 607657 w 682417"/>
              <a:gd name="connsiteY1816" fmla="*/ 216271 h 798267"/>
              <a:gd name="connsiteX1817" fmla="*/ 606523 w 682417"/>
              <a:gd name="connsiteY1817" fmla="*/ 216071 h 798267"/>
              <a:gd name="connsiteX1818" fmla="*/ 608428 w 682417"/>
              <a:gd name="connsiteY1818" fmla="*/ 218710 h 798267"/>
              <a:gd name="connsiteX1819" fmla="*/ 609905 w 682417"/>
              <a:gd name="connsiteY1819" fmla="*/ 216662 h 798267"/>
              <a:gd name="connsiteX1820" fmla="*/ 660387 w 682417"/>
              <a:gd name="connsiteY1820" fmla="*/ 103486 h 798267"/>
              <a:gd name="connsiteX1821" fmla="*/ 667169 w 682417"/>
              <a:gd name="connsiteY1821" fmla="*/ 97685 h 798267"/>
              <a:gd name="connsiteX1822" fmla="*/ 660406 w 682417"/>
              <a:gd name="connsiteY1822" fmla="*/ 103495 h 798267"/>
              <a:gd name="connsiteX1823" fmla="*/ 662292 w 682417"/>
              <a:gd name="connsiteY1823" fmla="*/ 92218 h 798267"/>
              <a:gd name="connsiteX1824" fmla="*/ 657787 w 682417"/>
              <a:gd name="connsiteY1824" fmla="*/ 91456 h 798267"/>
              <a:gd name="connsiteX1825" fmla="*/ 662321 w 682417"/>
              <a:gd name="connsiteY1825" fmla="*/ 92246 h 798267"/>
              <a:gd name="connsiteX1826" fmla="*/ 650862 w 682417"/>
              <a:gd name="connsiteY1826" fmla="*/ 91427 h 798267"/>
              <a:gd name="connsiteX1827" fmla="*/ 653120 w 682417"/>
              <a:gd name="connsiteY1827" fmla="*/ 91817 h 798267"/>
              <a:gd name="connsiteX1828" fmla="*/ 654825 w 682417"/>
              <a:gd name="connsiteY1828" fmla="*/ 88627 h 798267"/>
              <a:gd name="connsiteX1829" fmla="*/ 651434 w 682417"/>
              <a:gd name="connsiteY1829" fmla="*/ 88055 h 798267"/>
              <a:gd name="connsiteX1830" fmla="*/ 650653 w 682417"/>
              <a:gd name="connsiteY1830" fmla="*/ 99514 h 798267"/>
              <a:gd name="connsiteX1831" fmla="*/ 654463 w 682417"/>
              <a:gd name="connsiteY1831" fmla="*/ 97828 h 798267"/>
              <a:gd name="connsiteX1832" fmla="*/ 656539 w 682417"/>
              <a:gd name="connsiteY1832" fmla="*/ 92389 h 798267"/>
              <a:gd name="connsiteX1833" fmla="*/ 654291 w 682417"/>
              <a:gd name="connsiteY1833" fmla="*/ 92008 h 798267"/>
              <a:gd name="connsiteX1834" fmla="*/ 652777 w 682417"/>
              <a:gd name="connsiteY1834" fmla="*/ 94065 h 798267"/>
              <a:gd name="connsiteX1835" fmla="*/ 652586 w 682417"/>
              <a:gd name="connsiteY1835" fmla="*/ 95199 h 798267"/>
              <a:gd name="connsiteX1836" fmla="*/ 649948 w 682417"/>
              <a:gd name="connsiteY1836" fmla="*/ 97104 h 798267"/>
              <a:gd name="connsiteX1837" fmla="*/ 650643 w 682417"/>
              <a:gd name="connsiteY1837" fmla="*/ 99523 h 798267"/>
              <a:gd name="connsiteX1838" fmla="*/ 648157 w 682417"/>
              <a:gd name="connsiteY1838" fmla="*/ 66624 h 798267"/>
              <a:gd name="connsiteX1839" fmla="*/ 648157 w 682417"/>
              <a:gd name="connsiteY1839" fmla="*/ 66624 h 798267"/>
              <a:gd name="connsiteX1840" fmla="*/ 647481 w 682417"/>
              <a:gd name="connsiteY1840" fmla="*/ 104724 h 798267"/>
              <a:gd name="connsiteX1841" fmla="*/ 645776 w 682417"/>
              <a:gd name="connsiteY1841" fmla="*/ 107915 h 798267"/>
              <a:gd name="connsiteX1842" fmla="*/ 651996 w 682417"/>
              <a:gd name="connsiteY1842" fmla="*/ 105486 h 798267"/>
              <a:gd name="connsiteX1843" fmla="*/ 645614 w 682417"/>
              <a:gd name="connsiteY1843" fmla="*/ 102085 h 798267"/>
              <a:gd name="connsiteX1844" fmla="*/ 647433 w 682417"/>
              <a:gd name="connsiteY1844" fmla="*/ 104771 h 798267"/>
              <a:gd name="connsiteX1845" fmla="*/ 645204 w 682417"/>
              <a:gd name="connsiteY1845" fmla="*/ 111296 h 798267"/>
              <a:gd name="connsiteX1846" fmla="*/ 648395 w 682417"/>
              <a:gd name="connsiteY1846" fmla="*/ 113001 h 798267"/>
              <a:gd name="connsiteX1847" fmla="*/ 647081 w 682417"/>
              <a:gd name="connsiteY1847" fmla="*/ 113954 h 798267"/>
              <a:gd name="connsiteX1848" fmla="*/ 650291 w 682417"/>
              <a:gd name="connsiteY1848" fmla="*/ 108705 h 798267"/>
              <a:gd name="connsiteX1849" fmla="*/ 645157 w 682417"/>
              <a:gd name="connsiteY1849" fmla="*/ 111344 h 798267"/>
              <a:gd name="connsiteX1850" fmla="*/ 631384 w 682417"/>
              <a:gd name="connsiteY1850" fmla="*/ 83445 h 798267"/>
              <a:gd name="connsiteX1851" fmla="*/ 635508 w 682417"/>
              <a:gd name="connsiteY1851" fmla="*/ 86464 h 798267"/>
              <a:gd name="connsiteX1852" fmla="*/ 633832 w 682417"/>
              <a:gd name="connsiteY1852" fmla="*/ 82702 h 798267"/>
              <a:gd name="connsiteX1853" fmla="*/ 633660 w 682417"/>
              <a:gd name="connsiteY1853" fmla="*/ 76873 h 798267"/>
              <a:gd name="connsiteX1854" fmla="*/ 631336 w 682417"/>
              <a:gd name="connsiteY1854" fmla="*/ 83493 h 798267"/>
              <a:gd name="connsiteX1855" fmla="*/ 617392 w 682417"/>
              <a:gd name="connsiteY1855" fmla="*/ 97361 h 798267"/>
              <a:gd name="connsiteX1856" fmla="*/ 617782 w 682417"/>
              <a:gd name="connsiteY1856" fmla="*/ 95104 h 798267"/>
              <a:gd name="connsiteX1857" fmla="*/ 617030 w 682417"/>
              <a:gd name="connsiteY1857" fmla="*/ 92656 h 798267"/>
              <a:gd name="connsiteX1858" fmla="*/ 617392 w 682417"/>
              <a:gd name="connsiteY1858" fmla="*/ 97361 h 798267"/>
              <a:gd name="connsiteX1859" fmla="*/ 613248 w 682417"/>
              <a:gd name="connsiteY1859" fmla="*/ 101295 h 798267"/>
              <a:gd name="connsiteX1860" fmla="*/ 615677 w 682417"/>
              <a:gd name="connsiteY1860" fmla="*/ 107505 h 798267"/>
              <a:gd name="connsiteX1861" fmla="*/ 616439 w 682417"/>
              <a:gd name="connsiteY1861" fmla="*/ 102990 h 798267"/>
              <a:gd name="connsiteX1862" fmla="*/ 613248 w 682417"/>
              <a:gd name="connsiteY1862" fmla="*/ 101295 h 798267"/>
              <a:gd name="connsiteX1863" fmla="*/ 611343 w 682417"/>
              <a:gd name="connsiteY1863" fmla="*/ 119516 h 798267"/>
              <a:gd name="connsiteX1864" fmla="*/ 607028 w 682417"/>
              <a:gd name="connsiteY1864" fmla="*/ 117611 h 798267"/>
              <a:gd name="connsiteX1865" fmla="*/ 608933 w 682417"/>
              <a:gd name="connsiteY1865" fmla="*/ 120250 h 798267"/>
              <a:gd name="connsiteX1866" fmla="*/ 610838 w 682417"/>
              <a:gd name="connsiteY1866" fmla="*/ 122878 h 798267"/>
              <a:gd name="connsiteX1867" fmla="*/ 612800 w 682417"/>
              <a:gd name="connsiteY1867" fmla="*/ 199755 h 798267"/>
              <a:gd name="connsiteX1868" fmla="*/ 613181 w 682417"/>
              <a:gd name="connsiteY1868" fmla="*/ 197497 h 798267"/>
              <a:gd name="connsiteX1869" fmla="*/ 612772 w 682417"/>
              <a:gd name="connsiteY1869" fmla="*/ 199755 h 798267"/>
              <a:gd name="connsiteX1870" fmla="*/ 613572 w 682417"/>
              <a:gd name="connsiteY1870" fmla="*/ 126850 h 798267"/>
              <a:gd name="connsiteX1871" fmla="*/ 612429 w 682417"/>
              <a:gd name="connsiteY1871" fmla="*/ 133604 h 798267"/>
              <a:gd name="connsiteX1872" fmla="*/ 614342 w 682417"/>
              <a:gd name="connsiteY1872" fmla="*/ 127966 h 798267"/>
              <a:gd name="connsiteX1873" fmla="*/ 613543 w 682417"/>
              <a:gd name="connsiteY1873" fmla="*/ 126850 h 798267"/>
              <a:gd name="connsiteX1874" fmla="*/ 615867 w 682417"/>
              <a:gd name="connsiteY1874" fmla="*/ 113325 h 798267"/>
              <a:gd name="connsiteX1875" fmla="*/ 617372 w 682417"/>
              <a:gd name="connsiteY1875" fmla="*/ 111258 h 798267"/>
              <a:gd name="connsiteX1876" fmla="*/ 616058 w 682417"/>
              <a:gd name="connsiteY1876" fmla="*/ 112210 h 798267"/>
              <a:gd name="connsiteX1877" fmla="*/ 614382 w 682417"/>
              <a:gd name="connsiteY1877" fmla="*/ 108400 h 798267"/>
              <a:gd name="connsiteX1878" fmla="*/ 609857 w 682417"/>
              <a:gd name="connsiteY1878" fmla="*/ 114592 h 798267"/>
              <a:gd name="connsiteX1879" fmla="*/ 615296 w 682417"/>
              <a:gd name="connsiteY1879" fmla="*/ 116678 h 798267"/>
              <a:gd name="connsiteX1880" fmla="*/ 615839 w 682417"/>
              <a:gd name="connsiteY1880" fmla="*/ 113325 h 798267"/>
              <a:gd name="connsiteX1881" fmla="*/ 621468 w 682417"/>
              <a:gd name="connsiteY1881" fmla="*/ 189630 h 798267"/>
              <a:gd name="connsiteX1882" fmla="*/ 622802 w 682417"/>
              <a:gd name="connsiteY1882" fmla="*/ 188677 h 798267"/>
              <a:gd name="connsiteX1883" fmla="*/ 621087 w 682417"/>
              <a:gd name="connsiteY1883" fmla="*/ 191868 h 798267"/>
              <a:gd name="connsiteX1884" fmla="*/ 627469 w 682417"/>
              <a:gd name="connsiteY1884" fmla="*/ 195268 h 798267"/>
              <a:gd name="connsiteX1885" fmla="*/ 629374 w 682417"/>
              <a:gd name="connsiteY1885" fmla="*/ 190954 h 798267"/>
              <a:gd name="connsiteX1886" fmla="*/ 625802 w 682417"/>
              <a:gd name="connsiteY1886" fmla="*/ 191506 h 798267"/>
              <a:gd name="connsiteX1887" fmla="*/ 625250 w 682417"/>
              <a:gd name="connsiteY1887" fmla="*/ 187934 h 798267"/>
              <a:gd name="connsiteX1888" fmla="*/ 621487 w 682417"/>
              <a:gd name="connsiteY1888" fmla="*/ 189630 h 798267"/>
              <a:gd name="connsiteX1889" fmla="*/ 632584 w 682417"/>
              <a:gd name="connsiteY1889" fmla="*/ 117316 h 798267"/>
              <a:gd name="connsiteX1890" fmla="*/ 633355 w 682417"/>
              <a:gd name="connsiteY1890" fmla="*/ 112811 h 798267"/>
              <a:gd name="connsiteX1891" fmla="*/ 631288 w 682417"/>
              <a:gd name="connsiteY1891" fmla="*/ 111296 h 798267"/>
              <a:gd name="connsiteX1892" fmla="*/ 632241 w 682417"/>
              <a:gd name="connsiteY1892" fmla="*/ 105667 h 798267"/>
              <a:gd name="connsiteX1893" fmla="*/ 627536 w 682417"/>
              <a:gd name="connsiteY1893" fmla="*/ 106029 h 798267"/>
              <a:gd name="connsiteX1894" fmla="*/ 629031 w 682417"/>
              <a:gd name="connsiteY1894" fmla="*/ 110915 h 798267"/>
              <a:gd name="connsiteX1895" fmla="*/ 620954 w 682417"/>
              <a:gd name="connsiteY1895" fmla="*/ 110706 h 798267"/>
              <a:gd name="connsiteX1896" fmla="*/ 626040 w 682417"/>
              <a:gd name="connsiteY1896" fmla="*/ 108096 h 798267"/>
              <a:gd name="connsiteX1897" fmla="*/ 623040 w 682417"/>
              <a:gd name="connsiteY1897" fmla="*/ 105238 h 798267"/>
              <a:gd name="connsiteX1898" fmla="*/ 621135 w 682417"/>
              <a:gd name="connsiteY1898" fmla="*/ 102600 h 798267"/>
              <a:gd name="connsiteX1899" fmla="*/ 619230 w 682417"/>
              <a:gd name="connsiteY1899" fmla="*/ 106915 h 798267"/>
              <a:gd name="connsiteX1900" fmla="*/ 620535 w 682417"/>
              <a:gd name="connsiteY1900" fmla="*/ 112934 h 798267"/>
              <a:gd name="connsiteX1901" fmla="*/ 618049 w 682417"/>
              <a:gd name="connsiteY1901" fmla="*/ 127584 h 798267"/>
              <a:gd name="connsiteX1902" fmla="*/ 621259 w 682417"/>
              <a:gd name="connsiteY1902" fmla="*/ 122336 h 798267"/>
              <a:gd name="connsiteX1903" fmla="*/ 623516 w 682417"/>
              <a:gd name="connsiteY1903" fmla="*/ 122717 h 798267"/>
              <a:gd name="connsiteX1904" fmla="*/ 621811 w 682417"/>
              <a:gd name="connsiteY1904" fmla="*/ 125907 h 798267"/>
              <a:gd name="connsiteX1905" fmla="*/ 629888 w 682417"/>
              <a:gd name="connsiteY1905" fmla="*/ 126117 h 798267"/>
              <a:gd name="connsiteX1906" fmla="*/ 631793 w 682417"/>
              <a:gd name="connsiteY1906" fmla="*/ 121793 h 798267"/>
              <a:gd name="connsiteX1907" fmla="*/ 632555 w 682417"/>
              <a:gd name="connsiteY1907" fmla="*/ 117316 h 798267"/>
              <a:gd name="connsiteX1908" fmla="*/ 641633 w 682417"/>
              <a:gd name="connsiteY1908" fmla="*/ 97961 h 798267"/>
              <a:gd name="connsiteX1909" fmla="*/ 636927 w 682417"/>
              <a:gd name="connsiteY1909" fmla="*/ 98323 h 798267"/>
              <a:gd name="connsiteX1910" fmla="*/ 636194 w 682417"/>
              <a:gd name="connsiteY1910" fmla="*/ 95885 h 798267"/>
              <a:gd name="connsiteX1911" fmla="*/ 633336 w 682417"/>
              <a:gd name="connsiteY1911" fmla="*/ 98875 h 798267"/>
              <a:gd name="connsiteX1912" fmla="*/ 641633 w 682417"/>
              <a:gd name="connsiteY1912" fmla="*/ 97961 h 798267"/>
              <a:gd name="connsiteX1913" fmla="*/ 646843 w 682417"/>
              <a:gd name="connsiteY1913" fmla="*/ 115106 h 798267"/>
              <a:gd name="connsiteX1914" fmla="*/ 641785 w 682417"/>
              <a:gd name="connsiteY1914" fmla="*/ 110772 h 798267"/>
              <a:gd name="connsiteX1915" fmla="*/ 646843 w 682417"/>
              <a:gd name="connsiteY1915" fmla="*/ 115106 h 798267"/>
              <a:gd name="connsiteX1916" fmla="*/ 653691 w 682417"/>
              <a:gd name="connsiteY1916" fmla="*/ 149891 h 798267"/>
              <a:gd name="connsiteX1917" fmla="*/ 649186 w 682417"/>
              <a:gd name="connsiteY1917" fmla="*/ 149120 h 798267"/>
              <a:gd name="connsiteX1918" fmla="*/ 649357 w 682417"/>
              <a:gd name="connsiteY1918" fmla="*/ 154949 h 798267"/>
              <a:gd name="connsiteX1919" fmla="*/ 653691 w 682417"/>
              <a:gd name="connsiteY1919" fmla="*/ 149891 h 798267"/>
              <a:gd name="connsiteX1920" fmla="*/ 651634 w 682417"/>
              <a:gd name="connsiteY1920" fmla="*/ 148386 h 798267"/>
              <a:gd name="connsiteX1921" fmla="*/ 651634 w 682417"/>
              <a:gd name="connsiteY1921" fmla="*/ 148386 h 798267"/>
              <a:gd name="connsiteX1922" fmla="*/ 654863 w 682417"/>
              <a:gd name="connsiteY1922" fmla="*/ 136175 h 798267"/>
              <a:gd name="connsiteX1923" fmla="*/ 650167 w 682417"/>
              <a:gd name="connsiteY1923" fmla="*/ 136537 h 798267"/>
              <a:gd name="connsiteX1924" fmla="*/ 645290 w 682417"/>
              <a:gd name="connsiteY1924" fmla="*/ 131070 h 798267"/>
              <a:gd name="connsiteX1925" fmla="*/ 648843 w 682417"/>
              <a:gd name="connsiteY1925" fmla="*/ 137471 h 798267"/>
              <a:gd name="connsiteX1926" fmla="*/ 654825 w 682417"/>
              <a:gd name="connsiteY1926" fmla="*/ 136175 h 798267"/>
              <a:gd name="connsiteX1927" fmla="*/ 655434 w 682417"/>
              <a:gd name="connsiteY1927" fmla="*/ 132794 h 798267"/>
              <a:gd name="connsiteX1928" fmla="*/ 650739 w 682417"/>
              <a:gd name="connsiteY1928" fmla="*/ 133156 h 798267"/>
              <a:gd name="connsiteX1929" fmla="*/ 655434 w 682417"/>
              <a:gd name="connsiteY1929" fmla="*/ 132794 h 798267"/>
              <a:gd name="connsiteX1930" fmla="*/ 662607 w 682417"/>
              <a:gd name="connsiteY1930" fmla="*/ 124736 h 798267"/>
              <a:gd name="connsiteX1931" fmla="*/ 657901 w 682417"/>
              <a:gd name="connsiteY1931" fmla="*/ 125098 h 798267"/>
              <a:gd name="connsiteX1932" fmla="*/ 655644 w 682417"/>
              <a:gd name="connsiteY1932" fmla="*/ 124717 h 798267"/>
              <a:gd name="connsiteX1933" fmla="*/ 656387 w 682417"/>
              <a:gd name="connsiteY1933" fmla="*/ 127155 h 798267"/>
              <a:gd name="connsiteX1934" fmla="*/ 662607 w 682417"/>
              <a:gd name="connsiteY1934" fmla="*/ 124736 h 798267"/>
              <a:gd name="connsiteX1935" fmla="*/ 667703 w 682417"/>
              <a:gd name="connsiteY1935" fmla="*/ 115211 h 798267"/>
              <a:gd name="connsiteX1936" fmla="*/ 663188 w 682417"/>
              <a:gd name="connsiteY1936" fmla="*/ 114449 h 798267"/>
              <a:gd name="connsiteX1937" fmla="*/ 663750 w 682417"/>
              <a:gd name="connsiteY1937" fmla="*/ 118021 h 798267"/>
              <a:gd name="connsiteX1938" fmla="*/ 667703 w 682417"/>
              <a:gd name="connsiteY1938" fmla="*/ 115163 h 798267"/>
              <a:gd name="connsiteX1939" fmla="*/ 670560 w 682417"/>
              <a:gd name="connsiteY1939" fmla="*/ 91398 h 798267"/>
              <a:gd name="connsiteX1940" fmla="*/ 666055 w 682417"/>
              <a:gd name="connsiteY1940" fmla="*/ 90627 h 798267"/>
              <a:gd name="connsiteX1941" fmla="*/ 670922 w 682417"/>
              <a:gd name="connsiteY1941" fmla="*/ 96094 h 798267"/>
              <a:gd name="connsiteX1942" fmla="*/ 670589 w 682417"/>
              <a:gd name="connsiteY1942" fmla="*/ 91294 h 798267"/>
              <a:gd name="connsiteX1943" fmla="*/ 660816 w 682417"/>
              <a:gd name="connsiteY1943" fmla="*/ 80473 h 798267"/>
              <a:gd name="connsiteX1944" fmla="*/ 660435 w 682417"/>
              <a:gd name="connsiteY1944" fmla="*/ 82721 h 798267"/>
              <a:gd name="connsiteX1945" fmla="*/ 661807 w 682417"/>
              <a:gd name="connsiteY1945" fmla="*/ 81759 h 798267"/>
              <a:gd name="connsiteX1946" fmla="*/ 660845 w 682417"/>
              <a:gd name="connsiteY1946" fmla="*/ 80387 h 798267"/>
              <a:gd name="connsiteX1947" fmla="*/ 50940 w 682417"/>
              <a:gd name="connsiteY1947" fmla="*/ 586717 h 798267"/>
              <a:gd name="connsiteX1948" fmla="*/ 52083 w 682417"/>
              <a:gd name="connsiteY1948" fmla="*/ 579955 h 798267"/>
              <a:gd name="connsiteX1949" fmla="*/ 50178 w 682417"/>
              <a:gd name="connsiteY1949" fmla="*/ 584270 h 798267"/>
              <a:gd name="connsiteX1950" fmla="*/ 46977 w 682417"/>
              <a:gd name="connsiteY1950" fmla="*/ 582565 h 798267"/>
              <a:gd name="connsiteX1951" fmla="*/ 50940 w 682417"/>
              <a:gd name="connsiteY1951" fmla="*/ 586717 h 798267"/>
              <a:gd name="connsiteX1952" fmla="*/ 676008 w 682417"/>
              <a:gd name="connsiteY1952" fmla="*/ 100342 h 798267"/>
              <a:gd name="connsiteX1953" fmla="*/ 674313 w 682417"/>
              <a:gd name="connsiteY1953" fmla="*/ 103533 h 798267"/>
              <a:gd name="connsiteX1954" fmla="*/ 680333 w 682417"/>
              <a:gd name="connsiteY1954" fmla="*/ 102238 h 798267"/>
              <a:gd name="connsiteX1955" fmla="*/ 681457 w 682417"/>
              <a:gd name="connsiteY1955" fmla="*/ 102428 h 798267"/>
              <a:gd name="connsiteX1956" fmla="*/ 681838 w 682417"/>
              <a:gd name="connsiteY1956" fmla="*/ 100180 h 798267"/>
              <a:gd name="connsiteX1957" fmla="*/ 676008 w 682417"/>
              <a:gd name="connsiteY1957" fmla="*/ 100342 h 798267"/>
              <a:gd name="connsiteX1958" fmla="*/ 637280 w 682417"/>
              <a:gd name="connsiteY1958" fmla="*/ 171446 h 798267"/>
              <a:gd name="connsiteX1959" fmla="*/ 636518 w 682417"/>
              <a:gd name="connsiteY1959" fmla="*/ 175961 h 798267"/>
              <a:gd name="connsiteX1960" fmla="*/ 637832 w 682417"/>
              <a:gd name="connsiteY1960" fmla="*/ 175009 h 798267"/>
              <a:gd name="connsiteX1961" fmla="*/ 638194 w 682417"/>
              <a:gd name="connsiteY1961" fmla="*/ 179705 h 798267"/>
              <a:gd name="connsiteX1962" fmla="*/ 640842 w 682417"/>
              <a:gd name="connsiteY1962" fmla="*/ 177800 h 798267"/>
              <a:gd name="connsiteX1963" fmla="*/ 637280 w 682417"/>
              <a:gd name="connsiteY1963" fmla="*/ 171446 h 798267"/>
              <a:gd name="connsiteX1964" fmla="*/ 654082 w 682417"/>
              <a:gd name="connsiteY1964" fmla="*/ 79235 h 798267"/>
              <a:gd name="connsiteX1965" fmla="*/ 655787 w 682417"/>
              <a:gd name="connsiteY1965" fmla="*/ 76044 h 798267"/>
              <a:gd name="connsiteX1966" fmla="*/ 654082 w 682417"/>
              <a:gd name="connsiteY1966" fmla="*/ 79235 h 798267"/>
              <a:gd name="connsiteX1967" fmla="*/ 469363 w 682417"/>
              <a:gd name="connsiteY1967" fmla="*/ 402647 h 798267"/>
              <a:gd name="connsiteX1968" fmla="*/ 472926 w 682417"/>
              <a:gd name="connsiteY1968" fmla="*/ 409048 h 798267"/>
              <a:gd name="connsiteX1969" fmla="*/ 470991 w 682417"/>
              <a:gd name="connsiteY1969" fmla="*/ 414707 h 798267"/>
              <a:gd name="connsiteX1970" fmla="*/ 471773 w 682417"/>
              <a:gd name="connsiteY1970" fmla="*/ 415810 h 798267"/>
              <a:gd name="connsiteX1971" fmla="*/ 474031 w 682417"/>
              <a:gd name="connsiteY1971" fmla="*/ 416201 h 798267"/>
              <a:gd name="connsiteX1972" fmla="*/ 469363 w 682417"/>
              <a:gd name="connsiteY1972" fmla="*/ 402647 h 798267"/>
              <a:gd name="connsiteX1973" fmla="*/ 483251 w 682417"/>
              <a:gd name="connsiteY1973" fmla="*/ 149958 h 798267"/>
              <a:gd name="connsiteX1974" fmla="*/ 479879 w 682417"/>
              <a:gd name="connsiteY1974" fmla="*/ 149377 h 798267"/>
              <a:gd name="connsiteX1975" fmla="*/ 476582 w 682417"/>
              <a:gd name="connsiteY1975" fmla="*/ 148926 h 798267"/>
              <a:gd name="connsiteX1976" fmla="*/ 476498 w 682417"/>
              <a:gd name="connsiteY1976" fmla="*/ 148806 h 798267"/>
              <a:gd name="connsiteX1977" fmla="*/ 475736 w 682417"/>
              <a:gd name="connsiteY1977" fmla="*/ 153311 h 798267"/>
              <a:gd name="connsiteX1978" fmla="*/ 480431 w 682417"/>
              <a:gd name="connsiteY1978" fmla="*/ 152958 h 798267"/>
              <a:gd name="connsiteX1979" fmla="*/ 481755 w 682417"/>
              <a:gd name="connsiteY1979" fmla="*/ 152006 h 798267"/>
              <a:gd name="connsiteX1980" fmla="*/ 485127 w 682417"/>
              <a:gd name="connsiteY1980" fmla="*/ 152587 h 798267"/>
              <a:gd name="connsiteX1981" fmla="*/ 483251 w 682417"/>
              <a:gd name="connsiteY1981" fmla="*/ 149958 h 798267"/>
              <a:gd name="connsiteX1982" fmla="*/ 470992 w 682417"/>
              <a:gd name="connsiteY1982" fmla="*/ 30791 h 798267"/>
              <a:gd name="connsiteX1983" fmla="*/ 475498 w 682417"/>
              <a:gd name="connsiteY1983" fmla="*/ 31553 h 798267"/>
              <a:gd name="connsiteX1984" fmla="*/ 476241 w 682417"/>
              <a:gd name="connsiteY1984" fmla="*/ 33991 h 798267"/>
              <a:gd name="connsiteX1985" fmla="*/ 481898 w 682417"/>
              <a:gd name="connsiteY1985" fmla="*/ 28000 h 798267"/>
              <a:gd name="connsiteX1986" fmla="*/ 486042 w 682417"/>
              <a:gd name="connsiteY1986" fmla="*/ 24066 h 798267"/>
              <a:gd name="connsiteX1987" fmla="*/ 484137 w 682417"/>
              <a:gd name="connsiteY1987" fmla="*/ 21428 h 798267"/>
              <a:gd name="connsiteX1988" fmla="*/ 479050 w 682417"/>
              <a:gd name="connsiteY1988" fmla="*/ 24047 h 798267"/>
              <a:gd name="connsiteX1989" fmla="*/ 482070 w 682417"/>
              <a:gd name="connsiteY1989" fmla="*/ 19923 h 798267"/>
              <a:gd name="connsiteX1990" fmla="*/ 475498 w 682417"/>
              <a:gd name="connsiteY1990" fmla="*/ 17646 h 798267"/>
              <a:gd name="connsiteX1991" fmla="*/ 469649 w 682417"/>
              <a:gd name="connsiteY1991" fmla="*/ 24771 h 798267"/>
              <a:gd name="connsiteX1992" fmla="*/ 470992 w 682417"/>
              <a:gd name="connsiteY1992" fmla="*/ 30791 h 798267"/>
              <a:gd name="connsiteX1993" fmla="*/ 467839 w 682417"/>
              <a:gd name="connsiteY1993" fmla="*/ 15179 h 798267"/>
              <a:gd name="connsiteX1994" fmla="*/ 466335 w 682417"/>
              <a:gd name="connsiteY1994" fmla="*/ 17246 h 798267"/>
              <a:gd name="connsiteX1995" fmla="*/ 466506 w 682417"/>
              <a:gd name="connsiteY1995" fmla="*/ 23066 h 798267"/>
              <a:gd name="connsiteX1996" fmla="*/ 469706 w 682417"/>
              <a:gd name="connsiteY1996" fmla="*/ 17818 h 798267"/>
              <a:gd name="connsiteX1997" fmla="*/ 473288 w 682417"/>
              <a:gd name="connsiteY1997" fmla="*/ 17265 h 798267"/>
              <a:gd name="connsiteX1998" fmla="*/ 469535 w 682417"/>
              <a:gd name="connsiteY1998" fmla="*/ 11988 h 798267"/>
              <a:gd name="connsiteX1999" fmla="*/ 469725 w 682417"/>
              <a:gd name="connsiteY1999" fmla="*/ 10864 h 798267"/>
              <a:gd name="connsiteX2000" fmla="*/ 464649 w 682417"/>
              <a:gd name="connsiteY2000" fmla="*/ 13484 h 798267"/>
              <a:gd name="connsiteX2001" fmla="*/ 467868 w 682417"/>
              <a:gd name="connsiteY2001" fmla="*/ 15179 h 798267"/>
              <a:gd name="connsiteX2002" fmla="*/ 462124 w 682417"/>
              <a:gd name="connsiteY2002" fmla="*/ 35077 h 798267"/>
              <a:gd name="connsiteX2003" fmla="*/ 462896 w 682417"/>
              <a:gd name="connsiteY2003" fmla="*/ 30572 h 798267"/>
              <a:gd name="connsiteX2004" fmla="*/ 462172 w 682417"/>
              <a:gd name="connsiteY2004" fmla="*/ 35096 h 798267"/>
              <a:gd name="connsiteX2005" fmla="*/ 449847 w 682417"/>
              <a:gd name="connsiteY2005" fmla="*/ 12122 h 798267"/>
              <a:gd name="connsiteX2006" fmla="*/ 450009 w 682417"/>
              <a:gd name="connsiteY2006" fmla="*/ 17942 h 798267"/>
              <a:gd name="connsiteX2007" fmla="*/ 451533 w 682417"/>
              <a:gd name="connsiteY2007" fmla="*/ 8931 h 798267"/>
              <a:gd name="connsiteX2008" fmla="*/ 447037 w 682417"/>
              <a:gd name="connsiteY2008" fmla="*/ 8169 h 798267"/>
              <a:gd name="connsiteX2009" fmla="*/ 449847 w 682417"/>
              <a:gd name="connsiteY2009" fmla="*/ 12122 h 798267"/>
              <a:gd name="connsiteX2010" fmla="*/ 444570 w 682417"/>
              <a:gd name="connsiteY2010" fmla="*/ 15865 h 798267"/>
              <a:gd name="connsiteX2011" fmla="*/ 442665 w 682417"/>
              <a:gd name="connsiteY2011" fmla="*/ 20180 h 798267"/>
              <a:gd name="connsiteX2012" fmla="*/ 447361 w 682417"/>
              <a:gd name="connsiteY2012" fmla="*/ 19818 h 798267"/>
              <a:gd name="connsiteX2013" fmla="*/ 447008 w 682417"/>
              <a:gd name="connsiteY2013" fmla="*/ 15122 h 798267"/>
              <a:gd name="connsiteX2014" fmla="*/ 441750 w 682417"/>
              <a:gd name="connsiteY2014" fmla="*/ 11912 h 798267"/>
              <a:gd name="connsiteX2015" fmla="*/ 444570 w 682417"/>
              <a:gd name="connsiteY2015" fmla="*/ 15865 h 798267"/>
              <a:gd name="connsiteX2016" fmla="*/ 335985 w 682417"/>
              <a:gd name="connsiteY2016" fmla="*/ 266373 h 798267"/>
              <a:gd name="connsiteX2017" fmla="*/ 333346 w 682417"/>
              <a:gd name="connsiteY2017" fmla="*/ 268278 h 798267"/>
              <a:gd name="connsiteX2018" fmla="*/ 327689 w 682417"/>
              <a:gd name="connsiteY2018" fmla="*/ 274269 h 798267"/>
              <a:gd name="connsiteX2019" fmla="*/ 332775 w 682417"/>
              <a:gd name="connsiteY2019" fmla="*/ 271659 h 798267"/>
              <a:gd name="connsiteX2020" fmla="*/ 334289 w 682417"/>
              <a:gd name="connsiteY2020" fmla="*/ 269592 h 798267"/>
              <a:gd name="connsiteX2021" fmla="*/ 336547 w 682417"/>
              <a:gd name="connsiteY2021" fmla="*/ 269983 h 798267"/>
              <a:gd name="connsiteX2022" fmla="*/ 335975 w 682417"/>
              <a:gd name="connsiteY2022" fmla="*/ 266411 h 798267"/>
              <a:gd name="connsiteX2023" fmla="*/ 358750 w 682417"/>
              <a:gd name="connsiteY2023" fmla="*/ 63871 h 798267"/>
              <a:gd name="connsiteX2024" fmla="*/ 354625 w 682417"/>
              <a:gd name="connsiteY2024" fmla="*/ 60852 h 798267"/>
              <a:gd name="connsiteX2025" fmla="*/ 358740 w 682417"/>
              <a:gd name="connsiteY2025" fmla="*/ 63909 h 798267"/>
              <a:gd name="connsiteX2026" fmla="*/ 363436 w 682417"/>
              <a:gd name="connsiteY2026" fmla="*/ 2063 h 798267"/>
              <a:gd name="connsiteX2027" fmla="*/ 365884 w 682417"/>
              <a:gd name="connsiteY2027" fmla="*/ 1320 h 798267"/>
              <a:gd name="connsiteX2028" fmla="*/ 367789 w 682417"/>
              <a:gd name="connsiteY2028" fmla="*/ 3949 h 798267"/>
              <a:gd name="connsiteX2029" fmla="*/ 368370 w 682417"/>
              <a:gd name="connsiteY2029" fmla="*/ 568 h 798267"/>
              <a:gd name="connsiteX2030" fmla="*/ 363426 w 682417"/>
              <a:gd name="connsiteY2030" fmla="*/ 2101 h 798267"/>
              <a:gd name="connsiteX2031" fmla="*/ 337118 w 682417"/>
              <a:gd name="connsiteY2031" fmla="*/ 6874 h 798267"/>
              <a:gd name="connsiteX2032" fmla="*/ 339023 w 682417"/>
              <a:gd name="connsiteY2032" fmla="*/ 9502 h 798267"/>
              <a:gd name="connsiteX2033" fmla="*/ 337537 w 682417"/>
              <a:gd name="connsiteY2033" fmla="*/ 4616 h 798267"/>
              <a:gd name="connsiteX2034" fmla="*/ 333575 w 682417"/>
              <a:gd name="connsiteY2034" fmla="*/ 7426 h 798267"/>
              <a:gd name="connsiteX2035" fmla="*/ 337109 w 682417"/>
              <a:gd name="connsiteY2035" fmla="*/ 6912 h 798267"/>
              <a:gd name="connsiteX2036" fmla="*/ 180280 w 682417"/>
              <a:gd name="connsiteY2036" fmla="*/ 432441 h 798267"/>
              <a:gd name="connsiteX2037" fmla="*/ 182918 w 682417"/>
              <a:gd name="connsiteY2037" fmla="*/ 430536 h 798267"/>
              <a:gd name="connsiteX2038" fmla="*/ 185166 w 682417"/>
              <a:gd name="connsiteY2038" fmla="*/ 430917 h 798267"/>
              <a:gd name="connsiteX2039" fmla="*/ 185737 w 682417"/>
              <a:gd name="connsiteY2039" fmla="*/ 427526 h 798267"/>
              <a:gd name="connsiteX2040" fmla="*/ 180280 w 682417"/>
              <a:gd name="connsiteY2040" fmla="*/ 432441 h 798267"/>
              <a:gd name="connsiteX2041" fmla="*/ 439360 w 682417"/>
              <a:gd name="connsiteY2041" fmla="*/ 12655 h 798267"/>
              <a:gd name="connsiteX2042" fmla="*/ 441265 w 682417"/>
              <a:gd name="connsiteY2042" fmla="*/ 15294 h 798267"/>
              <a:gd name="connsiteX2043" fmla="*/ 441865 w 682417"/>
              <a:gd name="connsiteY2043" fmla="*/ 4959 h 798267"/>
              <a:gd name="connsiteX2044" fmla="*/ 437912 w 682417"/>
              <a:gd name="connsiteY2044" fmla="*/ 7769 h 798267"/>
              <a:gd name="connsiteX2045" fmla="*/ 435845 w 682417"/>
              <a:gd name="connsiteY2045" fmla="*/ 6254 h 798267"/>
              <a:gd name="connsiteX2046" fmla="*/ 433769 w 682417"/>
              <a:gd name="connsiteY2046" fmla="*/ 11693 h 798267"/>
              <a:gd name="connsiteX2047" fmla="*/ 439322 w 682417"/>
              <a:gd name="connsiteY2047" fmla="*/ 12655 h 79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682417" h="798267">
                <a:moveTo>
                  <a:pt x="681704" y="80445"/>
                </a:moveTo>
                <a:cubicBezTo>
                  <a:pt x="680133" y="79578"/>
                  <a:pt x="679142" y="78292"/>
                  <a:pt x="677580" y="77425"/>
                </a:cubicBezTo>
                <a:cubicBezTo>
                  <a:pt x="678456" y="75015"/>
                  <a:pt x="684448" y="77006"/>
                  <a:pt x="681704" y="80445"/>
                </a:cubicBezTo>
                <a:close/>
                <a:moveTo>
                  <a:pt x="630488" y="184210"/>
                </a:moveTo>
                <a:cubicBezTo>
                  <a:pt x="631231" y="181076"/>
                  <a:pt x="634689" y="181753"/>
                  <a:pt x="635946" y="179343"/>
                </a:cubicBezTo>
                <a:cubicBezTo>
                  <a:pt x="631222" y="177019"/>
                  <a:pt x="625974" y="181933"/>
                  <a:pt x="630488" y="184210"/>
                </a:cubicBezTo>
                <a:close/>
                <a:moveTo>
                  <a:pt x="627859" y="117678"/>
                </a:moveTo>
                <a:cubicBezTo>
                  <a:pt x="625488" y="118840"/>
                  <a:pt x="627650" y="122783"/>
                  <a:pt x="628221" y="122383"/>
                </a:cubicBezTo>
                <a:cubicBezTo>
                  <a:pt x="629107" y="121774"/>
                  <a:pt x="628745" y="117459"/>
                  <a:pt x="627859" y="117678"/>
                </a:cubicBezTo>
                <a:close/>
                <a:moveTo>
                  <a:pt x="577253" y="265601"/>
                </a:moveTo>
                <a:cubicBezTo>
                  <a:pt x="577872" y="269411"/>
                  <a:pt x="575653" y="271221"/>
                  <a:pt x="579301" y="274059"/>
                </a:cubicBezTo>
                <a:cubicBezTo>
                  <a:pt x="578796" y="271116"/>
                  <a:pt x="580911" y="266315"/>
                  <a:pt x="577253" y="265601"/>
                </a:cubicBezTo>
                <a:close/>
                <a:moveTo>
                  <a:pt x="610753" y="54489"/>
                </a:moveTo>
                <a:cubicBezTo>
                  <a:pt x="609886" y="53278"/>
                  <a:pt x="608203" y="52999"/>
                  <a:pt x="606992" y="53866"/>
                </a:cubicBezTo>
                <a:cubicBezTo>
                  <a:pt x="606308" y="54355"/>
                  <a:pt x="605892" y="55135"/>
                  <a:pt x="605866" y="55975"/>
                </a:cubicBezTo>
                <a:cubicBezTo>
                  <a:pt x="608381" y="56737"/>
                  <a:pt x="610152" y="56432"/>
                  <a:pt x="610753" y="54499"/>
                </a:cubicBezTo>
                <a:close/>
                <a:moveTo>
                  <a:pt x="564032" y="288871"/>
                </a:moveTo>
                <a:cubicBezTo>
                  <a:pt x="565337" y="289261"/>
                  <a:pt x="566242" y="291309"/>
                  <a:pt x="567414" y="289442"/>
                </a:cubicBezTo>
                <a:cubicBezTo>
                  <a:pt x="566109" y="289052"/>
                  <a:pt x="565204" y="287004"/>
                  <a:pt x="564032" y="288871"/>
                </a:cubicBezTo>
                <a:close/>
                <a:moveTo>
                  <a:pt x="561956" y="294309"/>
                </a:moveTo>
                <a:cubicBezTo>
                  <a:pt x="560289" y="295405"/>
                  <a:pt x="560756" y="298481"/>
                  <a:pt x="562127" y="300139"/>
                </a:cubicBezTo>
                <a:cubicBezTo>
                  <a:pt x="562661" y="298577"/>
                  <a:pt x="564299" y="298548"/>
                  <a:pt x="564985" y="297138"/>
                </a:cubicBezTo>
                <a:cubicBezTo>
                  <a:pt x="563385" y="296595"/>
                  <a:pt x="563385" y="294957"/>
                  <a:pt x="561956" y="294309"/>
                </a:cubicBezTo>
                <a:close/>
                <a:moveTo>
                  <a:pt x="538144" y="352869"/>
                </a:moveTo>
                <a:cubicBezTo>
                  <a:pt x="537696" y="353507"/>
                  <a:pt x="534619" y="356727"/>
                  <a:pt x="537381" y="357374"/>
                </a:cubicBezTo>
                <a:cubicBezTo>
                  <a:pt x="536619" y="355136"/>
                  <a:pt x="541344" y="354184"/>
                  <a:pt x="538096" y="352869"/>
                </a:cubicBezTo>
                <a:close/>
                <a:moveTo>
                  <a:pt x="514179" y="323294"/>
                </a:moveTo>
                <a:cubicBezTo>
                  <a:pt x="512953" y="323116"/>
                  <a:pt x="511828" y="322517"/>
                  <a:pt x="510997" y="321599"/>
                </a:cubicBezTo>
                <a:lnTo>
                  <a:pt x="510616" y="323846"/>
                </a:lnTo>
                <a:cubicBezTo>
                  <a:pt x="511950" y="325390"/>
                  <a:pt x="513112" y="325532"/>
                  <a:pt x="514131" y="323294"/>
                </a:cubicBezTo>
                <a:close/>
                <a:moveTo>
                  <a:pt x="539267" y="100323"/>
                </a:moveTo>
                <a:cubicBezTo>
                  <a:pt x="540934" y="97675"/>
                  <a:pt x="536305" y="94684"/>
                  <a:pt x="535134" y="97304"/>
                </a:cubicBezTo>
                <a:cubicBezTo>
                  <a:pt x="537324" y="97694"/>
                  <a:pt x="536000" y="100628"/>
                  <a:pt x="539220" y="100323"/>
                </a:cubicBezTo>
                <a:close/>
                <a:moveTo>
                  <a:pt x="532286" y="107257"/>
                </a:moveTo>
                <a:cubicBezTo>
                  <a:pt x="533798" y="107730"/>
                  <a:pt x="535428" y="107009"/>
                  <a:pt x="536096" y="105572"/>
                </a:cubicBezTo>
                <a:cubicBezTo>
                  <a:pt x="534865" y="105393"/>
                  <a:pt x="533733" y="104794"/>
                  <a:pt x="532895" y="103876"/>
                </a:cubicBezTo>
                <a:close/>
                <a:moveTo>
                  <a:pt x="489423" y="366633"/>
                </a:moveTo>
                <a:lnTo>
                  <a:pt x="487166" y="366252"/>
                </a:lnTo>
                <a:lnTo>
                  <a:pt x="486785" y="368500"/>
                </a:lnTo>
                <a:lnTo>
                  <a:pt x="489042" y="368881"/>
                </a:lnTo>
                <a:close/>
                <a:moveTo>
                  <a:pt x="501082" y="31286"/>
                </a:moveTo>
                <a:cubicBezTo>
                  <a:pt x="502463" y="29133"/>
                  <a:pt x="499015" y="25733"/>
                  <a:pt x="498081" y="28429"/>
                </a:cubicBezTo>
                <a:cubicBezTo>
                  <a:pt x="499843" y="28829"/>
                  <a:pt x="498472" y="31448"/>
                  <a:pt x="501082" y="31286"/>
                </a:cubicBezTo>
                <a:close/>
                <a:moveTo>
                  <a:pt x="494348" y="23190"/>
                </a:moveTo>
                <a:cubicBezTo>
                  <a:pt x="495138" y="23618"/>
                  <a:pt x="494976" y="26543"/>
                  <a:pt x="497338" y="26047"/>
                </a:cubicBezTo>
                <a:cubicBezTo>
                  <a:pt x="497443" y="22342"/>
                  <a:pt x="496729" y="19218"/>
                  <a:pt x="491528" y="19275"/>
                </a:cubicBezTo>
                <a:cubicBezTo>
                  <a:pt x="491154" y="21052"/>
                  <a:pt x="491719" y="22897"/>
                  <a:pt x="493024" y="24161"/>
                </a:cubicBezTo>
                <a:cubicBezTo>
                  <a:pt x="492662" y="23666"/>
                  <a:pt x="493709" y="22809"/>
                  <a:pt x="494348" y="23152"/>
                </a:cubicBezTo>
                <a:close/>
                <a:moveTo>
                  <a:pt x="485851" y="32181"/>
                </a:moveTo>
                <a:cubicBezTo>
                  <a:pt x="485137" y="29905"/>
                  <a:pt x="489871" y="28991"/>
                  <a:pt x="486623" y="27676"/>
                </a:cubicBezTo>
                <a:cubicBezTo>
                  <a:pt x="486175" y="28276"/>
                  <a:pt x="483089" y="31505"/>
                  <a:pt x="485851" y="32143"/>
                </a:cubicBezTo>
                <a:close/>
                <a:moveTo>
                  <a:pt x="430263" y="216328"/>
                </a:moveTo>
                <a:cubicBezTo>
                  <a:pt x="431893" y="216384"/>
                  <a:pt x="433439" y="217066"/>
                  <a:pt x="434578" y="218233"/>
                </a:cubicBezTo>
                <a:lnTo>
                  <a:pt x="435150" y="214852"/>
                </a:lnTo>
                <a:cubicBezTo>
                  <a:pt x="432635" y="214080"/>
                  <a:pt x="430873" y="214385"/>
                  <a:pt x="430263" y="216328"/>
                </a:cubicBezTo>
                <a:close/>
                <a:moveTo>
                  <a:pt x="430092" y="210499"/>
                </a:moveTo>
                <a:cubicBezTo>
                  <a:pt x="426025" y="213709"/>
                  <a:pt x="433673" y="214623"/>
                  <a:pt x="430092" y="210499"/>
                </a:cubicBezTo>
                <a:close/>
                <a:moveTo>
                  <a:pt x="456705" y="26047"/>
                </a:moveTo>
                <a:cubicBezTo>
                  <a:pt x="460277" y="25485"/>
                  <a:pt x="460086" y="19637"/>
                  <a:pt x="461810" y="16522"/>
                </a:cubicBezTo>
                <a:cubicBezTo>
                  <a:pt x="459457" y="17056"/>
                  <a:pt x="459905" y="13874"/>
                  <a:pt x="458810" y="13665"/>
                </a:cubicBezTo>
                <a:cubicBezTo>
                  <a:pt x="458333" y="13589"/>
                  <a:pt x="456810" y="16789"/>
                  <a:pt x="455057" y="15341"/>
                </a:cubicBezTo>
                <a:cubicBezTo>
                  <a:pt x="455247" y="13551"/>
                  <a:pt x="455867" y="11455"/>
                  <a:pt x="453371" y="11579"/>
                </a:cubicBezTo>
                <a:cubicBezTo>
                  <a:pt x="454524" y="16399"/>
                  <a:pt x="451456" y="24190"/>
                  <a:pt x="456705" y="26047"/>
                </a:cubicBezTo>
                <a:close/>
                <a:moveTo>
                  <a:pt x="426882" y="215747"/>
                </a:moveTo>
                <a:cubicBezTo>
                  <a:pt x="426977" y="213595"/>
                  <a:pt x="424920" y="216071"/>
                  <a:pt x="424815" y="214242"/>
                </a:cubicBezTo>
                <a:cubicBezTo>
                  <a:pt x="423158" y="213099"/>
                  <a:pt x="426006" y="208765"/>
                  <a:pt x="422205" y="209156"/>
                </a:cubicBezTo>
                <a:cubicBezTo>
                  <a:pt x="420386" y="208661"/>
                  <a:pt x="419176" y="215823"/>
                  <a:pt x="421062" y="215919"/>
                </a:cubicBezTo>
                <a:cubicBezTo>
                  <a:pt x="423196" y="213204"/>
                  <a:pt x="422872" y="220481"/>
                  <a:pt x="427434" y="219319"/>
                </a:cubicBezTo>
                <a:cubicBezTo>
                  <a:pt x="427482" y="217976"/>
                  <a:pt x="428130" y="216157"/>
                  <a:pt x="426882" y="215747"/>
                </a:cubicBezTo>
                <a:close/>
                <a:moveTo>
                  <a:pt x="445837" y="28829"/>
                </a:moveTo>
                <a:cubicBezTo>
                  <a:pt x="446141" y="27400"/>
                  <a:pt x="447551" y="27524"/>
                  <a:pt x="447551" y="25647"/>
                </a:cubicBezTo>
                <a:cubicBezTo>
                  <a:pt x="445065" y="23418"/>
                  <a:pt x="443579" y="28905"/>
                  <a:pt x="445837" y="28829"/>
                </a:cubicBezTo>
                <a:close/>
                <a:moveTo>
                  <a:pt x="404812" y="181857"/>
                </a:moveTo>
                <a:cubicBezTo>
                  <a:pt x="400698" y="180724"/>
                  <a:pt x="397193" y="180381"/>
                  <a:pt x="396345" y="183905"/>
                </a:cubicBezTo>
                <a:cubicBezTo>
                  <a:pt x="399707" y="183286"/>
                  <a:pt x="401364" y="183438"/>
                  <a:pt x="400279" y="188049"/>
                </a:cubicBezTo>
                <a:cubicBezTo>
                  <a:pt x="403746" y="188744"/>
                  <a:pt x="404222" y="185210"/>
                  <a:pt x="404812" y="181857"/>
                </a:cubicBezTo>
                <a:close/>
                <a:moveTo>
                  <a:pt x="420910" y="11855"/>
                </a:moveTo>
                <a:cubicBezTo>
                  <a:pt x="422024" y="8407"/>
                  <a:pt x="418605" y="8188"/>
                  <a:pt x="417157" y="6578"/>
                </a:cubicBezTo>
                <a:cubicBezTo>
                  <a:pt x="416023" y="10017"/>
                  <a:pt x="419452" y="10236"/>
                  <a:pt x="420910" y="11855"/>
                </a:cubicBezTo>
                <a:close/>
                <a:moveTo>
                  <a:pt x="388125" y="34144"/>
                </a:moveTo>
                <a:cubicBezTo>
                  <a:pt x="387669" y="35640"/>
                  <a:pt x="388384" y="37244"/>
                  <a:pt x="389801" y="37906"/>
                </a:cubicBezTo>
                <a:cubicBezTo>
                  <a:pt x="390252" y="36410"/>
                  <a:pt x="389539" y="34809"/>
                  <a:pt x="388125" y="34144"/>
                </a:cubicBezTo>
                <a:close/>
                <a:moveTo>
                  <a:pt x="337833" y="269078"/>
                </a:moveTo>
                <a:cubicBezTo>
                  <a:pt x="340690" y="270364"/>
                  <a:pt x="340404" y="267116"/>
                  <a:pt x="341786" y="266220"/>
                </a:cubicBezTo>
                <a:cubicBezTo>
                  <a:pt x="338909" y="264944"/>
                  <a:pt x="339223" y="268192"/>
                  <a:pt x="337852" y="269049"/>
                </a:cubicBezTo>
                <a:close/>
                <a:moveTo>
                  <a:pt x="334289" y="9902"/>
                </a:moveTo>
                <a:lnTo>
                  <a:pt x="332032" y="9521"/>
                </a:lnTo>
                <a:cubicBezTo>
                  <a:pt x="331899" y="10274"/>
                  <a:pt x="331775" y="11026"/>
                  <a:pt x="331651" y="11779"/>
                </a:cubicBezTo>
                <a:lnTo>
                  <a:pt x="333899" y="12160"/>
                </a:lnTo>
                <a:cubicBezTo>
                  <a:pt x="334032" y="11407"/>
                  <a:pt x="334156" y="10655"/>
                  <a:pt x="334289" y="9902"/>
                </a:cubicBezTo>
                <a:close/>
                <a:moveTo>
                  <a:pt x="322945" y="28857"/>
                </a:moveTo>
                <a:cubicBezTo>
                  <a:pt x="324850" y="31505"/>
                  <a:pt x="325241" y="28724"/>
                  <a:pt x="327650" y="28486"/>
                </a:cubicBezTo>
                <a:cubicBezTo>
                  <a:pt x="328270" y="25428"/>
                  <a:pt x="326155" y="25904"/>
                  <a:pt x="328412" y="23980"/>
                </a:cubicBezTo>
                <a:cubicBezTo>
                  <a:pt x="324305" y="24125"/>
                  <a:pt x="320679" y="26703"/>
                  <a:pt x="319192" y="30534"/>
                </a:cubicBezTo>
                <a:cubicBezTo>
                  <a:pt x="321345" y="31286"/>
                  <a:pt x="321678" y="29381"/>
                  <a:pt x="322945" y="28857"/>
                </a:cubicBezTo>
                <a:close/>
                <a:moveTo>
                  <a:pt x="318364" y="55899"/>
                </a:moveTo>
                <a:cubicBezTo>
                  <a:pt x="316802" y="55356"/>
                  <a:pt x="316773" y="53717"/>
                  <a:pt x="315363" y="53041"/>
                </a:cubicBezTo>
                <a:cubicBezTo>
                  <a:pt x="313982" y="55222"/>
                  <a:pt x="317421" y="58623"/>
                  <a:pt x="318364" y="55899"/>
                </a:cubicBezTo>
                <a:close/>
                <a:moveTo>
                  <a:pt x="278120" y="258934"/>
                </a:moveTo>
                <a:cubicBezTo>
                  <a:pt x="277454" y="261715"/>
                  <a:pt x="279254" y="262744"/>
                  <a:pt x="280740" y="264010"/>
                </a:cubicBezTo>
                <a:cubicBezTo>
                  <a:pt x="281559" y="261096"/>
                  <a:pt x="281149" y="259076"/>
                  <a:pt x="278120" y="258934"/>
                </a:cubicBezTo>
                <a:close/>
                <a:moveTo>
                  <a:pt x="316382" y="26600"/>
                </a:moveTo>
                <a:cubicBezTo>
                  <a:pt x="316287" y="28314"/>
                  <a:pt x="315268" y="30686"/>
                  <a:pt x="316744" y="31296"/>
                </a:cubicBezTo>
                <a:cubicBezTo>
                  <a:pt x="318459" y="30029"/>
                  <a:pt x="318945" y="27333"/>
                  <a:pt x="316382" y="26581"/>
                </a:cubicBezTo>
                <a:close/>
                <a:moveTo>
                  <a:pt x="312572" y="49136"/>
                </a:moveTo>
                <a:cubicBezTo>
                  <a:pt x="311201" y="47231"/>
                  <a:pt x="308496" y="46736"/>
                  <a:pt x="308762" y="50812"/>
                </a:cubicBezTo>
                <a:cubicBezTo>
                  <a:pt x="310272" y="51277"/>
                  <a:pt x="311893" y="50552"/>
                  <a:pt x="312553" y="49117"/>
                </a:cubicBezTo>
                <a:close/>
                <a:moveTo>
                  <a:pt x="243288" y="348069"/>
                </a:moveTo>
                <a:lnTo>
                  <a:pt x="242907" y="350316"/>
                </a:lnTo>
                <a:cubicBezTo>
                  <a:pt x="242849" y="351012"/>
                  <a:pt x="242849" y="351679"/>
                  <a:pt x="243859" y="351640"/>
                </a:cubicBezTo>
                <a:cubicBezTo>
                  <a:pt x="244040" y="350964"/>
                  <a:pt x="244250" y="350326"/>
                  <a:pt x="245183" y="350688"/>
                </a:cubicBezTo>
                <a:cubicBezTo>
                  <a:pt x="245278" y="351640"/>
                  <a:pt x="244831" y="352917"/>
                  <a:pt x="245916" y="353136"/>
                </a:cubicBezTo>
                <a:cubicBezTo>
                  <a:pt x="246717" y="350250"/>
                  <a:pt x="246316" y="348230"/>
                  <a:pt x="243288" y="348069"/>
                </a:cubicBezTo>
                <a:close/>
                <a:moveTo>
                  <a:pt x="230476" y="293719"/>
                </a:moveTo>
                <a:cubicBezTo>
                  <a:pt x="224142" y="291423"/>
                  <a:pt x="229181" y="298529"/>
                  <a:pt x="230476" y="293719"/>
                </a:cubicBezTo>
                <a:close/>
                <a:moveTo>
                  <a:pt x="153857" y="472008"/>
                </a:moveTo>
                <a:cubicBezTo>
                  <a:pt x="158086" y="472627"/>
                  <a:pt x="157286" y="471293"/>
                  <a:pt x="160620" y="473160"/>
                </a:cubicBezTo>
                <a:cubicBezTo>
                  <a:pt x="161903" y="471577"/>
                  <a:pt x="162264" y="469438"/>
                  <a:pt x="161573" y="467522"/>
                </a:cubicBezTo>
                <a:cubicBezTo>
                  <a:pt x="158334" y="468084"/>
                  <a:pt x="153724" y="466702"/>
                  <a:pt x="153857" y="472008"/>
                </a:cubicBezTo>
                <a:close/>
                <a:moveTo>
                  <a:pt x="154010" y="484790"/>
                </a:moveTo>
                <a:cubicBezTo>
                  <a:pt x="156867" y="485152"/>
                  <a:pt x="159839" y="485562"/>
                  <a:pt x="160220" y="482362"/>
                </a:cubicBezTo>
                <a:cubicBezTo>
                  <a:pt x="157833" y="481403"/>
                  <a:pt x="155113" y="482467"/>
                  <a:pt x="154010" y="484790"/>
                </a:cubicBezTo>
                <a:close/>
                <a:moveTo>
                  <a:pt x="163335" y="388978"/>
                </a:moveTo>
                <a:cubicBezTo>
                  <a:pt x="166249" y="389836"/>
                  <a:pt x="166640" y="387073"/>
                  <a:pt x="167478" y="385054"/>
                </a:cubicBezTo>
                <a:cubicBezTo>
                  <a:pt x="164535" y="384206"/>
                  <a:pt x="164144" y="386911"/>
                  <a:pt x="163335" y="388978"/>
                </a:cubicBezTo>
                <a:close/>
                <a:moveTo>
                  <a:pt x="163935" y="378653"/>
                </a:moveTo>
                <a:cubicBezTo>
                  <a:pt x="168002" y="375434"/>
                  <a:pt x="160344" y="374529"/>
                  <a:pt x="163935" y="378653"/>
                </a:cubicBezTo>
                <a:close/>
                <a:moveTo>
                  <a:pt x="128521" y="525681"/>
                </a:moveTo>
                <a:cubicBezTo>
                  <a:pt x="127140" y="527834"/>
                  <a:pt x="130578" y="531234"/>
                  <a:pt x="131521" y="528539"/>
                </a:cubicBezTo>
                <a:cubicBezTo>
                  <a:pt x="129997" y="527967"/>
                  <a:pt x="129931" y="526329"/>
                  <a:pt x="128521" y="525681"/>
                </a:cubicBezTo>
                <a:close/>
                <a:moveTo>
                  <a:pt x="135607" y="415582"/>
                </a:moveTo>
                <a:cubicBezTo>
                  <a:pt x="135484" y="418649"/>
                  <a:pt x="137922" y="419897"/>
                  <a:pt x="140475" y="421049"/>
                </a:cubicBezTo>
                <a:cubicBezTo>
                  <a:pt x="140799" y="417849"/>
                  <a:pt x="139332" y="415915"/>
                  <a:pt x="135607" y="415582"/>
                </a:cubicBezTo>
                <a:close/>
                <a:moveTo>
                  <a:pt x="125378" y="441671"/>
                </a:moveTo>
                <a:cubicBezTo>
                  <a:pt x="125711" y="439766"/>
                  <a:pt x="128616" y="441575"/>
                  <a:pt x="129188" y="439994"/>
                </a:cubicBezTo>
                <a:cubicBezTo>
                  <a:pt x="128349" y="439604"/>
                  <a:pt x="128035" y="438832"/>
                  <a:pt x="128435" y="437546"/>
                </a:cubicBezTo>
                <a:cubicBezTo>
                  <a:pt x="125759" y="435880"/>
                  <a:pt x="122768" y="440509"/>
                  <a:pt x="125378" y="441671"/>
                </a:cubicBezTo>
                <a:close/>
                <a:moveTo>
                  <a:pt x="105156" y="485771"/>
                </a:moveTo>
                <a:cubicBezTo>
                  <a:pt x="105823" y="482990"/>
                  <a:pt x="104013" y="481961"/>
                  <a:pt x="102537" y="480695"/>
                </a:cubicBezTo>
                <a:cubicBezTo>
                  <a:pt x="101717" y="483590"/>
                  <a:pt x="102118" y="485629"/>
                  <a:pt x="105156" y="485771"/>
                </a:cubicBezTo>
                <a:close/>
                <a:moveTo>
                  <a:pt x="103070" y="491220"/>
                </a:moveTo>
                <a:cubicBezTo>
                  <a:pt x="104023" y="488581"/>
                  <a:pt x="101432" y="488419"/>
                  <a:pt x="102899" y="485390"/>
                </a:cubicBezTo>
                <a:cubicBezTo>
                  <a:pt x="101670" y="485214"/>
                  <a:pt x="100541" y="484615"/>
                  <a:pt x="99708" y="483695"/>
                </a:cubicBezTo>
                <a:cubicBezTo>
                  <a:pt x="98689" y="484752"/>
                  <a:pt x="94431" y="488134"/>
                  <a:pt x="97431" y="490267"/>
                </a:cubicBezTo>
                <a:cubicBezTo>
                  <a:pt x="98031" y="485276"/>
                  <a:pt x="101479" y="490820"/>
                  <a:pt x="103070" y="491220"/>
                </a:cubicBezTo>
                <a:close/>
                <a:moveTo>
                  <a:pt x="37014" y="784914"/>
                </a:moveTo>
                <a:cubicBezTo>
                  <a:pt x="33557" y="783780"/>
                  <a:pt x="33518" y="787447"/>
                  <a:pt x="30794" y="787343"/>
                </a:cubicBezTo>
                <a:cubicBezTo>
                  <a:pt x="28708" y="787657"/>
                  <a:pt x="24413" y="784856"/>
                  <a:pt x="23851" y="787343"/>
                </a:cubicBezTo>
                <a:cubicBezTo>
                  <a:pt x="26118" y="788038"/>
                  <a:pt x="23270" y="792372"/>
                  <a:pt x="26460" y="792419"/>
                </a:cubicBezTo>
                <a:cubicBezTo>
                  <a:pt x="27138" y="791189"/>
                  <a:pt x="28122" y="790155"/>
                  <a:pt x="29318" y="789419"/>
                </a:cubicBezTo>
                <a:cubicBezTo>
                  <a:pt x="31375" y="791924"/>
                  <a:pt x="30166" y="796744"/>
                  <a:pt x="33614" y="798268"/>
                </a:cubicBezTo>
                <a:cubicBezTo>
                  <a:pt x="35081" y="795239"/>
                  <a:pt x="32528" y="795077"/>
                  <a:pt x="33442" y="792438"/>
                </a:cubicBezTo>
                <a:cubicBezTo>
                  <a:pt x="34871" y="792962"/>
                  <a:pt x="34271" y="790943"/>
                  <a:pt x="34957" y="790381"/>
                </a:cubicBezTo>
                <a:cubicBezTo>
                  <a:pt x="35643" y="789819"/>
                  <a:pt x="38148" y="791067"/>
                  <a:pt x="37586" y="788476"/>
                </a:cubicBezTo>
                <a:cubicBezTo>
                  <a:pt x="36281" y="788076"/>
                  <a:pt x="36652" y="786495"/>
                  <a:pt x="37014" y="784914"/>
                </a:cubicBezTo>
                <a:close/>
                <a:moveTo>
                  <a:pt x="29127" y="783580"/>
                </a:moveTo>
                <a:cubicBezTo>
                  <a:pt x="33004" y="784866"/>
                  <a:pt x="32566" y="780056"/>
                  <a:pt x="36452" y="781342"/>
                </a:cubicBezTo>
                <a:cubicBezTo>
                  <a:pt x="36319" y="782542"/>
                  <a:pt x="37748" y="782475"/>
                  <a:pt x="37776" y="780389"/>
                </a:cubicBezTo>
                <a:cubicBezTo>
                  <a:pt x="33271" y="779189"/>
                  <a:pt x="29851" y="779494"/>
                  <a:pt x="29127" y="783580"/>
                </a:cubicBezTo>
                <a:close/>
                <a:moveTo>
                  <a:pt x="27061" y="782066"/>
                </a:moveTo>
                <a:cubicBezTo>
                  <a:pt x="24965" y="780389"/>
                  <a:pt x="21346" y="782923"/>
                  <a:pt x="24422" y="783971"/>
                </a:cubicBezTo>
                <a:cubicBezTo>
                  <a:pt x="24679" y="782456"/>
                  <a:pt x="26565" y="783247"/>
                  <a:pt x="27061" y="782066"/>
                </a:cubicBezTo>
                <a:close/>
                <a:moveTo>
                  <a:pt x="678799" y="111296"/>
                </a:moveTo>
                <a:cubicBezTo>
                  <a:pt x="679475" y="111477"/>
                  <a:pt x="680104" y="111696"/>
                  <a:pt x="679752" y="112620"/>
                </a:cubicBezTo>
                <a:cubicBezTo>
                  <a:pt x="679133" y="112506"/>
                  <a:pt x="678313" y="113315"/>
                  <a:pt x="679561" y="113744"/>
                </a:cubicBezTo>
                <a:cubicBezTo>
                  <a:pt x="681971" y="113087"/>
                  <a:pt x="680809" y="108019"/>
                  <a:pt x="678799" y="111296"/>
                </a:cubicBezTo>
                <a:close/>
                <a:moveTo>
                  <a:pt x="677847" y="116935"/>
                </a:moveTo>
                <a:cubicBezTo>
                  <a:pt x="674703" y="114011"/>
                  <a:pt x="676246" y="117459"/>
                  <a:pt x="676142" y="120126"/>
                </a:cubicBezTo>
                <a:cubicBezTo>
                  <a:pt x="673745" y="120204"/>
                  <a:pt x="671404" y="119393"/>
                  <a:pt x="669569" y="117849"/>
                </a:cubicBezTo>
                <a:cubicBezTo>
                  <a:pt x="666112" y="116687"/>
                  <a:pt x="668198" y="123374"/>
                  <a:pt x="664293" y="121593"/>
                </a:cubicBezTo>
                <a:cubicBezTo>
                  <a:pt x="664045" y="123098"/>
                  <a:pt x="663788" y="124603"/>
                  <a:pt x="663531" y="126098"/>
                </a:cubicBezTo>
                <a:cubicBezTo>
                  <a:pt x="663312" y="129051"/>
                  <a:pt x="665740" y="124879"/>
                  <a:pt x="668045" y="126869"/>
                </a:cubicBezTo>
                <a:cubicBezTo>
                  <a:pt x="665369" y="129289"/>
                  <a:pt x="661978" y="132375"/>
                  <a:pt x="666702" y="134756"/>
                </a:cubicBezTo>
                <a:cubicBezTo>
                  <a:pt x="663673" y="138185"/>
                  <a:pt x="663359" y="134623"/>
                  <a:pt x="659940" y="133604"/>
                </a:cubicBezTo>
                <a:cubicBezTo>
                  <a:pt x="659206" y="136775"/>
                  <a:pt x="663378" y="136461"/>
                  <a:pt x="661045" y="140747"/>
                </a:cubicBezTo>
                <a:cubicBezTo>
                  <a:pt x="662140" y="140424"/>
                  <a:pt x="663235" y="140100"/>
                  <a:pt x="663683" y="138842"/>
                </a:cubicBezTo>
                <a:cubicBezTo>
                  <a:pt x="666255" y="140747"/>
                  <a:pt x="661568" y="144100"/>
                  <a:pt x="658406" y="142586"/>
                </a:cubicBezTo>
                <a:cubicBezTo>
                  <a:pt x="658406" y="144253"/>
                  <a:pt x="661702" y="143538"/>
                  <a:pt x="661406" y="145443"/>
                </a:cubicBezTo>
                <a:cubicBezTo>
                  <a:pt x="661492" y="147434"/>
                  <a:pt x="660168" y="147424"/>
                  <a:pt x="658778" y="147348"/>
                </a:cubicBezTo>
                <a:cubicBezTo>
                  <a:pt x="657501" y="147424"/>
                  <a:pt x="657625" y="149463"/>
                  <a:pt x="656139" y="149253"/>
                </a:cubicBezTo>
                <a:cubicBezTo>
                  <a:pt x="656139" y="150606"/>
                  <a:pt x="658044" y="150549"/>
                  <a:pt x="659321" y="150949"/>
                </a:cubicBezTo>
                <a:cubicBezTo>
                  <a:pt x="658921" y="152225"/>
                  <a:pt x="659235" y="152997"/>
                  <a:pt x="660073" y="153397"/>
                </a:cubicBezTo>
                <a:cubicBezTo>
                  <a:pt x="659263" y="155978"/>
                  <a:pt x="656158" y="155302"/>
                  <a:pt x="654806" y="157140"/>
                </a:cubicBezTo>
                <a:cubicBezTo>
                  <a:pt x="653434" y="157473"/>
                  <a:pt x="654501" y="154911"/>
                  <a:pt x="654053" y="154692"/>
                </a:cubicBezTo>
                <a:cubicBezTo>
                  <a:pt x="651424" y="153387"/>
                  <a:pt x="649205" y="157940"/>
                  <a:pt x="645595" y="156740"/>
                </a:cubicBezTo>
                <a:cubicBezTo>
                  <a:pt x="645043" y="161502"/>
                  <a:pt x="642861" y="161740"/>
                  <a:pt x="644071" y="165751"/>
                </a:cubicBezTo>
                <a:cubicBezTo>
                  <a:pt x="642605" y="166462"/>
                  <a:pt x="640923" y="166592"/>
                  <a:pt x="639366" y="166112"/>
                </a:cubicBezTo>
                <a:cubicBezTo>
                  <a:pt x="640073" y="167576"/>
                  <a:pt x="640202" y="169253"/>
                  <a:pt x="639728" y="170808"/>
                </a:cubicBezTo>
                <a:cubicBezTo>
                  <a:pt x="635422" y="170894"/>
                  <a:pt x="637594" y="166389"/>
                  <a:pt x="636175" y="164417"/>
                </a:cubicBezTo>
                <a:cubicBezTo>
                  <a:pt x="632917" y="164084"/>
                  <a:pt x="630003" y="163465"/>
                  <a:pt x="631117" y="160074"/>
                </a:cubicBezTo>
                <a:cubicBezTo>
                  <a:pt x="634460" y="159683"/>
                  <a:pt x="633765" y="162160"/>
                  <a:pt x="636556" y="162160"/>
                </a:cubicBezTo>
                <a:cubicBezTo>
                  <a:pt x="637651" y="161826"/>
                  <a:pt x="638737" y="161512"/>
                  <a:pt x="639194" y="160255"/>
                </a:cubicBezTo>
                <a:cubicBezTo>
                  <a:pt x="639194" y="158216"/>
                  <a:pt x="637404" y="160836"/>
                  <a:pt x="635813" y="159683"/>
                </a:cubicBezTo>
                <a:cubicBezTo>
                  <a:pt x="635422" y="159407"/>
                  <a:pt x="635727" y="156559"/>
                  <a:pt x="635260" y="156111"/>
                </a:cubicBezTo>
                <a:cubicBezTo>
                  <a:pt x="634308" y="155225"/>
                  <a:pt x="634136" y="157064"/>
                  <a:pt x="633946" y="157064"/>
                </a:cubicBezTo>
                <a:cubicBezTo>
                  <a:pt x="632270" y="157121"/>
                  <a:pt x="632946" y="155159"/>
                  <a:pt x="629431" y="156302"/>
                </a:cubicBezTo>
                <a:cubicBezTo>
                  <a:pt x="628917" y="161359"/>
                  <a:pt x="630688" y="167732"/>
                  <a:pt x="624145" y="166998"/>
                </a:cubicBezTo>
                <a:cubicBezTo>
                  <a:pt x="623830" y="168903"/>
                  <a:pt x="623507" y="170751"/>
                  <a:pt x="623192" y="172637"/>
                </a:cubicBezTo>
                <a:cubicBezTo>
                  <a:pt x="625097" y="175114"/>
                  <a:pt x="627355" y="171094"/>
                  <a:pt x="628079" y="171142"/>
                </a:cubicBezTo>
                <a:cubicBezTo>
                  <a:pt x="629603" y="171246"/>
                  <a:pt x="628155" y="173047"/>
                  <a:pt x="628821" y="173590"/>
                </a:cubicBezTo>
                <a:cubicBezTo>
                  <a:pt x="630479" y="175056"/>
                  <a:pt x="631860" y="172866"/>
                  <a:pt x="634641" y="173418"/>
                </a:cubicBezTo>
                <a:cubicBezTo>
                  <a:pt x="634898" y="176057"/>
                  <a:pt x="631203" y="173961"/>
                  <a:pt x="630698" y="176276"/>
                </a:cubicBezTo>
                <a:cubicBezTo>
                  <a:pt x="630346" y="177800"/>
                  <a:pt x="627507" y="176685"/>
                  <a:pt x="625993" y="176638"/>
                </a:cubicBezTo>
                <a:cubicBezTo>
                  <a:pt x="624792" y="178447"/>
                  <a:pt x="626354" y="179495"/>
                  <a:pt x="626545" y="180209"/>
                </a:cubicBezTo>
                <a:cubicBezTo>
                  <a:pt x="626627" y="181411"/>
                  <a:pt x="626812" y="182602"/>
                  <a:pt x="627097" y="183772"/>
                </a:cubicBezTo>
                <a:cubicBezTo>
                  <a:pt x="627840" y="184867"/>
                  <a:pt x="630793" y="184496"/>
                  <a:pt x="630098" y="186629"/>
                </a:cubicBezTo>
                <a:cubicBezTo>
                  <a:pt x="631717" y="186801"/>
                  <a:pt x="633327" y="186982"/>
                  <a:pt x="633289" y="188325"/>
                </a:cubicBezTo>
                <a:cubicBezTo>
                  <a:pt x="637813" y="188734"/>
                  <a:pt x="632689" y="184200"/>
                  <a:pt x="637242" y="185515"/>
                </a:cubicBezTo>
                <a:cubicBezTo>
                  <a:pt x="637051" y="187563"/>
                  <a:pt x="635460" y="187668"/>
                  <a:pt x="635337" y="189830"/>
                </a:cubicBezTo>
                <a:cubicBezTo>
                  <a:pt x="631631" y="189887"/>
                  <a:pt x="632212" y="187125"/>
                  <a:pt x="629707" y="188877"/>
                </a:cubicBezTo>
                <a:cubicBezTo>
                  <a:pt x="628202" y="192582"/>
                  <a:pt x="634041" y="191087"/>
                  <a:pt x="632127" y="195088"/>
                </a:cubicBezTo>
                <a:cubicBezTo>
                  <a:pt x="630584" y="193383"/>
                  <a:pt x="630803" y="194135"/>
                  <a:pt x="628564" y="195640"/>
                </a:cubicBezTo>
                <a:cubicBezTo>
                  <a:pt x="626659" y="196897"/>
                  <a:pt x="623611" y="198231"/>
                  <a:pt x="623097" y="200507"/>
                </a:cubicBezTo>
                <a:cubicBezTo>
                  <a:pt x="621192" y="200507"/>
                  <a:pt x="621344" y="199117"/>
                  <a:pt x="619906" y="198812"/>
                </a:cubicBezTo>
                <a:cubicBezTo>
                  <a:pt x="621935" y="202393"/>
                  <a:pt x="617830" y="204184"/>
                  <a:pt x="619506" y="208013"/>
                </a:cubicBezTo>
                <a:cubicBezTo>
                  <a:pt x="616306" y="208013"/>
                  <a:pt x="619154" y="203631"/>
                  <a:pt x="616887" y="202936"/>
                </a:cubicBezTo>
                <a:cubicBezTo>
                  <a:pt x="612467" y="204279"/>
                  <a:pt x="618354" y="206384"/>
                  <a:pt x="617058" y="208765"/>
                </a:cubicBezTo>
                <a:lnTo>
                  <a:pt x="613677" y="208184"/>
                </a:lnTo>
                <a:cubicBezTo>
                  <a:pt x="612724" y="210499"/>
                  <a:pt x="614925" y="210604"/>
                  <a:pt x="616677" y="211042"/>
                </a:cubicBezTo>
                <a:cubicBezTo>
                  <a:pt x="616468" y="213537"/>
                  <a:pt x="615144" y="214471"/>
                  <a:pt x="612724" y="213852"/>
                </a:cubicBezTo>
                <a:cubicBezTo>
                  <a:pt x="614848" y="216709"/>
                  <a:pt x="611134" y="217538"/>
                  <a:pt x="611381" y="221738"/>
                </a:cubicBezTo>
                <a:cubicBezTo>
                  <a:pt x="609752" y="222091"/>
                  <a:pt x="607304" y="220214"/>
                  <a:pt x="605752" y="220786"/>
                </a:cubicBezTo>
                <a:cubicBezTo>
                  <a:pt x="603714" y="221529"/>
                  <a:pt x="602742" y="230159"/>
                  <a:pt x="603114" y="222691"/>
                </a:cubicBezTo>
                <a:cubicBezTo>
                  <a:pt x="599256" y="224710"/>
                  <a:pt x="594817" y="225891"/>
                  <a:pt x="593503" y="231492"/>
                </a:cubicBezTo>
                <a:cubicBezTo>
                  <a:pt x="591776" y="229616"/>
                  <a:pt x="588997" y="229145"/>
                  <a:pt x="586750" y="230349"/>
                </a:cubicBezTo>
                <a:cubicBezTo>
                  <a:pt x="586483" y="232540"/>
                  <a:pt x="591512" y="229139"/>
                  <a:pt x="590864" y="233368"/>
                </a:cubicBezTo>
                <a:cubicBezTo>
                  <a:pt x="591817" y="231921"/>
                  <a:pt x="595236" y="233930"/>
                  <a:pt x="595751" y="231873"/>
                </a:cubicBezTo>
                <a:cubicBezTo>
                  <a:pt x="598608" y="232473"/>
                  <a:pt x="597713" y="236531"/>
                  <a:pt x="595922" y="237702"/>
                </a:cubicBezTo>
                <a:cubicBezTo>
                  <a:pt x="594617" y="238112"/>
                  <a:pt x="595560" y="235388"/>
                  <a:pt x="595179" y="235254"/>
                </a:cubicBezTo>
                <a:cubicBezTo>
                  <a:pt x="593827" y="234788"/>
                  <a:pt x="594389" y="236931"/>
                  <a:pt x="593674" y="237321"/>
                </a:cubicBezTo>
                <a:cubicBezTo>
                  <a:pt x="592160" y="238150"/>
                  <a:pt x="588912" y="236636"/>
                  <a:pt x="587845" y="237493"/>
                </a:cubicBezTo>
                <a:cubicBezTo>
                  <a:pt x="588438" y="238583"/>
                  <a:pt x="588637" y="239845"/>
                  <a:pt x="588407" y="241065"/>
                </a:cubicBezTo>
                <a:cubicBezTo>
                  <a:pt x="591055" y="241541"/>
                  <a:pt x="592055" y="239684"/>
                  <a:pt x="595351" y="241065"/>
                </a:cubicBezTo>
                <a:cubicBezTo>
                  <a:pt x="595284" y="242617"/>
                  <a:pt x="588588" y="241417"/>
                  <a:pt x="592493" y="244065"/>
                </a:cubicBezTo>
                <a:cubicBezTo>
                  <a:pt x="591779" y="246322"/>
                  <a:pt x="589093" y="245799"/>
                  <a:pt x="587407" y="246675"/>
                </a:cubicBezTo>
                <a:cubicBezTo>
                  <a:pt x="587131" y="248351"/>
                  <a:pt x="588769" y="247046"/>
                  <a:pt x="588540" y="246865"/>
                </a:cubicBezTo>
                <a:cubicBezTo>
                  <a:pt x="591693" y="249256"/>
                  <a:pt x="586969" y="248389"/>
                  <a:pt x="587588" y="252504"/>
                </a:cubicBezTo>
                <a:cubicBezTo>
                  <a:pt x="580920" y="250418"/>
                  <a:pt x="581997" y="257219"/>
                  <a:pt x="580615" y="259438"/>
                </a:cubicBezTo>
                <a:cubicBezTo>
                  <a:pt x="578996" y="259257"/>
                  <a:pt x="577386" y="259086"/>
                  <a:pt x="577425" y="257733"/>
                </a:cubicBezTo>
                <a:cubicBezTo>
                  <a:pt x="574805" y="256781"/>
                  <a:pt x="577177" y="262972"/>
                  <a:pt x="573472" y="260543"/>
                </a:cubicBezTo>
                <a:cubicBezTo>
                  <a:pt x="572129" y="263477"/>
                  <a:pt x="575329" y="263191"/>
                  <a:pt x="574958" y="265439"/>
                </a:cubicBezTo>
                <a:cubicBezTo>
                  <a:pt x="574519" y="268061"/>
                  <a:pt x="574075" y="270687"/>
                  <a:pt x="573624" y="273316"/>
                </a:cubicBezTo>
                <a:cubicBezTo>
                  <a:pt x="573834" y="275078"/>
                  <a:pt x="575139" y="273116"/>
                  <a:pt x="577005" y="273897"/>
                </a:cubicBezTo>
                <a:cubicBezTo>
                  <a:pt x="576663" y="276755"/>
                  <a:pt x="578558" y="277784"/>
                  <a:pt x="575100" y="278212"/>
                </a:cubicBezTo>
                <a:cubicBezTo>
                  <a:pt x="576891" y="281194"/>
                  <a:pt x="574596" y="279412"/>
                  <a:pt x="573396" y="281403"/>
                </a:cubicBezTo>
                <a:cubicBezTo>
                  <a:pt x="571214" y="280936"/>
                  <a:pt x="576586" y="276983"/>
                  <a:pt x="570538" y="277450"/>
                </a:cubicBezTo>
                <a:cubicBezTo>
                  <a:pt x="568947" y="277536"/>
                  <a:pt x="569119" y="280108"/>
                  <a:pt x="568633" y="281765"/>
                </a:cubicBezTo>
                <a:cubicBezTo>
                  <a:pt x="569374" y="282957"/>
                  <a:pt x="570407" y="283941"/>
                  <a:pt x="571633" y="284623"/>
                </a:cubicBezTo>
                <a:cubicBezTo>
                  <a:pt x="568690" y="287785"/>
                  <a:pt x="565918" y="283079"/>
                  <a:pt x="564299" y="286851"/>
                </a:cubicBezTo>
                <a:cubicBezTo>
                  <a:pt x="562242" y="286328"/>
                  <a:pt x="564252" y="282918"/>
                  <a:pt x="562813" y="281965"/>
                </a:cubicBezTo>
                <a:lnTo>
                  <a:pt x="558298" y="281194"/>
                </a:lnTo>
                <a:cubicBezTo>
                  <a:pt x="556546" y="281403"/>
                  <a:pt x="558498" y="282718"/>
                  <a:pt x="557727" y="284575"/>
                </a:cubicBezTo>
                <a:cubicBezTo>
                  <a:pt x="556022" y="285680"/>
                  <a:pt x="555879" y="284718"/>
                  <a:pt x="554355" y="284003"/>
                </a:cubicBezTo>
                <a:cubicBezTo>
                  <a:pt x="554412" y="284956"/>
                  <a:pt x="555308" y="285318"/>
                  <a:pt x="555098" y="286451"/>
                </a:cubicBezTo>
                <a:cubicBezTo>
                  <a:pt x="558251" y="287185"/>
                  <a:pt x="557955" y="283013"/>
                  <a:pt x="562242" y="285346"/>
                </a:cubicBezTo>
                <a:cubicBezTo>
                  <a:pt x="562242" y="287375"/>
                  <a:pt x="561623" y="288023"/>
                  <a:pt x="560537" y="288528"/>
                </a:cubicBezTo>
                <a:cubicBezTo>
                  <a:pt x="560727" y="288433"/>
                  <a:pt x="557136" y="289099"/>
                  <a:pt x="558089" y="289280"/>
                </a:cubicBezTo>
                <a:cubicBezTo>
                  <a:pt x="557136" y="289099"/>
                  <a:pt x="557194" y="287804"/>
                  <a:pt x="556031" y="287766"/>
                </a:cubicBezTo>
                <a:cubicBezTo>
                  <a:pt x="553745" y="287699"/>
                  <a:pt x="552355" y="289318"/>
                  <a:pt x="550202" y="287937"/>
                </a:cubicBezTo>
                <a:cubicBezTo>
                  <a:pt x="549916" y="291747"/>
                  <a:pt x="554774" y="291966"/>
                  <a:pt x="558641" y="292843"/>
                </a:cubicBezTo>
                <a:cubicBezTo>
                  <a:pt x="560213" y="293795"/>
                  <a:pt x="558289" y="295310"/>
                  <a:pt x="558260" y="295100"/>
                </a:cubicBezTo>
                <a:cubicBezTo>
                  <a:pt x="558384" y="295891"/>
                  <a:pt x="560165" y="297529"/>
                  <a:pt x="560165" y="297738"/>
                </a:cubicBezTo>
                <a:cubicBezTo>
                  <a:pt x="560165" y="299234"/>
                  <a:pt x="557127" y="300872"/>
                  <a:pt x="559403" y="302244"/>
                </a:cubicBezTo>
                <a:cubicBezTo>
                  <a:pt x="559127" y="304758"/>
                  <a:pt x="554746" y="301510"/>
                  <a:pt x="553383" y="303549"/>
                </a:cubicBezTo>
                <a:cubicBezTo>
                  <a:pt x="551278" y="306673"/>
                  <a:pt x="553964" y="305044"/>
                  <a:pt x="549812" y="304101"/>
                </a:cubicBezTo>
                <a:cubicBezTo>
                  <a:pt x="548650" y="306320"/>
                  <a:pt x="550450" y="307283"/>
                  <a:pt x="550174" y="308797"/>
                </a:cubicBezTo>
                <a:cubicBezTo>
                  <a:pt x="549697" y="311388"/>
                  <a:pt x="547592" y="311007"/>
                  <a:pt x="546964" y="314055"/>
                </a:cubicBezTo>
                <a:cubicBezTo>
                  <a:pt x="550955" y="315960"/>
                  <a:pt x="549459" y="310121"/>
                  <a:pt x="553164" y="311626"/>
                </a:cubicBezTo>
                <a:cubicBezTo>
                  <a:pt x="553224" y="314826"/>
                  <a:pt x="550715" y="317489"/>
                  <a:pt x="547516" y="317617"/>
                </a:cubicBezTo>
                <a:cubicBezTo>
                  <a:pt x="546116" y="320922"/>
                  <a:pt x="547973" y="321922"/>
                  <a:pt x="547516" y="324570"/>
                </a:cubicBezTo>
                <a:cubicBezTo>
                  <a:pt x="545192" y="327428"/>
                  <a:pt x="541915" y="320999"/>
                  <a:pt x="539439" y="324361"/>
                </a:cubicBezTo>
                <a:cubicBezTo>
                  <a:pt x="539829" y="325856"/>
                  <a:pt x="543935" y="324266"/>
                  <a:pt x="542049" y="329438"/>
                </a:cubicBezTo>
                <a:cubicBezTo>
                  <a:pt x="543889" y="328598"/>
                  <a:pt x="545991" y="328536"/>
                  <a:pt x="547878" y="329266"/>
                </a:cubicBezTo>
                <a:cubicBezTo>
                  <a:pt x="547440" y="332124"/>
                  <a:pt x="546811" y="330504"/>
                  <a:pt x="545430" y="330019"/>
                </a:cubicBezTo>
                <a:cubicBezTo>
                  <a:pt x="543401" y="329952"/>
                  <a:pt x="542573" y="331524"/>
                  <a:pt x="542411" y="334143"/>
                </a:cubicBezTo>
                <a:cubicBezTo>
                  <a:pt x="539810" y="334334"/>
                  <a:pt x="541172" y="331714"/>
                  <a:pt x="539410" y="331285"/>
                </a:cubicBezTo>
                <a:cubicBezTo>
                  <a:pt x="533819" y="328980"/>
                  <a:pt x="536905" y="338906"/>
                  <a:pt x="532438" y="338220"/>
                </a:cubicBezTo>
                <a:cubicBezTo>
                  <a:pt x="532981" y="339487"/>
                  <a:pt x="534838" y="339820"/>
                  <a:pt x="534124" y="342030"/>
                </a:cubicBezTo>
                <a:cubicBezTo>
                  <a:pt x="535162" y="343125"/>
                  <a:pt x="536458" y="341249"/>
                  <a:pt x="536572" y="341287"/>
                </a:cubicBezTo>
                <a:cubicBezTo>
                  <a:pt x="537934" y="341744"/>
                  <a:pt x="537658" y="343401"/>
                  <a:pt x="538477" y="343925"/>
                </a:cubicBezTo>
                <a:cubicBezTo>
                  <a:pt x="539610" y="344678"/>
                  <a:pt x="539429" y="342973"/>
                  <a:pt x="539782" y="342973"/>
                </a:cubicBezTo>
                <a:cubicBezTo>
                  <a:pt x="540534" y="342973"/>
                  <a:pt x="542639" y="345983"/>
                  <a:pt x="543163" y="343544"/>
                </a:cubicBezTo>
                <a:cubicBezTo>
                  <a:pt x="546821" y="344497"/>
                  <a:pt x="540239" y="349192"/>
                  <a:pt x="540525" y="345449"/>
                </a:cubicBezTo>
                <a:cubicBezTo>
                  <a:pt x="539258" y="345992"/>
                  <a:pt x="538925" y="347840"/>
                  <a:pt x="536762" y="347126"/>
                </a:cubicBezTo>
                <a:cubicBezTo>
                  <a:pt x="536543" y="347535"/>
                  <a:pt x="539191" y="352183"/>
                  <a:pt x="536000" y="351631"/>
                </a:cubicBezTo>
                <a:cubicBezTo>
                  <a:pt x="532981" y="351126"/>
                  <a:pt x="536115" y="353850"/>
                  <a:pt x="535229" y="356146"/>
                </a:cubicBezTo>
                <a:cubicBezTo>
                  <a:pt x="531333" y="354365"/>
                  <a:pt x="533429" y="361051"/>
                  <a:pt x="529962" y="359889"/>
                </a:cubicBezTo>
                <a:cubicBezTo>
                  <a:pt x="529742" y="364223"/>
                  <a:pt x="526847" y="364794"/>
                  <a:pt x="525199" y="367204"/>
                </a:cubicBezTo>
                <a:cubicBezTo>
                  <a:pt x="521989" y="367500"/>
                  <a:pt x="523294" y="364575"/>
                  <a:pt x="521084" y="364185"/>
                </a:cubicBezTo>
                <a:cubicBezTo>
                  <a:pt x="522199" y="366471"/>
                  <a:pt x="519103" y="369700"/>
                  <a:pt x="520684" y="373386"/>
                </a:cubicBezTo>
                <a:cubicBezTo>
                  <a:pt x="517827" y="373034"/>
                  <a:pt x="516826" y="374910"/>
                  <a:pt x="515045" y="372434"/>
                </a:cubicBezTo>
                <a:cubicBezTo>
                  <a:pt x="515150" y="374662"/>
                  <a:pt x="514636" y="377348"/>
                  <a:pt x="517665" y="377510"/>
                </a:cubicBezTo>
                <a:cubicBezTo>
                  <a:pt x="517446" y="380006"/>
                  <a:pt x="516141" y="380939"/>
                  <a:pt x="513702" y="380368"/>
                </a:cubicBezTo>
                <a:cubicBezTo>
                  <a:pt x="513407" y="382016"/>
                  <a:pt x="517855" y="384749"/>
                  <a:pt x="513131" y="383749"/>
                </a:cubicBezTo>
                <a:cubicBezTo>
                  <a:pt x="513645" y="386997"/>
                  <a:pt x="516941" y="382797"/>
                  <a:pt x="519894" y="384902"/>
                </a:cubicBezTo>
                <a:cubicBezTo>
                  <a:pt x="520446" y="388474"/>
                  <a:pt x="517036" y="386464"/>
                  <a:pt x="515007" y="386388"/>
                </a:cubicBezTo>
                <a:cubicBezTo>
                  <a:pt x="515625" y="388203"/>
                  <a:pt x="516507" y="389917"/>
                  <a:pt x="517627" y="391474"/>
                </a:cubicBezTo>
                <a:cubicBezTo>
                  <a:pt x="517731" y="394512"/>
                  <a:pt x="515617" y="393265"/>
                  <a:pt x="514598" y="395598"/>
                </a:cubicBezTo>
                <a:cubicBezTo>
                  <a:pt x="514436" y="395979"/>
                  <a:pt x="514598" y="397646"/>
                  <a:pt x="514217" y="397846"/>
                </a:cubicBezTo>
                <a:cubicBezTo>
                  <a:pt x="513836" y="398046"/>
                  <a:pt x="508997" y="393789"/>
                  <a:pt x="510645" y="398399"/>
                </a:cubicBezTo>
                <a:cubicBezTo>
                  <a:pt x="509064" y="398037"/>
                  <a:pt x="507483" y="397675"/>
                  <a:pt x="507082" y="398951"/>
                </a:cubicBezTo>
                <a:cubicBezTo>
                  <a:pt x="505787" y="398551"/>
                  <a:pt x="506473" y="396732"/>
                  <a:pt x="506520" y="395379"/>
                </a:cubicBezTo>
                <a:cubicBezTo>
                  <a:pt x="506759" y="393227"/>
                  <a:pt x="502930" y="393970"/>
                  <a:pt x="503663" y="391426"/>
                </a:cubicBezTo>
                <a:cubicBezTo>
                  <a:pt x="502577" y="391426"/>
                  <a:pt x="501606" y="394160"/>
                  <a:pt x="501758" y="395741"/>
                </a:cubicBezTo>
                <a:cubicBezTo>
                  <a:pt x="501758" y="396189"/>
                  <a:pt x="503663" y="398170"/>
                  <a:pt x="503663" y="398380"/>
                </a:cubicBezTo>
                <a:cubicBezTo>
                  <a:pt x="503663" y="398999"/>
                  <a:pt x="502244" y="400285"/>
                  <a:pt x="501968" y="401570"/>
                </a:cubicBezTo>
                <a:cubicBezTo>
                  <a:pt x="501529" y="403571"/>
                  <a:pt x="503168" y="405380"/>
                  <a:pt x="502139" y="407400"/>
                </a:cubicBezTo>
                <a:cubicBezTo>
                  <a:pt x="496643" y="407990"/>
                  <a:pt x="499005" y="403018"/>
                  <a:pt x="493509" y="403590"/>
                </a:cubicBezTo>
                <a:cubicBezTo>
                  <a:pt x="494605" y="405495"/>
                  <a:pt x="497519" y="406028"/>
                  <a:pt x="498567" y="407924"/>
                </a:cubicBezTo>
                <a:lnTo>
                  <a:pt x="496853" y="418068"/>
                </a:lnTo>
                <a:cubicBezTo>
                  <a:pt x="493509" y="418496"/>
                  <a:pt x="491604" y="420925"/>
                  <a:pt x="487251" y="419973"/>
                </a:cubicBezTo>
                <a:cubicBezTo>
                  <a:pt x="487737" y="416458"/>
                  <a:pt x="491347" y="417353"/>
                  <a:pt x="490842" y="412467"/>
                </a:cubicBezTo>
                <a:lnTo>
                  <a:pt x="488594" y="412077"/>
                </a:lnTo>
                <a:cubicBezTo>
                  <a:pt x="487280" y="412077"/>
                  <a:pt x="487775" y="413105"/>
                  <a:pt x="488404" y="413210"/>
                </a:cubicBezTo>
                <a:cubicBezTo>
                  <a:pt x="487099" y="414163"/>
                  <a:pt x="485794" y="415115"/>
                  <a:pt x="484451" y="416010"/>
                </a:cubicBezTo>
                <a:cubicBezTo>
                  <a:pt x="483786" y="417451"/>
                  <a:pt x="482155" y="418173"/>
                  <a:pt x="480641" y="417696"/>
                </a:cubicBezTo>
                <a:cubicBezTo>
                  <a:pt x="482070" y="414372"/>
                  <a:pt x="477917" y="415010"/>
                  <a:pt x="479336" y="411677"/>
                </a:cubicBezTo>
                <a:cubicBezTo>
                  <a:pt x="481784" y="411391"/>
                  <a:pt x="483908" y="410657"/>
                  <a:pt x="483680" y="406619"/>
                </a:cubicBezTo>
                <a:cubicBezTo>
                  <a:pt x="482489" y="404818"/>
                  <a:pt x="478917" y="402371"/>
                  <a:pt x="478050" y="405666"/>
                </a:cubicBezTo>
                <a:cubicBezTo>
                  <a:pt x="477641" y="404809"/>
                  <a:pt x="476002" y="403123"/>
                  <a:pt x="476364" y="401856"/>
                </a:cubicBezTo>
                <a:cubicBezTo>
                  <a:pt x="476926" y="399894"/>
                  <a:pt x="478126" y="400599"/>
                  <a:pt x="479384" y="397741"/>
                </a:cubicBezTo>
                <a:cubicBezTo>
                  <a:pt x="479584" y="397275"/>
                  <a:pt x="480755" y="396522"/>
                  <a:pt x="480698" y="396789"/>
                </a:cubicBezTo>
                <a:cubicBezTo>
                  <a:pt x="480870" y="395894"/>
                  <a:pt x="479374" y="394684"/>
                  <a:pt x="480146" y="393217"/>
                </a:cubicBezTo>
                <a:cubicBezTo>
                  <a:pt x="480498" y="392550"/>
                  <a:pt x="483851" y="392865"/>
                  <a:pt x="483156" y="389093"/>
                </a:cubicBezTo>
                <a:cubicBezTo>
                  <a:pt x="480851" y="388140"/>
                  <a:pt x="480755" y="390340"/>
                  <a:pt x="480298" y="392093"/>
                </a:cubicBezTo>
                <a:cubicBezTo>
                  <a:pt x="477831" y="393046"/>
                  <a:pt x="478946" y="389750"/>
                  <a:pt x="478393" y="389455"/>
                </a:cubicBezTo>
                <a:cubicBezTo>
                  <a:pt x="476669" y="388502"/>
                  <a:pt x="475536" y="390807"/>
                  <a:pt x="473688" y="389817"/>
                </a:cubicBezTo>
                <a:cubicBezTo>
                  <a:pt x="472945" y="387264"/>
                  <a:pt x="475783" y="388578"/>
                  <a:pt x="476326" y="387912"/>
                </a:cubicBezTo>
                <a:cubicBezTo>
                  <a:pt x="478288" y="385645"/>
                  <a:pt x="477145" y="383854"/>
                  <a:pt x="477469" y="381149"/>
                </a:cubicBezTo>
                <a:cubicBezTo>
                  <a:pt x="479689" y="382101"/>
                  <a:pt x="484137" y="381949"/>
                  <a:pt x="484803" y="378910"/>
                </a:cubicBezTo>
                <a:cubicBezTo>
                  <a:pt x="485146" y="377377"/>
                  <a:pt x="486499" y="378910"/>
                  <a:pt x="487251" y="378168"/>
                </a:cubicBezTo>
                <a:cubicBezTo>
                  <a:pt x="488004" y="377425"/>
                  <a:pt x="486404" y="376701"/>
                  <a:pt x="486299" y="376844"/>
                </a:cubicBezTo>
                <a:cubicBezTo>
                  <a:pt x="488204" y="373824"/>
                  <a:pt x="492290" y="373243"/>
                  <a:pt x="493271" y="369919"/>
                </a:cubicBezTo>
                <a:cubicBezTo>
                  <a:pt x="493284" y="369283"/>
                  <a:pt x="492779" y="368756"/>
                  <a:pt x="492142" y="368744"/>
                </a:cubicBezTo>
                <a:cubicBezTo>
                  <a:pt x="491635" y="368733"/>
                  <a:pt x="491180" y="369056"/>
                  <a:pt x="491023" y="369538"/>
                </a:cubicBezTo>
                <a:cubicBezTo>
                  <a:pt x="489595" y="368785"/>
                  <a:pt x="491128" y="368528"/>
                  <a:pt x="491404" y="367280"/>
                </a:cubicBezTo>
                <a:cubicBezTo>
                  <a:pt x="491328" y="367604"/>
                  <a:pt x="489680" y="366395"/>
                  <a:pt x="490452" y="365966"/>
                </a:cubicBezTo>
                <a:cubicBezTo>
                  <a:pt x="492890" y="364613"/>
                  <a:pt x="491052" y="361585"/>
                  <a:pt x="493862" y="359584"/>
                </a:cubicBezTo>
                <a:cubicBezTo>
                  <a:pt x="496862" y="357451"/>
                  <a:pt x="491500" y="358756"/>
                  <a:pt x="493690" y="353764"/>
                </a:cubicBezTo>
                <a:cubicBezTo>
                  <a:pt x="494186" y="352265"/>
                  <a:pt x="494824" y="350817"/>
                  <a:pt x="495595" y="349440"/>
                </a:cubicBezTo>
                <a:cubicBezTo>
                  <a:pt x="497215" y="347535"/>
                  <a:pt x="500596" y="348831"/>
                  <a:pt x="498805" y="344192"/>
                </a:cubicBezTo>
                <a:cubicBezTo>
                  <a:pt x="501853" y="348326"/>
                  <a:pt x="500710" y="338639"/>
                  <a:pt x="506139" y="341954"/>
                </a:cubicBezTo>
                <a:cubicBezTo>
                  <a:pt x="506775" y="339534"/>
                  <a:pt x="505822" y="338217"/>
                  <a:pt x="503282" y="338001"/>
                </a:cubicBezTo>
                <a:cubicBezTo>
                  <a:pt x="503053" y="334419"/>
                  <a:pt x="505787" y="335019"/>
                  <a:pt x="505558" y="331438"/>
                </a:cubicBezTo>
                <a:cubicBezTo>
                  <a:pt x="506816" y="333038"/>
                  <a:pt x="507254" y="332171"/>
                  <a:pt x="508940" y="332009"/>
                </a:cubicBezTo>
                <a:lnTo>
                  <a:pt x="509711" y="327504"/>
                </a:lnTo>
                <a:cubicBezTo>
                  <a:pt x="512474" y="328142"/>
                  <a:pt x="513521" y="326323"/>
                  <a:pt x="515722" y="326199"/>
                </a:cubicBezTo>
                <a:cubicBezTo>
                  <a:pt x="516045" y="324294"/>
                  <a:pt x="516363" y="322418"/>
                  <a:pt x="516674" y="320570"/>
                </a:cubicBezTo>
                <a:cubicBezTo>
                  <a:pt x="518350" y="320243"/>
                  <a:pt x="519797" y="319199"/>
                  <a:pt x="520636" y="317712"/>
                </a:cubicBezTo>
                <a:cubicBezTo>
                  <a:pt x="524218" y="318112"/>
                  <a:pt x="527495" y="318055"/>
                  <a:pt x="528161" y="314350"/>
                </a:cubicBezTo>
                <a:cubicBezTo>
                  <a:pt x="526313" y="313617"/>
                  <a:pt x="525885" y="314874"/>
                  <a:pt x="525523" y="316255"/>
                </a:cubicBezTo>
                <a:cubicBezTo>
                  <a:pt x="523183" y="314770"/>
                  <a:pt x="521146" y="312853"/>
                  <a:pt x="519522" y="310607"/>
                </a:cubicBezTo>
                <a:cubicBezTo>
                  <a:pt x="516969" y="312188"/>
                  <a:pt x="517322" y="309378"/>
                  <a:pt x="515407" y="307587"/>
                </a:cubicBezTo>
                <a:cubicBezTo>
                  <a:pt x="513502" y="306978"/>
                  <a:pt x="513159" y="305216"/>
                  <a:pt x="513912" y="302701"/>
                </a:cubicBezTo>
                <a:cubicBezTo>
                  <a:pt x="517284" y="302320"/>
                  <a:pt x="520665" y="301977"/>
                  <a:pt x="520694" y="296891"/>
                </a:cubicBezTo>
                <a:cubicBezTo>
                  <a:pt x="524504" y="294567"/>
                  <a:pt x="527361" y="298205"/>
                  <a:pt x="529152" y="294852"/>
                </a:cubicBezTo>
                <a:cubicBezTo>
                  <a:pt x="526628" y="290795"/>
                  <a:pt x="522599" y="293690"/>
                  <a:pt x="520713" y="289937"/>
                </a:cubicBezTo>
                <a:cubicBezTo>
                  <a:pt x="523325" y="288854"/>
                  <a:pt x="526190" y="288525"/>
                  <a:pt x="528980" y="288985"/>
                </a:cubicBezTo>
                <a:cubicBezTo>
                  <a:pt x="529723" y="287775"/>
                  <a:pt x="527018" y="288032"/>
                  <a:pt x="526923" y="287470"/>
                </a:cubicBezTo>
                <a:cubicBezTo>
                  <a:pt x="526590" y="285718"/>
                  <a:pt x="528457" y="285565"/>
                  <a:pt x="528619" y="284289"/>
                </a:cubicBezTo>
                <a:cubicBezTo>
                  <a:pt x="528780" y="283013"/>
                  <a:pt x="526885" y="282460"/>
                  <a:pt x="526713" y="281651"/>
                </a:cubicBezTo>
                <a:cubicBezTo>
                  <a:pt x="526609" y="281051"/>
                  <a:pt x="529781" y="278736"/>
                  <a:pt x="527285" y="278269"/>
                </a:cubicBezTo>
                <a:cubicBezTo>
                  <a:pt x="529552" y="277317"/>
                  <a:pt x="528523" y="275831"/>
                  <a:pt x="530495" y="273021"/>
                </a:cubicBezTo>
                <a:cubicBezTo>
                  <a:pt x="531295" y="272732"/>
                  <a:pt x="532108" y="272485"/>
                  <a:pt x="532933" y="272278"/>
                </a:cubicBezTo>
                <a:cubicBezTo>
                  <a:pt x="533200" y="271507"/>
                  <a:pt x="531533" y="270059"/>
                  <a:pt x="532381" y="268697"/>
                </a:cubicBezTo>
                <a:cubicBezTo>
                  <a:pt x="536143" y="272259"/>
                  <a:pt x="538220" y="263534"/>
                  <a:pt x="539744" y="259515"/>
                </a:cubicBezTo>
                <a:cubicBezTo>
                  <a:pt x="541782" y="259715"/>
                  <a:pt x="541887" y="261296"/>
                  <a:pt x="544058" y="261420"/>
                </a:cubicBezTo>
                <a:cubicBezTo>
                  <a:pt x="545011" y="259115"/>
                  <a:pt x="542811" y="259010"/>
                  <a:pt x="541068" y="258562"/>
                </a:cubicBezTo>
                <a:cubicBezTo>
                  <a:pt x="541230" y="256419"/>
                  <a:pt x="541687" y="254162"/>
                  <a:pt x="544078" y="254438"/>
                </a:cubicBezTo>
                <a:cubicBezTo>
                  <a:pt x="545744" y="254628"/>
                  <a:pt x="545392" y="251895"/>
                  <a:pt x="547097" y="250313"/>
                </a:cubicBezTo>
                <a:cubicBezTo>
                  <a:pt x="548758" y="251403"/>
                  <a:pt x="550799" y="251748"/>
                  <a:pt x="552726" y="251266"/>
                </a:cubicBezTo>
                <a:cubicBezTo>
                  <a:pt x="553585" y="249028"/>
                  <a:pt x="553585" y="246551"/>
                  <a:pt x="552726" y="244313"/>
                </a:cubicBezTo>
                <a:cubicBezTo>
                  <a:pt x="550612" y="244132"/>
                  <a:pt x="551383" y="248008"/>
                  <a:pt x="549707" y="248437"/>
                </a:cubicBezTo>
                <a:cubicBezTo>
                  <a:pt x="548611" y="248228"/>
                  <a:pt x="549059" y="246913"/>
                  <a:pt x="548964" y="245999"/>
                </a:cubicBezTo>
                <a:cubicBezTo>
                  <a:pt x="547500" y="246706"/>
                  <a:pt x="545823" y="246835"/>
                  <a:pt x="544268" y="246361"/>
                </a:cubicBezTo>
                <a:cubicBezTo>
                  <a:pt x="545649" y="243656"/>
                  <a:pt x="549383" y="244275"/>
                  <a:pt x="551793" y="242998"/>
                </a:cubicBezTo>
                <a:cubicBezTo>
                  <a:pt x="550040" y="240655"/>
                  <a:pt x="552669" y="239560"/>
                  <a:pt x="554803" y="238864"/>
                </a:cubicBezTo>
                <a:cubicBezTo>
                  <a:pt x="554269" y="237598"/>
                  <a:pt x="552412" y="237264"/>
                  <a:pt x="553126" y="235112"/>
                </a:cubicBezTo>
                <a:cubicBezTo>
                  <a:pt x="557546" y="239960"/>
                  <a:pt x="560270" y="232787"/>
                  <a:pt x="562166" y="229682"/>
                </a:cubicBezTo>
                <a:cubicBezTo>
                  <a:pt x="568566" y="229111"/>
                  <a:pt x="567033" y="234150"/>
                  <a:pt x="571691" y="234788"/>
                </a:cubicBezTo>
                <a:cubicBezTo>
                  <a:pt x="572815" y="231340"/>
                  <a:pt x="569395" y="231130"/>
                  <a:pt x="567947" y="229511"/>
                </a:cubicBezTo>
                <a:cubicBezTo>
                  <a:pt x="567528" y="228492"/>
                  <a:pt x="569338" y="225882"/>
                  <a:pt x="568709" y="225006"/>
                </a:cubicBezTo>
                <a:cubicBezTo>
                  <a:pt x="568709" y="224948"/>
                  <a:pt x="567576" y="224853"/>
                  <a:pt x="567585" y="224815"/>
                </a:cubicBezTo>
                <a:cubicBezTo>
                  <a:pt x="567747" y="223863"/>
                  <a:pt x="571195" y="220376"/>
                  <a:pt x="566099" y="219929"/>
                </a:cubicBezTo>
                <a:cubicBezTo>
                  <a:pt x="568185" y="213090"/>
                  <a:pt x="573719" y="211080"/>
                  <a:pt x="578539" y="208127"/>
                </a:cubicBezTo>
                <a:cubicBezTo>
                  <a:pt x="577139" y="203927"/>
                  <a:pt x="579606" y="202736"/>
                  <a:pt x="580254" y="197983"/>
                </a:cubicBezTo>
                <a:cubicBezTo>
                  <a:pt x="583044" y="198650"/>
                  <a:pt x="584064" y="196850"/>
                  <a:pt x="585330" y="195364"/>
                </a:cubicBezTo>
                <a:cubicBezTo>
                  <a:pt x="585156" y="191900"/>
                  <a:pt x="585745" y="188440"/>
                  <a:pt x="587054" y="185229"/>
                </a:cubicBezTo>
                <a:cubicBezTo>
                  <a:pt x="586016" y="183648"/>
                  <a:pt x="584197" y="182629"/>
                  <a:pt x="585759" y="179209"/>
                </a:cubicBezTo>
                <a:cubicBezTo>
                  <a:pt x="587035" y="179609"/>
                  <a:pt x="587807" y="179295"/>
                  <a:pt x="588207" y="178457"/>
                </a:cubicBezTo>
                <a:cubicBezTo>
                  <a:pt x="591293" y="178876"/>
                  <a:pt x="590160" y="180724"/>
                  <a:pt x="592712" y="179228"/>
                </a:cubicBezTo>
                <a:cubicBezTo>
                  <a:pt x="594779" y="179971"/>
                  <a:pt x="594484" y="176857"/>
                  <a:pt x="595570" y="176228"/>
                </a:cubicBezTo>
                <a:cubicBezTo>
                  <a:pt x="596017" y="175961"/>
                  <a:pt x="597475" y="176933"/>
                  <a:pt x="597818" y="176609"/>
                </a:cubicBezTo>
                <a:cubicBezTo>
                  <a:pt x="598160" y="176285"/>
                  <a:pt x="597818" y="174599"/>
                  <a:pt x="598199" y="174352"/>
                </a:cubicBezTo>
                <a:cubicBezTo>
                  <a:pt x="599904" y="173399"/>
                  <a:pt x="599008" y="171713"/>
                  <a:pt x="600475" y="167789"/>
                </a:cubicBezTo>
                <a:cubicBezTo>
                  <a:pt x="600608" y="167436"/>
                  <a:pt x="602856" y="167227"/>
                  <a:pt x="602923" y="167046"/>
                </a:cubicBezTo>
                <a:cubicBezTo>
                  <a:pt x="604066" y="163893"/>
                  <a:pt x="603590" y="160483"/>
                  <a:pt x="604647" y="156902"/>
                </a:cubicBezTo>
                <a:cubicBezTo>
                  <a:pt x="606743" y="157530"/>
                  <a:pt x="606371" y="154682"/>
                  <a:pt x="607505" y="153901"/>
                </a:cubicBezTo>
                <a:cubicBezTo>
                  <a:pt x="608638" y="153120"/>
                  <a:pt x="611191" y="154435"/>
                  <a:pt x="611257" y="152215"/>
                </a:cubicBezTo>
                <a:cubicBezTo>
                  <a:pt x="610953" y="149272"/>
                  <a:pt x="607895" y="153797"/>
                  <a:pt x="605438" y="152396"/>
                </a:cubicBezTo>
                <a:cubicBezTo>
                  <a:pt x="605171" y="149225"/>
                  <a:pt x="608133" y="150606"/>
                  <a:pt x="609390" y="149587"/>
                </a:cubicBezTo>
                <a:cubicBezTo>
                  <a:pt x="610267" y="147310"/>
                  <a:pt x="609124" y="146472"/>
                  <a:pt x="609029" y="144891"/>
                </a:cubicBezTo>
                <a:cubicBezTo>
                  <a:pt x="607460" y="145028"/>
                  <a:pt x="606237" y="146308"/>
                  <a:pt x="606171" y="147882"/>
                </a:cubicBezTo>
                <a:cubicBezTo>
                  <a:pt x="603380" y="147882"/>
                  <a:pt x="604076" y="145415"/>
                  <a:pt x="600732" y="145805"/>
                </a:cubicBezTo>
                <a:cubicBezTo>
                  <a:pt x="599142" y="145891"/>
                  <a:pt x="599323" y="148463"/>
                  <a:pt x="598827" y="150110"/>
                </a:cubicBezTo>
                <a:lnTo>
                  <a:pt x="594322" y="149348"/>
                </a:lnTo>
                <a:cubicBezTo>
                  <a:pt x="594970" y="147939"/>
                  <a:pt x="596598" y="147920"/>
                  <a:pt x="597179" y="146358"/>
                </a:cubicBezTo>
                <a:cubicBezTo>
                  <a:pt x="594028" y="146081"/>
                  <a:pt x="590851" y="146326"/>
                  <a:pt x="587778" y="147082"/>
                </a:cubicBezTo>
                <a:cubicBezTo>
                  <a:pt x="586483" y="146691"/>
                  <a:pt x="586921" y="148615"/>
                  <a:pt x="586273" y="149139"/>
                </a:cubicBezTo>
                <a:cubicBezTo>
                  <a:pt x="585626" y="149663"/>
                  <a:pt x="583140" y="148625"/>
                  <a:pt x="583635" y="151044"/>
                </a:cubicBezTo>
                <a:cubicBezTo>
                  <a:pt x="578225" y="150730"/>
                  <a:pt x="576377" y="150911"/>
                  <a:pt x="573872" y="147062"/>
                </a:cubicBezTo>
                <a:cubicBezTo>
                  <a:pt x="571918" y="148937"/>
                  <a:pt x="569701" y="150515"/>
                  <a:pt x="567290" y="151749"/>
                </a:cubicBezTo>
                <a:lnTo>
                  <a:pt x="561642" y="150796"/>
                </a:lnTo>
                <a:cubicBezTo>
                  <a:pt x="559971" y="151123"/>
                  <a:pt x="558529" y="152168"/>
                  <a:pt x="557698" y="153654"/>
                </a:cubicBezTo>
                <a:cubicBezTo>
                  <a:pt x="554936" y="151825"/>
                  <a:pt x="550688" y="154682"/>
                  <a:pt x="550926" y="152501"/>
                </a:cubicBezTo>
                <a:cubicBezTo>
                  <a:pt x="549631" y="151949"/>
                  <a:pt x="550078" y="154244"/>
                  <a:pt x="549431" y="154568"/>
                </a:cubicBezTo>
                <a:cubicBezTo>
                  <a:pt x="547526" y="155521"/>
                  <a:pt x="542849" y="153930"/>
                  <a:pt x="543020" y="158121"/>
                </a:cubicBezTo>
                <a:cubicBezTo>
                  <a:pt x="539420" y="154159"/>
                  <a:pt x="536353" y="160521"/>
                  <a:pt x="533800" y="164674"/>
                </a:cubicBezTo>
                <a:cubicBezTo>
                  <a:pt x="531285" y="163922"/>
                  <a:pt x="529514" y="164227"/>
                  <a:pt x="528914" y="166160"/>
                </a:cubicBezTo>
                <a:cubicBezTo>
                  <a:pt x="528033" y="165074"/>
                  <a:pt x="527452" y="163778"/>
                  <a:pt x="527228" y="162398"/>
                </a:cubicBezTo>
                <a:cubicBezTo>
                  <a:pt x="524104" y="164503"/>
                  <a:pt x="517350" y="161207"/>
                  <a:pt x="522141" y="165017"/>
                </a:cubicBezTo>
                <a:cubicBezTo>
                  <a:pt x="521018" y="165484"/>
                  <a:pt x="517207" y="168960"/>
                  <a:pt x="517265" y="166503"/>
                </a:cubicBezTo>
                <a:cubicBezTo>
                  <a:pt x="516069" y="167236"/>
                  <a:pt x="515085" y="168266"/>
                  <a:pt x="514407" y="169494"/>
                </a:cubicBezTo>
                <a:cubicBezTo>
                  <a:pt x="512921" y="167475"/>
                  <a:pt x="507854" y="170037"/>
                  <a:pt x="506911" y="165912"/>
                </a:cubicBezTo>
                <a:cubicBezTo>
                  <a:pt x="505149" y="166112"/>
                  <a:pt x="507101" y="167427"/>
                  <a:pt x="506330" y="169284"/>
                </a:cubicBezTo>
                <a:cubicBezTo>
                  <a:pt x="506244" y="171999"/>
                  <a:pt x="511559" y="170865"/>
                  <a:pt x="510073" y="174561"/>
                </a:cubicBezTo>
                <a:cubicBezTo>
                  <a:pt x="509095" y="173032"/>
                  <a:pt x="507063" y="172586"/>
                  <a:pt x="505535" y="173564"/>
                </a:cubicBezTo>
                <a:cubicBezTo>
                  <a:pt x="504732" y="174077"/>
                  <a:pt x="504192" y="174914"/>
                  <a:pt x="504053" y="175857"/>
                </a:cubicBezTo>
                <a:cubicBezTo>
                  <a:pt x="502644" y="175209"/>
                  <a:pt x="502625" y="173571"/>
                  <a:pt x="501053" y="172999"/>
                </a:cubicBezTo>
                <a:cubicBezTo>
                  <a:pt x="497487" y="172721"/>
                  <a:pt x="494370" y="175386"/>
                  <a:pt x="494091" y="178952"/>
                </a:cubicBezTo>
                <a:cubicBezTo>
                  <a:pt x="494066" y="179282"/>
                  <a:pt x="494066" y="179613"/>
                  <a:pt x="494090" y="179943"/>
                </a:cubicBezTo>
                <a:cubicBezTo>
                  <a:pt x="492871" y="181848"/>
                  <a:pt x="492995" y="179057"/>
                  <a:pt x="493347" y="177495"/>
                </a:cubicBezTo>
                <a:cubicBezTo>
                  <a:pt x="490916" y="176860"/>
                  <a:pt x="489595" y="177793"/>
                  <a:pt x="489385" y="180295"/>
                </a:cubicBezTo>
                <a:cubicBezTo>
                  <a:pt x="487823" y="179428"/>
                  <a:pt x="486832" y="178152"/>
                  <a:pt x="485261" y="177276"/>
                </a:cubicBezTo>
                <a:cubicBezTo>
                  <a:pt x="485261" y="177990"/>
                  <a:pt x="486651" y="179695"/>
                  <a:pt x="485813" y="180848"/>
                </a:cubicBezTo>
                <a:cubicBezTo>
                  <a:pt x="485337" y="181505"/>
                  <a:pt x="484403" y="179619"/>
                  <a:pt x="484861" y="179533"/>
                </a:cubicBezTo>
                <a:cubicBezTo>
                  <a:pt x="483994" y="179695"/>
                  <a:pt x="480403" y="184134"/>
                  <a:pt x="478469" y="183086"/>
                </a:cubicBezTo>
                <a:cubicBezTo>
                  <a:pt x="478717" y="181581"/>
                  <a:pt x="478974" y="180076"/>
                  <a:pt x="479231" y="178581"/>
                </a:cubicBezTo>
                <a:cubicBezTo>
                  <a:pt x="476602" y="177628"/>
                  <a:pt x="478984" y="183819"/>
                  <a:pt x="475278" y="181391"/>
                </a:cubicBezTo>
                <a:cubicBezTo>
                  <a:pt x="475421" y="186248"/>
                  <a:pt x="472183" y="186334"/>
                  <a:pt x="471468" y="190020"/>
                </a:cubicBezTo>
                <a:cubicBezTo>
                  <a:pt x="469935" y="189125"/>
                  <a:pt x="465420" y="190344"/>
                  <a:pt x="466030" y="187934"/>
                </a:cubicBezTo>
                <a:cubicBezTo>
                  <a:pt x="464963" y="188496"/>
                  <a:pt x="461601" y="192601"/>
                  <a:pt x="463944" y="193383"/>
                </a:cubicBezTo>
                <a:cubicBezTo>
                  <a:pt x="463506" y="194621"/>
                  <a:pt x="462705" y="193811"/>
                  <a:pt x="462820" y="193192"/>
                </a:cubicBezTo>
                <a:cubicBezTo>
                  <a:pt x="461477" y="193192"/>
                  <a:pt x="460848" y="192601"/>
                  <a:pt x="460753" y="191678"/>
                </a:cubicBezTo>
                <a:cubicBezTo>
                  <a:pt x="459187" y="191827"/>
                  <a:pt x="457969" y="193106"/>
                  <a:pt x="457895" y="194678"/>
                </a:cubicBezTo>
                <a:cubicBezTo>
                  <a:pt x="456267" y="192249"/>
                  <a:pt x="454362" y="194373"/>
                  <a:pt x="453009" y="196164"/>
                </a:cubicBezTo>
                <a:cubicBezTo>
                  <a:pt x="454104" y="199974"/>
                  <a:pt x="458429" y="193678"/>
                  <a:pt x="459772" y="197316"/>
                </a:cubicBezTo>
                <a:cubicBezTo>
                  <a:pt x="458895" y="198878"/>
                  <a:pt x="457619" y="199869"/>
                  <a:pt x="456752" y="201441"/>
                </a:cubicBezTo>
                <a:cubicBezTo>
                  <a:pt x="454257" y="198183"/>
                  <a:pt x="448904" y="203108"/>
                  <a:pt x="450561" y="196907"/>
                </a:cubicBezTo>
                <a:cubicBezTo>
                  <a:pt x="445379" y="197526"/>
                  <a:pt x="443703" y="203079"/>
                  <a:pt x="440760" y="206841"/>
                </a:cubicBezTo>
                <a:cubicBezTo>
                  <a:pt x="438502" y="203517"/>
                  <a:pt x="437960" y="208804"/>
                  <a:pt x="433816" y="206841"/>
                </a:cubicBezTo>
                <a:cubicBezTo>
                  <a:pt x="432454" y="206794"/>
                  <a:pt x="432511" y="208746"/>
                  <a:pt x="432111" y="210032"/>
                </a:cubicBezTo>
                <a:cubicBezTo>
                  <a:pt x="430694" y="209370"/>
                  <a:pt x="429976" y="207768"/>
                  <a:pt x="430425" y="206270"/>
                </a:cubicBezTo>
                <a:cubicBezTo>
                  <a:pt x="429082" y="206270"/>
                  <a:pt x="429130" y="208175"/>
                  <a:pt x="428730" y="209451"/>
                </a:cubicBezTo>
                <a:cubicBezTo>
                  <a:pt x="427844" y="208594"/>
                  <a:pt x="426949" y="207746"/>
                  <a:pt x="426472" y="209070"/>
                </a:cubicBezTo>
                <a:cubicBezTo>
                  <a:pt x="424415" y="207222"/>
                  <a:pt x="426358" y="202546"/>
                  <a:pt x="423120" y="201545"/>
                </a:cubicBezTo>
                <a:cubicBezTo>
                  <a:pt x="420167" y="201326"/>
                  <a:pt x="424339" y="203746"/>
                  <a:pt x="422348" y="206051"/>
                </a:cubicBezTo>
                <a:cubicBezTo>
                  <a:pt x="420885" y="206763"/>
                  <a:pt x="419207" y="206892"/>
                  <a:pt x="417652" y="206413"/>
                </a:cubicBezTo>
                <a:cubicBezTo>
                  <a:pt x="417605" y="208213"/>
                  <a:pt x="421091" y="212413"/>
                  <a:pt x="417652" y="213366"/>
                </a:cubicBezTo>
                <a:cubicBezTo>
                  <a:pt x="418471" y="216414"/>
                  <a:pt x="421462" y="217900"/>
                  <a:pt x="420824" y="222024"/>
                </a:cubicBezTo>
                <a:cubicBezTo>
                  <a:pt x="417014" y="220386"/>
                  <a:pt x="416614" y="223129"/>
                  <a:pt x="419310" y="224082"/>
                </a:cubicBezTo>
                <a:cubicBezTo>
                  <a:pt x="417709" y="226634"/>
                  <a:pt x="414699" y="221024"/>
                  <a:pt x="414223" y="226701"/>
                </a:cubicBezTo>
                <a:cubicBezTo>
                  <a:pt x="413137" y="226482"/>
                  <a:pt x="413585" y="225167"/>
                  <a:pt x="413490" y="224263"/>
                </a:cubicBezTo>
                <a:cubicBezTo>
                  <a:pt x="413166" y="221834"/>
                  <a:pt x="407841" y="222967"/>
                  <a:pt x="409746" y="218976"/>
                </a:cubicBezTo>
                <a:cubicBezTo>
                  <a:pt x="406298" y="217852"/>
                  <a:pt x="406089" y="221272"/>
                  <a:pt x="404470" y="222729"/>
                </a:cubicBezTo>
                <a:cubicBezTo>
                  <a:pt x="401826" y="221341"/>
                  <a:pt x="398559" y="222335"/>
                  <a:pt x="397135" y="224958"/>
                </a:cubicBezTo>
                <a:cubicBezTo>
                  <a:pt x="396278" y="228720"/>
                  <a:pt x="400526" y="226425"/>
                  <a:pt x="401450" y="226863"/>
                </a:cubicBezTo>
                <a:cubicBezTo>
                  <a:pt x="404098" y="228063"/>
                  <a:pt x="404603" y="230292"/>
                  <a:pt x="407641" y="231387"/>
                </a:cubicBezTo>
                <a:cubicBezTo>
                  <a:pt x="405536" y="233759"/>
                  <a:pt x="404898" y="233083"/>
                  <a:pt x="405555" y="236836"/>
                </a:cubicBezTo>
                <a:cubicBezTo>
                  <a:pt x="404679" y="236597"/>
                  <a:pt x="404603" y="235340"/>
                  <a:pt x="403489" y="235321"/>
                </a:cubicBezTo>
                <a:cubicBezTo>
                  <a:pt x="401955" y="235321"/>
                  <a:pt x="402917" y="236721"/>
                  <a:pt x="401984" y="237379"/>
                </a:cubicBezTo>
                <a:cubicBezTo>
                  <a:pt x="400888" y="238160"/>
                  <a:pt x="398307" y="236855"/>
                  <a:pt x="398174" y="239064"/>
                </a:cubicBezTo>
                <a:cubicBezTo>
                  <a:pt x="397221" y="239112"/>
                  <a:pt x="397221" y="238445"/>
                  <a:pt x="397221" y="237750"/>
                </a:cubicBezTo>
                <a:cubicBezTo>
                  <a:pt x="395583" y="238236"/>
                  <a:pt x="394707" y="239798"/>
                  <a:pt x="394202" y="241874"/>
                </a:cubicBezTo>
                <a:cubicBezTo>
                  <a:pt x="390458" y="240293"/>
                  <a:pt x="389087" y="243170"/>
                  <a:pt x="387439" y="240722"/>
                </a:cubicBezTo>
                <a:cubicBezTo>
                  <a:pt x="386172" y="241265"/>
                  <a:pt x="385839" y="243113"/>
                  <a:pt x="383677" y="242408"/>
                </a:cubicBezTo>
                <a:cubicBezTo>
                  <a:pt x="383746" y="244428"/>
                  <a:pt x="382994" y="246391"/>
                  <a:pt x="381591" y="247846"/>
                </a:cubicBezTo>
                <a:cubicBezTo>
                  <a:pt x="379047" y="246894"/>
                  <a:pt x="378733" y="245941"/>
                  <a:pt x="375771" y="248018"/>
                </a:cubicBezTo>
                <a:cubicBezTo>
                  <a:pt x="375056" y="248532"/>
                  <a:pt x="374733" y="247666"/>
                  <a:pt x="374447" y="248970"/>
                </a:cubicBezTo>
                <a:cubicBezTo>
                  <a:pt x="374104" y="250485"/>
                  <a:pt x="371132" y="249837"/>
                  <a:pt x="368437" y="250275"/>
                </a:cubicBezTo>
                <a:cubicBezTo>
                  <a:pt x="368275" y="251371"/>
                  <a:pt x="369665" y="251380"/>
                  <a:pt x="370494" y="251780"/>
                </a:cubicBezTo>
                <a:cubicBezTo>
                  <a:pt x="370199" y="253914"/>
                  <a:pt x="368103" y="252733"/>
                  <a:pt x="366684" y="253466"/>
                </a:cubicBezTo>
                <a:cubicBezTo>
                  <a:pt x="363951" y="255068"/>
                  <a:pt x="361879" y="257591"/>
                  <a:pt x="360836" y="260581"/>
                </a:cubicBezTo>
                <a:cubicBezTo>
                  <a:pt x="357759" y="256229"/>
                  <a:pt x="357626" y="263153"/>
                  <a:pt x="353692" y="261696"/>
                </a:cubicBezTo>
                <a:cubicBezTo>
                  <a:pt x="353882" y="260562"/>
                  <a:pt x="354082" y="259438"/>
                  <a:pt x="354273" y="258305"/>
                </a:cubicBezTo>
                <a:cubicBezTo>
                  <a:pt x="350272" y="256400"/>
                  <a:pt x="351768" y="262229"/>
                  <a:pt x="348053" y="260734"/>
                </a:cubicBezTo>
                <a:cubicBezTo>
                  <a:pt x="349215" y="255971"/>
                  <a:pt x="342243" y="258572"/>
                  <a:pt x="340357" y="258267"/>
                </a:cubicBezTo>
                <a:cubicBezTo>
                  <a:pt x="338995" y="258448"/>
                  <a:pt x="337166" y="259772"/>
                  <a:pt x="338861" y="260334"/>
                </a:cubicBezTo>
                <a:cubicBezTo>
                  <a:pt x="337633" y="261448"/>
                  <a:pt x="335823" y="259105"/>
                  <a:pt x="335832" y="264458"/>
                </a:cubicBezTo>
                <a:cubicBezTo>
                  <a:pt x="332737" y="265611"/>
                  <a:pt x="330946" y="266439"/>
                  <a:pt x="327755" y="264249"/>
                </a:cubicBezTo>
                <a:cubicBezTo>
                  <a:pt x="325364" y="264134"/>
                  <a:pt x="326603" y="269144"/>
                  <a:pt x="324545" y="269497"/>
                </a:cubicBezTo>
                <a:cubicBezTo>
                  <a:pt x="321888" y="269402"/>
                  <a:pt x="323840" y="266030"/>
                  <a:pt x="321688" y="265544"/>
                </a:cubicBezTo>
                <a:cubicBezTo>
                  <a:pt x="318221" y="264382"/>
                  <a:pt x="320326" y="271068"/>
                  <a:pt x="316421" y="269287"/>
                </a:cubicBezTo>
                <a:cubicBezTo>
                  <a:pt x="318408" y="263908"/>
                  <a:pt x="316535" y="261274"/>
                  <a:pt x="310801" y="261382"/>
                </a:cubicBezTo>
                <a:cubicBezTo>
                  <a:pt x="310867" y="263982"/>
                  <a:pt x="315839" y="265296"/>
                  <a:pt x="315487" y="267973"/>
                </a:cubicBezTo>
                <a:cubicBezTo>
                  <a:pt x="315144" y="270497"/>
                  <a:pt x="313458" y="269259"/>
                  <a:pt x="312630" y="270964"/>
                </a:cubicBezTo>
                <a:cubicBezTo>
                  <a:pt x="312715" y="273221"/>
                  <a:pt x="317773" y="271916"/>
                  <a:pt x="315249" y="276050"/>
                </a:cubicBezTo>
                <a:cubicBezTo>
                  <a:pt x="312955" y="274121"/>
                  <a:pt x="310993" y="271830"/>
                  <a:pt x="309439" y="269268"/>
                </a:cubicBezTo>
                <a:cubicBezTo>
                  <a:pt x="308486" y="269325"/>
                  <a:pt x="308124" y="270221"/>
                  <a:pt x="306991" y="270011"/>
                </a:cubicBezTo>
                <a:cubicBezTo>
                  <a:pt x="307485" y="273787"/>
                  <a:pt x="310110" y="276939"/>
                  <a:pt x="313734" y="278107"/>
                </a:cubicBezTo>
                <a:cubicBezTo>
                  <a:pt x="315373" y="277622"/>
                  <a:pt x="316240" y="276060"/>
                  <a:pt x="316744" y="273983"/>
                </a:cubicBezTo>
                <a:cubicBezTo>
                  <a:pt x="319183" y="273907"/>
                  <a:pt x="319602" y="275259"/>
                  <a:pt x="321069" y="275888"/>
                </a:cubicBezTo>
                <a:cubicBezTo>
                  <a:pt x="324564" y="275717"/>
                  <a:pt x="320392" y="273297"/>
                  <a:pt x="321831" y="271383"/>
                </a:cubicBezTo>
                <a:cubicBezTo>
                  <a:pt x="323317" y="272640"/>
                  <a:pt x="326041" y="273021"/>
                  <a:pt x="324450" y="276460"/>
                </a:cubicBezTo>
                <a:cubicBezTo>
                  <a:pt x="324984" y="277726"/>
                  <a:pt x="326841" y="278069"/>
                  <a:pt x="326126" y="280222"/>
                </a:cubicBezTo>
                <a:cubicBezTo>
                  <a:pt x="324955" y="278727"/>
                  <a:pt x="323983" y="278850"/>
                  <a:pt x="323688" y="280974"/>
                </a:cubicBezTo>
                <a:cubicBezTo>
                  <a:pt x="322945" y="279841"/>
                  <a:pt x="320707" y="279774"/>
                  <a:pt x="320688" y="278117"/>
                </a:cubicBezTo>
                <a:cubicBezTo>
                  <a:pt x="316430" y="279069"/>
                  <a:pt x="317830" y="283832"/>
                  <a:pt x="315925" y="285432"/>
                </a:cubicBezTo>
                <a:cubicBezTo>
                  <a:pt x="313068" y="285146"/>
                  <a:pt x="312687" y="283108"/>
                  <a:pt x="311991" y="281289"/>
                </a:cubicBezTo>
                <a:cubicBezTo>
                  <a:pt x="310277" y="282136"/>
                  <a:pt x="309220" y="283918"/>
                  <a:pt x="307838" y="285223"/>
                </a:cubicBezTo>
                <a:cubicBezTo>
                  <a:pt x="305934" y="282365"/>
                  <a:pt x="304524" y="285223"/>
                  <a:pt x="301076" y="284080"/>
                </a:cubicBezTo>
                <a:cubicBezTo>
                  <a:pt x="304333" y="281051"/>
                  <a:pt x="299666" y="277012"/>
                  <a:pt x="298094" y="274297"/>
                </a:cubicBezTo>
                <a:cubicBezTo>
                  <a:pt x="296900" y="275036"/>
                  <a:pt x="295915" y="276068"/>
                  <a:pt x="295237" y="277298"/>
                </a:cubicBezTo>
                <a:cubicBezTo>
                  <a:pt x="294684" y="278603"/>
                  <a:pt x="296961" y="278146"/>
                  <a:pt x="297294" y="278803"/>
                </a:cubicBezTo>
                <a:cubicBezTo>
                  <a:pt x="298094" y="280355"/>
                  <a:pt x="295637" y="283432"/>
                  <a:pt x="298780" y="283699"/>
                </a:cubicBezTo>
                <a:cubicBezTo>
                  <a:pt x="296980" y="284089"/>
                  <a:pt x="298313" y="286127"/>
                  <a:pt x="298399" y="285947"/>
                </a:cubicBezTo>
                <a:cubicBezTo>
                  <a:pt x="296990" y="288652"/>
                  <a:pt x="294837" y="287432"/>
                  <a:pt x="294999" y="292328"/>
                </a:cubicBezTo>
                <a:cubicBezTo>
                  <a:pt x="296275" y="291785"/>
                  <a:pt x="296609" y="289937"/>
                  <a:pt x="298809" y="290652"/>
                </a:cubicBezTo>
                <a:cubicBezTo>
                  <a:pt x="297266" y="295776"/>
                  <a:pt x="299199" y="297710"/>
                  <a:pt x="297094" y="300796"/>
                </a:cubicBezTo>
                <a:cubicBezTo>
                  <a:pt x="293894" y="301072"/>
                  <a:pt x="298799" y="295614"/>
                  <a:pt x="295599" y="295900"/>
                </a:cubicBezTo>
                <a:cubicBezTo>
                  <a:pt x="292437" y="295157"/>
                  <a:pt x="295713" y="303520"/>
                  <a:pt x="291275" y="300958"/>
                </a:cubicBezTo>
                <a:cubicBezTo>
                  <a:pt x="292608" y="302863"/>
                  <a:pt x="291522" y="304682"/>
                  <a:pt x="288417" y="303958"/>
                </a:cubicBezTo>
                <a:cubicBezTo>
                  <a:pt x="289158" y="302076"/>
                  <a:pt x="289096" y="299973"/>
                  <a:pt x="288246" y="298138"/>
                </a:cubicBezTo>
                <a:cubicBezTo>
                  <a:pt x="285845" y="297529"/>
                  <a:pt x="287055" y="302044"/>
                  <a:pt x="286169" y="303577"/>
                </a:cubicBezTo>
                <a:cubicBezTo>
                  <a:pt x="283540" y="303901"/>
                  <a:pt x="284950" y="300986"/>
                  <a:pt x="283169" y="300720"/>
                </a:cubicBezTo>
                <a:cubicBezTo>
                  <a:pt x="281835" y="300539"/>
                  <a:pt x="281264" y="303520"/>
                  <a:pt x="280311" y="303720"/>
                </a:cubicBezTo>
                <a:cubicBezTo>
                  <a:pt x="278406" y="304111"/>
                  <a:pt x="278082" y="301491"/>
                  <a:pt x="275996" y="301815"/>
                </a:cubicBezTo>
                <a:cubicBezTo>
                  <a:pt x="273587" y="302149"/>
                  <a:pt x="274358" y="306959"/>
                  <a:pt x="271663" y="306873"/>
                </a:cubicBezTo>
                <a:cubicBezTo>
                  <a:pt x="269167" y="306997"/>
                  <a:pt x="269758" y="304901"/>
                  <a:pt x="269986" y="303111"/>
                </a:cubicBezTo>
                <a:cubicBezTo>
                  <a:pt x="266529" y="301987"/>
                  <a:pt x="266490" y="305644"/>
                  <a:pt x="263766" y="305539"/>
                </a:cubicBezTo>
                <a:cubicBezTo>
                  <a:pt x="263843" y="306806"/>
                  <a:pt x="265881" y="306682"/>
                  <a:pt x="265671" y="308178"/>
                </a:cubicBezTo>
                <a:cubicBezTo>
                  <a:pt x="265671" y="310083"/>
                  <a:pt x="264281" y="309940"/>
                  <a:pt x="263966" y="311369"/>
                </a:cubicBezTo>
                <a:cubicBezTo>
                  <a:pt x="261109" y="310064"/>
                  <a:pt x="262642" y="305701"/>
                  <a:pt x="260614" y="303844"/>
                </a:cubicBezTo>
                <a:cubicBezTo>
                  <a:pt x="258946" y="304152"/>
                  <a:pt x="257497" y="305175"/>
                  <a:pt x="256651" y="306644"/>
                </a:cubicBezTo>
                <a:cubicBezTo>
                  <a:pt x="254937" y="311512"/>
                  <a:pt x="263176" y="309283"/>
                  <a:pt x="259832" y="315303"/>
                </a:cubicBezTo>
                <a:cubicBezTo>
                  <a:pt x="262519" y="314903"/>
                  <a:pt x="263023" y="311426"/>
                  <a:pt x="266224" y="311750"/>
                </a:cubicBezTo>
                <a:cubicBezTo>
                  <a:pt x="266138" y="309759"/>
                  <a:pt x="267462" y="309778"/>
                  <a:pt x="268862" y="309845"/>
                </a:cubicBezTo>
                <a:cubicBezTo>
                  <a:pt x="268214" y="311254"/>
                  <a:pt x="266576" y="311273"/>
                  <a:pt x="266005" y="312836"/>
                </a:cubicBezTo>
                <a:cubicBezTo>
                  <a:pt x="271596" y="316065"/>
                  <a:pt x="267910" y="306244"/>
                  <a:pt x="273529" y="309473"/>
                </a:cubicBezTo>
                <a:cubicBezTo>
                  <a:pt x="273625" y="311464"/>
                  <a:pt x="272282" y="311454"/>
                  <a:pt x="270901" y="311378"/>
                </a:cubicBezTo>
                <a:cubicBezTo>
                  <a:pt x="272139" y="312569"/>
                  <a:pt x="274311" y="318046"/>
                  <a:pt x="275958" y="315712"/>
                </a:cubicBezTo>
                <a:cubicBezTo>
                  <a:pt x="278816" y="316474"/>
                  <a:pt x="274053" y="317389"/>
                  <a:pt x="275187" y="320217"/>
                </a:cubicBezTo>
                <a:cubicBezTo>
                  <a:pt x="273206" y="320313"/>
                  <a:pt x="273215" y="318979"/>
                  <a:pt x="273282" y="317579"/>
                </a:cubicBezTo>
                <a:cubicBezTo>
                  <a:pt x="271567" y="317046"/>
                  <a:pt x="272463" y="320132"/>
                  <a:pt x="271577" y="320779"/>
                </a:cubicBezTo>
                <a:cubicBezTo>
                  <a:pt x="270520" y="321551"/>
                  <a:pt x="267548" y="319827"/>
                  <a:pt x="266881" y="321132"/>
                </a:cubicBezTo>
                <a:cubicBezTo>
                  <a:pt x="267424" y="322408"/>
                  <a:pt x="269272" y="322742"/>
                  <a:pt x="268567" y="324942"/>
                </a:cubicBezTo>
                <a:lnTo>
                  <a:pt x="265186" y="324370"/>
                </a:lnTo>
                <a:cubicBezTo>
                  <a:pt x="265262" y="326799"/>
                  <a:pt x="263909" y="327228"/>
                  <a:pt x="263281" y="328685"/>
                </a:cubicBezTo>
                <a:cubicBezTo>
                  <a:pt x="263823" y="329952"/>
                  <a:pt x="265681" y="330285"/>
                  <a:pt x="264966" y="332495"/>
                </a:cubicBezTo>
                <a:cubicBezTo>
                  <a:pt x="263820" y="331333"/>
                  <a:pt x="262274" y="330652"/>
                  <a:pt x="260642" y="330590"/>
                </a:cubicBezTo>
                <a:cubicBezTo>
                  <a:pt x="260442" y="332390"/>
                  <a:pt x="259375" y="334800"/>
                  <a:pt x="261004" y="335286"/>
                </a:cubicBezTo>
                <a:cubicBezTo>
                  <a:pt x="258394" y="337772"/>
                  <a:pt x="257242" y="333581"/>
                  <a:pt x="254060" y="335286"/>
                </a:cubicBezTo>
                <a:cubicBezTo>
                  <a:pt x="251946" y="335105"/>
                  <a:pt x="252717" y="338982"/>
                  <a:pt x="251031" y="339410"/>
                </a:cubicBezTo>
                <a:cubicBezTo>
                  <a:pt x="251450" y="342906"/>
                  <a:pt x="253165" y="337086"/>
                  <a:pt x="255737" y="339048"/>
                </a:cubicBezTo>
                <a:cubicBezTo>
                  <a:pt x="255194" y="342477"/>
                  <a:pt x="251308" y="341191"/>
                  <a:pt x="248402" y="341287"/>
                </a:cubicBezTo>
                <a:cubicBezTo>
                  <a:pt x="247717" y="337477"/>
                  <a:pt x="250631" y="338848"/>
                  <a:pt x="251422" y="337153"/>
                </a:cubicBezTo>
                <a:cubicBezTo>
                  <a:pt x="250888" y="333514"/>
                  <a:pt x="248193" y="337943"/>
                  <a:pt x="246726" y="337524"/>
                </a:cubicBezTo>
                <a:cubicBezTo>
                  <a:pt x="246050" y="340306"/>
                  <a:pt x="247850" y="341334"/>
                  <a:pt x="249336" y="342601"/>
                </a:cubicBezTo>
                <a:cubicBezTo>
                  <a:pt x="247926" y="344056"/>
                  <a:pt x="247176" y="346025"/>
                  <a:pt x="247259" y="348050"/>
                </a:cubicBezTo>
                <a:cubicBezTo>
                  <a:pt x="242878" y="348183"/>
                  <a:pt x="243945" y="344449"/>
                  <a:pt x="242383" y="342582"/>
                </a:cubicBezTo>
                <a:cubicBezTo>
                  <a:pt x="239963" y="342792"/>
                  <a:pt x="241211" y="347869"/>
                  <a:pt x="238573" y="344268"/>
                </a:cubicBezTo>
                <a:cubicBezTo>
                  <a:pt x="237754" y="347126"/>
                  <a:pt x="238154" y="349183"/>
                  <a:pt x="241192" y="349345"/>
                </a:cubicBezTo>
                <a:cubicBezTo>
                  <a:pt x="240973" y="350440"/>
                  <a:pt x="239668" y="349983"/>
                  <a:pt x="238744" y="350088"/>
                </a:cubicBezTo>
                <a:cubicBezTo>
                  <a:pt x="238744" y="351431"/>
                  <a:pt x="238154" y="352050"/>
                  <a:pt x="237230" y="352155"/>
                </a:cubicBezTo>
                <a:cubicBezTo>
                  <a:pt x="239135" y="355450"/>
                  <a:pt x="235115" y="358365"/>
                  <a:pt x="237020" y="360232"/>
                </a:cubicBezTo>
                <a:cubicBezTo>
                  <a:pt x="235782" y="361577"/>
                  <a:pt x="233911" y="362146"/>
                  <a:pt x="232134" y="361718"/>
                </a:cubicBezTo>
                <a:cubicBezTo>
                  <a:pt x="233944" y="366385"/>
                  <a:pt x="226876" y="368690"/>
                  <a:pt x="225523" y="373348"/>
                </a:cubicBezTo>
                <a:cubicBezTo>
                  <a:pt x="221713" y="373710"/>
                  <a:pt x="222333" y="370986"/>
                  <a:pt x="220275" y="370138"/>
                </a:cubicBezTo>
                <a:cubicBezTo>
                  <a:pt x="221571" y="371176"/>
                  <a:pt x="221123" y="373729"/>
                  <a:pt x="221761" y="375034"/>
                </a:cubicBezTo>
                <a:cubicBezTo>
                  <a:pt x="222071" y="375912"/>
                  <a:pt x="222888" y="376509"/>
                  <a:pt x="223818" y="376539"/>
                </a:cubicBezTo>
                <a:cubicBezTo>
                  <a:pt x="222870" y="380064"/>
                  <a:pt x="219554" y="382420"/>
                  <a:pt x="215913" y="382159"/>
                </a:cubicBezTo>
                <a:cubicBezTo>
                  <a:pt x="215989" y="384587"/>
                  <a:pt x="214636" y="385016"/>
                  <a:pt x="214008" y="386473"/>
                </a:cubicBezTo>
                <a:cubicBezTo>
                  <a:pt x="213174" y="385552"/>
                  <a:pt x="212046" y="384949"/>
                  <a:pt x="210817" y="384768"/>
                </a:cubicBezTo>
                <a:cubicBezTo>
                  <a:pt x="210474" y="387626"/>
                  <a:pt x="212341" y="388578"/>
                  <a:pt x="209864" y="390407"/>
                </a:cubicBezTo>
                <a:cubicBezTo>
                  <a:pt x="207064" y="390407"/>
                  <a:pt x="207769" y="387931"/>
                  <a:pt x="204426" y="388321"/>
                </a:cubicBezTo>
                <a:cubicBezTo>
                  <a:pt x="201263" y="388055"/>
                  <a:pt x="202940" y="394608"/>
                  <a:pt x="198958" y="393188"/>
                </a:cubicBezTo>
                <a:cubicBezTo>
                  <a:pt x="197491" y="396217"/>
                  <a:pt x="200054" y="396379"/>
                  <a:pt x="199139" y="399018"/>
                </a:cubicBezTo>
                <a:cubicBezTo>
                  <a:pt x="199454" y="401437"/>
                  <a:pt x="204768" y="400304"/>
                  <a:pt x="202873" y="404295"/>
                </a:cubicBezTo>
                <a:cubicBezTo>
                  <a:pt x="200368" y="406038"/>
                  <a:pt x="200015" y="403933"/>
                  <a:pt x="197244" y="403342"/>
                </a:cubicBezTo>
                <a:cubicBezTo>
                  <a:pt x="196120" y="405247"/>
                  <a:pt x="198015" y="407409"/>
                  <a:pt x="197415" y="409171"/>
                </a:cubicBezTo>
                <a:cubicBezTo>
                  <a:pt x="197044" y="410219"/>
                  <a:pt x="194234" y="409124"/>
                  <a:pt x="193843" y="409724"/>
                </a:cubicBezTo>
                <a:cubicBezTo>
                  <a:pt x="193558" y="410143"/>
                  <a:pt x="195034" y="412848"/>
                  <a:pt x="194205" y="414420"/>
                </a:cubicBezTo>
                <a:cubicBezTo>
                  <a:pt x="193796" y="415172"/>
                  <a:pt x="191224" y="415639"/>
                  <a:pt x="190395" y="416096"/>
                </a:cubicBezTo>
                <a:cubicBezTo>
                  <a:pt x="189443" y="418735"/>
                  <a:pt x="192043" y="418896"/>
                  <a:pt x="190567" y="421925"/>
                </a:cubicBezTo>
                <a:cubicBezTo>
                  <a:pt x="189105" y="422639"/>
                  <a:pt x="187425" y="422768"/>
                  <a:pt x="185871" y="422287"/>
                </a:cubicBezTo>
                <a:cubicBezTo>
                  <a:pt x="185242" y="425345"/>
                  <a:pt x="187366" y="424878"/>
                  <a:pt x="185099" y="426802"/>
                </a:cubicBezTo>
                <a:cubicBezTo>
                  <a:pt x="183871" y="424030"/>
                  <a:pt x="182413" y="427336"/>
                  <a:pt x="181537" y="427345"/>
                </a:cubicBezTo>
                <a:cubicBezTo>
                  <a:pt x="180032" y="427345"/>
                  <a:pt x="178946" y="424488"/>
                  <a:pt x="177022" y="426583"/>
                </a:cubicBezTo>
                <a:cubicBezTo>
                  <a:pt x="178179" y="430035"/>
                  <a:pt x="178742" y="433658"/>
                  <a:pt x="178689" y="437299"/>
                </a:cubicBezTo>
                <a:cubicBezTo>
                  <a:pt x="175965" y="435479"/>
                  <a:pt x="173250" y="439956"/>
                  <a:pt x="174374" y="435394"/>
                </a:cubicBezTo>
                <a:cubicBezTo>
                  <a:pt x="172012" y="435346"/>
                  <a:pt x="171640" y="438070"/>
                  <a:pt x="169288" y="438013"/>
                </a:cubicBezTo>
                <a:cubicBezTo>
                  <a:pt x="169574" y="440128"/>
                  <a:pt x="169078" y="442776"/>
                  <a:pt x="170593" y="444033"/>
                </a:cubicBezTo>
                <a:cubicBezTo>
                  <a:pt x="167354" y="446462"/>
                  <a:pt x="163268" y="447681"/>
                  <a:pt x="160239" y="450396"/>
                </a:cubicBezTo>
                <a:cubicBezTo>
                  <a:pt x="158820" y="452615"/>
                  <a:pt x="161620" y="452177"/>
                  <a:pt x="162144" y="453025"/>
                </a:cubicBezTo>
                <a:cubicBezTo>
                  <a:pt x="162868" y="454320"/>
                  <a:pt x="161658" y="456558"/>
                  <a:pt x="163820" y="456835"/>
                </a:cubicBezTo>
                <a:cubicBezTo>
                  <a:pt x="162268" y="460835"/>
                  <a:pt x="157153" y="461483"/>
                  <a:pt x="162487" y="464721"/>
                </a:cubicBezTo>
                <a:cubicBezTo>
                  <a:pt x="159868" y="467217"/>
                  <a:pt x="158677" y="463016"/>
                  <a:pt x="155534" y="464721"/>
                </a:cubicBezTo>
                <a:cubicBezTo>
                  <a:pt x="154267" y="465255"/>
                  <a:pt x="153924" y="467112"/>
                  <a:pt x="151771" y="466398"/>
                </a:cubicBezTo>
                <a:cubicBezTo>
                  <a:pt x="149790" y="469655"/>
                  <a:pt x="154629" y="475694"/>
                  <a:pt x="149114" y="475218"/>
                </a:cubicBezTo>
                <a:cubicBezTo>
                  <a:pt x="147104" y="478628"/>
                  <a:pt x="152610" y="476704"/>
                  <a:pt x="150600" y="480104"/>
                </a:cubicBezTo>
                <a:cubicBezTo>
                  <a:pt x="147742" y="478818"/>
                  <a:pt x="148038" y="482066"/>
                  <a:pt x="146647" y="482914"/>
                </a:cubicBezTo>
                <a:cubicBezTo>
                  <a:pt x="146082" y="482010"/>
                  <a:pt x="145259" y="481297"/>
                  <a:pt x="144285" y="480866"/>
                </a:cubicBezTo>
                <a:cubicBezTo>
                  <a:pt x="141122" y="481914"/>
                  <a:pt x="142856" y="487724"/>
                  <a:pt x="142761" y="489877"/>
                </a:cubicBezTo>
                <a:cubicBezTo>
                  <a:pt x="145352" y="489334"/>
                  <a:pt x="145409" y="485248"/>
                  <a:pt x="147285" y="483685"/>
                </a:cubicBezTo>
                <a:cubicBezTo>
                  <a:pt x="152152" y="483543"/>
                  <a:pt x="152238" y="486781"/>
                  <a:pt x="155924" y="487495"/>
                </a:cubicBezTo>
                <a:cubicBezTo>
                  <a:pt x="155543" y="489743"/>
                  <a:pt x="155159" y="491998"/>
                  <a:pt x="154772" y="494258"/>
                </a:cubicBezTo>
                <a:cubicBezTo>
                  <a:pt x="150790" y="492839"/>
                  <a:pt x="149952" y="495839"/>
                  <a:pt x="149304" y="499126"/>
                </a:cubicBezTo>
                <a:cubicBezTo>
                  <a:pt x="145161" y="497468"/>
                  <a:pt x="144542" y="500783"/>
                  <a:pt x="142913" y="502678"/>
                </a:cubicBezTo>
                <a:cubicBezTo>
                  <a:pt x="142161" y="504517"/>
                  <a:pt x="143418" y="504955"/>
                  <a:pt x="144818" y="505317"/>
                </a:cubicBezTo>
                <a:cubicBezTo>
                  <a:pt x="145933" y="508174"/>
                  <a:pt x="141189" y="509060"/>
                  <a:pt x="144047" y="509822"/>
                </a:cubicBezTo>
                <a:cubicBezTo>
                  <a:pt x="143618" y="511060"/>
                  <a:pt x="142818" y="510251"/>
                  <a:pt x="142923" y="509632"/>
                </a:cubicBezTo>
                <a:cubicBezTo>
                  <a:pt x="139208" y="512041"/>
                  <a:pt x="139665" y="513070"/>
                  <a:pt x="138160" y="516947"/>
                </a:cubicBezTo>
                <a:cubicBezTo>
                  <a:pt x="136255" y="516947"/>
                  <a:pt x="136398" y="515547"/>
                  <a:pt x="134969" y="515242"/>
                </a:cubicBezTo>
                <a:cubicBezTo>
                  <a:pt x="133042" y="516765"/>
                  <a:pt x="130880" y="517965"/>
                  <a:pt x="128568" y="518795"/>
                </a:cubicBezTo>
                <a:cubicBezTo>
                  <a:pt x="128435" y="525119"/>
                  <a:pt x="123977" y="525357"/>
                  <a:pt x="121215" y="527977"/>
                </a:cubicBezTo>
                <a:cubicBezTo>
                  <a:pt x="121034" y="530091"/>
                  <a:pt x="124911" y="529320"/>
                  <a:pt x="125339" y="530996"/>
                </a:cubicBezTo>
                <a:cubicBezTo>
                  <a:pt x="125035" y="533854"/>
                  <a:pt x="124625" y="536502"/>
                  <a:pt x="122130" y="536254"/>
                </a:cubicBezTo>
                <a:cubicBezTo>
                  <a:pt x="123015" y="537940"/>
                  <a:pt x="122482" y="540626"/>
                  <a:pt x="124749" y="541331"/>
                </a:cubicBezTo>
                <a:cubicBezTo>
                  <a:pt x="124244" y="542721"/>
                  <a:pt x="121129" y="542236"/>
                  <a:pt x="121368" y="540759"/>
                </a:cubicBezTo>
                <a:cubicBezTo>
                  <a:pt x="119825" y="540902"/>
                  <a:pt x="119263" y="542445"/>
                  <a:pt x="117605" y="542436"/>
                </a:cubicBezTo>
                <a:cubicBezTo>
                  <a:pt x="120891" y="546246"/>
                  <a:pt x="118910" y="548313"/>
                  <a:pt x="119263" y="553151"/>
                </a:cubicBezTo>
                <a:cubicBezTo>
                  <a:pt x="117024" y="552789"/>
                  <a:pt x="117310" y="556009"/>
                  <a:pt x="114376" y="554637"/>
                </a:cubicBezTo>
                <a:cubicBezTo>
                  <a:pt x="113424" y="557285"/>
                  <a:pt x="116015" y="557495"/>
                  <a:pt x="114548" y="560467"/>
                </a:cubicBezTo>
                <a:cubicBezTo>
                  <a:pt x="112319" y="559638"/>
                  <a:pt x="111890" y="561419"/>
                  <a:pt x="110785" y="562152"/>
                </a:cubicBezTo>
                <a:cubicBezTo>
                  <a:pt x="110509" y="562333"/>
                  <a:pt x="108214" y="564010"/>
                  <a:pt x="108147" y="564057"/>
                </a:cubicBezTo>
                <a:cubicBezTo>
                  <a:pt x="107518" y="564191"/>
                  <a:pt x="104804" y="559981"/>
                  <a:pt x="104565" y="564610"/>
                </a:cubicBezTo>
                <a:cubicBezTo>
                  <a:pt x="101794" y="564010"/>
                  <a:pt x="101441" y="561914"/>
                  <a:pt x="98936" y="563657"/>
                </a:cubicBezTo>
                <a:cubicBezTo>
                  <a:pt x="98460" y="566305"/>
                  <a:pt x="100317" y="567306"/>
                  <a:pt x="98936" y="570611"/>
                </a:cubicBezTo>
                <a:cubicBezTo>
                  <a:pt x="102127" y="572316"/>
                  <a:pt x="101365" y="568439"/>
                  <a:pt x="101956" y="566486"/>
                </a:cubicBezTo>
                <a:cubicBezTo>
                  <a:pt x="105118" y="568687"/>
                  <a:pt x="105556" y="566667"/>
                  <a:pt x="109652" y="568944"/>
                </a:cubicBezTo>
                <a:cubicBezTo>
                  <a:pt x="109080" y="573821"/>
                  <a:pt x="105127" y="572906"/>
                  <a:pt x="106994" y="577773"/>
                </a:cubicBezTo>
                <a:cubicBezTo>
                  <a:pt x="105013" y="577859"/>
                  <a:pt x="105023" y="576535"/>
                  <a:pt x="105089" y="575135"/>
                </a:cubicBezTo>
                <a:cubicBezTo>
                  <a:pt x="100422" y="577202"/>
                  <a:pt x="104480" y="582869"/>
                  <a:pt x="100927" y="586022"/>
                </a:cubicBezTo>
                <a:cubicBezTo>
                  <a:pt x="98155" y="585384"/>
                  <a:pt x="101241" y="582145"/>
                  <a:pt x="101689" y="581507"/>
                </a:cubicBezTo>
                <a:cubicBezTo>
                  <a:pt x="101098" y="578183"/>
                  <a:pt x="97384" y="579297"/>
                  <a:pt x="95126" y="579240"/>
                </a:cubicBezTo>
                <a:cubicBezTo>
                  <a:pt x="97736" y="581345"/>
                  <a:pt x="95126" y="587184"/>
                  <a:pt x="99422" y="588089"/>
                </a:cubicBezTo>
                <a:cubicBezTo>
                  <a:pt x="100003" y="589994"/>
                  <a:pt x="95850" y="589337"/>
                  <a:pt x="95660" y="589765"/>
                </a:cubicBezTo>
                <a:cubicBezTo>
                  <a:pt x="95317" y="590480"/>
                  <a:pt x="99470" y="594757"/>
                  <a:pt x="93574" y="595204"/>
                </a:cubicBezTo>
                <a:cubicBezTo>
                  <a:pt x="92040" y="595328"/>
                  <a:pt x="90373" y="594109"/>
                  <a:pt x="90011" y="595766"/>
                </a:cubicBezTo>
                <a:cubicBezTo>
                  <a:pt x="89716" y="597071"/>
                  <a:pt x="87706" y="596347"/>
                  <a:pt x="86439" y="596319"/>
                </a:cubicBezTo>
                <a:cubicBezTo>
                  <a:pt x="85173" y="596290"/>
                  <a:pt x="85134" y="598224"/>
                  <a:pt x="84734" y="599500"/>
                </a:cubicBezTo>
                <a:cubicBezTo>
                  <a:pt x="82313" y="599538"/>
                  <a:pt x="79908" y="599912"/>
                  <a:pt x="77591" y="600614"/>
                </a:cubicBezTo>
                <a:cubicBezTo>
                  <a:pt x="76448" y="604053"/>
                  <a:pt x="80115" y="604101"/>
                  <a:pt x="80010" y="606815"/>
                </a:cubicBezTo>
                <a:cubicBezTo>
                  <a:pt x="82868" y="606129"/>
                  <a:pt x="84306" y="603558"/>
                  <a:pt x="84773" y="599500"/>
                </a:cubicBezTo>
                <a:cubicBezTo>
                  <a:pt x="89325" y="599576"/>
                  <a:pt x="89335" y="602872"/>
                  <a:pt x="89449" y="606091"/>
                </a:cubicBezTo>
                <a:cubicBezTo>
                  <a:pt x="86592" y="605729"/>
                  <a:pt x="85154" y="607491"/>
                  <a:pt x="83239" y="608520"/>
                </a:cubicBezTo>
                <a:cubicBezTo>
                  <a:pt x="83239" y="609873"/>
                  <a:pt x="85144" y="609816"/>
                  <a:pt x="86420" y="610216"/>
                </a:cubicBezTo>
                <a:cubicBezTo>
                  <a:pt x="85649" y="612787"/>
                  <a:pt x="82706" y="614978"/>
                  <a:pt x="87916" y="615111"/>
                </a:cubicBezTo>
                <a:cubicBezTo>
                  <a:pt x="86906" y="616197"/>
                  <a:pt x="86592" y="617645"/>
                  <a:pt x="85058" y="618102"/>
                </a:cubicBezTo>
                <a:cubicBezTo>
                  <a:pt x="85820" y="617874"/>
                  <a:pt x="84506" y="616778"/>
                  <a:pt x="84106" y="616797"/>
                </a:cubicBezTo>
                <a:cubicBezTo>
                  <a:pt x="84944" y="616797"/>
                  <a:pt x="82401" y="618169"/>
                  <a:pt x="82782" y="617750"/>
                </a:cubicBezTo>
                <a:cubicBezTo>
                  <a:pt x="82153" y="618483"/>
                  <a:pt x="84687" y="620388"/>
                  <a:pt x="84687" y="620388"/>
                </a:cubicBezTo>
                <a:cubicBezTo>
                  <a:pt x="84144" y="621893"/>
                  <a:pt x="83058" y="620331"/>
                  <a:pt x="82248" y="621141"/>
                </a:cubicBezTo>
                <a:cubicBezTo>
                  <a:pt x="81810" y="621569"/>
                  <a:pt x="82315" y="622979"/>
                  <a:pt x="81867" y="623389"/>
                </a:cubicBezTo>
                <a:cubicBezTo>
                  <a:pt x="81420" y="623798"/>
                  <a:pt x="79619" y="623827"/>
                  <a:pt x="79419" y="624132"/>
                </a:cubicBezTo>
                <a:cubicBezTo>
                  <a:pt x="79077" y="624646"/>
                  <a:pt x="79477" y="625970"/>
                  <a:pt x="79038" y="626389"/>
                </a:cubicBezTo>
                <a:cubicBezTo>
                  <a:pt x="77410" y="627951"/>
                  <a:pt x="74276" y="628294"/>
                  <a:pt x="73571" y="631256"/>
                </a:cubicBezTo>
                <a:cubicBezTo>
                  <a:pt x="72714" y="629351"/>
                  <a:pt x="65332" y="631914"/>
                  <a:pt x="66237" y="633485"/>
                </a:cubicBezTo>
                <a:cubicBezTo>
                  <a:pt x="66237" y="633485"/>
                  <a:pt x="68142" y="634295"/>
                  <a:pt x="67189" y="634809"/>
                </a:cubicBezTo>
                <a:cubicBezTo>
                  <a:pt x="65456" y="635762"/>
                  <a:pt x="67037" y="635990"/>
                  <a:pt x="67932" y="637257"/>
                </a:cubicBezTo>
                <a:cubicBezTo>
                  <a:pt x="70209" y="640458"/>
                  <a:pt x="69066" y="640800"/>
                  <a:pt x="65656" y="643820"/>
                </a:cubicBezTo>
                <a:cubicBezTo>
                  <a:pt x="64865" y="645553"/>
                  <a:pt x="69218" y="648316"/>
                  <a:pt x="69980" y="645725"/>
                </a:cubicBezTo>
                <a:cubicBezTo>
                  <a:pt x="71506" y="649055"/>
                  <a:pt x="71284" y="652925"/>
                  <a:pt x="69390" y="656059"/>
                </a:cubicBezTo>
                <a:cubicBezTo>
                  <a:pt x="68028" y="657650"/>
                  <a:pt x="66370" y="656164"/>
                  <a:pt x="67485" y="660374"/>
                </a:cubicBezTo>
                <a:cubicBezTo>
                  <a:pt x="64922" y="661870"/>
                  <a:pt x="66065" y="660031"/>
                  <a:pt x="62970" y="659612"/>
                </a:cubicBezTo>
                <a:cubicBezTo>
                  <a:pt x="64665" y="663813"/>
                  <a:pt x="64408" y="666985"/>
                  <a:pt x="59379" y="667118"/>
                </a:cubicBezTo>
                <a:cubicBezTo>
                  <a:pt x="59560" y="669975"/>
                  <a:pt x="59379" y="673081"/>
                  <a:pt x="62941" y="673519"/>
                </a:cubicBezTo>
                <a:cubicBezTo>
                  <a:pt x="61989" y="674290"/>
                  <a:pt x="60665" y="676300"/>
                  <a:pt x="62360" y="676900"/>
                </a:cubicBezTo>
                <a:cubicBezTo>
                  <a:pt x="61698" y="678317"/>
                  <a:pt x="60094" y="679032"/>
                  <a:pt x="58598" y="678577"/>
                </a:cubicBezTo>
                <a:cubicBezTo>
                  <a:pt x="58598" y="679920"/>
                  <a:pt x="58007" y="680539"/>
                  <a:pt x="57083" y="680634"/>
                </a:cubicBezTo>
                <a:cubicBezTo>
                  <a:pt x="59112" y="684063"/>
                  <a:pt x="54435" y="686092"/>
                  <a:pt x="56874" y="688721"/>
                </a:cubicBezTo>
                <a:cubicBezTo>
                  <a:pt x="56874" y="692283"/>
                  <a:pt x="54073" y="688959"/>
                  <a:pt x="53311" y="689273"/>
                </a:cubicBezTo>
                <a:cubicBezTo>
                  <a:pt x="51606" y="689968"/>
                  <a:pt x="52835" y="691092"/>
                  <a:pt x="51606" y="692464"/>
                </a:cubicBezTo>
                <a:cubicBezTo>
                  <a:pt x="51321" y="692778"/>
                  <a:pt x="49701" y="691797"/>
                  <a:pt x="49349" y="692083"/>
                </a:cubicBezTo>
                <a:cubicBezTo>
                  <a:pt x="48397" y="692883"/>
                  <a:pt x="48673" y="694655"/>
                  <a:pt x="47654" y="695274"/>
                </a:cubicBezTo>
                <a:cubicBezTo>
                  <a:pt x="50978" y="696693"/>
                  <a:pt x="50340" y="692540"/>
                  <a:pt x="53664" y="693969"/>
                </a:cubicBezTo>
                <a:cubicBezTo>
                  <a:pt x="53302" y="696217"/>
                  <a:pt x="56521" y="695874"/>
                  <a:pt x="55150" y="698865"/>
                </a:cubicBezTo>
                <a:cubicBezTo>
                  <a:pt x="52130" y="697388"/>
                  <a:pt x="51968" y="699951"/>
                  <a:pt x="49330" y="699027"/>
                </a:cubicBezTo>
                <a:cubicBezTo>
                  <a:pt x="48501" y="705237"/>
                  <a:pt x="45101" y="705694"/>
                  <a:pt x="46101" y="711238"/>
                </a:cubicBezTo>
                <a:cubicBezTo>
                  <a:pt x="48101" y="711724"/>
                  <a:pt x="48711" y="710285"/>
                  <a:pt x="50797" y="710876"/>
                </a:cubicBezTo>
                <a:cubicBezTo>
                  <a:pt x="51483" y="715562"/>
                  <a:pt x="47215" y="713276"/>
                  <a:pt x="45530" y="714619"/>
                </a:cubicBezTo>
                <a:cubicBezTo>
                  <a:pt x="43862" y="714927"/>
                  <a:pt x="42413" y="715950"/>
                  <a:pt x="41567" y="717420"/>
                </a:cubicBezTo>
                <a:cubicBezTo>
                  <a:pt x="41634" y="718372"/>
                  <a:pt x="42520" y="718743"/>
                  <a:pt x="42320" y="719867"/>
                </a:cubicBezTo>
                <a:cubicBezTo>
                  <a:pt x="43596" y="720525"/>
                  <a:pt x="43215" y="717962"/>
                  <a:pt x="43825" y="717810"/>
                </a:cubicBezTo>
                <a:cubicBezTo>
                  <a:pt x="45777" y="717143"/>
                  <a:pt x="46968" y="721620"/>
                  <a:pt x="48339" y="718572"/>
                </a:cubicBezTo>
                <a:cubicBezTo>
                  <a:pt x="49882" y="719344"/>
                  <a:pt x="48054" y="719524"/>
                  <a:pt x="47958" y="720829"/>
                </a:cubicBezTo>
                <a:cubicBezTo>
                  <a:pt x="47263" y="724687"/>
                  <a:pt x="51083" y="724439"/>
                  <a:pt x="48120" y="726649"/>
                </a:cubicBezTo>
                <a:cubicBezTo>
                  <a:pt x="47254" y="727306"/>
                  <a:pt x="48406" y="729202"/>
                  <a:pt x="48863" y="729097"/>
                </a:cubicBezTo>
                <a:cubicBezTo>
                  <a:pt x="49187" y="730478"/>
                  <a:pt x="46672" y="729383"/>
                  <a:pt x="46425" y="729840"/>
                </a:cubicBezTo>
                <a:cubicBezTo>
                  <a:pt x="43663" y="734993"/>
                  <a:pt x="44806" y="741918"/>
                  <a:pt x="42243" y="747680"/>
                </a:cubicBezTo>
                <a:cubicBezTo>
                  <a:pt x="42167" y="747852"/>
                  <a:pt x="40215" y="747195"/>
                  <a:pt x="39986" y="747299"/>
                </a:cubicBezTo>
                <a:cubicBezTo>
                  <a:pt x="43205" y="755024"/>
                  <a:pt x="42272" y="769788"/>
                  <a:pt x="35395" y="774341"/>
                </a:cubicBezTo>
                <a:cubicBezTo>
                  <a:pt x="34985" y="775617"/>
                  <a:pt x="35300" y="776389"/>
                  <a:pt x="36138" y="776789"/>
                </a:cubicBezTo>
                <a:cubicBezTo>
                  <a:pt x="32995" y="779313"/>
                  <a:pt x="28394" y="775627"/>
                  <a:pt x="26746" y="777513"/>
                </a:cubicBezTo>
                <a:cubicBezTo>
                  <a:pt x="24308" y="776617"/>
                  <a:pt x="26880" y="771379"/>
                  <a:pt x="27889" y="770750"/>
                </a:cubicBezTo>
                <a:cubicBezTo>
                  <a:pt x="27718" y="769388"/>
                  <a:pt x="26384" y="767559"/>
                  <a:pt x="25822" y="769245"/>
                </a:cubicBezTo>
                <a:cubicBezTo>
                  <a:pt x="23222" y="768445"/>
                  <a:pt x="24394" y="764978"/>
                  <a:pt x="20765" y="764911"/>
                </a:cubicBezTo>
                <a:cubicBezTo>
                  <a:pt x="18755" y="768312"/>
                  <a:pt x="24260" y="766388"/>
                  <a:pt x="22250" y="769797"/>
                </a:cubicBezTo>
                <a:cubicBezTo>
                  <a:pt x="24584" y="768054"/>
                  <a:pt x="26194" y="770321"/>
                  <a:pt x="25108" y="773750"/>
                </a:cubicBezTo>
                <a:cubicBezTo>
                  <a:pt x="23260" y="771283"/>
                  <a:pt x="24451" y="769940"/>
                  <a:pt x="20984" y="770731"/>
                </a:cubicBezTo>
                <a:cubicBezTo>
                  <a:pt x="18469" y="771283"/>
                  <a:pt x="19688" y="773893"/>
                  <a:pt x="17602" y="770159"/>
                </a:cubicBezTo>
                <a:cubicBezTo>
                  <a:pt x="16650" y="770217"/>
                  <a:pt x="16288" y="771112"/>
                  <a:pt x="15154" y="770902"/>
                </a:cubicBezTo>
                <a:cubicBezTo>
                  <a:pt x="14783" y="773817"/>
                  <a:pt x="19050" y="773426"/>
                  <a:pt x="20222" y="775246"/>
                </a:cubicBezTo>
                <a:cubicBezTo>
                  <a:pt x="19945" y="777589"/>
                  <a:pt x="17002" y="775541"/>
                  <a:pt x="15326" y="776732"/>
                </a:cubicBezTo>
                <a:cubicBezTo>
                  <a:pt x="15049" y="776922"/>
                  <a:pt x="15250" y="778913"/>
                  <a:pt x="14945" y="778980"/>
                </a:cubicBezTo>
                <a:cubicBezTo>
                  <a:pt x="14183" y="779141"/>
                  <a:pt x="13926" y="777237"/>
                  <a:pt x="12878" y="777475"/>
                </a:cubicBezTo>
                <a:cubicBezTo>
                  <a:pt x="11535" y="777427"/>
                  <a:pt x="11592" y="779380"/>
                  <a:pt x="11182" y="780656"/>
                </a:cubicBezTo>
                <a:cubicBezTo>
                  <a:pt x="9896" y="780256"/>
                  <a:pt x="9125" y="780570"/>
                  <a:pt x="8744" y="781408"/>
                </a:cubicBezTo>
                <a:cubicBezTo>
                  <a:pt x="4686" y="777903"/>
                  <a:pt x="11039" y="775093"/>
                  <a:pt x="13649" y="772969"/>
                </a:cubicBezTo>
                <a:cubicBezTo>
                  <a:pt x="13135" y="772426"/>
                  <a:pt x="12906" y="767207"/>
                  <a:pt x="11744" y="770331"/>
                </a:cubicBezTo>
                <a:cubicBezTo>
                  <a:pt x="9020" y="769378"/>
                  <a:pt x="12421" y="765949"/>
                  <a:pt x="14602" y="767331"/>
                </a:cubicBezTo>
                <a:cubicBezTo>
                  <a:pt x="15059" y="765283"/>
                  <a:pt x="11240" y="766530"/>
                  <a:pt x="10287" y="765425"/>
                </a:cubicBezTo>
                <a:cubicBezTo>
                  <a:pt x="10363" y="765511"/>
                  <a:pt x="12192" y="762720"/>
                  <a:pt x="10868" y="762044"/>
                </a:cubicBezTo>
                <a:cubicBezTo>
                  <a:pt x="7766" y="761816"/>
                  <a:pt x="4752" y="760908"/>
                  <a:pt x="2038" y="759387"/>
                </a:cubicBezTo>
                <a:cubicBezTo>
                  <a:pt x="2269" y="756889"/>
                  <a:pt x="3499" y="754592"/>
                  <a:pt x="5448" y="753014"/>
                </a:cubicBezTo>
                <a:cubicBezTo>
                  <a:pt x="5048" y="749052"/>
                  <a:pt x="3439" y="752062"/>
                  <a:pt x="0" y="750928"/>
                </a:cubicBezTo>
                <a:cubicBezTo>
                  <a:pt x="2191" y="749376"/>
                  <a:pt x="5058" y="748747"/>
                  <a:pt x="5648" y="744928"/>
                </a:cubicBezTo>
                <a:lnTo>
                  <a:pt x="7906" y="745309"/>
                </a:lnTo>
                <a:cubicBezTo>
                  <a:pt x="9373" y="742289"/>
                  <a:pt x="6810" y="742127"/>
                  <a:pt x="7734" y="739489"/>
                </a:cubicBezTo>
                <a:cubicBezTo>
                  <a:pt x="11859" y="737346"/>
                  <a:pt x="10668" y="730640"/>
                  <a:pt x="11154" y="726154"/>
                </a:cubicBezTo>
                <a:cubicBezTo>
                  <a:pt x="11354" y="724249"/>
                  <a:pt x="12649" y="724430"/>
                  <a:pt x="12849" y="722963"/>
                </a:cubicBezTo>
                <a:cubicBezTo>
                  <a:pt x="13230" y="720172"/>
                  <a:pt x="12182" y="717410"/>
                  <a:pt x="13059" y="714886"/>
                </a:cubicBezTo>
                <a:cubicBezTo>
                  <a:pt x="18097" y="714991"/>
                  <a:pt x="18583" y="708704"/>
                  <a:pt x="22479" y="707209"/>
                </a:cubicBezTo>
                <a:cubicBezTo>
                  <a:pt x="21892" y="706116"/>
                  <a:pt x="21701" y="704854"/>
                  <a:pt x="21936" y="703637"/>
                </a:cubicBezTo>
                <a:cubicBezTo>
                  <a:pt x="21252" y="702797"/>
                  <a:pt x="20616" y="701919"/>
                  <a:pt x="20031" y="701008"/>
                </a:cubicBezTo>
                <a:cubicBezTo>
                  <a:pt x="19412" y="700294"/>
                  <a:pt x="18726" y="698922"/>
                  <a:pt x="18126" y="698370"/>
                </a:cubicBezTo>
                <a:cubicBezTo>
                  <a:pt x="16935" y="697207"/>
                  <a:pt x="13783" y="698370"/>
                  <a:pt x="15135" y="695512"/>
                </a:cubicBezTo>
                <a:cubicBezTo>
                  <a:pt x="16488" y="694817"/>
                  <a:pt x="17040" y="697017"/>
                  <a:pt x="17193" y="697026"/>
                </a:cubicBezTo>
                <a:cubicBezTo>
                  <a:pt x="20545" y="697122"/>
                  <a:pt x="18259" y="692797"/>
                  <a:pt x="22469" y="693283"/>
                </a:cubicBezTo>
                <a:lnTo>
                  <a:pt x="23041" y="689892"/>
                </a:lnTo>
                <a:cubicBezTo>
                  <a:pt x="23317" y="688254"/>
                  <a:pt x="20841" y="688987"/>
                  <a:pt x="19850" y="688197"/>
                </a:cubicBezTo>
                <a:cubicBezTo>
                  <a:pt x="18488" y="687111"/>
                  <a:pt x="19183" y="684472"/>
                  <a:pt x="17050" y="684244"/>
                </a:cubicBezTo>
                <a:cubicBezTo>
                  <a:pt x="16745" y="682853"/>
                  <a:pt x="19212" y="683977"/>
                  <a:pt x="19488" y="683491"/>
                </a:cubicBezTo>
                <a:cubicBezTo>
                  <a:pt x="20374" y="681996"/>
                  <a:pt x="15726" y="682129"/>
                  <a:pt x="19126" y="678805"/>
                </a:cubicBezTo>
                <a:cubicBezTo>
                  <a:pt x="18926" y="677043"/>
                  <a:pt x="17612" y="678996"/>
                  <a:pt x="15745" y="678234"/>
                </a:cubicBezTo>
                <a:cubicBezTo>
                  <a:pt x="19441" y="675490"/>
                  <a:pt x="12544" y="674671"/>
                  <a:pt x="14792" y="669956"/>
                </a:cubicBezTo>
                <a:cubicBezTo>
                  <a:pt x="16674" y="670694"/>
                  <a:pt x="18777" y="670632"/>
                  <a:pt x="20612" y="669785"/>
                </a:cubicBezTo>
                <a:cubicBezTo>
                  <a:pt x="20288" y="668699"/>
                  <a:pt x="19964" y="667604"/>
                  <a:pt x="18707" y="667147"/>
                </a:cubicBezTo>
                <a:cubicBezTo>
                  <a:pt x="20679" y="665842"/>
                  <a:pt x="24270" y="663803"/>
                  <a:pt x="25851" y="666042"/>
                </a:cubicBezTo>
                <a:cubicBezTo>
                  <a:pt x="25154" y="663723"/>
                  <a:pt x="24781" y="661319"/>
                  <a:pt x="24746" y="658898"/>
                </a:cubicBezTo>
                <a:cubicBezTo>
                  <a:pt x="26022" y="658288"/>
                  <a:pt x="27699" y="658317"/>
                  <a:pt x="29642" y="657412"/>
                </a:cubicBezTo>
                <a:cubicBezTo>
                  <a:pt x="30089" y="657193"/>
                  <a:pt x="30766" y="655450"/>
                  <a:pt x="31137" y="655345"/>
                </a:cubicBezTo>
                <a:cubicBezTo>
                  <a:pt x="31509" y="655240"/>
                  <a:pt x="33137" y="655993"/>
                  <a:pt x="33395" y="655726"/>
                </a:cubicBezTo>
                <a:cubicBezTo>
                  <a:pt x="34061" y="655069"/>
                  <a:pt x="33395" y="653097"/>
                  <a:pt x="33966" y="652354"/>
                </a:cubicBezTo>
                <a:cubicBezTo>
                  <a:pt x="35347" y="652030"/>
                  <a:pt x="34261" y="654554"/>
                  <a:pt x="34719" y="654793"/>
                </a:cubicBezTo>
                <a:cubicBezTo>
                  <a:pt x="37014" y="656012"/>
                  <a:pt x="37814" y="650725"/>
                  <a:pt x="35671" y="649154"/>
                </a:cubicBezTo>
                <a:cubicBezTo>
                  <a:pt x="32509" y="648639"/>
                  <a:pt x="37833" y="652688"/>
                  <a:pt x="33033" y="651059"/>
                </a:cubicBezTo>
                <a:cubicBezTo>
                  <a:pt x="33137" y="648363"/>
                  <a:pt x="31623" y="646030"/>
                  <a:pt x="34185" y="644296"/>
                </a:cubicBezTo>
                <a:cubicBezTo>
                  <a:pt x="34547" y="642058"/>
                  <a:pt x="31328" y="642391"/>
                  <a:pt x="32699" y="639410"/>
                </a:cubicBezTo>
                <a:cubicBezTo>
                  <a:pt x="31747" y="639038"/>
                  <a:pt x="31556" y="639667"/>
                  <a:pt x="31375" y="640362"/>
                </a:cubicBezTo>
                <a:cubicBezTo>
                  <a:pt x="29804" y="639829"/>
                  <a:pt x="31556" y="636933"/>
                  <a:pt x="29699" y="636600"/>
                </a:cubicBezTo>
                <a:cubicBezTo>
                  <a:pt x="31266" y="633635"/>
                  <a:pt x="33698" y="631216"/>
                  <a:pt x="36671" y="629666"/>
                </a:cubicBezTo>
                <a:cubicBezTo>
                  <a:pt x="36909" y="627484"/>
                  <a:pt x="32671" y="630351"/>
                  <a:pt x="29908" y="628523"/>
                </a:cubicBezTo>
                <a:cubicBezTo>
                  <a:pt x="30956" y="626275"/>
                  <a:pt x="33252" y="625779"/>
                  <a:pt x="33309" y="622141"/>
                </a:cubicBezTo>
                <a:cubicBezTo>
                  <a:pt x="31061" y="622227"/>
                  <a:pt x="32356" y="627284"/>
                  <a:pt x="28223" y="624760"/>
                </a:cubicBezTo>
                <a:cubicBezTo>
                  <a:pt x="31480" y="622170"/>
                  <a:pt x="29928" y="620950"/>
                  <a:pt x="32033" y="616121"/>
                </a:cubicBezTo>
                <a:cubicBezTo>
                  <a:pt x="33610" y="616182"/>
                  <a:pt x="34895" y="617407"/>
                  <a:pt x="35033" y="618979"/>
                </a:cubicBezTo>
                <a:cubicBezTo>
                  <a:pt x="36338" y="619560"/>
                  <a:pt x="39462" y="616378"/>
                  <a:pt x="36728" y="615788"/>
                </a:cubicBezTo>
                <a:cubicBezTo>
                  <a:pt x="38452" y="612502"/>
                  <a:pt x="38167" y="618550"/>
                  <a:pt x="39729" y="618645"/>
                </a:cubicBezTo>
                <a:cubicBezTo>
                  <a:pt x="42139" y="619255"/>
                  <a:pt x="40919" y="614740"/>
                  <a:pt x="41805" y="613206"/>
                </a:cubicBezTo>
                <a:cubicBezTo>
                  <a:pt x="42758" y="613873"/>
                  <a:pt x="43710" y="614540"/>
                  <a:pt x="43710" y="615835"/>
                </a:cubicBezTo>
                <a:cubicBezTo>
                  <a:pt x="48597" y="613873"/>
                  <a:pt x="50378" y="607587"/>
                  <a:pt x="52959" y="602329"/>
                </a:cubicBezTo>
                <a:cubicBezTo>
                  <a:pt x="50959" y="601853"/>
                  <a:pt x="50349" y="603281"/>
                  <a:pt x="48263" y="602700"/>
                </a:cubicBezTo>
                <a:cubicBezTo>
                  <a:pt x="46863" y="602634"/>
                  <a:pt x="46472" y="605406"/>
                  <a:pt x="45406" y="605701"/>
                </a:cubicBezTo>
                <a:cubicBezTo>
                  <a:pt x="43691" y="606177"/>
                  <a:pt x="40919" y="604748"/>
                  <a:pt x="42958" y="606444"/>
                </a:cubicBezTo>
                <a:cubicBezTo>
                  <a:pt x="42958" y="608787"/>
                  <a:pt x="39738" y="605663"/>
                  <a:pt x="39767" y="604739"/>
                </a:cubicBezTo>
                <a:cubicBezTo>
                  <a:pt x="40258" y="603227"/>
                  <a:pt x="39537" y="601587"/>
                  <a:pt x="38090" y="600929"/>
                </a:cubicBezTo>
                <a:cubicBezTo>
                  <a:pt x="39195" y="598767"/>
                  <a:pt x="43482" y="601081"/>
                  <a:pt x="44291" y="598509"/>
                </a:cubicBezTo>
                <a:cubicBezTo>
                  <a:pt x="44644" y="595728"/>
                  <a:pt x="40615" y="597633"/>
                  <a:pt x="40719" y="599062"/>
                </a:cubicBezTo>
                <a:cubicBezTo>
                  <a:pt x="39148" y="599367"/>
                  <a:pt x="41177" y="593347"/>
                  <a:pt x="43739" y="594938"/>
                </a:cubicBezTo>
                <a:cubicBezTo>
                  <a:pt x="42786" y="593099"/>
                  <a:pt x="42996" y="591975"/>
                  <a:pt x="45444" y="591747"/>
                </a:cubicBezTo>
                <a:cubicBezTo>
                  <a:pt x="45606" y="590642"/>
                  <a:pt x="44215" y="590642"/>
                  <a:pt x="43377" y="590232"/>
                </a:cubicBezTo>
                <a:cubicBezTo>
                  <a:pt x="43215" y="587937"/>
                  <a:pt x="49168" y="587479"/>
                  <a:pt x="49206" y="590061"/>
                </a:cubicBezTo>
                <a:cubicBezTo>
                  <a:pt x="50502" y="590651"/>
                  <a:pt x="50073" y="588289"/>
                  <a:pt x="50721" y="588003"/>
                </a:cubicBezTo>
                <a:cubicBezTo>
                  <a:pt x="52330" y="587270"/>
                  <a:pt x="55245" y="589546"/>
                  <a:pt x="56540" y="587832"/>
                </a:cubicBezTo>
                <a:cubicBezTo>
                  <a:pt x="56340" y="585184"/>
                  <a:pt x="54550" y="588899"/>
                  <a:pt x="53350" y="586127"/>
                </a:cubicBezTo>
                <a:cubicBezTo>
                  <a:pt x="54731" y="584160"/>
                  <a:pt x="55150" y="581676"/>
                  <a:pt x="54493" y="579364"/>
                </a:cubicBezTo>
                <a:cubicBezTo>
                  <a:pt x="54759" y="580641"/>
                  <a:pt x="56836" y="580174"/>
                  <a:pt x="57683" y="581069"/>
                </a:cubicBezTo>
                <a:cubicBezTo>
                  <a:pt x="57979" y="581374"/>
                  <a:pt x="58169" y="583355"/>
                  <a:pt x="58436" y="583517"/>
                </a:cubicBezTo>
                <a:cubicBezTo>
                  <a:pt x="59065" y="583898"/>
                  <a:pt x="60093" y="583003"/>
                  <a:pt x="59750" y="582565"/>
                </a:cubicBezTo>
                <a:cubicBezTo>
                  <a:pt x="60636" y="583650"/>
                  <a:pt x="60103" y="585565"/>
                  <a:pt x="61427" y="586317"/>
                </a:cubicBezTo>
                <a:cubicBezTo>
                  <a:pt x="64922" y="586155"/>
                  <a:pt x="60760" y="583736"/>
                  <a:pt x="62189" y="581812"/>
                </a:cubicBezTo>
                <a:cubicBezTo>
                  <a:pt x="63837" y="581326"/>
                  <a:pt x="64703" y="579764"/>
                  <a:pt x="65208" y="577688"/>
                </a:cubicBezTo>
                <a:cubicBezTo>
                  <a:pt x="63970" y="574830"/>
                  <a:pt x="62751" y="575507"/>
                  <a:pt x="59769" y="575602"/>
                </a:cubicBezTo>
                <a:cubicBezTo>
                  <a:pt x="60103" y="571887"/>
                  <a:pt x="62027" y="570411"/>
                  <a:pt x="65237" y="570744"/>
                </a:cubicBezTo>
                <a:cubicBezTo>
                  <a:pt x="64500" y="569549"/>
                  <a:pt x="63466" y="568564"/>
                  <a:pt x="62236" y="567887"/>
                </a:cubicBezTo>
                <a:cubicBezTo>
                  <a:pt x="62646" y="566610"/>
                  <a:pt x="62332" y="565848"/>
                  <a:pt x="61493" y="565448"/>
                </a:cubicBezTo>
                <a:cubicBezTo>
                  <a:pt x="61493" y="562648"/>
                  <a:pt x="63960" y="563343"/>
                  <a:pt x="63579" y="560000"/>
                </a:cubicBezTo>
                <a:cubicBezTo>
                  <a:pt x="65999" y="560619"/>
                  <a:pt x="67323" y="559685"/>
                  <a:pt x="67532" y="557142"/>
                </a:cubicBezTo>
                <a:cubicBezTo>
                  <a:pt x="67532" y="555799"/>
                  <a:pt x="65627" y="555847"/>
                  <a:pt x="64341" y="555447"/>
                </a:cubicBezTo>
                <a:cubicBezTo>
                  <a:pt x="63617" y="553170"/>
                  <a:pt x="68351" y="552256"/>
                  <a:pt x="65103" y="550942"/>
                </a:cubicBezTo>
                <a:cubicBezTo>
                  <a:pt x="65770" y="549427"/>
                  <a:pt x="67104" y="551180"/>
                  <a:pt x="67161" y="552446"/>
                </a:cubicBezTo>
                <a:cubicBezTo>
                  <a:pt x="70971" y="551761"/>
                  <a:pt x="70371" y="544826"/>
                  <a:pt x="75267" y="545712"/>
                </a:cubicBezTo>
                <a:cubicBezTo>
                  <a:pt x="74145" y="544286"/>
                  <a:pt x="74390" y="542220"/>
                  <a:pt x="75817" y="541097"/>
                </a:cubicBezTo>
                <a:cubicBezTo>
                  <a:pt x="76568" y="540507"/>
                  <a:pt x="77538" y="540272"/>
                  <a:pt x="78476" y="540455"/>
                </a:cubicBezTo>
                <a:cubicBezTo>
                  <a:pt x="78953" y="537807"/>
                  <a:pt x="77095" y="536806"/>
                  <a:pt x="78476" y="533501"/>
                </a:cubicBezTo>
                <a:cubicBezTo>
                  <a:pt x="82601" y="536064"/>
                  <a:pt x="79696" y="528739"/>
                  <a:pt x="82620" y="529567"/>
                </a:cubicBezTo>
                <a:cubicBezTo>
                  <a:pt x="79839" y="526920"/>
                  <a:pt x="83048" y="520042"/>
                  <a:pt x="77391" y="519404"/>
                </a:cubicBezTo>
                <a:cubicBezTo>
                  <a:pt x="78701" y="517623"/>
                  <a:pt x="80552" y="516313"/>
                  <a:pt x="82667" y="515670"/>
                </a:cubicBezTo>
                <a:cubicBezTo>
                  <a:pt x="82839" y="514051"/>
                  <a:pt x="83010" y="512441"/>
                  <a:pt x="84363" y="512470"/>
                </a:cubicBezTo>
                <a:cubicBezTo>
                  <a:pt x="89611" y="512470"/>
                  <a:pt x="82115" y="515328"/>
                  <a:pt x="87363" y="515328"/>
                </a:cubicBezTo>
                <a:cubicBezTo>
                  <a:pt x="86487" y="516899"/>
                  <a:pt x="85211" y="517890"/>
                  <a:pt x="84344" y="519452"/>
                </a:cubicBezTo>
                <a:cubicBezTo>
                  <a:pt x="87754" y="520071"/>
                  <a:pt x="87830" y="515975"/>
                  <a:pt x="88868" y="513270"/>
                </a:cubicBezTo>
                <a:cubicBezTo>
                  <a:pt x="90859" y="513175"/>
                  <a:pt x="90849" y="514508"/>
                  <a:pt x="90773" y="515909"/>
                </a:cubicBezTo>
                <a:cubicBezTo>
                  <a:pt x="94440" y="515728"/>
                  <a:pt x="92754" y="513146"/>
                  <a:pt x="92859" y="510460"/>
                </a:cubicBezTo>
                <a:cubicBezTo>
                  <a:pt x="94621" y="511089"/>
                  <a:pt x="94974" y="509727"/>
                  <a:pt x="96422" y="509908"/>
                </a:cubicBezTo>
                <a:cubicBezTo>
                  <a:pt x="96250" y="506403"/>
                  <a:pt x="93840" y="510575"/>
                  <a:pt x="91916" y="509146"/>
                </a:cubicBezTo>
                <a:cubicBezTo>
                  <a:pt x="91621" y="507374"/>
                  <a:pt x="90735" y="506022"/>
                  <a:pt x="90430" y="504250"/>
                </a:cubicBezTo>
                <a:cubicBezTo>
                  <a:pt x="89788" y="504254"/>
                  <a:pt x="89271" y="504777"/>
                  <a:pt x="89275" y="505419"/>
                </a:cubicBezTo>
                <a:cubicBezTo>
                  <a:pt x="89278" y="505908"/>
                  <a:pt x="89587" y="506344"/>
                  <a:pt x="90049" y="506507"/>
                </a:cubicBezTo>
                <a:cubicBezTo>
                  <a:pt x="88354" y="509774"/>
                  <a:pt x="87259" y="504698"/>
                  <a:pt x="85725" y="504602"/>
                </a:cubicBezTo>
                <a:cubicBezTo>
                  <a:pt x="86335" y="503459"/>
                  <a:pt x="87954" y="504174"/>
                  <a:pt x="88363" y="502697"/>
                </a:cubicBezTo>
                <a:cubicBezTo>
                  <a:pt x="89211" y="499840"/>
                  <a:pt x="86554" y="493230"/>
                  <a:pt x="92173" y="494058"/>
                </a:cubicBezTo>
                <a:cubicBezTo>
                  <a:pt x="92250" y="496497"/>
                  <a:pt x="90897" y="496916"/>
                  <a:pt x="90268" y="498373"/>
                </a:cubicBezTo>
                <a:cubicBezTo>
                  <a:pt x="93126" y="502355"/>
                  <a:pt x="97888" y="497897"/>
                  <a:pt x="98346" y="498592"/>
                </a:cubicBezTo>
                <a:cubicBezTo>
                  <a:pt x="98312" y="498971"/>
                  <a:pt x="98248" y="499347"/>
                  <a:pt x="98155" y="499716"/>
                </a:cubicBezTo>
                <a:cubicBezTo>
                  <a:pt x="104584" y="496697"/>
                  <a:pt x="102632" y="487076"/>
                  <a:pt x="108918" y="484152"/>
                </a:cubicBezTo>
                <a:cubicBezTo>
                  <a:pt x="110976" y="483466"/>
                  <a:pt x="106375" y="480514"/>
                  <a:pt x="108737" y="478323"/>
                </a:cubicBezTo>
                <a:cubicBezTo>
                  <a:pt x="109538" y="477589"/>
                  <a:pt x="109490" y="480780"/>
                  <a:pt x="109490" y="480771"/>
                </a:cubicBezTo>
                <a:cubicBezTo>
                  <a:pt x="110774" y="480282"/>
                  <a:pt x="112030" y="479722"/>
                  <a:pt x="113252" y="479094"/>
                </a:cubicBezTo>
                <a:cubicBezTo>
                  <a:pt x="113871" y="477513"/>
                  <a:pt x="110519" y="476656"/>
                  <a:pt x="110633" y="474008"/>
                </a:cubicBezTo>
                <a:cubicBezTo>
                  <a:pt x="110633" y="472741"/>
                  <a:pt x="111785" y="471827"/>
                  <a:pt x="113652" y="469884"/>
                </a:cubicBezTo>
                <a:cubicBezTo>
                  <a:pt x="115300" y="468169"/>
                  <a:pt x="116348" y="465998"/>
                  <a:pt x="120987" y="467655"/>
                </a:cubicBezTo>
                <a:cubicBezTo>
                  <a:pt x="119291" y="464559"/>
                  <a:pt x="121815" y="458473"/>
                  <a:pt x="122158" y="453939"/>
                </a:cubicBezTo>
                <a:cubicBezTo>
                  <a:pt x="126908" y="452166"/>
                  <a:pt x="130013" y="447578"/>
                  <a:pt x="129892" y="442509"/>
                </a:cubicBezTo>
                <a:lnTo>
                  <a:pt x="133274" y="443080"/>
                </a:lnTo>
                <a:cubicBezTo>
                  <a:pt x="131826" y="441461"/>
                  <a:pt x="132245" y="438527"/>
                  <a:pt x="130845" y="436880"/>
                </a:cubicBezTo>
                <a:cubicBezTo>
                  <a:pt x="131513" y="435442"/>
                  <a:pt x="133141" y="434721"/>
                  <a:pt x="134655" y="435194"/>
                </a:cubicBezTo>
                <a:cubicBezTo>
                  <a:pt x="135225" y="432537"/>
                  <a:pt x="135296" y="429799"/>
                  <a:pt x="134864" y="427117"/>
                </a:cubicBezTo>
                <a:cubicBezTo>
                  <a:pt x="134922" y="427021"/>
                  <a:pt x="137112" y="427555"/>
                  <a:pt x="137122" y="427498"/>
                </a:cubicBezTo>
                <a:cubicBezTo>
                  <a:pt x="137227" y="425793"/>
                  <a:pt x="134769" y="425383"/>
                  <a:pt x="135626" y="422611"/>
                </a:cubicBezTo>
                <a:cubicBezTo>
                  <a:pt x="137208" y="422973"/>
                  <a:pt x="138789" y="423335"/>
                  <a:pt x="139189" y="422049"/>
                </a:cubicBezTo>
                <a:cubicBezTo>
                  <a:pt x="141856" y="422154"/>
                  <a:pt x="139894" y="425526"/>
                  <a:pt x="142046" y="426002"/>
                </a:cubicBezTo>
                <a:cubicBezTo>
                  <a:pt x="143818" y="426631"/>
                  <a:pt x="144161" y="425269"/>
                  <a:pt x="145618" y="425450"/>
                </a:cubicBezTo>
                <a:cubicBezTo>
                  <a:pt x="144942" y="423621"/>
                  <a:pt x="142256" y="423211"/>
                  <a:pt x="140360" y="422240"/>
                </a:cubicBezTo>
                <a:cubicBezTo>
                  <a:pt x="144618" y="419011"/>
                  <a:pt x="143218" y="415306"/>
                  <a:pt x="138322" y="413782"/>
                </a:cubicBezTo>
                <a:cubicBezTo>
                  <a:pt x="138846" y="411724"/>
                  <a:pt x="142256" y="413782"/>
                  <a:pt x="143208" y="412296"/>
                </a:cubicBezTo>
                <a:cubicBezTo>
                  <a:pt x="144075" y="408705"/>
                  <a:pt x="142027" y="407190"/>
                  <a:pt x="143608" y="403085"/>
                </a:cubicBezTo>
                <a:cubicBezTo>
                  <a:pt x="144885" y="403495"/>
                  <a:pt x="145656" y="403180"/>
                  <a:pt x="146056" y="402342"/>
                </a:cubicBezTo>
                <a:cubicBezTo>
                  <a:pt x="147961" y="403504"/>
                  <a:pt x="145875" y="404418"/>
                  <a:pt x="145485" y="405723"/>
                </a:cubicBezTo>
                <a:cubicBezTo>
                  <a:pt x="146018" y="406990"/>
                  <a:pt x="147885" y="407333"/>
                  <a:pt x="147171" y="409486"/>
                </a:cubicBezTo>
                <a:cubicBezTo>
                  <a:pt x="149105" y="407997"/>
                  <a:pt x="150929" y="406371"/>
                  <a:pt x="152629" y="404618"/>
                </a:cubicBezTo>
                <a:cubicBezTo>
                  <a:pt x="152630" y="403977"/>
                  <a:pt x="152110" y="403455"/>
                  <a:pt x="151469" y="403454"/>
                </a:cubicBezTo>
                <a:cubicBezTo>
                  <a:pt x="150976" y="403453"/>
                  <a:pt x="150536" y="403763"/>
                  <a:pt x="150371" y="404228"/>
                </a:cubicBezTo>
                <a:cubicBezTo>
                  <a:pt x="146085" y="399894"/>
                  <a:pt x="157839" y="399104"/>
                  <a:pt x="154181" y="395598"/>
                </a:cubicBezTo>
                <a:cubicBezTo>
                  <a:pt x="154334" y="392550"/>
                  <a:pt x="160325" y="397732"/>
                  <a:pt x="159268" y="392988"/>
                </a:cubicBezTo>
                <a:cubicBezTo>
                  <a:pt x="161401" y="392198"/>
                  <a:pt x="161782" y="395722"/>
                  <a:pt x="162258" y="395846"/>
                </a:cubicBezTo>
                <a:cubicBezTo>
                  <a:pt x="164983" y="396360"/>
                  <a:pt x="166364" y="391941"/>
                  <a:pt x="169050" y="390045"/>
                </a:cubicBezTo>
                <a:cubicBezTo>
                  <a:pt x="169507" y="383444"/>
                  <a:pt x="165706" y="379863"/>
                  <a:pt x="167402" y="372376"/>
                </a:cubicBezTo>
                <a:cubicBezTo>
                  <a:pt x="168868" y="371664"/>
                  <a:pt x="170550" y="371534"/>
                  <a:pt x="172107" y="372014"/>
                </a:cubicBezTo>
                <a:cubicBezTo>
                  <a:pt x="173860" y="365537"/>
                  <a:pt x="170307" y="361975"/>
                  <a:pt x="173460" y="357174"/>
                </a:cubicBezTo>
                <a:cubicBezTo>
                  <a:pt x="173631" y="356917"/>
                  <a:pt x="175365" y="357727"/>
                  <a:pt x="175717" y="357555"/>
                </a:cubicBezTo>
                <a:cubicBezTo>
                  <a:pt x="176212" y="355565"/>
                  <a:pt x="174765" y="354946"/>
                  <a:pt x="175355" y="352860"/>
                </a:cubicBezTo>
                <a:cubicBezTo>
                  <a:pt x="177794" y="352441"/>
                  <a:pt x="180413" y="350078"/>
                  <a:pt x="182309" y="352860"/>
                </a:cubicBezTo>
                <a:cubicBezTo>
                  <a:pt x="182623" y="350955"/>
                  <a:pt x="182947" y="349107"/>
                  <a:pt x="183261" y="347221"/>
                </a:cubicBezTo>
                <a:cubicBezTo>
                  <a:pt x="185604" y="347668"/>
                  <a:pt x="186652" y="346516"/>
                  <a:pt x="188157" y="345735"/>
                </a:cubicBezTo>
                <a:cubicBezTo>
                  <a:pt x="189871" y="344849"/>
                  <a:pt x="190919" y="342706"/>
                  <a:pt x="193234" y="343116"/>
                </a:cubicBezTo>
                <a:cubicBezTo>
                  <a:pt x="193291" y="339477"/>
                  <a:pt x="197120" y="341153"/>
                  <a:pt x="196634" y="336743"/>
                </a:cubicBezTo>
                <a:cubicBezTo>
                  <a:pt x="198911" y="337610"/>
                  <a:pt x="199749" y="336477"/>
                  <a:pt x="201330" y="336381"/>
                </a:cubicBezTo>
                <a:cubicBezTo>
                  <a:pt x="202778" y="334591"/>
                  <a:pt x="199587" y="333143"/>
                  <a:pt x="199654" y="332619"/>
                </a:cubicBezTo>
                <a:cubicBezTo>
                  <a:pt x="199720" y="332095"/>
                  <a:pt x="202197" y="330304"/>
                  <a:pt x="202282" y="330714"/>
                </a:cubicBezTo>
                <a:cubicBezTo>
                  <a:pt x="202101" y="329809"/>
                  <a:pt x="198672" y="329323"/>
                  <a:pt x="198168" y="327695"/>
                </a:cubicBezTo>
                <a:cubicBezTo>
                  <a:pt x="198082" y="327418"/>
                  <a:pt x="199863" y="325666"/>
                  <a:pt x="199863" y="324504"/>
                </a:cubicBezTo>
                <a:cubicBezTo>
                  <a:pt x="199863" y="324418"/>
                  <a:pt x="198825" y="324075"/>
                  <a:pt x="198911" y="323189"/>
                </a:cubicBezTo>
                <a:cubicBezTo>
                  <a:pt x="199053" y="321980"/>
                  <a:pt x="201387" y="321284"/>
                  <a:pt x="200997" y="317750"/>
                </a:cubicBezTo>
                <a:cubicBezTo>
                  <a:pt x="202082" y="317960"/>
                  <a:pt x="201635" y="319274"/>
                  <a:pt x="201739" y="320189"/>
                </a:cubicBezTo>
                <a:cubicBezTo>
                  <a:pt x="204502" y="319922"/>
                  <a:pt x="208693" y="320598"/>
                  <a:pt x="209645" y="314579"/>
                </a:cubicBezTo>
                <a:cubicBezTo>
                  <a:pt x="211550" y="316836"/>
                  <a:pt x="211093" y="314712"/>
                  <a:pt x="214160" y="315341"/>
                </a:cubicBezTo>
                <a:cubicBezTo>
                  <a:pt x="215827" y="315674"/>
                  <a:pt x="215036" y="313074"/>
                  <a:pt x="215856" y="312150"/>
                </a:cubicBezTo>
                <a:cubicBezTo>
                  <a:pt x="216122" y="311855"/>
                  <a:pt x="217761" y="312721"/>
                  <a:pt x="218103" y="312531"/>
                </a:cubicBezTo>
                <a:cubicBezTo>
                  <a:pt x="218837" y="312178"/>
                  <a:pt x="218942" y="309616"/>
                  <a:pt x="219808" y="309340"/>
                </a:cubicBezTo>
                <a:cubicBezTo>
                  <a:pt x="221066" y="308321"/>
                  <a:pt x="224018" y="309702"/>
                  <a:pt x="223771" y="306540"/>
                </a:cubicBezTo>
                <a:cubicBezTo>
                  <a:pt x="226562" y="306540"/>
                  <a:pt x="225866" y="309016"/>
                  <a:pt x="229210" y="308626"/>
                </a:cubicBezTo>
                <a:cubicBezTo>
                  <a:pt x="233020" y="308426"/>
                  <a:pt x="229829" y="303282"/>
                  <a:pt x="234096" y="307130"/>
                </a:cubicBezTo>
                <a:cubicBezTo>
                  <a:pt x="235934" y="306463"/>
                  <a:pt x="236344" y="303777"/>
                  <a:pt x="237306" y="301882"/>
                </a:cubicBezTo>
                <a:cubicBezTo>
                  <a:pt x="236571" y="300688"/>
                  <a:pt x="235541" y="299703"/>
                  <a:pt x="234315" y="299024"/>
                </a:cubicBezTo>
                <a:cubicBezTo>
                  <a:pt x="233810" y="297824"/>
                  <a:pt x="235525" y="298310"/>
                  <a:pt x="235629" y="298072"/>
                </a:cubicBezTo>
                <a:cubicBezTo>
                  <a:pt x="236163" y="296872"/>
                  <a:pt x="233810" y="296024"/>
                  <a:pt x="233724" y="295433"/>
                </a:cubicBezTo>
                <a:cubicBezTo>
                  <a:pt x="233830" y="294293"/>
                  <a:pt x="234024" y="293163"/>
                  <a:pt x="234305" y="292052"/>
                </a:cubicBezTo>
                <a:cubicBezTo>
                  <a:pt x="234439" y="290033"/>
                  <a:pt x="233572" y="289452"/>
                  <a:pt x="233934" y="287356"/>
                </a:cubicBezTo>
                <a:cubicBezTo>
                  <a:pt x="233934" y="287613"/>
                  <a:pt x="235115" y="287023"/>
                  <a:pt x="235258" y="286404"/>
                </a:cubicBezTo>
                <a:cubicBezTo>
                  <a:pt x="235753" y="284194"/>
                  <a:pt x="235715" y="282832"/>
                  <a:pt x="238115" y="283413"/>
                </a:cubicBezTo>
                <a:cubicBezTo>
                  <a:pt x="238325" y="281613"/>
                  <a:pt x="239382" y="279203"/>
                  <a:pt x="237754" y="278708"/>
                </a:cubicBezTo>
                <a:cubicBezTo>
                  <a:pt x="238363" y="277241"/>
                  <a:pt x="240725" y="278250"/>
                  <a:pt x="242449" y="278346"/>
                </a:cubicBezTo>
                <a:cubicBezTo>
                  <a:pt x="242907" y="274183"/>
                  <a:pt x="241640" y="273764"/>
                  <a:pt x="243783" y="270459"/>
                </a:cubicBezTo>
                <a:cubicBezTo>
                  <a:pt x="246974" y="271230"/>
                  <a:pt x="249917" y="271640"/>
                  <a:pt x="250003" y="268039"/>
                </a:cubicBezTo>
                <a:cubicBezTo>
                  <a:pt x="251412" y="268678"/>
                  <a:pt x="251431" y="270316"/>
                  <a:pt x="252994" y="270897"/>
                </a:cubicBezTo>
                <a:cubicBezTo>
                  <a:pt x="255508" y="271183"/>
                  <a:pt x="254279" y="266201"/>
                  <a:pt x="255270" y="264334"/>
                </a:cubicBezTo>
                <a:cubicBezTo>
                  <a:pt x="258577" y="265912"/>
                  <a:pt x="261370" y="268391"/>
                  <a:pt x="263328" y="271488"/>
                </a:cubicBezTo>
                <a:cubicBezTo>
                  <a:pt x="264414" y="271164"/>
                  <a:pt x="265509" y="270849"/>
                  <a:pt x="265967" y="269583"/>
                </a:cubicBezTo>
                <a:cubicBezTo>
                  <a:pt x="265157" y="268144"/>
                  <a:pt x="263433" y="269230"/>
                  <a:pt x="261842" y="266563"/>
                </a:cubicBezTo>
                <a:cubicBezTo>
                  <a:pt x="262795" y="260200"/>
                  <a:pt x="261661" y="261467"/>
                  <a:pt x="262614" y="255133"/>
                </a:cubicBezTo>
                <a:cubicBezTo>
                  <a:pt x="263709" y="254544"/>
                  <a:pt x="264973" y="254348"/>
                  <a:pt x="266195" y="254581"/>
                </a:cubicBezTo>
                <a:cubicBezTo>
                  <a:pt x="266814" y="250771"/>
                  <a:pt x="267472" y="247065"/>
                  <a:pt x="271853" y="248580"/>
                </a:cubicBezTo>
                <a:cubicBezTo>
                  <a:pt x="271254" y="247491"/>
                  <a:pt x="271059" y="246226"/>
                  <a:pt x="271301" y="245008"/>
                </a:cubicBezTo>
                <a:cubicBezTo>
                  <a:pt x="274158" y="242570"/>
                  <a:pt x="275206" y="248609"/>
                  <a:pt x="278054" y="246161"/>
                </a:cubicBezTo>
                <a:cubicBezTo>
                  <a:pt x="278301" y="244008"/>
                  <a:pt x="274463" y="244751"/>
                  <a:pt x="275196" y="242208"/>
                </a:cubicBezTo>
                <a:cubicBezTo>
                  <a:pt x="275930" y="238112"/>
                  <a:pt x="279359" y="237817"/>
                  <a:pt x="283855" y="239036"/>
                </a:cubicBezTo>
                <a:cubicBezTo>
                  <a:pt x="285321" y="236007"/>
                  <a:pt x="282769" y="235845"/>
                  <a:pt x="283683" y="233207"/>
                </a:cubicBezTo>
                <a:cubicBezTo>
                  <a:pt x="285147" y="232499"/>
                  <a:pt x="286823" y="232370"/>
                  <a:pt x="288379" y="232845"/>
                </a:cubicBezTo>
                <a:cubicBezTo>
                  <a:pt x="288450" y="230652"/>
                  <a:pt x="289670" y="228658"/>
                  <a:pt x="291589" y="227596"/>
                </a:cubicBezTo>
                <a:cubicBezTo>
                  <a:pt x="292056" y="227349"/>
                  <a:pt x="292827" y="229301"/>
                  <a:pt x="293656" y="229101"/>
                </a:cubicBezTo>
                <a:cubicBezTo>
                  <a:pt x="295666" y="228635"/>
                  <a:pt x="299085" y="223110"/>
                  <a:pt x="302504" y="224806"/>
                </a:cubicBezTo>
                <a:cubicBezTo>
                  <a:pt x="302169" y="222876"/>
                  <a:pt x="302505" y="220889"/>
                  <a:pt x="303457" y="219176"/>
                </a:cubicBezTo>
                <a:cubicBezTo>
                  <a:pt x="303686" y="218871"/>
                  <a:pt x="305362" y="219795"/>
                  <a:pt x="305714" y="219557"/>
                </a:cubicBezTo>
                <a:cubicBezTo>
                  <a:pt x="306067" y="219319"/>
                  <a:pt x="305714" y="217528"/>
                  <a:pt x="306095" y="217300"/>
                </a:cubicBezTo>
                <a:cubicBezTo>
                  <a:pt x="306476" y="217071"/>
                  <a:pt x="308000" y="218005"/>
                  <a:pt x="308343" y="217681"/>
                </a:cubicBezTo>
                <a:cubicBezTo>
                  <a:pt x="308686" y="217357"/>
                  <a:pt x="310505" y="212356"/>
                  <a:pt x="311363" y="213556"/>
                </a:cubicBezTo>
                <a:cubicBezTo>
                  <a:pt x="312315" y="214919"/>
                  <a:pt x="312020" y="214195"/>
                  <a:pt x="312677" y="212604"/>
                </a:cubicBezTo>
                <a:cubicBezTo>
                  <a:pt x="315611" y="213499"/>
                  <a:pt x="315982" y="216204"/>
                  <a:pt x="316240" y="219005"/>
                </a:cubicBezTo>
                <a:cubicBezTo>
                  <a:pt x="315716" y="220729"/>
                  <a:pt x="318745" y="219824"/>
                  <a:pt x="319421" y="220710"/>
                </a:cubicBezTo>
                <a:cubicBezTo>
                  <a:pt x="319735" y="221119"/>
                  <a:pt x="318811" y="222472"/>
                  <a:pt x="319040" y="222958"/>
                </a:cubicBezTo>
                <a:cubicBezTo>
                  <a:pt x="320259" y="225587"/>
                  <a:pt x="323869" y="227349"/>
                  <a:pt x="326174" y="228806"/>
                </a:cubicBezTo>
                <a:cubicBezTo>
                  <a:pt x="326612" y="227501"/>
                  <a:pt x="324564" y="227958"/>
                  <a:pt x="324107" y="227301"/>
                </a:cubicBezTo>
                <a:cubicBezTo>
                  <a:pt x="324336" y="227634"/>
                  <a:pt x="323326" y="223996"/>
                  <a:pt x="323364" y="224853"/>
                </a:cubicBezTo>
                <a:cubicBezTo>
                  <a:pt x="323279" y="223091"/>
                  <a:pt x="328051" y="218462"/>
                  <a:pt x="323574" y="216776"/>
                </a:cubicBezTo>
                <a:cubicBezTo>
                  <a:pt x="324260" y="214480"/>
                  <a:pt x="328574" y="217309"/>
                  <a:pt x="329584" y="215471"/>
                </a:cubicBezTo>
                <a:cubicBezTo>
                  <a:pt x="331260" y="210975"/>
                  <a:pt x="324545" y="212442"/>
                  <a:pt x="326231" y="207946"/>
                </a:cubicBezTo>
                <a:cubicBezTo>
                  <a:pt x="328574" y="206194"/>
                  <a:pt x="329441" y="208994"/>
                  <a:pt x="331670" y="210032"/>
                </a:cubicBezTo>
                <a:cubicBezTo>
                  <a:pt x="331022" y="207721"/>
                  <a:pt x="331441" y="205240"/>
                  <a:pt x="332813" y="203269"/>
                </a:cubicBezTo>
                <a:lnTo>
                  <a:pt x="338452" y="204222"/>
                </a:lnTo>
                <a:cubicBezTo>
                  <a:pt x="341814" y="205108"/>
                  <a:pt x="340709" y="197507"/>
                  <a:pt x="343529" y="201612"/>
                </a:cubicBezTo>
                <a:cubicBezTo>
                  <a:pt x="343853" y="199707"/>
                  <a:pt x="344167" y="197859"/>
                  <a:pt x="344481" y="195973"/>
                </a:cubicBezTo>
                <a:cubicBezTo>
                  <a:pt x="348472" y="197878"/>
                  <a:pt x="348520" y="194221"/>
                  <a:pt x="350691" y="193554"/>
                </a:cubicBezTo>
                <a:cubicBezTo>
                  <a:pt x="353901" y="192973"/>
                  <a:pt x="351644" y="196135"/>
                  <a:pt x="352368" y="197316"/>
                </a:cubicBezTo>
                <a:cubicBezTo>
                  <a:pt x="353092" y="198497"/>
                  <a:pt x="355349" y="198497"/>
                  <a:pt x="355368" y="200174"/>
                </a:cubicBezTo>
                <a:cubicBezTo>
                  <a:pt x="359654" y="200060"/>
                  <a:pt x="355463" y="196707"/>
                  <a:pt x="358578" y="194926"/>
                </a:cubicBezTo>
                <a:cubicBezTo>
                  <a:pt x="358731" y="193830"/>
                  <a:pt x="357349" y="193821"/>
                  <a:pt x="356511" y="193421"/>
                </a:cubicBezTo>
                <a:cubicBezTo>
                  <a:pt x="356711" y="191373"/>
                  <a:pt x="358292" y="191268"/>
                  <a:pt x="358416" y="189106"/>
                </a:cubicBezTo>
                <a:cubicBezTo>
                  <a:pt x="361445" y="189258"/>
                  <a:pt x="360921" y="191963"/>
                  <a:pt x="361036" y="194183"/>
                </a:cubicBezTo>
                <a:cubicBezTo>
                  <a:pt x="364065" y="195192"/>
                  <a:pt x="362798" y="190163"/>
                  <a:pt x="365169" y="190249"/>
                </a:cubicBezTo>
                <a:cubicBezTo>
                  <a:pt x="368027" y="189011"/>
                  <a:pt x="366913" y="193792"/>
                  <a:pt x="367979" y="194202"/>
                </a:cubicBezTo>
                <a:cubicBezTo>
                  <a:pt x="369046" y="194611"/>
                  <a:pt x="371351" y="192240"/>
                  <a:pt x="369494" y="192144"/>
                </a:cubicBezTo>
                <a:cubicBezTo>
                  <a:pt x="369637" y="189087"/>
                  <a:pt x="375628" y="194259"/>
                  <a:pt x="374571" y="189525"/>
                </a:cubicBezTo>
                <a:cubicBezTo>
                  <a:pt x="375990" y="189411"/>
                  <a:pt x="374809" y="191430"/>
                  <a:pt x="375314" y="191973"/>
                </a:cubicBezTo>
                <a:cubicBezTo>
                  <a:pt x="375618" y="192268"/>
                  <a:pt x="378171" y="190325"/>
                  <a:pt x="377571" y="192354"/>
                </a:cubicBezTo>
                <a:cubicBezTo>
                  <a:pt x="380429" y="190735"/>
                  <a:pt x="379266" y="183562"/>
                  <a:pt x="381743" y="181467"/>
                </a:cubicBezTo>
                <a:cubicBezTo>
                  <a:pt x="384115" y="183076"/>
                  <a:pt x="388410" y="183372"/>
                  <a:pt x="390363" y="185277"/>
                </a:cubicBezTo>
                <a:cubicBezTo>
                  <a:pt x="389020" y="187115"/>
                  <a:pt x="386744" y="187610"/>
                  <a:pt x="386972" y="191659"/>
                </a:cubicBezTo>
                <a:cubicBezTo>
                  <a:pt x="390014" y="190445"/>
                  <a:pt x="392219" y="187754"/>
                  <a:pt x="392811" y="184534"/>
                </a:cubicBezTo>
                <a:cubicBezTo>
                  <a:pt x="397926" y="184534"/>
                  <a:pt x="396812" y="188963"/>
                  <a:pt x="399936" y="190373"/>
                </a:cubicBezTo>
                <a:cubicBezTo>
                  <a:pt x="407489" y="190544"/>
                  <a:pt x="407880" y="183972"/>
                  <a:pt x="408061" y="176685"/>
                </a:cubicBezTo>
                <a:cubicBezTo>
                  <a:pt x="403631" y="175733"/>
                  <a:pt x="408127" y="178476"/>
                  <a:pt x="405203" y="179676"/>
                </a:cubicBezTo>
                <a:cubicBezTo>
                  <a:pt x="401707" y="180429"/>
                  <a:pt x="403069" y="176819"/>
                  <a:pt x="402346" y="175723"/>
                </a:cubicBezTo>
                <a:cubicBezTo>
                  <a:pt x="401290" y="174120"/>
                  <a:pt x="399959" y="172717"/>
                  <a:pt x="398412" y="171580"/>
                </a:cubicBezTo>
                <a:cubicBezTo>
                  <a:pt x="398631" y="169103"/>
                  <a:pt x="402498" y="171751"/>
                  <a:pt x="404232" y="171408"/>
                </a:cubicBezTo>
                <a:cubicBezTo>
                  <a:pt x="405536" y="170265"/>
                  <a:pt x="403765" y="167684"/>
                  <a:pt x="403679" y="167836"/>
                </a:cubicBezTo>
                <a:cubicBezTo>
                  <a:pt x="404517" y="166084"/>
                  <a:pt x="407222" y="166884"/>
                  <a:pt x="407641" y="165036"/>
                </a:cubicBezTo>
                <a:cubicBezTo>
                  <a:pt x="408061" y="163188"/>
                  <a:pt x="411547" y="165036"/>
                  <a:pt x="411785" y="161093"/>
                </a:cubicBezTo>
                <a:cubicBezTo>
                  <a:pt x="416547" y="163122"/>
                  <a:pt x="416128" y="157911"/>
                  <a:pt x="420253" y="159054"/>
                </a:cubicBezTo>
                <a:cubicBezTo>
                  <a:pt x="420500" y="157559"/>
                  <a:pt x="420757" y="156054"/>
                  <a:pt x="421015" y="154549"/>
                </a:cubicBezTo>
                <a:cubicBezTo>
                  <a:pt x="424091" y="154206"/>
                  <a:pt x="428492" y="151539"/>
                  <a:pt x="431349" y="155140"/>
                </a:cubicBezTo>
                <a:cubicBezTo>
                  <a:pt x="433854" y="155425"/>
                  <a:pt x="432635" y="150444"/>
                  <a:pt x="433626" y="148577"/>
                </a:cubicBezTo>
                <a:cubicBezTo>
                  <a:pt x="434818" y="147837"/>
                  <a:pt x="435802" y="146803"/>
                  <a:pt x="436483" y="145577"/>
                </a:cubicBezTo>
                <a:cubicBezTo>
                  <a:pt x="438388" y="146139"/>
                  <a:pt x="439731" y="144148"/>
                  <a:pt x="439865" y="146148"/>
                </a:cubicBezTo>
                <a:cubicBezTo>
                  <a:pt x="442665" y="144043"/>
                  <a:pt x="444627" y="140766"/>
                  <a:pt x="449837" y="142043"/>
                </a:cubicBezTo>
                <a:lnTo>
                  <a:pt x="449066" y="146548"/>
                </a:lnTo>
                <a:cubicBezTo>
                  <a:pt x="450790" y="147091"/>
                  <a:pt x="449894" y="144005"/>
                  <a:pt x="450771" y="143367"/>
                </a:cubicBezTo>
                <a:cubicBezTo>
                  <a:pt x="451923" y="142519"/>
                  <a:pt x="454381" y="144034"/>
                  <a:pt x="455466" y="142995"/>
                </a:cubicBezTo>
                <a:cubicBezTo>
                  <a:pt x="456552" y="141957"/>
                  <a:pt x="455676" y="135613"/>
                  <a:pt x="459810" y="137938"/>
                </a:cubicBezTo>
                <a:cubicBezTo>
                  <a:pt x="461210" y="134632"/>
                  <a:pt x="458419" y="134289"/>
                  <a:pt x="459810" y="130984"/>
                </a:cubicBezTo>
                <a:lnTo>
                  <a:pt x="466573" y="132127"/>
                </a:lnTo>
                <a:cubicBezTo>
                  <a:pt x="468982" y="132737"/>
                  <a:pt x="467754" y="128222"/>
                  <a:pt x="468649" y="126688"/>
                </a:cubicBezTo>
                <a:cubicBezTo>
                  <a:pt x="471735" y="124412"/>
                  <a:pt x="471364" y="128955"/>
                  <a:pt x="473907" y="129898"/>
                </a:cubicBezTo>
                <a:cubicBezTo>
                  <a:pt x="473783" y="127670"/>
                  <a:pt x="471049" y="127308"/>
                  <a:pt x="472602" y="123879"/>
                </a:cubicBezTo>
                <a:cubicBezTo>
                  <a:pt x="473945" y="123879"/>
                  <a:pt x="474574" y="124469"/>
                  <a:pt x="474669" y="125393"/>
                </a:cubicBezTo>
                <a:cubicBezTo>
                  <a:pt x="477643" y="123842"/>
                  <a:pt x="480074" y="121424"/>
                  <a:pt x="481641" y="118459"/>
                </a:cubicBezTo>
                <a:cubicBezTo>
                  <a:pt x="482479" y="119374"/>
                  <a:pt x="483605" y="119976"/>
                  <a:pt x="484832" y="120164"/>
                </a:cubicBezTo>
                <a:cubicBezTo>
                  <a:pt x="486527" y="120564"/>
                  <a:pt x="485680" y="117792"/>
                  <a:pt x="486537" y="116973"/>
                </a:cubicBezTo>
                <a:cubicBezTo>
                  <a:pt x="488232" y="115325"/>
                  <a:pt x="492871" y="117059"/>
                  <a:pt x="492928" y="113420"/>
                </a:cubicBezTo>
                <a:cubicBezTo>
                  <a:pt x="494833" y="113420"/>
                  <a:pt x="494690" y="114811"/>
                  <a:pt x="496119" y="115116"/>
                </a:cubicBezTo>
                <a:cubicBezTo>
                  <a:pt x="498634" y="114258"/>
                  <a:pt x="497805" y="111439"/>
                  <a:pt x="499339" y="109867"/>
                </a:cubicBezTo>
                <a:cubicBezTo>
                  <a:pt x="500224" y="108915"/>
                  <a:pt x="502730" y="109810"/>
                  <a:pt x="503091" y="108191"/>
                </a:cubicBezTo>
                <a:cubicBezTo>
                  <a:pt x="503368" y="106962"/>
                  <a:pt x="505625" y="107839"/>
                  <a:pt x="505730" y="106286"/>
                </a:cubicBezTo>
                <a:cubicBezTo>
                  <a:pt x="507218" y="107118"/>
                  <a:pt x="508264" y="108564"/>
                  <a:pt x="508587" y="110239"/>
                </a:cubicBezTo>
                <a:cubicBezTo>
                  <a:pt x="511016" y="109486"/>
                  <a:pt x="513731" y="109115"/>
                  <a:pt x="514979" y="106686"/>
                </a:cubicBezTo>
                <a:cubicBezTo>
                  <a:pt x="519055" y="107753"/>
                  <a:pt x="523246" y="104781"/>
                  <a:pt x="525313" y="107286"/>
                </a:cubicBezTo>
                <a:cubicBezTo>
                  <a:pt x="524056" y="109353"/>
                  <a:pt x="520684" y="110667"/>
                  <a:pt x="519293" y="108581"/>
                </a:cubicBezTo>
                <a:cubicBezTo>
                  <a:pt x="517989" y="114601"/>
                  <a:pt x="525961" y="109629"/>
                  <a:pt x="527552" y="114620"/>
                </a:cubicBezTo>
                <a:cubicBezTo>
                  <a:pt x="530095" y="115401"/>
                  <a:pt x="529352" y="111572"/>
                  <a:pt x="531505" y="111810"/>
                </a:cubicBezTo>
                <a:cubicBezTo>
                  <a:pt x="535134" y="111877"/>
                  <a:pt x="533972" y="115344"/>
                  <a:pt x="536572" y="116144"/>
                </a:cubicBezTo>
                <a:cubicBezTo>
                  <a:pt x="539315" y="115830"/>
                  <a:pt x="538420" y="110382"/>
                  <a:pt x="542963" y="112591"/>
                </a:cubicBezTo>
                <a:cubicBezTo>
                  <a:pt x="542858" y="108381"/>
                  <a:pt x="540020" y="106095"/>
                  <a:pt x="540182" y="101685"/>
                </a:cubicBezTo>
                <a:cubicBezTo>
                  <a:pt x="543392" y="101390"/>
                  <a:pt x="542087" y="104314"/>
                  <a:pt x="544306" y="104705"/>
                </a:cubicBezTo>
                <a:cubicBezTo>
                  <a:pt x="545973" y="104705"/>
                  <a:pt x="545259" y="101409"/>
                  <a:pt x="547164" y="101714"/>
                </a:cubicBezTo>
                <a:cubicBezTo>
                  <a:pt x="544449" y="98609"/>
                  <a:pt x="547840" y="97332"/>
                  <a:pt x="544925" y="94370"/>
                </a:cubicBezTo>
                <a:cubicBezTo>
                  <a:pt x="547421" y="91322"/>
                  <a:pt x="549231" y="93818"/>
                  <a:pt x="553002" y="94580"/>
                </a:cubicBezTo>
                <a:cubicBezTo>
                  <a:pt x="554670" y="94272"/>
                  <a:pt x="556119" y="93249"/>
                  <a:pt x="556965" y="91779"/>
                </a:cubicBezTo>
                <a:cubicBezTo>
                  <a:pt x="555174" y="87579"/>
                  <a:pt x="551526" y="92379"/>
                  <a:pt x="548878" y="91570"/>
                </a:cubicBezTo>
                <a:cubicBezTo>
                  <a:pt x="548573" y="86598"/>
                  <a:pt x="541744" y="92008"/>
                  <a:pt x="542696" y="87036"/>
                </a:cubicBezTo>
                <a:cubicBezTo>
                  <a:pt x="541411" y="86407"/>
                  <a:pt x="541801" y="88865"/>
                  <a:pt x="541182" y="89103"/>
                </a:cubicBezTo>
                <a:cubicBezTo>
                  <a:pt x="539563" y="89712"/>
                  <a:pt x="538324" y="86703"/>
                  <a:pt x="535543" y="88150"/>
                </a:cubicBezTo>
                <a:cubicBezTo>
                  <a:pt x="532190" y="87560"/>
                  <a:pt x="532209" y="84569"/>
                  <a:pt x="529361" y="83616"/>
                </a:cubicBezTo>
                <a:cubicBezTo>
                  <a:pt x="526142" y="84197"/>
                  <a:pt x="523161" y="85121"/>
                  <a:pt x="519770" y="85521"/>
                </a:cubicBezTo>
                <a:cubicBezTo>
                  <a:pt x="517484" y="82759"/>
                  <a:pt x="514131" y="86960"/>
                  <a:pt x="514521" y="82302"/>
                </a:cubicBezTo>
                <a:cubicBezTo>
                  <a:pt x="509572" y="81260"/>
                  <a:pt x="504469" y="81182"/>
                  <a:pt x="499491" y="82073"/>
                </a:cubicBezTo>
                <a:cubicBezTo>
                  <a:pt x="499005" y="79806"/>
                  <a:pt x="496253" y="80721"/>
                  <a:pt x="498929" y="78502"/>
                </a:cubicBezTo>
                <a:cubicBezTo>
                  <a:pt x="496510" y="77882"/>
                  <a:pt x="495186" y="78816"/>
                  <a:pt x="494976" y="81359"/>
                </a:cubicBezTo>
                <a:cubicBezTo>
                  <a:pt x="492290" y="81702"/>
                  <a:pt x="492662" y="78787"/>
                  <a:pt x="490852" y="78340"/>
                </a:cubicBezTo>
                <a:cubicBezTo>
                  <a:pt x="486318" y="77225"/>
                  <a:pt x="481565" y="81083"/>
                  <a:pt x="478469" y="83188"/>
                </a:cubicBezTo>
                <a:cubicBezTo>
                  <a:pt x="477322" y="82032"/>
                  <a:pt x="475781" y="81352"/>
                  <a:pt x="474155" y="81283"/>
                </a:cubicBezTo>
                <a:cubicBezTo>
                  <a:pt x="475526" y="79316"/>
                  <a:pt x="475945" y="76838"/>
                  <a:pt x="475298" y="74530"/>
                </a:cubicBezTo>
                <a:cubicBezTo>
                  <a:pt x="473678" y="75968"/>
                  <a:pt x="470735" y="75558"/>
                  <a:pt x="469087" y="76949"/>
                </a:cubicBezTo>
                <a:cubicBezTo>
                  <a:pt x="467230" y="75568"/>
                  <a:pt x="468992" y="73901"/>
                  <a:pt x="464772" y="75044"/>
                </a:cubicBezTo>
                <a:cubicBezTo>
                  <a:pt x="462610" y="75634"/>
                  <a:pt x="461820" y="77501"/>
                  <a:pt x="459877" y="76530"/>
                </a:cubicBezTo>
                <a:lnTo>
                  <a:pt x="460648" y="72025"/>
                </a:lnTo>
                <a:cubicBezTo>
                  <a:pt x="457791" y="70729"/>
                  <a:pt x="458076" y="73987"/>
                  <a:pt x="456695" y="74834"/>
                </a:cubicBezTo>
                <a:cubicBezTo>
                  <a:pt x="452990" y="72929"/>
                  <a:pt x="442522" y="74025"/>
                  <a:pt x="440369" y="68586"/>
                </a:cubicBezTo>
                <a:cubicBezTo>
                  <a:pt x="434559" y="70653"/>
                  <a:pt x="431883" y="67976"/>
                  <a:pt x="426463" y="68538"/>
                </a:cubicBezTo>
                <a:cubicBezTo>
                  <a:pt x="426891" y="63938"/>
                  <a:pt x="421338" y="68443"/>
                  <a:pt x="421586" y="63081"/>
                </a:cubicBezTo>
                <a:cubicBezTo>
                  <a:pt x="419976" y="64528"/>
                  <a:pt x="417033" y="64109"/>
                  <a:pt x="415385" y="65500"/>
                </a:cubicBezTo>
                <a:cubicBezTo>
                  <a:pt x="412890" y="64290"/>
                  <a:pt x="412994" y="61242"/>
                  <a:pt x="410518" y="60033"/>
                </a:cubicBezTo>
                <a:cubicBezTo>
                  <a:pt x="406089" y="61109"/>
                  <a:pt x="412842" y="62166"/>
                  <a:pt x="410870" y="64738"/>
                </a:cubicBezTo>
                <a:cubicBezTo>
                  <a:pt x="409785" y="65062"/>
                  <a:pt x="408689" y="65386"/>
                  <a:pt x="408242" y="66643"/>
                </a:cubicBezTo>
                <a:cubicBezTo>
                  <a:pt x="407060" y="67681"/>
                  <a:pt x="403374" y="62166"/>
                  <a:pt x="400545" y="64185"/>
                </a:cubicBezTo>
                <a:cubicBezTo>
                  <a:pt x="398345" y="65728"/>
                  <a:pt x="400155" y="62909"/>
                  <a:pt x="396221" y="62280"/>
                </a:cubicBezTo>
                <a:cubicBezTo>
                  <a:pt x="396069" y="63376"/>
                  <a:pt x="397450" y="63385"/>
                  <a:pt x="398288" y="63785"/>
                </a:cubicBezTo>
                <a:cubicBezTo>
                  <a:pt x="396812" y="67872"/>
                  <a:pt x="394678" y="62319"/>
                  <a:pt x="393202" y="66405"/>
                </a:cubicBezTo>
                <a:cubicBezTo>
                  <a:pt x="391297" y="63547"/>
                  <a:pt x="389896" y="66405"/>
                  <a:pt x="386448" y="65252"/>
                </a:cubicBezTo>
                <a:lnTo>
                  <a:pt x="387020" y="61880"/>
                </a:lnTo>
                <a:cubicBezTo>
                  <a:pt x="383877" y="62099"/>
                  <a:pt x="382181" y="64376"/>
                  <a:pt x="379495" y="65233"/>
                </a:cubicBezTo>
                <a:cubicBezTo>
                  <a:pt x="375752" y="66129"/>
                  <a:pt x="373780" y="60842"/>
                  <a:pt x="371608" y="63900"/>
                </a:cubicBezTo>
                <a:cubicBezTo>
                  <a:pt x="368008" y="62814"/>
                  <a:pt x="369608" y="58042"/>
                  <a:pt x="368437" y="55251"/>
                </a:cubicBezTo>
                <a:cubicBezTo>
                  <a:pt x="366282" y="57177"/>
                  <a:pt x="365338" y="60117"/>
                  <a:pt x="365970" y="62938"/>
                </a:cubicBezTo>
                <a:cubicBezTo>
                  <a:pt x="363331" y="61985"/>
                  <a:pt x="363169" y="64585"/>
                  <a:pt x="360150" y="63119"/>
                </a:cubicBezTo>
                <a:cubicBezTo>
                  <a:pt x="360150" y="61052"/>
                  <a:pt x="361598" y="60985"/>
                  <a:pt x="361464" y="62166"/>
                </a:cubicBezTo>
                <a:cubicBezTo>
                  <a:pt x="364693" y="61671"/>
                  <a:pt x="359312" y="59213"/>
                  <a:pt x="359969" y="57280"/>
                </a:cubicBezTo>
                <a:cubicBezTo>
                  <a:pt x="358064" y="58766"/>
                  <a:pt x="353939" y="57175"/>
                  <a:pt x="353568" y="60833"/>
                </a:cubicBezTo>
                <a:cubicBezTo>
                  <a:pt x="351939" y="58375"/>
                  <a:pt x="350053" y="61614"/>
                  <a:pt x="348129" y="58747"/>
                </a:cubicBezTo>
                <a:cubicBezTo>
                  <a:pt x="346300" y="59423"/>
                  <a:pt x="345881" y="62099"/>
                  <a:pt x="344919" y="63995"/>
                </a:cubicBezTo>
                <a:cubicBezTo>
                  <a:pt x="343833" y="63785"/>
                  <a:pt x="344281" y="62471"/>
                  <a:pt x="344176" y="61557"/>
                </a:cubicBezTo>
                <a:cubicBezTo>
                  <a:pt x="340766" y="59547"/>
                  <a:pt x="342700" y="65052"/>
                  <a:pt x="339290" y="63042"/>
                </a:cubicBezTo>
                <a:lnTo>
                  <a:pt x="339671" y="60795"/>
                </a:lnTo>
                <a:cubicBezTo>
                  <a:pt x="336877" y="60325"/>
                  <a:pt x="334007" y="60655"/>
                  <a:pt x="331394" y="61747"/>
                </a:cubicBezTo>
                <a:cubicBezTo>
                  <a:pt x="329889" y="61080"/>
                  <a:pt x="331632" y="59747"/>
                  <a:pt x="332908" y="59680"/>
                </a:cubicBezTo>
                <a:cubicBezTo>
                  <a:pt x="333642" y="57451"/>
                  <a:pt x="329613" y="59356"/>
                  <a:pt x="329336" y="60233"/>
                </a:cubicBezTo>
                <a:cubicBezTo>
                  <a:pt x="327193" y="59185"/>
                  <a:pt x="328270" y="57213"/>
                  <a:pt x="328032" y="54222"/>
                </a:cubicBezTo>
                <a:cubicBezTo>
                  <a:pt x="327974" y="53432"/>
                  <a:pt x="327079" y="53003"/>
                  <a:pt x="327079" y="52898"/>
                </a:cubicBezTo>
                <a:cubicBezTo>
                  <a:pt x="327079" y="52098"/>
                  <a:pt x="328470" y="51879"/>
                  <a:pt x="328574" y="50831"/>
                </a:cubicBezTo>
                <a:cubicBezTo>
                  <a:pt x="328574" y="50584"/>
                  <a:pt x="327174" y="49422"/>
                  <a:pt x="327841" y="48393"/>
                </a:cubicBezTo>
                <a:cubicBezTo>
                  <a:pt x="328022" y="48098"/>
                  <a:pt x="330756" y="49041"/>
                  <a:pt x="330279" y="47650"/>
                </a:cubicBezTo>
                <a:cubicBezTo>
                  <a:pt x="330194" y="45402"/>
                  <a:pt x="326069" y="46012"/>
                  <a:pt x="327660" y="42564"/>
                </a:cubicBezTo>
                <a:lnTo>
                  <a:pt x="324288" y="41992"/>
                </a:lnTo>
                <a:cubicBezTo>
                  <a:pt x="320735" y="44431"/>
                  <a:pt x="322040" y="45602"/>
                  <a:pt x="321821" y="49688"/>
                </a:cubicBezTo>
                <a:cubicBezTo>
                  <a:pt x="320243" y="49631"/>
                  <a:pt x="318955" y="48405"/>
                  <a:pt x="318821" y="46831"/>
                </a:cubicBezTo>
                <a:cubicBezTo>
                  <a:pt x="315335" y="47250"/>
                  <a:pt x="321154" y="48964"/>
                  <a:pt x="319183" y="51536"/>
                </a:cubicBezTo>
                <a:cubicBezTo>
                  <a:pt x="314801" y="51012"/>
                  <a:pt x="313011" y="48679"/>
                  <a:pt x="313382" y="44754"/>
                </a:cubicBezTo>
                <a:cubicBezTo>
                  <a:pt x="314658" y="45154"/>
                  <a:pt x="315430" y="44840"/>
                  <a:pt x="315830" y="44002"/>
                </a:cubicBezTo>
                <a:cubicBezTo>
                  <a:pt x="316421" y="42297"/>
                  <a:pt x="313211" y="43183"/>
                  <a:pt x="312630" y="42307"/>
                </a:cubicBezTo>
                <a:cubicBezTo>
                  <a:pt x="311744" y="40963"/>
                  <a:pt x="316906" y="37925"/>
                  <a:pt x="310953" y="38544"/>
                </a:cubicBezTo>
                <a:cubicBezTo>
                  <a:pt x="312725" y="34467"/>
                  <a:pt x="311906" y="33267"/>
                  <a:pt x="313420" y="30848"/>
                </a:cubicBezTo>
                <a:cubicBezTo>
                  <a:pt x="315706" y="31905"/>
                  <a:pt x="318907" y="35763"/>
                  <a:pt x="320183" y="31991"/>
                </a:cubicBezTo>
                <a:cubicBezTo>
                  <a:pt x="321650" y="32601"/>
                  <a:pt x="320640" y="34972"/>
                  <a:pt x="320535" y="36687"/>
                </a:cubicBezTo>
                <a:cubicBezTo>
                  <a:pt x="323488" y="36182"/>
                  <a:pt x="323917" y="32134"/>
                  <a:pt x="328070" y="33334"/>
                </a:cubicBezTo>
                <a:lnTo>
                  <a:pt x="328841" y="28829"/>
                </a:lnTo>
                <a:cubicBezTo>
                  <a:pt x="333023" y="30543"/>
                  <a:pt x="333308" y="26752"/>
                  <a:pt x="336166" y="26590"/>
                </a:cubicBezTo>
                <a:cubicBezTo>
                  <a:pt x="335547" y="24028"/>
                  <a:pt x="331280" y="27943"/>
                  <a:pt x="328089" y="26381"/>
                </a:cubicBezTo>
                <a:cubicBezTo>
                  <a:pt x="328889" y="25485"/>
                  <a:pt x="332308" y="22018"/>
                  <a:pt x="329603" y="24314"/>
                </a:cubicBezTo>
                <a:cubicBezTo>
                  <a:pt x="326984" y="23142"/>
                  <a:pt x="329975" y="18523"/>
                  <a:pt x="332623" y="20189"/>
                </a:cubicBezTo>
                <a:cubicBezTo>
                  <a:pt x="333727" y="19075"/>
                  <a:pt x="331822" y="17932"/>
                  <a:pt x="331870" y="17742"/>
                </a:cubicBezTo>
                <a:cubicBezTo>
                  <a:pt x="332080" y="16856"/>
                  <a:pt x="334823" y="17037"/>
                  <a:pt x="334509" y="15837"/>
                </a:cubicBezTo>
                <a:cubicBezTo>
                  <a:pt x="334194" y="14636"/>
                  <a:pt x="332908" y="14455"/>
                  <a:pt x="331327" y="14141"/>
                </a:cubicBezTo>
                <a:cubicBezTo>
                  <a:pt x="331546" y="11655"/>
                  <a:pt x="335404" y="14303"/>
                  <a:pt x="337147" y="13960"/>
                </a:cubicBezTo>
                <a:cubicBezTo>
                  <a:pt x="338342" y="13228"/>
                  <a:pt x="339327" y="12197"/>
                  <a:pt x="340004" y="10969"/>
                </a:cubicBezTo>
                <a:cubicBezTo>
                  <a:pt x="344234" y="10874"/>
                  <a:pt x="349720" y="12560"/>
                  <a:pt x="351844" y="9502"/>
                </a:cubicBezTo>
                <a:cubicBezTo>
                  <a:pt x="354835" y="7283"/>
                  <a:pt x="350406" y="12303"/>
                  <a:pt x="350891" y="15132"/>
                </a:cubicBezTo>
                <a:cubicBezTo>
                  <a:pt x="354882" y="13455"/>
                  <a:pt x="355083" y="14522"/>
                  <a:pt x="359159" y="14179"/>
                </a:cubicBezTo>
                <a:cubicBezTo>
                  <a:pt x="362283" y="13465"/>
                  <a:pt x="364046" y="10817"/>
                  <a:pt x="367808" y="11007"/>
                </a:cubicBezTo>
                <a:cubicBezTo>
                  <a:pt x="367141" y="13798"/>
                  <a:pt x="368951" y="14817"/>
                  <a:pt x="370427" y="16094"/>
                </a:cubicBezTo>
                <a:cubicBezTo>
                  <a:pt x="371380" y="16027"/>
                  <a:pt x="371742" y="15141"/>
                  <a:pt x="372866" y="15341"/>
                </a:cubicBezTo>
                <a:cubicBezTo>
                  <a:pt x="374028" y="11884"/>
                  <a:pt x="371513" y="11017"/>
                  <a:pt x="373075" y="7264"/>
                </a:cubicBezTo>
                <a:cubicBezTo>
                  <a:pt x="373932" y="8645"/>
                  <a:pt x="377180" y="8321"/>
                  <a:pt x="375933" y="11217"/>
                </a:cubicBezTo>
                <a:cubicBezTo>
                  <a:pt x="377200" y="10198"/>
                  <a:pt x="380152" y="11579"/>
                  <a:pt x="379895" y="8417"/>
                </a:cubicBezTo>
                <a:cubicBezTo>
                  <a:pt x="380162" y="6740"/>
                  <a:pt x="378533" y="8055"/>
                  <a:pt x="378762" y="8226"/>
                </a:cubicBezTo>
                <a:cubicBezTo>
                  <a:pt x="376586" y="6140"/>
                  <a:pt x="376514" y="2685"/>
                  <a:pt x="378601" y="509"/>
                </a:cubicBezTo>
                <a:cubicBezTo>
                  <a:pt x="378722" y="383"/>
                  <a:pt x="378848" y="263"/>
                  <a:pt x="378981" y="149"/>
                </a:cubicBezTo>
                <a:cubicBezTo>
                  <a:pt x="381533" y="901"/>
                  <a:pt x="381048" y="3587"/>
                  <a:pt x="379343" y="4845"/>
                </a:cubicBezTo>
                <a:cubicBezTo>
                  <a:pt x="382667" y="6273"/>
                  <a:pt x="382029" y="2121"/>
                  <a:pt x="385353" y="3540"/>
                </a:cubicBezTo>
                <a:cubicBezTo>
                  <a:pt x="385201" y="4645"/>
                  <a:pt x="386591" y="4654"/>
                  <a:pt x="387420" y="5054"/>
                </a:cubicBezTo>
                <a:cubicBezTo>
                  <a:pt x="385201" y="9255"/>
                  <a:pt x="391087" y="8483"/>
                  <a:pt x="387591" y="10884"/>
                </a:cubicBezTo>
                <a:cubicBezTo>
                  <a:pt x="393306" y="9226"/>
                  <a:pt x="392992" y="16189"/>
                  <a:pt x="399793" y="14113"/>
                </a:cubicBezTo>
                <a:cubicBezTo>
                  <a:pt x="399720" y="12090"/>
                  <a:pt x="400469" y="10125"/>
                  <a:pt x="401869" y="8664"/>
                </a:cubicBezTo>
                <a:cubicBezTo>
                  <a:pt x="404574" y="11617"/>
                  <a:pt x="406698" y="8807"/>
                  <a:pt x="409575" y="11131"/>
                </a:cubicBezTo>
                <a:cubicBezTo>
                  <a:pt x="412270" y="11048"/>
                  <a:pt x="414966" y="11118"/>
                  <a:pt x="417652" y="11341"/>
                </a:cubicBezTo>
                <a:cubicBezTo>
                  <a:pt x="416995" y="13303"/>
                  <a:pt x="418328" y="13836"/>
                  <a:pt x="418605" y="12655"/>
                </a:cubicBezTo>
                <a:cubicBezTo>
                  <a:pt x="421634" y="13674"/>
                  <a:pt x="418052" y="16208"/>
                  <a:pt x="415966" y="14560"/>
                </a:cubicBezTo>
                <a:cubicBezTo>
                  <a:pt x="416862" y="16237"/>
                  <a:pt x="416357" y="18904"/>
                  <a:pt x="417262" y="20580"/>
                </a:cubicBezTo>
                <a:cubicBezTo>
                  <a:pt x="418625" y="19531"/>
                  <a:pt x="420580" y="19786"/>
                  <a:pt x="421630" y="21149"/>
                </a:cubicBezTo>
                <a:cubicBezTo>
                  <a:pt x="421677" y="21211"/>
                  <a:pt x="421724" y="21276"/>
                  <a:pt x="421767" y="21342"/>
                </a:cubicBezTo>
                <a:cubicBezTo>
                  <a:pt x="422409" y="21338"/>
                  <a:pt x="422926" y="20815"/>
                  <a:pt x="422922" y="20173"/>
                </a:cubicBezTo>
                <a:cubicBezTo>
                  <a:pt x="422920" y="19684"/>
                  <a:pt x="422610" y="19248"/>
                  <a:pt x="422148" y="19085"/>
                </a:cubicBezTo>
                <a:cubicBezTo>
                  <a:pt x="423624" y="16980"/>
                  <a:pt x="426911" y="17389"/>
                  <a:pt x="430416" y="18132"/>
                </a:cubicBezTo>
                <a:cubicBezTo>
                  <a:pt x="429682" y="18675"/>
                  <a:pt x="429558" y="19485"/>
                  <a:pt x="428911" y="20199"/>
                </a:cubicBezTo>
                <a:cubicBezTo>
                  <a:pt x="428151" y="21148"/>
                  <a:pt x="427576" y="22230"/>
                  <a:pt x="427215" y="23390"/>
                </a:cubicBezTo>
                <a:cubicBezTo>
                  <a:pt x="426977" y="23923"/>
                  <a:pt x="425853" y="24485"/>
                  <a:pt x="425891" y="24342"/>
                </a:cubicBezTo>
                <a:cubicBezTo>
                  <a:pt x="425253" y="26924"/>
                  <a:pt x="427711" y="29267"/>
                  <a:pt x="423624" y="30915"/>
                </a:cubicBezTo>
                <a:cubicBezTo>
                  <a:pt x="425380" y="32929"/>
                  <a:pt x="426191" y="35598"/>
                  <a:pt x="425853" y="38249"/>
                </a:cubicBezTo>
                <a:cubicBezTo>
                  <a:pt x="429978" y="39411"/>
                  <a:pt x="432626" y="38468"/>
                  <a:pt x="433378" y="34887"/>
                </a:cubicBezTo>
                <a:cubicBezTo>
                  <a:pt x="437188" y="36001"/>
                  <a:pt x="434330" y="38173"/>
                  <a:pt x="438817" y="36973"/>
                </a:cubicBezTo>
                <a:cubicBezTo>
                  <a:pt x="437236" y="41068"/>
                  <a:pt x="439284" y="42592"/>
                  <a:pt x="438417" y="46174"/>
                </a:cubicBezTo>
                <a:cubicBezTo>
                  <a:pt x="439179" y="46802"/>
                  <a:pt x="440931" y="42564"/>
                  <a:pt x="440322" y="41859"/>
                </a:cubicBezTo>
                <a:cubicBezTo>
                  <a:pt x="439036" y="40382"/>
                  <a:pt x="440407" y="41516"/>
                  <a:pt x="440512" y="40735"/>
                </a:cubicBezTo>
                <a:cubicBezTo>
                  <a:pt x="440646" y="39687"/>
                  <a:pt x="438750" y="34306"/>
                  <a:pt x="441855" y="32848"/>
                </a:cubicBezTo>
                <a:cubicBezTo>
                  <a:pt x="443265" y="32772"/>
                  <a:pt x="442093" y="34753"/>
                  <a:pt x="442598" y="35287"/>
                </a:cubicBezTo>
                <a:cubicBezTo>
                  <a:pt x="443646" y="36458"/>
                  <a:pt x="446494" y="35620"/>
                  <a:pt x="446913" y="37192"/>
                </a:cubicBezTo>
                <a:cubicBezTo>
                  <a:pt x="449066" y="36506"/>
                  <a:pt x="449637" y="33591"/>
                  <a:pt x="451247" y="32134"/>
                </a:cubicBezTo>
                <a:cubicBezTo>
                  <a:pt x="455057" y="33163"/>
                  <a:pt x="457095" y="35839"/>
                  <a:pt x="459515" y="31181"/>
                </a:cubicBezTo>
                <a:cubicBezTo>
                  <a:pt x="460810" y="31591"/>
                  <a:pt x="460124" y="33401"/>
                  <a:pt x="460077" y="34753"/>
                </a:cubicBezTo>
                <a:cubicBezTo>
                  <a:pt x="460077" y="36792"/>
                  <a:pt x="467097" y="41945"/>
                  <a:pt x="467773" y="37220"/>
                </a:cubicBezTo>
                <a:cubicBezTo>
                  <a:pt x="471583" y="36849"/>
                  <a:pt x="468678" y="41202"/>
                  <a:pt x="471707" y="41364"/>
                </a:cubicBezTo>
                <a:cubicBezTo>
                  <a:pt x="474002" y="40287"/>
                  <a:pt x="471840" y="35725"/>
                  <a:pt x="474155" y="40630"/>
                </a:cubicBezTo>
                <a:cubicBezTo>
                  <a:pt x="477393" y="40116"/>
                  <a:pt x="471497" y="38020"/>
                  <a:pt x="473974" y="34801"/>
                </a:cubicBezTo>
                <a:cubicBezTo>
                  <a:pt x="474726" y="35925"/>
                  <a:pt x="476945" y="35991"/>
                  <a:pt x="476974" y="37658"/>
                </a:cubicBezTo>
                <a:cubicBezTo>
                  <a:pt x="476483" y="39173"/>
                  <a:pt x="477209" y="40813"/>
                  <a:pt x="478660" y="41468"/>
                </a:cubicBezTo>
                <a:cubicBezTo>
                  <a:pt x="478250" y="42754"/>
                  <a:pt x="476441" y="42068"/>
                  <a:pt x="475078" y="42011"/>
                </a:cubicBezTo>
                <a:cubicBezTo>
                  <a:pt x="474202" y="44288"/>
                  <a:pt x="475345" y="45135"/>
                  <a:pt x="475440" y="46717"/>
                </a:cubicBezTo>
                <a:cubicBezTo>
                  <a:pt x="476545" y="46869"/>
                  <a:pt x="476555" y="45488"/>
                  <a:pt x="476955" y="44659"/>
                </a:cubicBezTo>
                <a:cubicBezTo>
                  <a:pt x="480603" y="44659"/>
                  <a:pt x="480936" y="47860"/>
                  <a:pt x="483718" y="45802"/>
                </a:cubicBezTo>
                <a:cubicBezTo>
                  <a:pt x="483899" y="43688"/>
                  <a:pt x="480012" y="44459"/>
                  <a:pt x="479593" y="42783"/>
                </a:cubicBezTo>
                <a:cubicBezTo>
                  <a:pt x="481394" y="41592"/>
                  <a:pt x="481498" y="38077"/>
                  <a:pt x="482060" y="35087"/>
                </a:cubicBezTo>
                <a:cubicBezTo>
                  <a:pt x="483475" y="35752"/>
                  <a:pt x="484187" y="37353"/>
                  <a:pt x="483737" y="38849"/>
                </a:cubicBezTo>
                <a:cubicBezTo>
                  <a:pt x="487204" y="38458"/>
                  <a:pt x="482784" y="35763"/>
                  <a:pt x="484689" y="33220"/>
                </a:cubicBezTo>
                <a:cubicBezTo>
                  <a:pt x="488994" y="35544"/>
                  <a:pt x="488671" y="31372"/>
                  <a:pt x="491842" y="32105"/>
                </a:cubicBezTo>
                <a:lnTo>
                  <a:pt x="490890" y="37744"/>
                </a:lnTo>
                <a:cubicBezTo>
                  <a:pt x="488499" y="36696"/>
                  <a:pt x="488918" y="39649"/>
                  <a:pt x="487128" y="39420"/>
                </a:cubicBezTo>
                <a:cubicBezTo>
                  <a:pt x="487128" y="42116"/>
                  <a:pt x="490137" y="39716"/>
                  <a:pt x="491642" y="40182"/>
                </a:cubicBezTo>
                <a:cubicBezTo>
                  <a:pt x="491557" y="40182"/>
                  <a:pt x="491642" y="42087"/>
                  <a:pt x="492595" y="41506"/>
                </a:cubicBezTo>
                <a:cubicBezTo>
                  <a:pt x="495024" y="40744"/>
                  <a:pt x="497729" y="40373"/>
                  <a:pt x="498986" y="37954"/>
                </a:cubicBezTo>
                <a:cubicBezTo>
                  <a:pt x="500646" y="39046"/>
                  <a:pt x="502689" y="39392"/>
                  <a:pt x="504615" y="38906"/>
                </a:cubicBezTo>
                <a:cubicBezTo>
                  <a:pt x="505209" y="39997"/>
                  <a:pt x="505407" y="41258"/>
                  <a:pt x="505177" y="42478"/>
                </a:cubicBezTo>
                <a:cubicBezTo>
                  <a:pt x="507883" y="42630"/>
                  <a:pt x="506711" y="37611"/>
                  <a:pt x="504806" y="37782"/>
                </a:cubicBezTo>
                <a:cubicBezTo>
                  <a:pt x="504873" y="35982"/>
                  <a:pt x="507483" y="37849"/>
                  <a:pt x="508387" y="37230"/>
                </a:cubicBezTo>
                <a:cubicBezTo>
                  <a:pt x="509464" y="36487"/>
                  <a:pt x="508787" y="33096"/>
                  <a:pt x="510292" y="32915"/>
                </a:cubicBezTo>
                <a:cubicBezTo>
                  <a:pt x="511164" y="34005"/>
                  <a:pt x="511742" y="35300"/>
                  <a:pt x="511969" y="36677"/>
                </a:cubicBezTo>
                <a:cubicBezTo>
                  <a:pt x="515636" y="36496"/>
                  <a:pt x="513950" y="33915"/>
                  <a:pt x="514045" y="31229"/>
                </a:cubicBezTo>
                <a:cubicBezTo>
                  <a:pt x="515836" y="33705"/>
                  <a:pt x="516903" y="31839"/>
                  <a:pt x="519684" y="32181"/>
                </a:cubicBezTo>
                <a:cubicBezTo>
                  <a:pt x="521341" y="33315"/>
                  <a:pt x="518493" y="37649"/>
                  <a:pt x="522303" y="37258"/>
                </a:cubicBezTo>
                <a:cubicBezTo>
                  <a:pt x="521970" y="40325"/>
                  <a:pt x="520313" y="38716"/>
                  <a:pt x="521541" y="41764"/>
                </a:cubicBezTo>
                <a:cubicBezTo>
                  <a:pt x="522703" y="44621"/>
                  <a:pt x="523103" y="42983"/>
                  <a:pt x="525656" y="44783"/>
                </a:cubicBezTo>
                <a:cubicBezTo>
                  <a:pt x="525932" y="44974"/>
                  <a:pt x="525008" y="46840"/>
                  <a:pt x="525275" y="47040"/>
                </a:cubicBezTo>
                <a:cubicBezTo>
                  <a:pt x="526380" y="47831"/>
                  <a:pt x="526228" y="46088"/>
                  <a:pt x="526599" y="46088"/>
                </a:cubicBezTo>
                <a:cubicBezTo>
                  <a:pt x="528180" y="45945"/>
                  <a:pt x="529076" y="51574"/>
                  <a:pt x="529971" y="46659"/>
                </a:cubicBezTo>
                <a:cubicBezTo>
                  <a:pt x="533648" y="48012"/>
                  <a:pt x="535210" y="50879"/>
                  <a:pt x="540858" y="50822"/>
                </a:cubicBezTo>
                <a:cubicBezTo>
                  <a:pt x="540003" y="48583"/>
                  <a:pt x="540003" y="46108"/>
                  <a:pt x="540858" y="43869"/>
                </a:cubicBezTo>
                <a:cubicBezTo>
                  <a:pt x="543763" y="45650"/>
                  <a:pt x="546887" y="46726"/>
                  <a:pt x="547078" y="41449"/>
                </a:cubicBezTo>
                <a:cubicBezTo>
                  <a:pt x="550288" y="41144"/>
                  <a:pt x="548983" y="44069"/>
                  <a:pt x="551193" y="44469"/>
                </a:cubicBezTo>
                <a:cubicBezTo>
                  <a:pt x="554165" y="45621"/>
                  <a:pt x="552841" y="41525"/>
                  <a:pt x="554212" y="40335"/>
                </a:cubicBezTo>
                <a:cubicBezTo>
                  <a:pt x="554593" y="40021"/>
                  <a:pt x="556022" y="40944"/>
                  <a:pt x="556470" y="40725"/>
                </a:cubicBezTo>
                <a:cubicBezTo>
                  <a:pt x="558737" y="39640"/>
                  <a:pt x="560280" y="35963"/>
                  <a:pt x="562127" y="34725"/>
                </a:cubicBezTo>
                <a:cubicBezTo>
                  <a:pt x="564680" y="35887"/>
                  <a:pt x="560765" y="41630"/>
                  <a:pt x="563080" y="42992"/>
                </a:cubicBezTo>
                <a:cubicBezTo>
                  <a:pt x="567157" y="44735"/>
                  <a:pt x="563566" y="39525"/>
                  <a:pt x="564985" y="38677"/>
                </a:cubicBezTo>
                <a:cubicBezTo>
                  <a:pt x="565261" y="38516"/>
                  <a:pt x="567957" y="44764"/>
                  <a:pt x="568376" y="39249"/>
                </a:cubicBezTo>
                <a:cubicBezTo>
                  <a:pt x="570776" y="40954"/>
                  <a:pt x="571433" y="39525"/>
                  <a:pt x="573624" y="42468"/>
                </a:cubicBezTo>
                <a:cubicBezTo>
                  <a:pt x="571195" y="45012"/>
                  <a:pt x="574243" y="46631"/>
                  <a:pt x="571538" y="47907"/>
                </a:cubicBezTo>
                <a:cubicBezTo>
                  <a:pt x="571748" y="49660"/>
                  <a:pt x="573053" y="47707"/>
                  <a:pt x="574920" y="48479"/>
                </a:cubicBezTo>
                <a:cubicBezTo>
                  <a:pt x="573967" y="50793"/>
                  <a:pt x="576158" y="50898"/>
                  <a:pt x="577920" y="51336"/>
                </a:cubicBezTo>
                <a:cubicBezTo>
                  <a:pt x="577606" y="53241"/>
                  <a:pt x="577282" y="55089"/>
                  <a:pt x="576967" y="56975"/>
                </a:cubicBezTo>
                <a:cubicBezTo>
                  <a:pt x="582454" y="59690"/>
                  <a:pt x="577329" y="53708"/>
                  <a:pt x="579977" y="52851"/>
                </a:cubicBezTo>
                <a:cubicBezTo>
                  <a:pt x="581587" y="52327"/>
                  <a:pt x="580101" y="56070"/>
                  <a:pt x="580530" y="56413"/>
                </a:cubicBezTo>
                <a:cubicBezTo>
                  <a:pt x="582492" y="58004"/>
                  <a:pt x="582930" y="54794"/>
                  <a:pt x="584492" y="53613"/>
                </a:cubicBezTo>
                <a:cubicBezTo>
                  <a:pt x="585302" y="52994"/>
                  <a:pt x="587550" y="54127"/>
                  <a:pt x="587121" y="51708"/>
                </a:cubicBezTo>
                <a:cubicBezTo>
                  <a:pt x="589607" y="51927"/>
                  <a:pt x="590560" y="53241"/>
                  <a:pt x="589931" y="55670"/>
                </a:cubicBezTo>
                <a:cubicBezTo>
                  <a:pt x="593541" y="54908"/>
                  <a:pt x="596475" y="57451"/>
                  <a:pt x="599523" y="53765"/>
                </a:cubicBezTo>
                <a:cubicBezTo>
                  <a:pt x="601580" y="54613"/>
                  <a:pt x="601942" y="56680"/>
                  <a:pt x="604771" y="56975"/>
                </a:cubicBezTo>
                <a:cubicBezTo>
                  <a:pt x="603599" y="58621"/>
                  <a:pt x="601315" y="59005"/>
                  <a:pt x="599670" y="57833"/>
                </a:cubicBezTo>
                <a:cubicBezTo>
                  <a:pt x="599397" y="57639"/>
                  <a:pt x="599152" y="57407"/>
                  <a:pt x="598942" y="57146"/>
                </a:cubicBezTo>
                <a:cubicBezTo>
                  <a:pt x="598479" y="58646"/>
                  <a:pt x="599201" y="60256"/>
                  <a:pt x="600627" y="60909"/>
                </a:cubicBezTo>
                <a:cubicBezTo>
                  <a:pt x="603152" y="59194"/>
                  <a:pt x="601866" y="59004"/>
                  <a:pt x="605333" y="60547"/>
                </a:cubicBezTo>
                <a:cubicBezTo>
                  <a:pt x="606903" y="60405"/>
                  <a:pt x="608125" y="59122"/>
                  <a:pt x="608190" y="57547"/>
                </a:cubicBezTo>
                <a:cubicBezTo>
                  <a:pt x="612572" y="58585"/>
                  <a:pt x="615744" y="59890"/>
                  <a:pt x="616058" y="65833"/>
                </a:cubicBezTo>
                <a:cubicBezTo>
                  <a:pt x="618173" y="66662"/>
                  <a:pt x="618582" y="60985"/>
                  <a:pt x="615515" y="62271"/>
                </a:cubicBezTo>
                <a:cubicBezTo>
                  <a:pt x="618487" y="57213"/>
                  <a:pt x="618439" y="65205"/>
                  <a:pt x="621887" y="65671"/>
                </a:cubicBezTo>
                <a:cubicBezTo>
                  <a:pt x="622840" y="61680"/>
                  <a:pt x="619201" y="60966"/>
                  <a:pt x="619839" y="57204"/>
                </a:cubicBezTo>
                <a:cubicBezTo>
                  <a:pt x="622697" y="57042"/>
                  <a:pt x="621421" y="59594"/>
                  <a:pt x="625278" y="59290"/>
                </a:cubicBezTo>
                <a:cubicBezTo>
                  <a:pt x="627059" y="59156"/>
                  <a:pt x="626897" y="58575"/>
                  <a:pt x="630927" y="60242"/>
                </a:cubicBezTo>
                <a:cubicBezTo>
                  <a:pt x="632601" y="61256"/>
                  <a:pt x="634442" y="61962"/>
                  <a:pt x="636365" y="62328"/>
                </a:cubicBezTo>
                <a:cubicBezTo>
                  <a:pt x="638594" y="63061"/>
                  <a:pt x="636689" y="59032"/>
                  <a:pt x="635803" y="58756"/>
                </a:cubicBezTo>
                <a:cubicBezTo>
                  <a:pt x="637527" y="55470"/>
                  <a:pt x="638661" y="60528"/>
                  <a:pt x="638813" y="61614"/>
                </a:cubicBezTo>
                <a:cubicBezTo>
                  <a:pt x="640966" y="60956"/>
                  <a:pt x="642709" y="58604"/>
                  <a:pt x="644643" y="61442"/>
                </a:cubicBezTo>
                <a:cubicBezTo>
                  <a:pt x="646395" y="61233"/>
                  <a:pt x="644433" y="59928"/>
                  <a:pt x="645214" y="58061"/>
                </a:cubicBezTo>
                <a:cubicBezTo>
                  <a:pt x="646166" y="59347"/>
                  <a:pt x="647919" y="59013"/>
                  <a:pt x="649719" y="58823"/>
                </a:cubicBezTo>
                <a:cubicBezTo>
                  <a:pt x="651520" y="58632"/>
                  <a:pt x="653777" y="58461"/>
                  <a:pt x="654606" y="57337"/>
                </a:cubicBezTo>
                <a:cubicBezTo>
                  <a:pt x="657158" y="58099"/>
                  <a:pt x="656692" y="60785"/>
                  <a:pt x="654968" y="62042"/>
                </a:cubicBezTo>
                <a:cubicBezTo>
                  <a:pt x="659330" y="63538"/>
                  <a:pt x="658921" y="58299"/>
                  <a:pt x="659730" y="54718"/>
                </a:cubicBezTo>
                <a:cubicBezTo>
                  <a:pt x="659730" y="55251"/>
                  <a:pt x="661711" y="55842"/>
                  <a:pt x="661787" y="56232"/>
                </a:cubicBezTo>
                <a:cubicBezTo>
                  <a:pt x="662121" y="57966"/>
                  <a:pt x="660397" y="57766"/>
                  <a:pt x="660283" y="58289"/>
                </a:cubicBezTo>
                <a:cubicBezTo>
                  <a:pt x="659616" y="61271"/>
                  <a:pt x="661549" y="61414"/>
                  <a:pt x="658197" y="63738"/>
                </a:cubicBezTo>
                <a:cubicBezTo>
                  <a:pt x="657368" y="64824"/>
                  <a:pt x="660264" y="64862"/>
                  <a:pt x="660264" y="65243"/>
                </a:cubicBezTo>
                <a:cubicBezTo>
                  <a:pt x="660264" y="66624"/>
                  <a:pt x="657939" y="66490"/>
                  <a:pt x="657625" y="67148"/>
                </a:cubicBezTo>
                <a:cubicBezTo>
                  <a:pt x="656720" y="68938"/>
                  <a:pt x="658911" y="69910"/>
                  <a:pt x="657987" y="71844"/>
                </a:cubicBezTo>
                <a:cubicBezTo>
                  <a:pt x="656339" y="72720"/>
                  <a:pt x="653434" y="69939"/>
                  <a:pt x="653663" y="69939"/>
                </a:cubicBezTo>
                <a:cubicBezTo>
                  <a:pt x="652082" y="70081"/>
                  <a:pt x="650634" y="74149"/>
                  <a:pt x="651605" y="68424"/>
                </a:cubicBezTo>
                <a:cubicBezTo>
                  <a:pt x="647976" y="69157"/>
                  <a:pt x="651358" y="73691"/>
                  <a:pt x="650462" y="75187"/>
                </a:cubicBezTo>
                <a:cubicBezTo>
                  <a:pt x="650300" y="75454"/>
                  <a:pt x="647510" y="74558"/>
                  <a:pt x="648014" y="75930"/>
                </a:cubicBezTo>
                <a:cubicBezTo>
                  <a:pt x="648100" y="77520"/>
                  <a:pt x="650681" y="77339"/>
                  <a:pt x="652329" y="77835"/>
                </a:cubicBezTo>
                <a:lnTo>
                  <a:pt x="651948" y="80092"/>
                </a:lnTo>
                <a:cubicBezTo>
                  <a:pt x="653434" y="81997"/>
                  <a:pt x="655387" y="83597"/>
                  <a:pt x="655501" y="86493"/>
                </a:cubicBezTo>
                <a:cubicBezTo>
                  <a:pt x="657558" y="86493"/>
                  <a:pt x="654891" y="84664"/>
                  <a:pt x="656073" y="83112"/>
                </a:cubicBezTo>
                <a:cubicBezTo>
                  <a:pt x="656654" y="82340"/>
                  <a:pt x="657330" y="84493"/>
                  <a:pt x="657025" y="84436"/>
                </a:cubicBezTo>
                <a:cubicBezTo>
                  <a:pt x="658158" y="84636"/>
                  <a:pt x="658730" y="81473"/>
                  <a:pt x="660778" y="82750"/>
                </a:cubicBezTo>
                <a:cubicBezTo>
                  <a:pt x="660159" y="84521"/>
                  <a:pt x="661511" y="84874"/>
                  <a:pt x="661330" y="86322"/>
                </a:cubicBezTo>
                <a:cubicBezTo>
                  <a:pt x="663235" y="87017"/>
                  <a:pt x="663807" y="83664"/>
                  <a:pt x="662845" y="84255"/>
                </a:cubicBezTo>
                <a:cubicBezTo>
                  <a:pt x="666274" y="82150"/>
                  <a:pt x="668874" y="85655"/>
                  <a:pt x="670379" y="80902"/>
                </a:cubicBezTo>
                <a:cubicBezTo>
                  <a:pt x="673856" y="82178"/>
                  <a:pt x="674189" y="79378"/>
                  <a:pt x="676008" y="81854"/>
                </a:cubicBezTo>
                <a:cubicBezTo>
                  <a:pt x="674903" y="84026"/>
                  <a:pt x="670608" y="81702"/>
                  <a:pt x="669798" y="84283"/>
                </a:cubicBezTo>
                <a:cubicBezTo>
                  <a:pt x="670598" y="85721"/>
                  <a:pt x="672560" y="84474"/>
                  <a:pt x="672598" y="88236"/>
                </a:cubicBezTo>
                <a:cubicBezTo>
                  <a:pt x="676475" y="86798"/>
                  <a:pt x="673122" y="88674"/>
                  <a:pt x="674284" y="91998"/>
                </a:cubicBezTo>
                <a:cubicBezTo>
                  <a:pt x="678237" y="91608"/>
                  <a:pt x="675237" y="89998"/>
                  <a:pt x="676370" y="86550"/>
                </a:cubicBezTo>
                <a:cubicBezTo>
                  <a:pt x="680942" y="91189"/>
                  <a:pt x="676875" y="96637"/>
                  <a:pt x="672951" y="99885"/>
                </a:cubicBezTo>
                <a:cubicBezTo>
                  <a:pt x="673903" y="104648"/>
                  <a:pt x="677523" y="106553"/>
                  <a:pt x="674408" y="111725"/>
                </a:cubicBezTo>
                <a:cubicBezTo>
                  <a:pt x="675694" y="111191"/>
                  <a:pt x="676018" y="109334"/>
                  <a:pt x="678218" y="110048"/>
                </a:cubicBezTo>
                <a:cubicBezTo>
                  <a:pt x="678418" y="111953"/>
                  <a:pt x="676580" y="111801"/>
                  <a:pt x="676513" y="113239"/>
                </a:cubicBezTo>
                <a:cubicBezTo>
                  <a:pt x="676113" y="114363"/>
                  <a:pt x="679009" y="114754"/>
                  <a:pt x="677847" y="116887"/>
                </a:cubicBezTo>
                <a:close/>
                <a:moveTo>
                  <a:pt x="321974" y="41440"/>
                </a:moveTo>
                <a:cubicBezTo>
                  <a:pt x="326736" y="37554"/>
                  <a:pt x="318802" y="38163"/>
                  <a:pt x="321974" y="41440"/>
                </a:cubicBezTo>
                <a:close/>
                <a:moveTo>
                  <a:pt x="343881" y="15008"/>
                </a:moveTo>
                <a:cubicBezTo>
                  <a:pt x="343700" y="15684"/>
                  <a:pt x="343491" y="16313"/>
                  <a:pt x="342567" y="15960"/>
                </a:cubicBezTo>
                <a:lnTo>
                  <a:pt x="342186" y="18218"/>
                </a:lnTo>
                <a:cubicBezTo>
                  <a:pt x="344624" y="20418"/>
                  <a:pt x="346110" y="14932"/>
                  <a:pt x="343843" y="15008"/>
                </a:cubicBezTo>
                <a:close/>
                <a:moveTo>
                  <a:pt x="360588" y="25962"/>
                </a:moveTo>
                <a:cubicBezTo>
                  <a:pt x="360455" y="26705"/>
                  <a:pt x="360331" y="27457"/>
                  <a:pt x="360207" y="28210"/>
                </a:cubicBezTo>
                <a:cubicBezTo>
                  <a:pt x="357205" y="28803"/>
                  <a:pt x="354485" y="30382"/>
                  <a:pt x="352482" y="32696"/>
                </a:cubicBezTo>
                <a:cubicBezTo>
                  <a:pt x="352711" y="30543"/>
                  <a:pt x="348891" y="31277"/>
                  <a:pt x="349625" y="28743"/>
                </a:cubicBezTo>
                <a:cubicBezTo>
                  <a:pt x="347348" y="29467"/>
                  <a:pt x="346434" y="24733"/>
                  <a:pt x="345119" y="27981"/>
                </a:cubicBezTo>
                <a:cubicBezTo>
                  <a:pt x="346700" y="30153"/>
                  <a:pt x="349768" y="31286"/>
                  <a:pt x="351111" y="33629"/>
                </a:cubicBezTo>
                <a:cubicBezTo>
                  <a:pt x="354700" y="33022"/>
                  <a:pt x="358107" y="31619"/>
                  <a:pt x="361083" y="29524"/>
                </a:cubicBezTo>
                <a:cubicBezTo>
                  <a:pt x="357511" y="29276"/>
                  <a:pt x="364512" y="26762"/>
                  <a:pt x="360550" y="25962"/>
                </a:cubicBezTo>
                <a:close/>
                <a:moveTo>
                  <a:pt x="403060" y="21571"/>
                </a:moveTo>
                <a:cubicBezTo>
                  <a:pt x="403003" y="22266"/>
                  <a:pt x="403003" y="22933"/>
                  <a:pt x="404012" y="22885"/>
                </a:cubicBezTo>
                <a:cubicBezTo>
                  <a:pt x="403765" y="20094"/>
                  <a:pt x="403393" y="17389"/>
                  <a:pt x="400460" y="16484"/>
                </a:cubicBezTo>
                <a:cubicBezTo>
                  <a:pt x="398793" y="19942"/>
                  <a:pt x="403860" y="18665"/>
                  <a:pt x="403022" y="21571"/>
                </a:cubicBezTo>
                <a:close/>
                <a:moveTo>
                  <a:pt x="395745" y="16808"/>
                </a:moveTo>
                <a:lnTo>
                  <a:pt x="398002" y="17199"/>
                </a:lnTo>
                <a:lnTo>
                  <a:pt x="398383" y="14941"/>
                </a:lnTo>
                <a:lnTo>
                  <a:pt x="396126" y="14560"/>
                </a:lnTo>
                <a:close/>
                <a:moveTo>
                  <a:pt x="394983" y="21323"/>
                </a:moveTo>
                <a:cubicBezTo>
                  <a:pt x="393706" y="20751"/>
                  <a:pt x="393154" y="14875"/>
                  <a:pt x="390858" y="18304"/>
                </a:cubicBezTo>
                <a:cubicBezTo>
                  <a:pt x="392030" y="18561"/>
                  <a:pt x="391497" y="19894"/>
                  <a:pt x="389534" y="19256"/>
                </a:cubicBezTo>
                <a:cubicBezTo>
                  <a:pt x="388068" y="23733"/>
                  <a:pt x="393525" y="23666"/>
                  <a:pt x="394945" y="21361"/>
                </a:cubicBezTo>
                <a:close/>
                <a:moveTo>
                  <a:pt x="383553" y="20532"/>
                </a:moveTo>
                <a:cubicBezTo>
                  <a:pt x="383779" y="21912"/>
                  <a:pt x="384359" y="23208"/>
                  <a:pt x="385239" y="24295"/>
                </a:cubicBezTo>
                <a:cubicBezTo>
                  <a:pt x="385591" y="22856"/>
                  <a:pt x="384448" y="17827"/>
                  <a:pt x="383477" y="20570"/>
                </a:cubicBezTo>
                <a:close/>
                <a:moveTo>
                  <a:pt x="378495" y="16198"/>
                </a:moveTo>
                <a:cubicBezTo>
                  <a:pt x="377542" y="19837"/>
                  <a:pt x="381476" y="20332"/>
                  <a:pt x="381495" y="19056"/>
                </a:cubicBezTo>
                <a:cubicBezTo>
                  <a:pt x="381457" y="18551"/>
                  <a:pt x="378647" y="16865"/>
                  <a:pt x="378419" y="16237"/>
                </a:cubicBezTo>
                <a:close/>
                <a:moveTo>
                  <a:pt x="379800" y="22218"/>
                </a:moveTo>
                <a:lnTo>
                  <a:pt x="379228" y="25590"/>
                </a:lnTo>
                <a:cubicBezTo>
                  <a:pt x="381219" y="26085"/>
                  <a:pt x="382086" y="24923"/>
                  <a:pt x="382086" y="22599"/>
                </a:cubicBezTo>
                <a:close/>
                <a:moveTo>
                  <a:pt x="381248" y="41011"/>
                </a:moveTo>
                <a:lnTo>
                  <a:pt x="378990" y="40630"/>
                </a:lnTo>
                <a:lnTo>
                  <a:pt x="378600" y="42878"/>
                </a:lnTo>
                <a:lnTo>
                  <a:pt x="380857" y="43269"/>
                </a:lnTo>
                <a:close/>
                <a:moveTo>
                  <a:pt x="400574" y="50088"/>
                </a:moveTo>
                <a:cubicBezTo>
                  <a:pt x="399063" y="49615"/>
                  <a:pt x="397435" y="50331"/>
                  <a:pt x="396764" y="51765"/>
                </a:cubicBezTo>
                <a:cubicBezTo>
                  <a:pt x="398244" y="52202"/>
                  <a:pt x="399824" y="51511"/>
                  <a:pt x="400507" y="50127"/>
                </a:cubicBezTo>
                <a:close/>
                <a:moveTo>
                  <a:pt x="407156" y="45402"/>
                </a:moveTo>
                <a:cubicBezTo>
                  <a:pt x="402965" y="43221"/>
                  <a:pt x="403708" y="47993"/>
                  <a:pt x="401888" y="49145"/>
                </a:cubicBezTo>
                <a:lnTo>
                  <a:pt x="406394" y="49917"/>
                </a:lnTo>
                <a:cubicBezTo>
                  <a:pt x="406575" y="48431"/>
                  <a:pt x="406832" y="46945"/>
                  <a:pt x="407079" y="45440"/>
                </a:cubicBezTo>
                <a:close/>
                <a:moveTo>
                  <a:pt x="406270" y="30162"/>
                </a:moveTo>
                <a:cubicBezTo>
                  <a:pt x="406270" y="30162"/>
                  <a:pt x="408041" y="29476"/>
                  <a:pt x="407775" y="28105"/>
                </a:cubicBezTo>
                <a:cubicBezTo>
                  <a:pt x="407699" y="27714"/>
                  <a:pt x="405736" y="27152"/>
                  <a:pt x="405717" y="26590"/>
                </a:cubicBezTo>
                <a:cubicBezTo>
                  <a:pt x="404612" y="28829"/>
                  <a:pt x="402441" y="27305"/>
                  <a:pt x="400822" y="28086"/>
                </a:cubicBezTo>
                <a:cubicBezTo>
                  <a:pt x="400174" y="28390"/>
                  <a:pt x="400622" y="30715"/>
                  <a:pt x="399307" y="30143"/>
                </a:cubicBezTo>
                <a:cubicBezTo>
                  <a:pt x="398621" y="25695"/>
                  <a:pt x="393916" y="27047"/>
                  <a:pt x="392001" y="25428"/>
                </a:cubicBezTo>
                <a:cubicBezTo>
                  <a:pt x="391173" y="27990"/>
                  <a:pt x="390020" y="30086"/>
                  <a:pt x="387658" y="30486"/>
                </a:cubicBezTo>
                <a:cubicBezTo>
                  <a:pt x="385991" y="26876"/>
                  <a:pt x="380571" y="29686"/>
                  <a:pt x="377523" y="28771"/>
                </a:cubicBezTo>
                <a:cubicBezTo>
                  <a:pt x="375823" y="30523"/>
                  <a:pt x="373995" y="32147"/>
                  <a:pt x="372056" y="33629"/>
                </a:cubicBezTo>
                <a:cubicBezTo>
                  <a:pt x="372132" y="31924"/>
                  <a:pt x="369503" y="32143"/>
                  <a:pt x="367741" y="31724"/>
                </a:cubicBezTo>
                <a:cubicBezTo>
                  <a:pt x="366893" y="34639"/>
                  <a:pt x="369646" y="35029"/>
                  <a:pt x="371675" y="35868"/>
                </a:cubicBezTo>
                <a:cubicBezTo>
                  <a:pt x="371225" y="37364"/>
                  <a:pt x="371937" y="38964"/>
                  <a:pt x="373351" y="39630"/>
                </a:cubicBezTo>
                <a:cubicBezTo>
                  <a:pt x="374297" y="37514"/>
                  <a:pt x="376318" y="36080"/>
                  <a:pt x="378628" y="35887"/>
                </a:cubicBezTo>
                <a:cubicBezTo>
                  <a:pt x="379505" y="36020"/>
                  <a:pt x="380067" y="37487"/>
                  <a:pt x="380686" y="37401"/>
                </a:cubicBezTo>
                <a:cubicBezTo>
                  <a:pt x="381038" y="37354"/>
                  <a:pt x="381343" y="35496"/>
                  <a:pt x="382200" y="35334"/>
                </a:cubicBezTo>
                <a:cubicBezTo>
                  <a:pt x="383238" y="35115"/>
                  <a:pt x="384524" y="36049"/>
                  <a:pt x="385582" y="35906"/>
                </a:cubicBezTo>
                <a:cubicBezTo>
                  <a:pt x="385182" y="39830"/>
                  <a:pt x="388096" y="41392"/>
                  <a:pt x="391382" y="42688"/>
                </a:cubicBezTo>
                <a:cubicBezTo>
                  <a:pt x="390430" y="35772"/>
                  <a:pt x="397002" y="39439"/>
                  <a:pt x="401164" y="39716"/>
                </a:cubicBezTo>
                <a:cubicBezTo>
                  <a:pt x="402993" y="36953"/>
                  <a:pt x="400126" y="32715"/>
                  <a:pt x="402307" y="32953"/>
                </a:cubicBezTo>
                <a:cubicBezTo>
                  <a:pt x="403784" y="34858"/>
                  <a:pt x="404689" y="37211"/>
                  <a:pt x="407175" y="38420"/>
                </a:cubicBezTo>
                <a:cubicBezTo>
                  <a:pt x="409175" y="34591"/>
                  <a:pt x="406498" y="32591"/>
                  <a:pt x="406222" y="30219"/>
                </a:cubicBezTo>
                <a:close/>
                <a:moveTo>
                  <a:pt x="416404" y="31886"/>
                </a:moveTo>
                <a:cubicBezTo>
                  <a:pt x="416804" y="35353"/>
                  <a:pt x="419491" y="30934"/>
                  <a:pt x="422043" y="32839"/>
                </a:cubicBezTo>
                <a:cubicBezTo>
                  <a:pt x="422148" y="30667"/>
                  <a:pt x="423739" y="30572"/>
                  <a:pt x="423948" y="28524"/>
                </a:cubicBezTo>
                <a:cubicBezTo>
                  <a:pt x="420738" y="29972"/>
                  <a:pt x="420224" y="26562"/>
                  <a:pt x="418128" y="28695"/>
                </a:cubicBezTo>
                <a:cubicBezTo>
                  <a:pt x="418733" y="28910"/>
                  <a:pt x="419050" y="29573"/>
                  <a:pt x="418836" y="30178"/>
                </a:cubicBezTo>
                <a:cubicBezTo>
                  <a:pt x="418671" y="30643"/>
                  <a:pt x="418231" y="30954"/>
                  <a:pt x="417738" y="30953"/>
                </a:cubicBezTo>
                <a:cubicBezTo>
                  <a:pt x="418338" y="28543"/>
                  <a:pt x="413833" y="29762"/>
                  <a:pt x="412290" y="28867"/>
                </a:cubicBezTo>
                <a:cubicBezTo>
                  <a:pt x="412128" y="27809"/>
                  <a:pt x="411004" y="22761"/>
                  <a:pt x="409289" y="26009"/>
                </a:cubicBezTo>
                <a:cubicBezTo>
                  <a:pt x="410575" y="26428"/>
                  <a:pt x="410242" y="28000"/>
                  <a:pt x="409842" y="29581"/>
                </a:cubicBezTo>
                <a:cubicBezTo>
                  <a:pt x="415919" y="28571"/>
                  <a:pt x="410385" y="35810"/>
                  <a:pt x="414528" y="36172"/>
                </a:cubicBezTo>
                <a:cubicBezTo>
                  <a:pt x="417462" y="35229"/>
                  <a:pt x="412985" y="32515"/>
                  <a:pt x="416328" y="31943"/>
                </a:cubicBezTo>
                <a:close/>
                <a:moveTo>
                  <a:pt x="425587" y="39239"/>
                </a:moveTo>
                <a:cubicBezTo>
                  <a:pt x="423577" y="38906"/>
                  <a:pt x="419557" y="35096"/>
                  <a:pt x="417700" y="37896"/>
                </a:cubicBezTo>
                <a:cubicBezTo>
                  <a:pt x="420853" y="39420"/>
                  <a:pt x="415795" y="40487"/>
                  <a:pt x="416747" y="43535"/>
                </a:cubicBezTo>
                <a:cubicBezTo>
                  <a:pt x="421510" y="45821"/>
                  <a:pt x="422281" y="38925"/>
                  <a:pt x="425015" y="42583"/>
                </a:cubicBezTo>
                <a:close/>
                <a:moveTo>
                  <a:pt x="429720" y="42259"/>
                </a:moveTo>
                <a:cubicBezTo>
                  <a:pt x="433130" y="43383"/>
                  <a:pt x="434483" y="39944"/>
                  <a:pt x="431425" y="39068"/>
                </a:cubicBezTo>
                <a:cubicBezTo>
                  <a:pt x="431232" y="40326"/>
                  <a:pt x="430601" y="41477"/>
                  <a:pt x="429644" y="42316"/>
                </a:cubicBezTo>
                <a:close/>
                <a:moveTo>
                  <a:pt x="434045" y="44164"/>
                </a:moveTo>
                <a:lnTo>
                  <a:pt x="431787" y="43773"/>
                </a:lnTo>
                <a:lnTo>
                  <a:pt x="431406" y="46031"/>
                </a:lnTo>
                <a:lnTo>
                  <a:pt x="433664" y="46412"/>
                </a:lnTo>
                <a:close/>
                <a:moveTo>
                  <a:pt x="451685" y="49469"/>
                </a:moveTo>
                <a:lnTo>
                  <a:pt x="448304" y="48898"/>
                </a:lnTo>
                <a:cubicBezTo>
                  <a:pt x="447551" y="51412"/>
                  <a:pt x="447846" y="53184"/>
                  <a:pt x="449799" y="53794"/>
                </a:cubicBezTo>
                <a:cubicBezTo>
                  <a:pt x="450333" y="52374"/>
                  <a:pt x="451685" y="51955"/>
                  <a:pt x="451609" y="49517"/>
                </a:cubicBezTo>
                <a:close/>
                <a:moveTo>
                  <a:pt x="455105" y="36134"/>
                </a:moveTo>
                <a:cubicBezTo>
                  <a:pt x="455514" y="37144"/>
                  <a:pt x="452076" y="37449"/>
                  <a:pt x="452476" y="38039"/>
                </a:cubicBezTo>
                <a:cubicBezTo>
                  <a:pt x="453123" y="39078"/>
                  <a:pt x="458553" y="38763"/>
                  <a:pt x="455028" y="36191"/>
                </a:cubicBezTo>
                <a:close/>
                <a:moveTo>
                  <a:pt x="465582" y="49469"/>
                </a:moveTo>
                <a:cubicBezTo>
                  <a:pt x="466449" y="47907"/>
                  <a:pt x="467725" y="46917"/>
                  <a:pt x="468601" y="45345"/>
                </a:cubicBezTo>
                <a:cubicBezTo>
                  <a:pt x="466354" y="44631"/>
                  <a:pt x="466906" y="41926"/>
                  <a:pt x="464658" y="41202"/>
                </a:cubicBezTo>
                <a:cubicBezTo>
                  <a:pt x="465963" y="45526"/>
                  <a:pt x="463448" y="43850"/>
                  <a:pt x="462391" y="47774"/>
                </a:cubicBezTo>
                <a:cubicBezTo>
                  <a:pt x="463604" y="47997"/>
                  <a:pt x="464706" y="48624"/>
                  <a:pt x="465515" y="49555"/>
                </a:cubicBezTo>
                <a:close/>
                <a:moveTo>
                  <a:pt x="468944" y="57004"/>
                </a:moveTo>
                <a:lnTo>
                  <a:pt x="466687" y="56623"/>
                </a:lnTo>
                <a:lnTo>
                  <a:pt x="466306" y="58880"/>
                </a:lnTo>
                <a:lnTo>
                  <a:pt x="468563" y="59261"/>
                </a:lnTo>
                <a:close/>
                <a:moveTo>
                  <a:pt x="503301" y="66310"/>
                </a:moveTo>
                <a:cubicBezTo>
                  <a:pt x="502510" y="67995"/>
                  <a:pt x="499586" y="66671"/>
                  <a:pt x="500282" y="70434"/>
                </a:cubicBezTo>
                <a:cubicBezTo>
                  <a:pt x="502863" y="72186"/>
                  <a:pt x="505854" y="67567"/>
                  <a:pt x="503234" y="66395"/>
                </a:cubicBezTo>
                <a:close/>
                <a:moveTo>
                  <a:pt x="512778" y="37735"/>
                </a:moveTo>
                <a:cubicBezTo>
                  <a:pt x="512416" y="40382"/>
                  <a:pt x="509816" y="49641"/>
                  <a:pt x="513731" y="46012"/>
                </a:cubicBezTo>
                <a:cubicBezTo>
                  <a:pt x="511797" y="44354"/>
                  <a:pt x="515960" y="40363"/>
                  <a:pt x="512712" y="37858"/>
                </a:cubicBezTo>
                <a:close/>
                <a:moveTo>
                  <a:pt x="543906" y="59251"/>
                </a:moveTo>
                <a:cubicBezTo>
                  <a:pt x="543973" y="64128"/>
                  <a:pt x="539439" y="59509"/>
                  <a:pt x="539210" y="59613"/>
                </a:cubicBezTo>
                <a:cubicBezTo>
                  <a:pt x="538353" y="59994"/>
                  <a:pt x="538039" y="63195"/>
                  <a:pt x="537305" y="63928"/>
                </a:cubicBezTo>
                <a:cubicBezTo>
                  <a:pt x="536010" y="65181"/>
                  <a:pt x="534192" y="65733"/>
                  <a:pt x="532419" y="65414"/>
                </a:cubicBezTo>
                <a:cubicBezTo>
                  <a:pt x="532019" y="69005"/>
                  <a:pt x="532067" y="72272"/>
                  <a:pt x="535772" y="72939"/>
                </a:cubicBezTo>
                <a:cubicBezTo>
                  <a:pt x="537210" y="69615"/>
                  <a:pt x="533057" y="70253"/>
                  <a:pt x="534486" y="66929"/>
                </a:cubicBezTo>
                <a:cubicBezTo>
                  <a:pt x="536829" y="66929"/>
                  <a:pt x="537867" y="65176"/>
                  <a:pt x="539563" y="64309"/>
                </a:cubicBezTo>
                <a:cubicBezTo>
                  <a:pt x="542906" y="63919"/>
                  <a:pt x="542211" y="66395"/>
                  <a:pt x="545011" y="66395"/>
                </a:cubicBezTo>
                <a:cubicBezTo>
                  <a:pt x="546671" y="64403"/>
                  <a:pt x="546402" y="61441"/>
                  <a:pt x="544409" y="59782"/>
                </a:cubicBezTo>
                <a:cubicBezTo>
                  <a:pt x="544229" y="59632"/>
                  <a:pt x="544039" y="59496"/>
                  <a:pt x="543839" y="59375"/>
                </a:cubicBezTo>
                <a:close/>
                <a:moveTo>
                  <a:pt x="547888" y="49488"/>
                </a:moveTo>
                <a:cubicBezTo>
                  <a:pt x="545649" y="49603"/>
                  <a:pt x="542963" y="49069"/>
                  <a:pt x="542801" y="52108"/>
                </a:cubicBezTo>
                <a:cubicBezTo>
                  <a:pt x="544030" y="52284"/>
                  <a:pt x="545159" y="52883"/>
                  <a:pt x="545992" y="53803"/>
                </a:cubicBezTo>
                <a:cubicBezTo>
                  <a:pt x="546030" y="51755"/>
                  <a:pt x="547611" y="51660"/>
                  <a:pt x="547821" y="49612"/>
                </a:cubicBezTo>
                <a:close/>
                <a:moveTo>
                  <a:pt x="51454" y="597243"/>
                </a:moveTo>
                <a:cubicBezTo>
                  <a:pt x="50787" y="597062"/>
                  <a:pt x="50159" y="596843"/>
                  <a:pt x="50502" y="595919"/>
                </a:cubicBezTo>
                <a:lnTo>
                  <a:pt x="48244" y="595538"/>
                </a:lnTo>
                <a:cubicBezTo>
                  <a:pt x="46053" y="598024"/>
                  <a:pt x="51530" y="599500"/>
                  <a:pt x="51454" y="597243"/>
                </a:cubicBezTo>
                <a:close/>
                <a:moveTo>
                  <a:pt x="9658" y="754767"/>
                </a:moveTo>
                <a:cubicBezTo>
                  <a:pt x="8915" y="757291"/>
                  <a:pt x="9211" y="759053"/>
                  <a:pt x="11154" y="759663"/>
                </a:cubicBezTo>
                <a:cubicBezTo>
                  <a:pt x="11887" y="757148"/>
                  <a:pt x="11592" y="755377"/>
                  <a:pt x="9658" y="754767"/>
                </a:cubicBezTo>
                <a:close/>
                <a:moveTo>
                  <a:pt x="20355" y="760063"/>
                </a:moveTo>
                <a:cubicBezTo>
                  <a:pt x="19149" y="759610"/>
                  <a:pt x="17796" y="759820"/>
                  <a:pt x="16783" y="760615"/>
                </a:cubicBezTo>
                <a:cubicBezTo>
                  <a:pt x="16002" y="760968"/>
                  <a:pt x="15021" y="762187"/>
                  <a:pt x="14145" y="762520"/>
                </a:cubicBezTo>
                <a:cubicBezTo>
                  <a:pt x="16650" y="766026"/>
                  <a:pt x="18555" y="761596"/>
                  <a:pt x="20355" y="760063"/>
                </a:cubicBezTo>
                <a:close/>
                <a:moveTo>
                  <a:pt x="26813" y="674214"/>
                </a:moveTo>
                <a:cubicBezTo>
                  <a:pt x="25317" y="673947"/>
                  <a:pt x="26108" y="672061"/>
                  <a:pt x="24908" y="671566"/>
                </a:cubicBezTo>
                <a:cubicBezTo>
                  <a:pt x="25098" y="673909"/>
                  <a:pt x="18240" y="673100"/>
                  <a:pt x="21888" y="675700"/>
                </a:cubicBezTo>
                <a:cubicBezTo>
                  <a:pt x="21631" y="672500"/>
                  <a:pt x="27127" y="677405"/>
                  <a:pt x="26813" y="674224"/>
                </a:cubicBezTo>
                <a:close/>
                <a:moveTo>
                  <a:pt x="26175" y="691492"/>
                </a:moveTo>
                <a:cubicBezTo>
                  <a:pt x="26108" y="692674"/>
                  <a:pt x="20926" y="692950"/>
                  <a:pt x="24470" y="694683"/>
                </a:cubicBezTo>
                <a:cubicBezTo>
                  <a:pt x="24165" y="692959"/>
                  <a:pt x="29347" y="692683"/>
                  <a:pt x="26175" y="691492"/>
                </a:cubicBezTo>
                <a:close/>
                <a:moveTo>
                  <a:pt x="27889" y="681348"/>
                </a:moveTo>
                <a:cubicBezTo>
                  <a:pt x="27436" y="682848"/>
                  <a:pt x="28154" y="684452"/>
                  <a:pt x="29575" y="685111"/>
                </a:cubicBezTo>
                <a:cubicBezTo>
                  <a:pt x="29785" y="683320"/>
                  <a:pt x="30413" y="681234"/>
                  <a:pt x="27908" y="681348"/>
                </a:cubicBezTo>
                <a:close/>
                <a:moveTo>
                  <a:pt x="40072" y="637076"/>
                </a:moveTo>
                <a:cubicBezTo>
                  <a:pt x="39472" y="639934"/>
                  <a:pt x="35042" y="637448"/>
                  <a:pt x="35728" y="642143"/>
                </a:cubicBezTo>
                <a:cubicBezTo>
                  <a:pt x="38633" y="643267"/>
                  <a:pt x="42253" y="638438"/>
                  <a:pt x="40072" y="637076"/>
                </a:cubicBezTo>
                <a:close/>
                <a:moveTo>
                  <a:pt x="44929" y="710943"/>
                </a:moveTo>
                <a:cubicBezTo>
                  <a:pt x="44139" y="708009"/>
                  <a:pt x="38786" y="711714"/>
                  <a:pt x="41167" y="712619"/>
                </a:cubicBezTo>
                <a:cubicBezTo>
                  <a:pt x="41491" y="710723"/>
                  <a:pt x="44396" y="712486"/>
                  <a:pt x="44929" y="710904"/>
                </a:cubicBezTo>
                <a:close/>
                <a:moveTo>
                  <a:pt x="57998" y="674900"/>
                </a:moveTo>
                <a:cubicBezTo>
                  <a:pt x="54559" y="673785"/>
                  <a:pt x="52797" y="675024"/>
                  <a:pt x="52730" y="678643"/>
                </a:cubicBezTo>
                <a:cubicBezTo>
                  <a:pt x="56378" y="680015"/>
                  <a:pt x="57169" y="677414"/>
                  <a:pt x="57998" y="674862"/>
                </a:cubicBezTo>
                <a:close/>
                <a:moveTo>
                  <a:pt x="58579" y="603120"/>
                </a:moveTo>
                <a:cubicBezTo>
                  <a:pt x="57331" y="601405"/>
                  <a:pt x="54635" y="600919"/>
                  <a:pt x="53883" y="603481"/>
                </a:cubicBezTo>
                <a:cubicBezTo>
                  <a:pt x="55607" y="603539"/>
                  <a:pt x="57969" y="604548"/>
                  <a:pt x="58560" y="603081"/>
                </a:cubicBezTo>
                <a:close/>
                <a:moveTo>
                  <a:pt x="65780" y="649554"/>
                </a:moveTo>
                <a:cubicBezTo>
                  <a:pt x="68828" y="649706"/>
                  <a:pt x="63646" y="655688"/>
                  <a:pt x="68399" y="654640"/>
                </a:cubicBezTo>
                <a:cubicBezTo>
                  <a:pt x="68790" y="652545"/>
                  <a:pt x="67237" y="646982"/>
                  <a:pt x="65780" y="649516"/>
                </a:cubicBezTo>
                <a:close/>
                <a:moveTo>
                  <a:pt x="96965" y="520366"/>
                </a:moveTo>
                <a:cubicBezTo>
                  <a:pt x="95736" y="520183"/>
                  <a:pt x="94609" y="519580"/>
                  <a:pt x="93774" y="518661"/>
                </a:cubicBezTo>
                <a:cubicBezTo>
                  <a:pt x="95450" y="522662"/>
                  <a:pt x="88716" y="521433"/>
                  <a:pt x="91869" y="522976"/>
                </a:cubicBezTo>
                <a:cubicBezTo>
                  <a:pt x="93689" y="522351"/>
                  <a:pt x="95407" y="521459"/>
                  <a:pt x="96965" y="520328"/>
                </a:cubicBezTo>
                <a:close/>
                <a:moveTo>
                  <a:pt x="124587" y="514651"/>
                </a:moveTo>
                <a:cubicBezTo>
                  <a:pt x="122492" y="512965"/>
                  <a:pt x="118920" y="515509"/>
                  <a:pt x="121958" y="516556"/>
                </a:cubicBezTo>
                <a:cubicBezTo>
                  <a:pt x="122234" y="514966"/>
                  <a:pt x="124120" y="515756"/>
                  <a:pt x="124606" y="514585"/>
                </a:cubicBezTo>
                <a:close/>
                <a:moveTo>
                  <a:pt x="136827" y="442528"/>
                </a:moveTo>
                <a:lnTo>
                  <a:pt x="134579" y="442147"/>
                </a:lnTo>
                <a:lnTo>
                  <a:pt x="134198" y="444404"/>
                </a:lnTo>
                <a:lnTo>
                  <a:pt x="136436" y="444785"/>
                </a:lnTo>
                <a:close/>
                <a:moveTo>
                  <a:pt x="141170" y="498916"/>
                </a:moveTo>
                <a:cubicBezTo>
                  <a:pt x="140494" y="498735"/>
                  <a:pt x="139865" y="498516"/>
                  <a:pt x="140218" y="497592"/>
                </a:cubicBezTo>
                <a:lnTo>
                  <a:pt x="137960" y="497211"/>
                </a:lnTo>
                <a:cubicBezTo>
                  <a:pt x="135779" y="499621"/>
                  <a:pt x="141265" y="501107"/>
                  <a:pt x="141189" y="498849"/>
                </a:cubicBezTo>
                <a:close/>
                <a:moveTo>
                  <a:pt x="144370" y="432241"/>
                </a:moveTo>
                <a:cubicBezTo>
                  <a:pt x="142284" y="431003"/>
                  <a:pt x="142561" y="433622"/>
                  <a:pt x="141732" y="434146"/>
                </a:cubicBezTo>
                <a:cubicBezTo>
                  <a:pt x="140903" y="434670"/>
                  <a:pt x="139351" y="433546"/>
                  <a:pt x="139284" y="434898"/>
                </a:cubicBezTo>
                <a:cubicBezTo>
                  <a:pt x="140512" y="435084"/>
                  <a:pt x="141641" y="435682"/>
                  <a:pt x="142484" y="436594"/>
                </a:cubicBezTo>
                <a:cubicBezTo>
                  <a:pt x="143113" y="435003"/>
                  <a:pt x="144466" y="434584"/>
                  <a:pt x="144389" y="432146"/>
                </a:cubicBezTo>
                <a:close/>
                <a:moveTo>
                  <a:pt x="178146" y="383483"/>
                </a:moveTo>
                <a:cubicBezTo>
                  <a:pt x="178232" y="383483"/>
                  <a:pt x="176803" y="387178"/>
                  <a:pt x="176451" y="386673"/>
                </a:cubicBezTo>
                <a:cubicBezTo>
                  <a:pt x="178708" y="389750"/>
                  <a:pt x="180013" y="383378"/>
                  <a:pt x="178165" y="383387"/>
                </a:cubicBezTo>
                <a:close/>
                <a:moveTo>
                  <a:pt x="190414" y="365852"/>
                </a:moveTo>
                <a:cubicBezTo>
                  <a:pt x="189862" y="364661"/>
                  <a:pt x="190843" y="361223"/>
                  <a:pt x="187614" y="361908"/>
                </a:cubicBezTo>
                <a:cubicBezTo>
                  <a:pt x="184309" y="365537"/>
                  <a:pt x="185099" y="367481"/>
                  <a:pt x="185890" y="372043"/>
                </a:cubicBezTo>
                <a:cubicBezTo>
                  <a:pt x="190957" y="373777"/>
                  <a:pt x="188185" y="368004"/>
                  <a:pt x="190033" y="368109"/>
                </a:cubicBezTo>
                <a:cubicBezTo>
                  <a:pt x="191519" y="368376"/>
                  <a:pt x="190729" y="370262"/>
                  <a:pt x="191938" y="370748"/>
                </a:cubicBezTo>
                <a:cubicBezTo>
                  <a:pt x="193738" y="368033"/>
                  <a:pt x="191157" y="367328"/>
                  <a:pt x="190433" y="365756"/>
                </a:cubicBezTo>
                <a:close/>
                <a:moveTo>
                  <a:pt x="195177" y="399132"/>
                </a:moveTo>
                <a:cubicBezTo>
                  <a:pt x="194043" y="398942"/>
                  <a:pt x="193996" y="397989"/>
                  <a:pt x="193110" y="397627"/>
                </a:cubicBezTo>
                <a:cubicBezTo>
                  <a:pt x="192919" y="399408"/>
                  <a:pt x="192300" y="401504"/>
                  <a:pt x="194796" y="401389"/>
                </a:cubicBezTo>
                <a:cubicBezTo>
                  <a:pt x="194967" y="400542"/>
                  <a:pt x="195091" y="399789"/>
                  <a:pt x="195224" y="399037"/>
                </a:cubicBezTo>
                <a:close/>
                <a:moveTo>
                  <a:pt x="198844" y="363813"/>
                </a:moveTo>
                <a:cubicBezTo>
                  <a:pt x="199244" y="362975"/>
                  <a:pt x="200015" y="362661"/>
                  <a:pt x="201292" y="363070"/>
                </a:cubicBezTo>
                <a:lnTo>
                  <a:pt x="201673" y="360823"/>
                </a:lnTo>
                <a:cubicBezTo>
                  <a:pt x="200446" y="360635"/>
                  <a:pt x="199320" y="360033"/>
                  <a:pt x="198482" y="359118"/>
                </a:cubicBezTo>
                <a:cubicBezTo>
                  <a:pt x="198434" y="360737"/>
                  <a:pt x="197434" y="363109"/>
                  <a:pt x="198892" y="363709"/>
                </a:cubicBezTo>
                <a:close/>
                <a:moveTo>
                  <a:pt x="203359" y="364585"/>
                </a:moveTo>
                <a:cubicBezTo>
                  <a:pt x="202694" y="366025"/>
                  <a:pt x="201059" y="366744"/>
                  <a:pt x="199549" y="366261"/>
                </a:cubicBezTo>
                <a:lnTo>
                  <a:pt x="198977" y="369643"/>
                </a:lnTo>
                <a:cubicBezTo>
                  <a:pt x="202692" y="372072"/>
                  <a:pt x="200311" y="365928"/>
                  <a:pt x="202940" y="366833"/>
                </a:cubicBezTo>
                <a:cubicBezTo>
                  <a:pt x="202940" y="368176"/>
                  <a:pt x="204511" y="368357"/>
                  <a:pt x="206121" y="368528"/>
                </a:cubicBezTo>
                <a:cubicBezTo>
                  <a:pt x="207502" y="365537"/>
                  <a:pt x="204245" y="365861"/>
                  <a:pt x="203406" y="364490"/>
                </a:cubicBezTo>
                <a:close/>
                <a:moveTo>
                  <a:pt x="209074" y="344678"/>
                </a:moveTo>
                <a:cubicBezTo>
                  <a:pt x="207931" y="344487"/>
                  <a:pt x="207883" y="343535"/>
                  <a:pt x="207007" y="343173"/>
                </a:cubicBezTo>
                <a:cubicBezTo>
                  <a:pt x="206816" y="344963"/>
                  <a:pt x="206188" y="347049"/>
                  <a:pt x="208693" y="346935"/>
                </a:cubicBezTo>
                <a:close/>
                <a:moveTo>
                  <a:pt x="210645" y="321760"/>
                </a:moveTo>
                <a:cubicBezTo>
                  <a:pt x="208636" y="320198"/>
                  <a:pt x="210217" y="326018"/>
                  <a:pt x="211198" y="325332"/>
                </a:cubicBezTo>
                <a:cubicBezTo>
                  <a:pt x="212179" y="324647"/>
                  <a:pt x="210960" y="321884"/>
                  <a:pt x="210674" y="321665"/>
                </a:cubicBezTo>
                <a:close/>
                <a:moveTo>
                  <a:pt x="225266" y="331200"/>
                </a:moveTo>
                <a:cubicBezTo>
                  <a:pt x="221961" y="329800"/>
                  <a:pt x="220961" y="331647"/>
                  <a:pt x="218323" y="331200"/>
                </a:cubicBezTo>
                <a:cubicBezTo>
                  <a:pt x="218042" y="332091"/>
                  <a:pt x="218337" y="333063"/>
                  <a:pt x="219065" y="333648"/>
                </a:cubicBezTo>
                <a:cubicBezTo>
                  <a:pt x="219742" y="334410"/>
                  <a:pt x="217675" y="334724"/>
                  <a:pt x="217741" y="334600"/>
                </a:cubicBezTo>
                <a:cubicBezTo>
                  <a:pt x="217922" y="334229"/>
                  <a:pt x="217370" y="332695"/>
                  <a:pt x="216789" y="333276"/>
                </a:cubicBezTo>
                <a:cubicBezTo>
                  <a:pt x="215400" y="334906"/>
                  <a:pt x="215596" y="337353"/>
                  <a:pt x="217225" y="338742"/>
                </a:cubicBezTo>
                <a:cubicBezTo>
                  <a:pt x="217486" y="338964"/>
                  <a:pt x="217775" y="339150"/>
                  <a:pt x="218084" y="339296"/>
                </a:cubicBezTo>
                <a:cubicBezTo>
                  <a:pt x="219265" y="336877"/>
                  <a:pt x="222428" y="334219"/>
                  <a:pt x="224295" y="336867"/>
                </a:cubicBezTo>
                <a:cubicBezTo>
                  <a:pt x="224695" y="333914"/>
                  <a:pt x="222828" y="332886"/>
                  <a:pt x="225295" y="331105"/>
                </a:cubicBezTo>
                <a:close/>
                <a:moveTo>
                  <a:pt x="239535" y="295252"/>
                </a:moveTo>
                <a:cubicBezTo>
                  <a:pt x="240487" y="291623"/>
                  <a:pt x="239116" y="289604"/>
                  <a:pt x="235982" y="288852"/>
                </a:cubicBezTo>
                <a:cubicBezTo>
                  <a:pt x="235725" y="290357"/>
                  <a:pt x="235477" y="291862"/>
                  <a:pt x="235220" y="293357"/>
                </a:cubicBezTo>
                <a:cubicBezTo>
                  <a:pt x="236847" y="293419"/>
                  <a:pt x="238389" y="294096"/>
                  <a:pt x="239535" y="295252"/>
                </a:cubicBezTo>
                <a:close/>
                <a:moveTo>
                  <a:pt x="244040" y="296014"/>
                </a:moveTo>
                <a:cubicBezTo>
                  <a:pt x="241630" y="295557"/>
                  <a:pt x="235849" y="297329"/>
                  <a:pt x="238763" y="299758"/>
                </a:cubicBezTo>
                <a:cubicBezTo>
                  <a:pt x="239535" y="297176"/>
                  <a:pt x="242640" y="297834"/>
                  <a:pt x="244002" y="296014"/>
                </a:cubicBezTo>
                <a:close/>
                <a:moveTo>
                  <a:pt x="253565" y="315064"/>
                </a:moveTo>
                <a:cubicBezTo>
                  <a:pt x="253115" y="316561"/>
                  <a:pt x="253827" y="318161"/>
                  <a:pt x="255241" y="318827"/>
                </a:cubicBezTo>
                <a:cubicBezTo>
                  <a:pt x="255403" y="317036"/>
                  <a:pt x="256032" y="314903"/>
                  <a:pt x="253536" y="315026"/>
                </a:cubicBezTo>
                <a:close/>
                <a:moveTo>
                  <a:pt x="257585" y="291395"/>
                </a:moveTo>
                <a:cubicBezTo>
                  <a:pt x="254803" y="290757"/>
                  <a:pt x="252146" y="290261"/>
                  <a:pt x="251555" y="292700"/>
                </a:cubicBezTo>
                <a:cubicBezTo>
                  <a:pt x="254298" y="293300"/>
                  <a:pt x="256956" y="293795"/>
                  <a:pt x="257556" y="291319"/>
                </a:cubicBezTo>
                <a:close/>
                <a:moveTo>
                  <a:pt x="290570" y="254095"/>
                </a:moveTo>
                <a:cubicBezTo>
                  <a:pt x="290087" y="255651"/>
                  <a:pt x="290212" y="257333"/>
                  <a:pt x="290922" y="258800"/>
                </a:cubicBezTo>
                <a:cubicBezTo>
                  <a:pt x="294075" y="259515"/>
                  <a:pt x="294294" y="256086"/>
                  <a:pt x="296199" y="255057"/>
                </a:cubicBezTo>
                <a:close/>
                <a:moveTo>
                  <a:pt x="292646" y="248656"/>
                </a:moveTo>
                <a:cubicBezTo>
                  <a:pt x="292951" y="247227"/>
                  <a:pt x="294361" y="247342"/>
                  <a:pt x="294351" y="245465"/>
                </a:cubicBezTo>
                <a:cubicBezTo>
                  <a:pt x="291846" y="243208"/>
                  <a:pt x="290360" y="248694"/>
                  <a:pt x="292618" y="248618"/>
                </a:cubicBezTo>
                <a:close/>
                <a:moveTo>
                  <a:pt x="293599" y="236074"/>
                </a:moveTo>
                <a:cubicBezTo>
                  <a:pt x="295951" y="234102"/>
                  <a:pt x="293132" y="233721"/>
                  <a:pt x="295504" y="231749"/>
                </a:cubicBezTo>
                <a:lnTo>
                  <a:pt x="289874" y="230797"/>
                </a:lnTo>
                <a:cubicBezTo>
                  <a:pt x="288731" y="234169"/>
                  <a:pt x="292151" y="234416"/>
                  <a:pt x="293599" y="236074"/>
                </a:cubicBezTo>
                <a:close/>
                <a:moveTo>
                  <a:pt x="286045" y="246380"/>
                </a:moveTo>
                <a:cubicBezTo>
                  <a:pt x="287179" y="246561"/>
                  <a:pt x="287236" y="247523"/>
                  <a:pt x="288112" y="247885"/>
                </a:cubicBezTo>
                <a:cubicBezTo>
                  <a:pt x="288303" y="246761"/>
                  <a:pt x="289246" y="246704"/>
                  <a:pt x="289627" y="245827"/>
                </a:cubicBezTo>
                <a:cubicBezTo>
                  <a:pt x="288493" y="245646"/>
                  <a:pt x="288436" y="244694"/>
                  <a:pt x="287560" y="244322"/>
                </a:cubicBezTo>
                <a:cubicBezTo>
                  <a:pt x="287369" y="245418"/>
                  <a:pt x="286426" y="245465"/>
                  <a:pt x="286045" y="246342"/>
                </a:cubicBezTo>
                <a:close/>
                <a:moveTo>
                  <a:pt x="272272" y="266068"/>
                </a:moveTo>
                <a:cubicBezTo>
                  <a:pt x="271823" y="267566"/>
                  <a:pt x="272541" y="269168"/>
                  <a:pt x="273958" y="269830"/>
                </a:cubicBezTo>
                <a:cubicBezTo>
                  <a:pt x="274149" y="268011"/>
                  <a:pt x="274777" y="265915"/>
                  <a:pt x="272272" y="266030"/>
                </a:cubicBezTo>
                <a:close/>
                <a:moveTo>
                  <a:pt x="292751" y="268382"/>
                </a:moveTo>
                <a:cubicBezTo>
                  <a:pt x="290151" y="264572"/>
                  <a:pt x="285055" y="262610"/>
                  <a:pt x="284178" y="257648"/>
                </a:cubicBezTo>
                <a:cubicBezTo>
                  <a:pt x="280368" y="257295"/>
                  <a:pt x="280368" y="255743"/>
                  <a:pt x="278930" y="254438"/>
                </a:cubicBezTo>
                <a:cubicBezTo>
                  <a:pt x="276073" y="251818"/>
                  <a:pt x="275654" y="252952"/>
                  <a:pt x="277435" y="249551"/>
                </a:cubicBezTo>
                <a:cubicBezTo>
                  <a:pt x="272225" y="249504"/>
                  <a:pt x="275082" y="252771"/>
                  <a:pt x="273844" y="257057"/>
                </a:cubicBezTo>
                <a:cubicBezTo>
                  <a:pt x="272139" y="258676"/>
                  <a:pt x="268576" y="258305"/>
                  <a:pt x="267633" y="259477"/>
                </a:cubicBezTo>
                <a:cubicBezTo>
                  <a:pt x="267138" y="260096"/>
                  <a:pt x="267700" y="262410"/>
                  <a:pt x="267062" y="262858"/>
                </a:cubicBezTo>
                <a:cubicBezTo>
                  <a:pt x="266186" y="263487"/>
                  <a:pt x="263528" y="261610"/>
                  <a:pt x="263490" y="263410"/>
                </a:cubicBezTo>
                <a:cubicBezTo>
                  <a:pt x="265862" y="265525"/>
                  <a:pt x="265186" y="266154"/>
                  <a:pt x="268938" y="265496"/>
                </a:cubicBezTo>
                <a:cubicBezTo>
                  <a:pt x="270615" y="265068"/>
                  <a:pt x="269834" y="261191"/>
                  <a:pt x="271948" y="261372"/>
                </a:cubicBezTo>
                <a:cubicBezTo>
                  <a:pt x="270320" y="265506"/>
                  <a:pt x="277044" y="263706"/>
                  <a:pt x="279463" y="264963"/>
                </a:cubicBezTo>
                <a:cubicBezTo>
                  <a:pt x="280206" y="267401"/>
                  <a:pt x="280587" y="270106"/>
                  <a:pt x="283007" y="271364"/>
                </a:cubicBezTo>
                <a:cubicBezTo>
                  <a:pt x="283826" y="268802"/>
                  <a:pt x="284988" y="266706"/>
                  <a:pt x="287350" y="266306"/>
                </a:cubicBezTo>
                <a:cubicBezTo>
                  <a:pt x="284988" y="269411"/>
                  <a:pt x="292637" y="270221"/>
                  <a:pt x="292751" y="268344"/>
                </a:cubicBezTo>
                <a:close/>
                <a:moveTo>
                  <a:pt x="295408" y="259562"/>
                </a:moveTo>
                <a:cubicBezTo>
                  <a:pt x="295208" y="266668"/>
                  <a:pt x="292779" y="258362"/>
                  <a:pt x="291598" y="261248"/>
                </a:cubicBezTo>
                <a:cubicBezTo>
                  <a:pt x="293284" y="262029"/>
                  <a:pt x="291951" y="264953"/>
                  <a:pt x="295723" y="264258"/>
                </a:cubicBezTo>
                <a:cubicBezTo>
                  <a:pt x="296170" y="262744"/>
                  <a:pt x="297332" y="256076"/>
                  <a:pt x="295408" y="259524"/>
                </a:cubicBezTo>
                <a:close/>
                <a:moveTo>
                  <a:pt x="297933" y="230987"/>
                </a:moveTo>
                <a:cubicBezTo>
                  <a:pt x="299723" y="231178"/>
                  <a:pt x="301809" y="231797"/>
                  <a:pt x="301695" y="229301"/>
                </a:cubicBezTo>
                <a:lnTo>
                  <a:pt x="299447" y="228920"/>
                </a:lnTo>
                <a:cubicBezTo>
                  <a:pt x="299256" y="230035"/>
                  <a:pt x="298304" y="230092"/>
                  <a:pt x="297933" y="230968"/>
                </a:cubicBezTo>
                <a:close/>
                <a:moveTo>
                  <a:pt x="297704" y="246018"/>
                </a:moveTo>
                <a:cubicBezTo>
                  <a:pt x="297249" y="247514"/>
                  <a:pt x="297963" y="249118"/>
                  <a:pt x="299380" y="249780"/>
                </a:cubicBezTo>
                <a:cubicBezTo>
                  <a:pt x="299542" y="247980"/>
                  <a:pt x="300190" y="245884"/>
                  <a:pt x="297704" y="245999"/>
                </a:cubicBezTo>
                <a:close/>
                <a:moveTo>
                  <a:pt x="302171" y="260686"/>
                </a:moveTo>
                <a:cubicBezTo>
                  <a:pt x="304076" y="258143"/>
                  <a:pt x="299657" y="255457"/>
                  <a:pt x="303124" y="255057"/>
                </a:cubicBezTo>
                <a:cubicBezTo>
                  <a:pt x="304619" y="255324"/>
                  <a:pt x="303819" y="257210"/>
                  <a:pt x="305029" y="257695"/>
                </a:cubicBezTo>
                <a:cubicBezTo>
                  <a:pt x="307391" y="256105"/>
                  <a:pt x="305438" y="253200"/>
                  <a:pt x="302409" y="252609"/>
                </a:cubicBezTo>
                <a:cubicBezTo>
                  <a:pt x="302019" y="253447"/>
                  <a:pt x="301247" y="253762"/>
                  <a:pt x="299971" y="253352"/>
                </a:cubicBezTo>
                <a:cubicBezTo>
                  <a:pt x="299048" y="256009"/>
                  <a:pt x="299936" y="258959"/>
                  <a:pt x="302171" y="260667"/>
                </a:cubicBezTo>
                <a:close/>
                <a:moveTo>
                  <a:pt x="307210" y="271983"/>
                </a:moveTo>
                <a:cubicBezTo>
                  <a:pt x="305171" y="271897"/>
                  <a:pt x="301752" y="269887"/>
                  <a:pt x="302324" y="273469"/>
                </a:cubicBezTo>
                <a:cubicBezTo>
                  <a:pt x="304105" y="273892"/>
                  <a:pt x="305975" y="273316"/>
                  <a:pt x="307210" y="271964"/>
                </a:cubicBezTo>
                <a:close/>
                <a:moveTo>
                  <a:pt x="307210" y="278927"/>
                </a:moveTo>
                <a:cubicBezTo>
                  <a:pt x="306457" y="281441"/>
                  <a:pt x="306762" y="283213"/>
                  <a:pt x="308696" y="283822"/>
                </a:cubicBezTo>
                <a:cubicBezTo>
                  <a:pt x="309108" y="282036"/>
                  <a:pt x="308521" y="280167"/>
                  <a:pt x="307162" y="278936"/>
                </a:cubicBezTo>
                <a:close/>
                <a:moveTo>
                  <a:pt x="316392" y="224844"/>
                </a:moveTo>
                <a:cubicBezTo>
                  <a:pt x="316392" y="223482"/>
                  <a:pt x="317125" y="221672"/>
                  <a:pt x="315839" y="221272"/>
                </a:cubicBezTo>
                <a:cubicBezTo>
                  <a:pt x="315659" y="221948"/>
                  <a:pt x="315439" y="222577"/>
                  <a:pt x="314516" y="222224"/>
                </a:cubicBezTo>
                <a:cubicBezTo>
                  <a:pt x="314620" y="221596"/>
                  <a:pt x="313820" y="220786"/>
                  <a:pt x="313392" y="222034"/>
                </a:cubicBezTo>
                <a:cubicBezTo>
                  <a:pt x="314925" y="222539"/>
                  <a:pt x="314954" y="224167"/>
                  <a:pt x="316373" y="224825"/>
                </a:cubicBezTo>
                <a:close/>
                <a:moveTo>
                  <a:pt x="318735" y="258857"/>
                </a:moveTo>
                <a:cubicBezTo>
                  <a:pt x="319165" y="257078"/>
                  <a:pt x="318592" y="255205"/>
                  <a:pt x="317240" y="253971"/>
                </a:cubicBezTo>
                <a:cubicBezTo>
                  <a:pt x="316039" y="254851"/>
                  <a:pt x="315779" y="256538"/>
                  <a:pt x="316659" y="257738"/>
                </a:cubicBezTo>
                <a:cubicBezTo>
                  <a:pt x="317143" y="258398"/>
                  <a:pt x="317899" y="258803"/>
                  <a:pt x="318716" y="258838"/>
                </a:cubicBezTo>
                <a:close/>
                <a:moveTo>
                  <a:pt x="334080" y="216252"/>
                </a:moveTo>
                <a:cubicBezTo>
                  <a:pt x="335032" y="219319"/>
                  <a:pt x="329022" y="219024"/>
                  <a:pt x="332175" y="220567"/>
                </a:cubicBezTo>
                <a:cubicBezTo>
                  <a:pt x="332356" y="219891"/>
                  <a:pt x="332565" y="219262"/>
                  <a:pt x="333489" y="219614"/>
                </a:cubicBezTo>
                <a:cubicBezTo>
                  <a:pt x="333185" y="222472"/>
                  <a:pt x="337252" y="220567"/>
                  <a:pt x="337995" y="220376"/>
                </a:cubicBezTo>
                <a:cubicBezTo>
                  <a:pt x="339033" y="222281"/>
                  <a:pt x="338614" y="225225"/>
                  <a:pt x="340424" y="226577"/>
                </a:cubicBezTo>
                <a:cubicBezTo>
                  <a:pt x="342574" y="223673"/>
                  <a:pt x="341964" y="219575"/>
                  <a:pt x="339059" y="217425"/>
                </a:cubicBezTo>
                <a:cubicBezTo>
                  <a:pt x="337625" y="216363"/>
                  <a:pt x="335819" y="215932"/>
                  <a:pt x="334061" y="216233"/>
                </a:cubicBezTo>
                <a:close/>
                <a:moveTo>
                  <a:pt x="352282" y="225129"/>
                </a:moveTo>
                <a:lnTo>
                  <a:pt x="352882" y="221786"/>
                </a:lnTo>
                <a:cubicBezTo>
                  <a:pt x="354006" y="221967"/>
                  <a:pt x="354063" y="222920"/>
                  <a:pt x="354940" y="223291"/>
                </a:cubicBezTo>
                <a:cubicBezTo>
                  <a:pt x="355054" y="220672"/>
                  <a:pt x="355892" y="219100"/>
                  <a:pt x="357959" y="219167"/>
                </a:cubicBezTo>
                <a:cubicBezTo>
                  <a:pt x="358073" y="221396"/>
                  <a:pt x="359864" y="222405"/>
                  <a:pt x="359254" y="225177"/>
                </a:cubicBezTo>
                <a:cubicBezTo>
                  <a:pt x="367827" y="224853"/>
                  <a:pt x="360502" y="219310"/>
                  <a:pt x="360597" y="217290"/>
                </a:cubicBezTo>
                <a:cubicBezTo>
                  <a:pt x="360502" y="219138"/>
                  <a:pt x="366855" y="213556"/>
                  <a:pt x="362293" y="214109"/>
                </a:cubicBezTo>
                <a:cubicBezTo>
                  <a:pt x="361731" y="216576"/>
                  <a:pt x="357435" y="213776"/>
                  <a:pt x="355349" y="214109"/>
                </a:cubicBezTo>
                <a:cubicBezTo>
                  <a:pt x="355302" y="218309"/>
                  <a:pt x="349758" y="221958"/>
                  <a:pt x="352263" y="225110"/>
                </a:cubicBezTo>
                <a:close/>
                <a:moveTo>
                  <a:pt x="346853" y="216100"/>
                </a:moveTo>
                <a:cubicBezTo>
                  <a:pt x="350301" y="217690"/>
                  <a:pt x="350663" y="214966"/>
                  <a:pt x="351930" y="213480"/>
                </a:cubicBezTo>
                <a:cubicBezTo>
                  <a:pt x="350377" y="212937"/>
                  <a:pt x="350349" y="211309"/>
                  <a:pt x="348929" y="210623"/>
                </a:cubicBezTo>
                <a:cubicBezTo>
                  <a:pt x="347522" y="212080"/>
                  <a:pt x="346766" y="214046"/>
                  <a:pt x="346834" y="216071"/>
                </a:cubicBezTo>
                <a:close/>
                <a:moveTo>
                  <a:pt x="350177" y="237531"/>
                </a:moveTo>
                <a:cubicBezTo>
                  <a:pt x="348615" y="236988"/>
                  <a:pt x="348586" y="235350"/>
                  <a:pt x="347177" y="234673"/>
                </a:cubicBezTo>
                <a:cubicBezTo>
                  <a:pt x="345500" y="238493"/>
                  <a:pt x="348901" y="241093"/>
                  <a:pt x="350158" y="237512"/>
                </a:cubicBezTo>
                <a:close/>
                <a:moveTo>
                  <a:pt x="358750" y="248266"/>
                </a:moveTo>
                <a:cubicBezTo>
                  <a:pt x="358169" y="243179"/>
                  <a:pt x="355530" y="245722"/>
                  <a:pt x="351425" y="243503"/>
                </a:cubicBezTo>
                <a:cubicBezTo>
                  <a:pt x="351260" y="245542"/>
                  <a:pt x="349472" y="247063"/>
                  <a:pt x="347433" y="246898"/>
                </a:cubicBezTo>
                <a:cubicBezTo>
                  <a:pt x="346610" y="246831"/>
                  <a:pt x="345832" y="246491"/>
                  <a:pt x="345224" y="245932"/>
                </a:cubicBezTo>
                <a:cubicBezTo>
                  <a:pt x="344100" y="249380"/>
                  <a:pt x="347520" y="249590"/>
                  <a:pt x="348967" y="251209"/>
                </a:cubicBezTo>
                <a:cubicBezTo>
                  <a:pt x="349682" y="247180"/>
                  <a:pt x="349225" y="247170"/>
                  <a:pt x="351987" y="247084"/>
                </a:cubicBezTo>
                <a:cubicBezTo>
                  <a:pt x="350339" y="247084"/>
                  <a:pt x="354759" y="253123"/>
                  <a:pt x="355178" y="248780"/>
                </a:cubicBezTo>
                <a:cubicBezTo>
                  <a:pt x="353949" y="248323"/>
                  <a:pt x="353635" y="247227"/>
                  <a:pt x="353273" y="246142"/>
                </a:cubicBezTo>
                <a:cubicBezTo>
                  <a:pt x="355316" y="246059"/>
                  <a:pt x="357304" y="246821"/>
                  <a:pt x="358769" y="248247"/>
                </a:cubicBezTo>
                <a:close/>
                <a:moveTo>
                  <a:pt x="366522" y="222920"/>
                </a:moveTo>
                <a:cubicBezTo>
                  <a:pt x="362531" y="225034"/>
                  <a:pt x="365998" y="228997"/>
                  <a:pt x="362712" y="231549"/>
                </a:cubicBezTo>
                <a:cubicBezTo>
                  <a:pt x="362493" y="230156"/>
                  <a:pt x="361916" y="228842"/>
                  <a:pt x="361036" y="227739"/>
                </a:cubicBezTo>
                <a:cubicBezTo>
                  <a:pt x="361807" y="232549"/>
                  <a:pt x="358340" y="231387"/>
                  <a:pt x="356692" y="232807"/>
                </a:cubicBezTo>
                <a:cubicBezTo>
                  <a:pt x="360207" y="233273"/>
                  <a:pt x="359312" y="236893"/>
                  <a:pt x="364198" y="236397"/>
                </a:cubicBezTo>
                <a:cubicBezTo>
                  <a:pt x="364817" y="234311"/>
                  <a:pt x="363360" y="233692"/>
                  <a:pt x="363836" y="231692"/>
                </a:cubicBezTo>
                <a:cubicBezTo>
                  <a:pt x="366351" y="231978"/>
                  <a:pt x="365131" y="226996"/>
                  <a:pt x="366112" y="225129"/>
                </a:cubicBezTo>
                <a:cubicBezTo>
                  <a:pt x="366754" y="225112"/>
                  <a:pt x="367260" y="224578"/>
                  <a:pt x="367243" y="223937"/>
                </a:cubicBezTo>
                <a:cubicBezTo>
                  <a:pt x="367231" y="223484"/>
                  <a:pt x="366957" y="223080"/>
                  <a:pt x="366541" y="222901"/>
                </a:cubicBezTo>
                <a:close/>
                <a:moveTo>
                  <a:pt x="380810" y="227682"/>
                </a:moveTo>
                <a:cubicBezTo>
                  <a:pt x="382400" y="225110"/>
                  <a:pt x="381600" y="225339"/>
                  <a:pt x="383086" y="221110"/>
                </a:cubicBezTo>
                <a:cubicBezTo>
                  <a:pt x="378857" y="219462"/>
                  <a:pt x="375037" y="227101"/>
                  <a:pt x="380810" y="227644"/>
                </a:cubicBezTo>
                <a:close/>
                <a:moveTo>
                  <a:pt x="383591" y="238579"/>
                </a:moveTo>
                <a:cubicBezTo>
                  <a:pt x="381133" y="235855"/>
                  <a:pt x="378000" y="230130"/>
                  <a:pt x="374771" y="235931"/>
                </a:cubicBezTo>
                <a:cubicBezTo>
                  <a:pt x="378276" y="234350"/>
                  <a:pt x="379752" y="239341"/>
                  <a:pt x="378905" y="238950"/>
                </a:cubicBezTo>
                <a:cubicBezTo>
                  <a:pt x="380352" y="239569"/>
                  <a:pt x="383181" y="239579"/>
                  <a:pt x="383591" y="238541"/>
                </a:cubicBezTo>
                <a:close/>
                <a:moveTo>
                  <a:pt x="385801" y="191430"/>
                </a:moveTo>
                <a:lnTo>
                  <a:pt x="386182" y="189172"/>
                </a:lnTo>
                <a:lnTo>
                  <a:pt x="383934" y="188791"/>
                </a:lnTo>
                <a:lnTo>
                  <a:pt x="383543" y="191039"/>
                </a:lnTo>
                <a:close/>
                <a:moveTo>
                  <a:pt x="386258" y="229759"/>
                </a:moveTo>
                <a:cubicBezTo>
                  <a:pt x="384781" y="232787"/>
                  <a:pt x="387344" y="232949"/>
                  <a:pt x="386429" y="235588"/>
                </a:cubicBezTo>
                <a:cubicBezTo>
                  <a:pt x="393249" y="237921"/>
                  <a:pt x="391992" y="229282"/>
                  <a:pt x="386220" y="229720"/>
                </a:cubicBezTo>
                <a:close/>
                <a:moveTo>
                  <a:pt x="391354" y="220234"/>
                </a:moveTo>
                <a:cubicBezTo>
                  <a:pt x="388934" y="219598"/>
                  <a:pt x="387617" y="220532"/>
                  <a:pt x="387401" y="223034"/>
                </a:cubicBezTo>
                <a:cubicBezTo>
                  <a:pt x="390306" y="224253"/>
                  <a:pt x="390030" y="221005"/>
                  <a:pt x="391354" y="220157"/>
                </a:cubicBezTo>
                <a:close/>
                <a:moveTo>
                  <a:pt x="391897" y="230711"/>
                </a:moveTo>
                <a:cubicBezTo>
                  <a:pt x="391097" y="234369"/>
                  <a:pt x="395888" y="232006"/>
                  <a:pt x="397145" y="233930"/>
                </a:cubicBezTo>
                <a:lnTo>
                  <a:pt x="398097" y="228292"/>
                </a:lnTo>
                <a:cubicBezTo>
                  <a:pt x="393754" y="227701"/>
                  <a:pt x="392420" y="228234"/>
                  <a:pt x="391935" y="230673"/>
                </a:cubicBezTo>
                <a:close/>
                <a:moveTo>
                  <a:pt x="395859" y="220957"/>
                </a:moveTo>
                <a:cubicBezTo>
                  <a:pt x="395411" y="221586"/>
                  <a:pt x="392325" y="224825"/>
                  <a:pt x="395097" y="225463"/>
                </a:cubicBezTo>
                <a:cubicBezTo>
                  <a:pt x="396421" y="223605"/>
                  <a:pt x="399459" y="222577"/>
                  <a:pt x="395859" y="220919"/>
                </a:cubicBezTo>
                <a:close/>
                <a:moveTo>
                  <a:pt x="404365" y="205013"/>
                </a:moveTo>
                <a:cubicBezTo>
                  <a:pt x="401336" y="203536"/>
                  <a:pt x="401174" y="206108"/>
                  <a:pt x="398536" y="205184"/>
                </a:cubicBezTo>
                <a:cubicBezTo>
                  <a:pt x="398355" y="209108"/>
                  <a:pt x="401336" y="207089"/>
                  <a:pt x="398707" y="211004"/>
                </a:cubicBezTo>
                <a:cubicBezTo>
                  <a:pt x="402908" y="211575"/>
                  <a:pt x="401822" y="209851"/>
                  <a:pt x="401726" y="206879"/>
                </a:cubicBezTo>
                <a:cubicBezTo>
                  <a:pt x="403127" y="206946"/>
                  <a:pt x="404460" y="206956"/>
                  <a:pt x="404365" y="204974"/>
                </a:cubicBezTo>
                <a:close/>
                <a:moveTo>
                  <a:pt x="410385" y="203717"/>
                </a:moveTo>
                <a:cubicBezTo>
                  <a:pt x="408899" y="203450"/>
                  <a:pt x="409689" y="201565"/>
                  <a:pt x="408480" y="201079"/>
                </a:cubicBezTo>
                <a:cubicBezTo>
                  <a:pt x="407870" y="202536"/>
                  <a:pt x="406517" y="202984"/>
                  <a:pt x="406575" y="205394"/>
                </a:cubicBezTo>
                <a:lnTo>
                  <a:pt x="408823" y="205775"/>
                </a:lnTo>
                <a:cubicBezTo>
                  <a:pt x="409080" y="204641"/>
                  <a:pt x="410032" y="204555"/>
                  <a:pt x="410385" y="203689"/>
                </a:cubicBezTo>
                <a:close/>
                <a:moveTo>
                  <a:pt x="410385" y="217624"/>
                </a:moveTo>
                <a:cubicBezTo>
                  <a:pt x="412661" y="217624"/>
                  <a:pt x="412366" y="219529"/>
                  <a:pt x="413375" y="220481"/>
                </a:cubicBezTo>
                <a:cubicBezTo>
                  <a:pt x="414719" y="218252"/>
                  <a:pt x="411280" y="214852"/>
                  <a:pt x="410347" y="217586"/>
                </a:cubicBezTo>
                <a:close/>
                <a:moveTo>
                  <a:pt x="416614" y="208242"/>
                </a:moveTo>
                <a:cubicBezTo>
                  <a:pt x="415383" y="208065"/>
                  <a:pt x="414254" y="207461"/>
                  <a:pt x="413423" y="206537"/>
                </a:cubicBezTo>
                <a:cubicBezTo>
                  <a:pt x="414528" y="210127"/>
                  <a:pt x="411432" y="210508"/>
                  <a:pt x="414709" y="212556"/>
                </a:cubicBezTo>
                <a:cubicBezTo>
                  <a:pt x="415195" y="211232"/>
                  <a:pt x="416090" y="212080"/>
                  <a:pt x="416966" y="212937"/>
                </a:cubicBezTo>
                <a:cubicBezTo>
                  <a:pt x="417547" y="210813"/>
                  <a:pt x="416090" y="210204"/>
                  <a:pt x="416576" y="208203"/>
                </a:cubicBezTo>
                <a:close/>
                <a:moveTo>
                  <a:pt x="415890" y="198840"/>
                </a:moveTo>
                <a:cubicBezTo>
                  <a:pt x="416576" y="198898"/>
                  <a:pt x="417243" y="198898"/>
                  <a:pt x="417195" y="197888"/>
                </a:cubicBezTo>
                <a:cubicBezTo>
                  <a:pt x="414099" y="195573"/>
                  <a:pt x="413242" y="203212"/>
                  <a:pt x="415119" y="203336"/>
                </a:cubicBezTo>
                <a:cubicBezTo>
                  <a:pt x="415719" y="201622"/>
                  <a:pt x="417719" y="202965"/>
                  <a:pt x="418500" y="203908"/>
                </a:cubicBezTo>
                <a:cubicBezTo>
                  <a:pt x="420062" y="200431"/>
                  <a:pt x="415938" y="201050"/>
                  <a:pt x="415852" y="198802"/>
                </a:cubicBezTo>
                <a:close/>
                <a:moveTo>
                  <a:pt x="489737" y="132537"/>
                </a:moveTo>
                <a:cubicBezTo>
                  <a:pt x="494624" y="130727"/>
                  <a:pt x="494500" y="135709"/>
                  <a:pt x="496862" y="138385"/>
                </a:cubicBezTo>
                <a:cubicBezTo>
                  <a:pt x="497586" y="136147"/>
                  <a:pt x="500291" y="136690"/>
                  <a:pt x="501005" y="134451"/>
                </a:cubicBezTo>
                <a:cubicBezTo>
                  <a:pt x="499824" y="133966"/>
                  <a:pt x="498615" y="132137"/>
                  <a:pt x="500263" y="132003"/>
                </a:cubicBezTo>
                <a:cubicBezTo>
                  <a:pt x="502539" y="132003"/>
                  <a:pt x="502244" y="133908"/>
                  <a:pt x="503263" y="134861"/>
                </a:cubicBezTo>
                <a:cubicBezTo>
                  <a:pt x="504339" y="132080"/>
                  <a:pt x="505425" y="131165"/>
                  <a:pt x="503091" y="129032"/>
                </a:cubicBezTo>
                <a:cubicBezTo>
                  <a:pt x="502901" y="131318"/>
                  <a:pt x="499796" y="128746"/>
                  <a:pt x="498386" y="129394"/>
                </a:cubicBezTo>
                <a:cubicBezTo>
                  <a:pt x="497738" y="129698"/>
                  <a:pt x="498177" y="132042"/>
                  <a:pt x="496881" y="131461"/>
                </a:cubicBezTo>
                <a:cubicBezTo>
                  <a:pt x="495129" y="131051"/>
                  <a:pt x="496481" y="128441"/>
                  <a:pt x="493881" y="128603"/>
                </a:cubicBezTo>
                <a:cubicBezTo>
                  <a:pt x="492385" y="128365"/>
                  <a:pt x="492519" y="130403"/>
                  <a:pt x="491242" y="130508"/>
                </a:cubicBezTo>
                <a:cubicBezTo>
                  <a:pt x="490290" y="130537"/>
                  <a:pt x="489737" y="131165"/>
                  <a:pt x="489699" y="132499"/>
                </a:cubicBezTo>
                <a:close/>
                <a:moveTo>
                  <a:pt x="457086" y="181486"/>
                </a:moveTo>
                <a:cubicBezTo>
                  <a:pt x="456648" y="180533"/>
                  <a:pt x="455343" y="181352"/>
                  <a:pt x="455028" y="179981"/>
                </a:cubicBezTo>
                <a:cubicBezTo>
                  <a:pt x="455143" y="180476"/>
                  <a:pt x="457800" y="177047"/>
                  <a:pt x="454276" y="177533"/>
                </a:cubicBezTo>
                <a:cubicBezTo>
                  <a:pt x="451914" y="178362"/>
                  <a:pt x="453866" y="186334"/>
                  <a:pt x="449189" y="187058"/>
                </a:cubicBezTo>
                <a:cubicBezTo>
                  <a:pt x="449047" y="185484"/>
                  <a:pt x="447759" y="184261"/>
                  <a:pt x="446180" y="184200"/>
                </a:cubicBezTo>
                <a:cubicBezTo>
                  <a:pt x="445703" y="191278"/>
                  <a:pt x="452085" y="185801"/>
                  <a:pt x="456133" y="187058"/>
                </a:cubicBezTo>
                <a:cubicBezTo>
                  <a:pt x="455676" y="185534"/>
                  <a:pt x="457657" y="182896"/>
                  <a:pt x="457048" y="181448"/>
                </a:cubicBezTo>
                <a:close/>
                <a:moveTo>
                  <a:pt x="473278" y="181905"/>
                </a:moveTo>
                <a:cubicBezTo>
                  <a:pt x="470421" y="181314"/>
                  <a:pt x="472907" y="176885"/>
                  <a:pt x="468220" y="177571"/>
                </a:cubicBezTo>
                <a:cubicBezTo>
                  <a:pt x="468544" y="174037"/>
                  <a:pt x="464810" y="173380"/>
                  <a:pt x="462210" y="171913"/>
                </a:cubicBezTo>
                <a:cubicBezTo>
                  <a:pt x="460943" y="174599"/>
                  <a:pt x="460305" y="176361"/>
                  <a:pt x="462210" y="178876"/>
                </a:cubicBezTo>
                <a:cubicBezTo>
                  <a:pt x="463534" y="176066"/>
                  <a:pt x="466201" y="179505"/>
                  <a:pt x="466725" y="179638"/>
                </a:cubicBezTo>
                <a:cubicBezTo>
                  <a:pt x="466658" y="179638"/>
                  <a:pt x="469154" y="177733"/>
                  <a:pt x="468982" y="180019"/>
                </a:cubicBezTo>
                <a:cubicBezTo>
                  <a:pt x="468030" y="180124"/>
                  <a:pt x="467506" y="180733"/>
                  <a:pt x="467468" y="182076"/>
                </a:cubicBezTo>
                <a:cubicBezTo>
                  <a:pt x="465830" y="179628"/>
                  <a:pt x="463953" y="182867"/>
                  <a:pt x="462020" y="180000"/>
                </a:cubicBezTo>
                <a:cubicBezTo>
                  <a:pt x="460134" y="185220"/>
                  <a:pt x="473069" y="186458"/>
                  <a:pt x="473212" y="181867"/>
                </a:cubicBezTo>
                <a:close/>
                <a:moveTo>
                  <a:pt x="485089" y="166541"/>
                </a:moveTo>
                <a:cubicBezTo>
                  <a:pt x="486042" y="169589"/>
                  <a:pt x="480993" y="170665"/>
                  <a:pt x="484137" y="172180"/>
                </a:cubicBezTo>
                <a:cubicBezTo>
                  <a:pt x="485280" y="170018"/>
                  <a:pt x="488842" y="167979"/>
                  <a:pt x="485089" y="166541"/>
                </a:cubicBezTo>
                <a:close/>
                <a:moveTo>
                  <a:pt x="493900" y="176152"/>
                </a:moveTo>
                <a:cubicBezTo>
                  <a:pt x="497948" y="171304"/>
                  <a:pt x="490661" y="172799"/>
                  <a:pt x="493900" y="176152"/>
                </a:cubicBezTo>
                <a:close/>
                <a:moveTo>
                  <a:pt x="495100" y="148529"/>
                </a:moveTo>
                <a:cubicBezTo>
                  <a:pt x="493538" y="147653"/>
                  <a:pt x="492547" y="146377"/>
                  <a:pt x="490976" y="145500"/>
                </a:cubicBezTo>
                <a:cubicBezTo>
                  <a:pt x="490566" y="146805"/>
                  <a:pt x="490633" y="148739"/>
                  <a:pt x="489280" y="148701"/>
                </a:cubicBezTo>
                <a:cubicBezTo>
                  <a:pt x="487023" y="146996"/>
                  <a:pt x="486120" y="144032"/>
                  <a:pt x="487042" y="141357"/>
                </a:cubicBezTo>
                <a:cubicBezTo>
                  <a:pt x="484937" y="139395"/>
                  <a:pt x="483813" y="142376"/>
                  <a:pt x="482155" y="142852"/>
                </a:cubicBezTo>
                <a:cubicBezTo>
                  <a:pt x="480241" y="143276"/>
                  <a:pt x="478263" y="143334"/>
                  <a:pt x="476326" y="143024"/>
                </a:cubicBezTo>
                <a:cubicBezTo>
                  <a:pt x="475507" y="142833"/>
                  <a:pt x="475374" y="141709"/>
                  <a:pt x="475374" y="141709"/>
                </a:cubicBezTo>
                <a:cubicBezTo>
                  <a:pt x="473783" y="141214"/>
                  <a:pt x="470611" y="143719"/>
                  <a:pt x="470868" y="140938"/>
                </a:cubicBezTo>
                <a:cubicBezTo>
                  <a:pt x="472145" y="140881"/>
                  <a:pt x="473888" y="139538"/>
                  <a:pt x="472373" y="138871"/>
                </a:cubicBezTo>
                <a:cubicBezTo>
                  <a:pt x="470097" y="140290"/>
                  <a:pt x="469430" y="142948"/>
                  <a:pt x="466906" y="143748"/>
                </a:cubicBezTo>
                <a:cubicBezTo>
                  <a:pt x="467201" y="143662"/>
                  <a:pt x="466087" y="141843"/>
                  <a:pt x="465782" y="143557"/>
                </a:cubicBezTo>
                <a:cubicBezTo>
                  <a:pt x="466620" y="143948"/>
                  <a:pt x="466935" y="144719"/>
                  <a:pt x="466525" y="146005"/>
                </a:cubicBezTo>
                <a:cubicBezTo>
                  <a:pt x="462934" y="143233"/>
                  <a:pt x="462715" y="146224"/>
                  <a:pt x="459381" y="147110"/>
                </a:cubicBezTo>
                <a:cubicBezTo>
                  <a:pt x="458038" y="147110"/>
                  <a:pt x="456219" y="146367"/>
                  <a:pt x="455819" y="147663"/>
                </a:cubicBezTo>
                <a:cubicBezTo>
                  <a:pt x="456648" y="148063"/>
                  <a:pt x="458029" y="148072"/>
                  <a:pt x="457876" y="149167"/>
                </a:cubicBezTo>
                <a:cubicBezTo>
                  <a:pt x="457724" y="150263"/>
                  <a:pt x="456743" y="150358"/>
                  <a:pt x="456362" y="151234"/>
                </a:cubicBezTo>
                <a:cubicBezTo>
                  <a:pt x="459305" y="152577"/>
                  <a:pt x="459019" y="149329"/>
                  <a:pt x="461258" y="149749"/>
                </a:cubicBezTo>
                <a:cubicBezTo>
                  <a:pt x="462363" y="151273"/>
                  <a:pt x="465020" y="151654"/>
                  <a:pt x="467830" y="152015"/>
                </a:cubicBezTo>
                <a:cubicBezTo>
                  <a:pt x="468220" y="150720"/>
                  <a:pt x="468173" y="148786"/>
                  <a:pt x="469525" y="148825"/>
                </a:cubicBezTo>
                <a:cubicBezTo>
                  <a:pt x="469525" y="150815"/>
                  <a:pt x="473183" y="148386"/>
                  <a:pt x="473659" y="151844"/>
                </a:cubicBezTo>
                <a:cubicBezTo>
                  <a:pt x="472164" y="151606"/>
                  <a:pt x="472288" y="153644"/>
                  <a:pt x="471021" y="153749"/>
                </a:cubicBezTo>
                <a:cubicBezTo>
                  <a:pt x="469878" y="153559"/>
                  <a:pt x="469821" y="152606"/>
                  <a:pt x="468954" y="152235"/>
                </a:cubicBezTo>
                <a:cubicBezTo>
                  <a:pt x="467554" y="153520"/>
                  <a:pt x="467154" y="156206"/>
                  <a:pt x="465744" y="157483"/>
                </a:cubicBezTo>
                <a:cubicBezTo>
                  <a:pt x="470945" y="157759"/>
                  <a:pt x="469973" y="153673"/>
                  <a:pt x="471764" y="156197"/>
                </a:cubicBezTo>
                <a:cubicBezTo>
                  <a:pt x="472802" y="158138"/>
                  <a:pt x="474811" y="159363"/>
                  <a:pt x="477012" y="159397"/>
                </a:cubicBezTo>
                <a:cubicBezTo>
                  <a:pt x="476559" y="160897"/>
                  <a:pt x="477277" y="162501"/>
                  <a:pt x="478698" y="163160"/>
                </a:cubicBezTo>
                <a:cubicBezTo>
                  <a:pt x="480603" y="160588"/>
                  <a:pt x="478698" y="159540"/>
                  <a:pt x="480603" y="158845"/>
                </a:cubicBezTo>
                <a:cubicBezTo>
                  <a:pt x="482060" y="159464"/>
                  <a:pt x="482508" y="160817"/>
                  <a:pt x="484908" y="160750"/>
                </a:cubicBezTo>
                <a:cubicBezTo>
                  <a:pt x="485470" y="159216"/>
                  <a:pt x="487604" y="159883"/>
                  <a:pt x="488671" y="159073"/>
                </a:cubicBezTo>
                <a:cubicBezTo>
                  <a:pt x="489071" y="157769"/>
                  <a:pt x="489023" y="155835"/>
                  <a:pt x="490376" y="155883"/>
                </a:cubicBezTo>
                <a:cubicBezTo>
                  <a:pt x="493528" y="156626"/>
                  <a:pt x="493719" y="152073"/>
                  <a:pt x="496195" y="155711"/>
                </a:cubicBezTo>
                <a:cubicBezTo>
                  <a:pt x="497662" y="151692"/>
                  <a:pt x="490757" y="151558"/>
                  <a:pt x="495100" y="148491"/>
                </a:cubicBezTo>
                <a:close/>
                <a:moveTo>
                  <a:pt x="501634" y="164722"/>
                </a:moveTo>
                <a:cubicBezTo>
                  <a:pt x="502244" y="163398"/>
                  <a:pt x="503539" y="163912"/>
                  <a:pt x="504263" y="162817"/>
                </a:cubicBezTo>
                <a:cubicBezTo>
                  <a:pt x="497967" y="161864"/>
                  <a:pt x="499110" y="165065"/>
                  <a:pt x="497491" y="168618"/>
                </a:cubicBezTo>
                <a:cubicBezTo>
                  <a:pt x="499777" y="169675"/>
                  <a:pt x="502968" y="173542"/>
                  <a:pt x="504244" y="169770"/>
                </a:cubicBezTo>
                <a:cubicBezTo>
                  <a:pt x="502587" y="168932"/>
                  <a:pt x="500834" y="166398"/>
                  <a:pt x="501634" y="164636"/>
                </a:cubicBezTo>
                <a:close/>
                <a:moveTo>
                  <a:pt x="505625" y="148005"/>
                </a:moveTo>
                <a:cubicBezTo>
                  <a:pt x="503063" y="152692"/>
                  <a:pt x="499072" y="144996"/>
                  <a:pt x="496414" y="147605"/>
                </a:cubicBezTo>
                <a:cubicBezTo>
                  <a:pt x="499481" y="149958"/>
                  <a:pt x="501548" y="154101"/>
                  <a:pt x="505987" y="152711"/>
                </a:cubicBezTo>
                <a:cubicBezTo>
                  <a:pt x="506082" y="150939"/>
                  <a:pt x="507101" y="148567"/>
                  <a:pt x="505625" y="147948"/>
                </a:cubicBezTo>
                <a:close/>
                <a:moveTo>
                  <a:pt x="509435" y="125469"/>
                </a:moveTo>
                <a:cubicBezTo>
                  <a:pt x="508121" y="123400"/>
                  <a:pt x="506480" y="121557"/>
                  <a:pt x="504577" y="120011"/>
                </a:cubicBezTo>
                <a:lnTo>
                  <a:pt x="503806" y="124517"/>
                </a:lnTo>
                <a:cubicBezTo>
                  <a:pt x="504396" y="125231"/>
                  <a:pt x="508721" y="128003"/>
                  <a:pt x="509445" y="125412"/>
                </a:cubicBezTo>
                <a:close/>
                <a:moveTo>
                  <a:pt x="514055" y="152920"/>
                </a:moveTo>
                <a:cubicBezTo>
                  <a:pt x="511140" y="152073"/>
                  <a:pt x="510750" y="154825"/>
                  <a:pt x="509921" y="156854"/>
                </a:cubicBezTo>
                <a:cubicBezTo>
                  <a:pt x="512978" y="157235"/>
                  <a:pt x="515760" y="155111"/>
                  <a:pt x="514064" y="152863"/>
                </a:cubicBezTo>
                <a:close/>
                <a:moveTo>
                  <a:pt x="517417" y="160445"/>
                </a:moveTo>
                <a:cubicBezTo>
                  <a:pt x="519160" y="160836"/>
                  <a:pt x="518760" y="157302"/>
                  <a:pt x="517617" y="159321"/>
                </a:cubicBezTo>
                <a:cubicBezTo>
                  <a:pt x="515179" y="159940"/>
                  <a:pt x="517274" y="164341"/>
                  <a:pt x="518360" y="161769"/>
                </a:cubicBezTo>
                <a:cubicBezTo>
                  <a:pt x="517665" y="161531"/>
                  <a:pt x="517055" y="161312"/>
                  <a:pt x="517427" y="160388"/>
                </a:cubicBezTo>
                <a:close/>
                <a:moveTo>
                  <a:pt x="526152" y="129470"/>
                </a:moveTo>
                <a:cubicBezTo>
                  <a:pt x="522389" y="129822"/>
                  <a:pt x="522970" y="127098"/>
                  <a:pt x="520903" y="126260"/>
                </a:cubicBezTo>
                <a:cubicBezTo>
                  <a:pt x="520251" y="127687"/>
                  <a:pt x="518638" y="128405"/>
                  <a:pt x="517141" y="127936"/>
                </a:cubicBezTo>
                <a:cubicBezTo>
                  <a:pt x="518484" y="124012"/>
                  <a:pt x="514388" y="123945"/>
                  <a:pt x="510950" y="123412"/>
                </a:cubicBezTo>
                <a:cubicBezTo>
                  <a:pt x="510321" y="127822"/>
                  <a:pt x="515150" y="128365"/>
                  <a:pt x="519198" y="129451"/>
                </a:cubicBezTo>
                <a:cubicBezTo>
                  <a:pt x="519429" y="130829"/>
                  <a:pt x="520009" y="132124"/>
                  <a:pt x="520884" y="133213"/>
                </a:cubicBezTo>
                <a:cubicBezTo>
                  <a:pt x="520932" y="129498"/>
                  <a:pt x="526552" y="133689"/>
                  <a:pt x="526161" y="129394"/>
                </a:cubicBezTo>
                <a:close/>
                <a:moveTo>
                  <a:pt x="544592" y="123317"/>
                </a:moveTo>
                <a:cubicBezTo>
                  <a:pt x="547697" y="125641"/>
                  <a:pt x="548545" y="117992"/>
                  <a:pt x="546668" y="117878"/>
                </a:cubicBezTo>
                <a:cubicBezTo>
                  <a:pt x="547068" y="121164"/>
                  <a:pt x="544592" y="120469"/>
                  <a:pt x="544601" y="123259"/>
                </a:cubicBezTo>
                <a:close/>
                <a:moveTo>
                  <a:pt x="541934" y="132146"/>
                </a:moveTo>
                <a:cubicBezTo>
                  <a:pt x="541573" y="132213"/>
                  <a:pt x="543030" y="133642"/>
                  <a:pt x="543992" y="133651"/>
                </a:cubicBezTo>
                <a:cubicBezTo>
                  <a:pt x="544382" y="133651"/>
                  <a:pt x="545163" y="131832"/>
                  <a:pt x="546430" y="132908"/>
                </a:cubicBezTo>
                <a:cubicBezTo>
                  <a:pt x="547040" y="130476"/>
                  <a:pt x="546641" y="127900"/>
                  <a:pt x="545325" y="125765"/>
                </a:cubicBezTo>
                <a:cubicBezTo>
                  <a:pt x="544544" y="127612"/>
                  <a:pt x="543916" y="125279"/>
                  <a:pt x="541953" y="125193"/>
                </a:cubicBezTo>
                <a:cubicBezTo>
                  <a:pt x="540465" y="127531"/>
                  <a:pt x="538545" y="129564"/>
                  <a:pt x="536296" y="131184"/>
                </a:cubicBezTo>
                <a:cubicBezTo>
                  <a:pt x="534610" y="130403"/>
                  <a:pt x="535934" y="127479"/>
                  <a:pt x="532171" y="128174"/>
                </a:cubicBezTo>
                <a:cubicBezTo>
                  <a:pt x="529819" y="131432"/>
                  <a:pt x="532400" y="135118"/>
                  <a:pt x="528771" y="134547"/>
                </a:cubicBezTo>
                <a:cubicBezTo>
                  <a:pt x="529371" y="137090"/>
                  <a:pt x="527666" y="141281"/>
                  <a:pt x="532324" y="140947"/>
                </a:cubicBezTo>
                <a:cubicBezTo>
                  <a:pt x="533457" y="138366"/>
                  <a:pt x="532324" y="132537"/>
                  <a:pt x="534981" y="132127"/>
                </a:cubicBezTo>
                <a:cubicBezTo>
                  <a:pt x="536734" y="132527"/>
                  <a:pt x="535372" y="135147"/>
                  <a:pt x="537972" y="134985"/>
                </a:cubicBezTo>
                <a:cubicBezTo>
                  <a:pt x="539896" y="134061"/>
                  <a:pt x="540525" y="132356"/>
                  <a:pt x="541944" y="132089"/>
                </a:cubicBezTo>
                <a:close/>
                <a:moveTo>
                  <a:pt x="546240" y="134051"/>
                </a:moveTo>
                <a:cubicBezTo>
                  <a:pt x="545868" y="139471"/>
                  <a:pt x="544487" y="135956"/>
                  <a:pt x="542677" y="134613"/>
                </a:cubicBezTo>
                <a:cubicBezTo>
                  <a:pt x="543630" y="137661"/>
                  <a:pt x="538572" y="138719"/>
                  <a:pt x="541725" y="140243"/>
                </a:cubicBezTo>
                <a:cubicBezTo>
                  <a:pt x="543563" y="138442"/>
                  <a:pt x="551088" y="136709"/>
                  <a:pt x="546240" y="133975"/>
                </a:cubicBezTo>
                <a:close/>
                <a:moveTo>
                  <a:pt x="552326" y="111906"/>
                </a:moveTo>
                <a:cubicBezTo>
                  <a:pt x="553593" y="115763"/>
                  <a:pt x="547354" y="115792"/>
                  <a:pt x="550240" y="117344"/>
                </a:cubicBezTo>
                <a:cubicBezTo>
                  <a:pt x="550659" y="116059"/>
                  <a:pt x="552240" y="116392"/>
                  <a:pt x="553812" y="116792"/>
                </a:cubicBezTo>
                <a:cubicBezTo>
                  <a:pt x="554574" y="114201"/>
                  <a:pt x="554269" y="112430"/>
                  <a:pt x="552336" y="111829"/>
                </a:cubicBezTo>
                <a:close/>
                <a:moveTo>
                  <a:pt x="559460" y="49345"/>
                </a:moveTo>
                <a:cubicBezTo>
                  <a:pt x="557975" y="49079"/>
                  <a:pt x="558765" y="47193"/>
                  <a:pt x="557555" y="46707"/>
                </a:cubicBezTo>
                <a:cubicBezTo>
                  <a:pt x="557155" y="47545"/>
                  <a:pt x="556384" y="47860"/>
                  <a:pt x="555108" y="47460"/>
                </a:cubicBezTo>
                <a:cubicBezTo>
                  <a:pt x="553964" y="51508"/>
                  <a:pt x="557936" y="51422"/>
                  <a:pt x="559470" y="49269"/>
                </a:cubicBezTo>
                <a:close/>
                <a:moveTo>
                  <a:pt x="558270" y="70015"/>
                </a:moveTo>
                <a:cubicBezTo>
                  <a:pt x="559118" y="67948"/>
                  <a:pt x="561832" y="68519"/>
                  <a:pt x="561480" y="64766"/>
                </a:cubicBezTo>
                <a:cubicBezTo>
                  <a:pt x="558822" y="64871"/>
                  <a:pt x="555346" y="66024"/>
                  <a:pt x="553593" y="63423"/>
                </a:cubicBezTo>
                <a:cubicBezTo>
                  <a:pt x="553193" y="64719"/>
                  <a:pt x="553241" y="66652"/>
                  <a:pt x="551898" y="66614"/>
                </a:cubicBezTo>
                <a:cubicBezTo>
                  <a:pt x="552374" y="71377"/>
                  <a:pt x="555708" y="71853"/>
                  <a:pt x="552431" y="77139"/>
                </a:cubicBezTo>
                <a:cubicBezTo>
                  <a:pt x="557584" y="79197"/>
                  <a:pt x="557670" y="74149"/>
                  <a:pt x="558279" y="69939"/>
                </a:cubicBezTo>
                <a:close/>
                <a:moveTo>
                  <a:pt x="563385" y="121897"/>
                </a:moveTo>
                <a:cubicBezTo>
                  <a:pt x="562070" y="120507"/>
                  <a:pt x="560299" y="119459"/>
                  <a:pt x="559441" y="117745"/>
                </a:cubicBezTo>
                <a:cubicBezTo>
                  <a:pt x="562099" y="118183"/>
                  <a:pt x="559556" y="114601"/>
                  <a:pt x="557536" y="115106"/>
                </a:cubicBezTo>
                <a:cubicBezTo>
                  <a:pt x="558287" y="117804"/>
                  <a:pt x="557794" y="120695"/>
                  <a:pt x="556193" y="122993"/>
                </a:cubicBezTo>
                <a:cubicBezTo>
                  <a:pt x="558650" y="123589"/>
                  <a:pt x="561244" y="123167"/>
                  <a:pt x="563385" y="121821"/>
                </a:cubicBezTo>
                <a:close/>
                <a:moveTo>
                  <a:pt x="571129" y="42049"/>
                </a:moveTo>
                <a:cubicBezTo>
                  <a:pt x="568271" y="39716"/>
                  <a:pt x="567195" y="46393"/>
                  <a:pt x="569224" y="46374"/>
                </a:cubicBezTo>
                <a:cubicBezTo>
                  <a:pt x="569274" y="44715"/>
                  <a:pt x="569959" y="43140"/>
                  <a:pt x="571138" y="41973"/>
                </a:cubicBezTo>
                <a:close/>
                <a:moveTo>
                  <a:pt x="592274" y="74625"/>
                </a:moveTo>
                <a:cubicBezTo>
                  <a:pt x="594055" y="74815"/>
                  <a:pt x="596151" y="75434"/>
                  <a:pt x="596027" y="72939"/>
                </a:cubicBezTo>
                <a:lnTo>
                  <a:pt x="593779" y="72558"/>
                </a:lnTo>
                <a:cubicBezTo>
                  <a:pt x="593598" y="73615"/>
                  <a:pt x="592646" y="73672"/>
                  <a:pt x="592284" y="74549"/>
                </a:cubicBezTo>
                <a:close/>
                <a:moveTo>
                  <a:pt x="584873" y="97713"/>
                </a:moveTo>
                <a:cubicBezTo>
                  <a:pt x="584959" y="95675"/>
                  <a:pt x="586969" y="92265"/>
                  <a:pt x="583387" y="92827"/>
                </a:cubicBezTo>
                <a:cubicBezTo>
                  <a:pt x="582644" y="95266"/>
                  <a:pt x="582949" y="97009"/>
                  <a:pt x="584883" y="97637"/>
                </a:cubicBezTo>
                <a:close/>
                <a:moveTo>
                  <a:pt x="572767" y="128117"/>
                </a:moveTo>
                <a:lnTo>
                  <a:pt x="575015" y="128498"/>
                </a:lnTo>
                <a:cubicBezTo>
                  <a:pt x="575148" y="127755"/>
                  <a:pt x="575272" y="127003"/>
                  <a:pt x="575405" y="126250"/>
                </a:cubicBezTo>
                <a:lnTo>
                  <a:pt x="573148" y="125869"/>
                </a:lnTo>
                <a:cubicBezTo>
                  <a:pt x="573024" y="126536"/>
                  <a:pt x="572910" y="127289"/>
                  <a:pt x="572776" y="128041"/>
                </a:cubicBezTo>
                <a:close/>
                <a:moveTo>
                  <a:pt x="574224" y="139966"/>
                </a:moveTo>
                <a:cubicBezTo>
                  <a:pt x="571005" y="135899"/>
                  <a:pt x="570109" y="143548"/>
                  <a:pt x="574224" y="139966"/>
                </a:cubicBezTo>
                <a:close/>
                <a:moveTo>
                  <a:pt x="578034" y="131327"/>
                </a:moveTo>
                <a:cubicBezTo>
                  <a:pt x="573100" y="130708"/>
                  <a:pt x="575643" y="132937"/>
                  <a:pt x="574815" y="136585"/>
                </a:cubicBezTo>
                <a:cubicBezTo>
                  <a:pt x="579311" y="137442"/>
                  <a:pt x="578282" y="134156"/>
                  <a:pt x="578025" y="131299"/>
                </a:cubicBezTo>
                <a:close/>
                <a:moveTo>
                  <a:pt x="594455" y="102724"/>
                </a:moveTo>
                <a:cubicBezTo>
                  <a:pt x="591598" y="102419"/>
                  <a:pt x="591255" y="100361"/>
                  <a:pt x="589198" y="99504"/>
                </a:cubicBezTo>
                <a:cubicBezTo>
                  <a:pt x="589521" y="103590"/>
                  <a:pt x="586807" y="103076"/>
                  <a:pt x="585435" y="101190"/>
                </a:cubicBezTo>
                <a:cubicBezTo>
                  <a:pt x="583997" y="103095"/>
                  <a:pt x="588178" y="105524"/>
                  <a:pt x="584673" y="105695"/>
                </a:cubicBezTo>
                <a:cubicBezTo>
                  <a:pt x="583721" y="102733"/>
                  <a:pt x="580673" y="101266"/>
                  <a:pt x="577548" y="99857"/>
                </a:cubicBezTo>
                <a:cubicBezTo>
                  <a:pt x="576929" y="101943"/>
                  <a:pt x="578396" y="102552"/>
                  <a:pt x="577901" y="104552"/>
                </a:cubicBezTo>
                <a:cubicBezTo>
                  <a:pt x="579558" y="105029"/>
                  <a:pt x="582139" y="104857"/>
                  <a:pt x="582225" y="106457"/>
                </a:cubicBezTo>
                <a:cubicBezTo>
                  <a:pt x="580141" y="108984"/>
                  <a:pt x="578484" y="111835"/>
                  <a:pt x="577320" y="114897"/>
                </a:cubicBezTo>
                <a:cubicBezTo>
                  <a:pt x="580320" y="116392"/>
                  <a:pt x="581330" y="119316"/>
                  <a:pt x="585759" y="119802"/>
                </a:cubicBezTo>
                <a:cubicBezTo>
                  <a:pt x="586159" y="118973"/>
                  <a:pt x="586169" y="117583"/>
                  <a:pt x="587264" y="117745"/>
                </a:cubicBezTo>
                <a:cubicBezTo>
                  <a:pt x="588187" y="115075"/>
                  <a:pt x="587287" y="112115"/>
                  <a:pt x="585035" y="110410"/>
                </a:cubicBezTo>
                <a:cubicBezTo>
                  <a:pt x="583349" y="110829"/>
                  <a:pt x="584130" y="114716"/>
                  <a:pt x="582016" y="114535"/>
                </a:cubicBezTo>
                <a:cubicBezTo>
                  <a:pt x="582206" y="113401"/>
                  <a:pt x="581330" y="113039"/>
                  <a:pt x="581273" y="112087"/>
                </a:cubicBezTo>
                <a:cubicBezTo>
                  <a:pt x="583178" y="110515"/>
                  <a:pt x="583635" y="107038"/>
                  <a:pt x="585607" y="107029"/>
                </a:cubicBezTo>
                <a:cubicBezTo>
                  <a:pt x="585692" y="107029"/>
                  <a:pt x="586350" y="109239"/>
                  <a:pt x="587664" y="108534"/>
                </a:cubicBezTo>
                <a:cubicBezTo>
                  <a:pt x="588521" y="108077"/>
                  <a:pt x="587664" y="104657"/>
                  <a:pt x="589369" y="105343"/>
                </a:cubicBezTo>
                <a:cubicBezTo>
                  <a:pt x="589845" y="107248"/>
                  <a:pt x="588664" y="110782"/>
                  <a:pt x="592369" y="108200"/>
                </a:cubicBezTo>
                <a:cubicBezTo>
                  <a:pt x="587864" y="105867"/>
                  <a:pt x="593865" y="105743"/>
                  <a:pt x="594455" y="102724"/>
                </a:cubicBezTo>
                <a:close/>
                <a:moveTo>
                  <a:pt x="606838" y="97866"/>
                </a:moveTo>
                <a:cubicBezTo>
                  <a:pt x="602723" y="96475"/>
                  <a:pt x="590293" y="89627"/>
                  <a:pt x="592922" y="97866"/>
                </a:cubicBezTo>
                <a:cubicBezTo>
                  <a:pt x="595084" y="98580"/>
                  <a:pt x="595417" y="96723"/>
                  <a:pt x="596732" y="96189"/>
                </a:cubicBezTo>
                <a:cubicBezTo>
                  <a:pt x="596541" y="97980"/>
                  <a:pt x="595913" y="100066"/>
                  <a:pt x="598408" y="99952"/>
                </a:cubicBezTo>
                <a:cubicBezTo>
                  <a:pt x="599180" y="98047"/>
                  <a:pt x="597218" y="96780"/>
                  <a:pt x="598989" y="96570"/>
                </a:cubicBezTo>
                <a:cubicBezTo>
                  <a:pt x="604190" y="96504"/>
                  <a:pt x="597294" y="105029"/>
                  <a:pt x="602151" y="105229"/>
                </a:cubicBezTo>
                <a:cubicBezTo>
                  <a:pt x="604628" y="103438"/>
                  <a:pt x="601828" y="103066"/>
                  <a:pt x="603104" y="99590"/>
                </a:cubicBezTo>
                <a:cubicBezTo>
                  <a:pt x="604487" y="99355"/>
                  <a:pt x="605785" y="98767"/>
                  <a:pt x="606876" y="97885"/>
                </a:cubicBezTo>
                <a:close/>
                <a:moveTo>
                  <a:pt x="487289" y="379025"/>
                </a:moveTo>
                <a:cubicBezTo>
                  <a:pt x="487509" y="380225"/>
                  <a:pt x="486337" y="379653"/>
                  <a:pt x="485975" y="379977"/>
                </a:cubicBezTo>
                <a:cubicBezTo>
                  <a:pt x="483822" y="381635"/>
                  <a:pt x="486127" y="384816"/>
                  <a:pt x="487651" y="383787"/>
                </a:cubicBezTo>
                <a:cubicBezTo>
                  <a:pt x="488528" y="383102"/>
                  <a:pt x="488137" y="378806"/>
                  <a:pt x="487289" y="379025"/>
                </a:cubicBezTo>
                <a:close/>
                <a:moveTo>
                  <a:pt x="491185" y="397046"/>
                </a:moveTo>
                <a:cubicBezTo>
                  <a:pt x="487756" y="395055"/>
                  <a:pt x="488899" y="402952"/>
                  <a:pt x="491738" y="400628"/>
                </a:cubicBezTo>
                <a:cubicBezTo>
                  <a:pt x="492776" y="399799"/>
                  <a:pt x="491595" y="397313"/>
                  <a:pt x="491185" y="397046"/>
                </a:cubicBezTo>
                <a:close/>
                <a:moveTo>
                  <a:pt x="511121" y="388845"/>
                </a:moveTo>
                <a:cubicBezTo>
                  <a:pt x="510950" y="389521"/>
                  <a:pt x="510730" y="390150"/>
                  <a:pt x="509807" y="389798"/>
                </a:cubicBezTo>
                <a:cubicBezTo>
                  <a:pt x="509683" y="390550"/>
                  <a:pt x="509559" y="391293"/>
                  <a:pt x="509426" y="392045"/>
                </a:cubicBezTo>
                <a:cubicBezTo>
                  <a:pt x="512226" y="392674"/>
                  <a:pt x="512588" y="394798"/>
                  <a:pt x="514121" y="391684"/>
                </a:cubicBezTo>
                <a:cubicBezTo>
                  <a:pt x="511854" y="391655"/>
                  <a:pt x="512150" y="389798"/>
                  <a:pt x="511121" y="388874"/>
                </a:cubicBezTo>
                <a:close/>
                <a:moveTo>
                  <a:pt x="520303" y="334753"/>
                </a:moveTo>
                <a:cubicBezTo>
                  <a:pt x="517084" y="331790"/>
                  <a:pt x="513969" y="335010"/>
                  <a:pt x="512026" y="335705"/>
                </a:cubicBezTo>
                <a:cubicBezTo>
                  <a:pt x="512521" y="335534"/>
                  <a:pt x="510473" y="333800"/>
                  <a:pt x="510721" y="336658"/>
                </a:cubicBezTo>
                <a:cubicBezTo>
                  <a:pt x="510473" y="338153"/>
                  <a:pt x="512521" y="338020"/>
                  <a:pt x="512626" y="339296"/>
                </a:cubicBezTo>
                <a:cubicBezTo>
                  <a:pt x="515760" y="338629"/>
                  <a:pt x="519313" y="338496"/>
                  <a:pt x="520303" y="334781"/>
                </a:cubicBezTo>
                <a:close/>
                <a:moveTo>
                  <a:pt x="535486" y="347764"/>
                </a:moveTo>
                <a:cubicBezTo>
                  <a:pt x="534762" y="345478"/>
                  <a:pt x="539506" y="344563"/>
                  <a:pt x="536258" y="343249"/>
                </a:cubicBezTo>
                <a:cubicBezTo>
                  <a:pt x="535810" y="343916"/>
                  <a:pt x="532714" y="347145"/>
                  <a:pt x="535486" y="347792"/>
                </a:cubicBezTo>
                <a:close/>
                <a:moveTo>
                  <a:pt x="530247" y="337601"/>
                </a:moveTo>
                <a:cubicBezTo>
                  <a:pt x="530123" y="338353"/>
                  <a:pt x="530000" y="339096"/>
                  <a:pt x="529866" y="339848"/>
                </a:cubicBezTo>
                <a:cubicBezTo>
                  <a:pt x="525904" y="338896"/>
                  <a:pt x="522989" y="339467"/>
                  <a:pt x="521408" y="341896"/>
                </a:cubicBezTo>
                <a:cubicBezTo>
                  <a:pt x="522265" y="343801"/>
                  <a:pt x="523970" y="342001"/>
                  <a:pt x="524789" y="342468"/>
                </a:cubicBezTo>
                <a:cubicBezTo>
                  <a:pt x="525609" y="342935"/>
                  <a:pt x="525409" y="345802"/>
                  <a:pt x="527790" y="345325"/>
                </a:cubicBezTo>
                <a:cubicBezTo>
                  <a:pt x="530247" y="342544"/>
                  <a:pt x="535762" y="340782"/>
                  <a:pt x="530247" y="337629"/>
                </a:cubicBezTo>
                <a:close/>
                <a:moveTo>
                  <a:pt x="553964" y="259305"/>
                </a:moveTo>
                <a:cubicBezTo>
                  <a:pt x="551374" y="258505"/>
                  <a:pt x="554203" y="253857"/>
                  <a:pt x="550231" y="254038"/>
                </a:cubicBezTo>
                <a:cubicBezTo>
                  <a:pt x="548545" y="258172"/>
                  <a:pt x="546973" y="262172"/>
                  <a:pt x="550755" y="264515"/>
                </a:cubicBezTo>
                <a:cubicBezTo>
                  <a:pt x="551069" y="261791"/>
                  <a:pt x="553126" y="261401"/>
                  <a:pt x="553964" y="259334"/>
                </a:cubicBezTo>
                <a:close/>
                <a:moveTo>
                  <a:pt x="561480" y="255981"/>
                </a:moveTo>
                <a:cubicBezTo>
                  <a:pt x="558622" y="253638"/>
                  <a:pt x="557536" y="260315"/>
                  <a:pt x="559575" y="260296"/>
                </a:cubicBezTo>
                <a:cubicBezTo>
                  <a:pt x="560222" y="258829"/>
                  <a:pt x="561575" y="258419"/>
                  <a:pt x="561480" y="255981"/>
                </a:cubicBezTo>
                <a:close/>
                <a:moveTo>
                  <a:pt x="567509" y="247723"/>
                </a:moveTo>
                <a:lnTo>
                  <a:pt x="565261" y="247342"/>
                </a:lnTo>
                <a:lnTo>
                  <a:pt x="564880" y="249599"/>
                </a:lnTo>
                <a:lnTo>
                  <a:pt x="567128" y="249980"/>
                </a:lnTo>
                <a:close/>
                <a:moveTo>
                  <a:pt x="581882" y="224644"/>
                </a:moveTo>
                <a:cubicBezTo>
                  <a:pt x="578425" y="223043"/>
                  <a:pt x="579025" y="227177"/>
                  <a:pt x="576805" y="227263"/>
                </a:cubicBezTo>
                <a:cubicBezTo>
                  <a:pt x="576853" y="226568"/>
                  <a:pt x="576863" y="225901"/>
                  <a:pt x="575853" y="225949"/>
                </a:cubicBezTo>
                <a:cubicBezTo>
                  <a:pt x="575758" y="227663"/>
                  <a:pt x="574739" y="230035"/>
                  <a:pt x="576215" y="230644"/>
                </a:cubicBezTo>
                <a:cubicBezTo>
                  <a:pt x="577444" y="227720"/>
                  <a:pt x="581416" y="228644"/>
                  <a:pt x="581882" y="224644"/>
                </a:cubicBezTo>
                <a:close/>
                <a:moveTo>
                  <a:pt x="609905" y="216652"/>
                </a:moveTo>
                <a:cubicBezTo>
                  <a:pt x="609705" y="216262"/>
                  <a:pt x="608000" y="216566"/>
                  <a:pt x="607657" y="216271"/>
                </a:cubicBezTo>
                <a:cubicBezTo>
                  <a:pt x="607505" y="216138"/>
                  <a:pt x="607104" y="214366"/>
                  <a:pt x="606523" y="216071"/>
                </a:cubicBezTo>
                <a:cubicBezTo>
                  <a:pt x="606628" y="215776"/>
                  <a:pt x="608276" y="218710"/>
                  <a:pt x="608428" y="218710"/>
                </a:cubicBezTo>
                <a:cubicBezTo>
                  <a:pt x="608858" y="217984"/>
                  <a:pt x="609351" y="217298"/>
                  <a:pt x="609905" y="216662"/>
                </a:cubicBezTo>
                <a:close/>
                <a:moveTo>
                  <a:pt x="660387" y="103486"/>
                </a:moveTo>
                <a:cubicBezTo>
                  <a:pt x="662454" y="101337"/>
                  <a:pt x="664726" y="99394"/>
                  <a:pt x="667169" y="97685"/>
                </a:cubicBezTo>
                <a:cubicBezTo>
                  <a:pt x="664283" y="97866"/>
                  <a:pt x="657463" y="99704"/>
                  <a:pt x="660406" y="103495"/>
                </a:cubicBezTo>
                <a:close/>
                <a:moveTo>
                  <a:pt x="662292" y="92218"/>
                </a:moveTo>
                <a:lnTo>
                  <a:pt x="657787" y="91456"/>
                </a:lnTo>
                <a:cubicBezTo>
                  <a:pt x="656949" y="95104"/>
                  <a:pt x="662340" y="96799"/>
                  <a:pt x="662321" y="92246"/>
                </a:cubicBezTo>
                <a:close/>
                <a:moveTo>
                  <a:pt x="650862" y="91427"/>
                </a:moveTo>
                <a:lnTo>
                  <a:pt x="653120" y="91817"/>
                </a:lnTo>
                <a:cubicBezTo>
                  <a:pt x="653434" y="90389"/>
                  <a:pt x="654834" y="90503"/>
                  <a:pt x="654825" y="88627"/>
                </a:cubicBezTo>
                <a:lnTo>
                  <a:pt x="651434" y="88055"/>
                </a:lnTo>
                <a:close/>
                <a:moveTo>
                  <a:pt x="650653" y="99514"/>
                </a:moveTo>
                <a:cubicBezTo>
                  <a:pt x="651311" y="98067"/>
                  <a:pt x="652949" y="97342"/>
                  <a:pt x="654463" y="97828"/>
                </a:cubicBezTo>
                <a:cubicBezTo>
                  <a:pt x="654384" y="95807"/>
                  <a:pt x="655134" y="93842"/>
                  <a:pt x="656539" y="92389"/>
                </a:cubicBezTo>
                <a:cubicBezTo>
                  <a:pt x="655806" y="92389"/>
                  <a:pt x="655015" y="91932"/>
                  <a:pt x="654291" y="92008"/>
                </a:cubicBezTo>
                <a:cubicBezTo>
                  <a:pt x="652739" y="92151"/>
                  <a:pt x="653625" y="92913"/>
                  <a:pt x="652777" y="94065"/>
                </a:cubicBezTo>
                <a:cubicBezTo>
                  <a:pt x="652177" y="94885"/>
                  <a:pt x="651615" y="93818"/>
                  <a:pt x="652586" y="95199"/>
                </a:cubicBezTo>
                <a:cubicBezTo>
                  <a:pt x="652977" y="95751"/>
                  <a:pt x="650129" y="96694"/>
                  <a:pt x="649948" y="97104"/>
                </a:cubicBezTo>
                <a:cubicBezTo>
                  <a:pt x="649557" y="97780"/>
                  <a:pt x="649910" y="99476"/>
                  <a:pt x="650643" y="99523"/>
                </a:cubicBezTo>
                <a:close/>
                <a:moveTo>
                  <a:pt x="648157" y="66624"/>
                </a:moveTo>
                <a:cubicBezTo>
                  <a:pt x="652196" y="61776"/>
                  <a:pt x="644928" y="63271"/>
                  <a:pt x="648157" y="66624"/>
                </a:cubicBezTo>
                <a:close/>
                <a:moveTo>
                  <a:pt x="647481" y="104724"/>
                </a:moveTo>
                <a:cubicBezTo>
                  <a:pt x="647176" y="106153"/>
                  <a:pt x="645776" y="106038"/>
                  <a:pt x="645776" y="107915"/>
                </a:cubicBezTo>
                <a:cubicBezTo>
                  <a:pt x="648681" y="108277"/>
                  <a:pt x="650072" y="106515"/>
                  <a:pt x="651996" y="105486"/>
                </a:cubicBezTo>
                <a:cubicBezTo>
                  <a:pt x="649748" y="104438"/>
                  <a:pt x="649243" y="102152"/>
                  <a:pt x="645614" y="102085"/>
                </a:cubicBezTo>
                <a:cubicBezTo>
                  <a:pt x="643909" y="106934"/>
                  <a:pt x="647957" y="101609"/>
                  <a:pt x="647433" y="104771"/>
                </a:cubicBezTo>
                <a:close/>
                <a:moveTo>
                  <a:pt x="645204" y="111296"/>
                </a:moveTo>
                <a:cubicBezTo>
                  <a:pt x="645500" y="112068"/>
                  <a:pt x="649214" y="111353"/>
                  <a:pt x="648395" y="113001"/>
                </a:cubicBezTo>
                <a:cubicBezTo>
                  <a:pt x="647700" y="112944"/>
                  <a:pt x="647043" y="112934"/>
                  <a:pt x="647081" y="113954"/>
                </a:cubicBezTo>
                <a:cubicBezTo>
                  <a:pt x="650205" y="115859"/>
                  <a:pt x="652729" y="110029"/>
                  <a:pt x="650291" y="108705"/>
                </a:cubicBezTo>
                <a:cubicBezTo>
                  <a:pt x="650234" y="111982"/>
                  <a:pt x="644414" y="109324"/>
                  <a:pt x="645157" y="111344"/>
                </a:cubicBezTo>
                <a:close/>
                <a:moveTo>
                  <a:pt x="631384" y="83445"/>
                </a:moveTo>
                <a:cubicBezTo>
                  <a:pt x="635270" y="82664"/>
                  <a:pt x="631622" y="87255"/>
                  <a:pt x="635508" y="86464"/>
                </a:cubicBezTo>
                <a:cubicBezTo>
                  <a:pt x="636232" y="84302"/>
                  <a:pt x="634365" y="83969"/>
                  <a:pt x="633832" y="82702"/>
                </a:cubicBezTo>
                <a:cubicBezTo>
                  <a:pt x="634917" y="79921"/>
                  <a:pt x="635994" y="79006"/>
                  <a:pt x="633660" y="76873"/>
                </a:cubicBezTo>
                <a:cubicBezTo>
                  <a:pt x="633742" y="79292"/>
                  <a:pt x="632912" y="81655"/>
                  <a:pt x="631336" y="83493"/>
                </a:cubicBezTo>
                <a:close/>
                <a:moveTo>
                  <a:pt x="617392" y="97361"/>
                </a:moveTo>
                <a:lnTo>
                  <a:pt x="617782" y="95104"/>
                </a:lnTo>
                <a:cubicBezTo>
                  <a:pt x="617668" y="94151"/>
                  <a:pt x="618115" y="92875"/>
                  <a:pt x="617030" y="92656"/>
                </a:cubicBezTo>
                <a:cubicBezTo>
                  <a:pt x="616944" y="94370"/>
                  <a:pt x="615925" y="96751"/>
                  <a:pt x="617392" y="97361"/>
                </a:cubicBezTo>
                <a:close/>
                <a:moveTo>
                  <a:pt x="613248" y="101295"/>
                </a:moveTo>
                <a:cubicBezTo>
                  <a:pt x="613172" y="103981"/>
                  <a:pt x="613581" y="106343"/>
                  <a:pt x="615677" y="107505"/>
                </a:cubicBezTo>
                <a:cubicBezTo>
                  <a:pt x="615934" y="106000"/>
                  <a:pt x="616182" y="104495"/>
                  <a:pt x="616439" y="102990"/>
                </a:cubicBezTo>
                <a:cubicBezTo>
                  <a:pt x="615213" y="102805"/>
                  <a:pt x="614088" y="102206"/>
                  <a:pt x="613248" y="101295"/>
                </a:cubicBezTo>
                <a:close/>
                <a:moveTo>
                  <a:pt x="611343" y="119516"/>
                </a:moveTo>
                <a:cubicBezTo>
                  <a:pt x="609171" y="119402"/>
                  <a:pt x="609076" y="117821"/>
                  <a:pt x="607028" y="117611"/>
                </a:cubicBezTo>
                <a:cubicBezTo>
                  <a:pt x="606924" y="119011"/>
                  <a:pt x="606914" y="120335"/>
                  <a:pt x="608933" y="120250"/>
                </a:cubicBezTo>
                <a:cubicBezTo>
                  <a:pt x="608829" y="121650"/>
                  <a:pt x="608819" y="122974"/>
                  <a:pt x="610838" y="122878"/>
                </a:cubicBezTo>
                <a:close/>
                <a:moveTo>
                  <a:pt x="612800" y="199755"/>
                </a:moveTo>
                <a:cubicBezTo>
                  <a:pt x="612924" y="199002"/>
                  <a:pt x="613058" y="198250"/>
                  <a:pt x="613181" y="197497"/>
                </a:cubicBezTo>
                <a:cubicBezTo>
                  <a:pt x="614515" y="191382"/>
                  <a:pt x="609562" y="199440"/>
                  <a:pt x="612772" y="199755"/>
                </a:cubicBezTo>
                <a:close/>
                <a:moveTo>
                  <a:pt x="613572" y="126850"/>
                </a:moveTo>
                <a:cubicBezTo>
                  <a:pt x="612229" y="130060"/>
                  <a:pt x="611276" y="132175"/>
                  <a:pt x="612429" y="133604"/>
                </a:cubicBezTo>
                <a:cubicBezTo>
                  <a:pt x="614514" y="132575"/>
                  <a:pt x="615371" y="130051"/>
                  <a:pt x="614342" y="127966"/>
                </a:cubicBezTo>
                <a:cubicBezTo>
                  <a:pt x="614139" y="127552"/>
                  <a:pt x="613869" y="127176"/>
                  <a:pt x="613543" y="126850"/>
                </a:cubicBezTo>
                <a:close/>
                <a:moveTo>
                  <a:pt x="615867" y="113325"/>
                </a:moveTo>
                <a:cubicBezTo>
                  <a:pt x="616153" y="112763"/>
                  <a:pt x="619677" y="112306"/>
                  <a:pt x="617372" y="111258"/>
                </a:cubicBezTo>
                <a:cubicBezTo>
                  <a:pt x="617201" y="111934"/>
                  <a:pt x="616982" y="112563"/>
                  <a:pt x="616058" y="112210"/>
                </a:cubicBezTo>
                <a:cubicBezTo>
                  <a:pt x="615840" y="110816"/>
                  <a:pt x="615262" y="109503"/>
                  <a:pt x="614382" y="108400"/>
                </a:cubicBezTo>
                <a:cubicBezTo>
                  <a:pt x="615086" y="113582"/>
                  <a:pt x="609619" y="110058"/>
                  <a:pt x="609857" y="114592"/>
                </a:cubicBezTo>
                <a:cubicBezTo>
                  <a:pt x="612648" y="114592"/>
                  <a:pt x="611953" y="117068"/>
                  <a:pt x="615296" y="116678"/>
                </a:cubicBezTo>
                <a:cubicBezTo>
                  <a:pt x="617172" y="115773"/>
                  <a:pt x="615382" y="114239"/>
                  <a:pt x="615839" y="113325"/>
                </a:cubicBezTo>
                <a:close/>
                <a:moveTo>
                  <a:pt x="621468" y="189630"/>
                </a:moveTo>
                <a:cubicBezTo>
                  <a:pt x="621659" y="188953"/>
                  <a:pt x="621868" y="188325"/>
                  <a:pt x="622802" y="188677"/>
                </a:cubicBezTo>
                <a:cubicBezTo>
                  <a:pt x="622618" y="189908"/>
                  <a:pt x="622011" y="191036"/>
                  <a:pt x="621087" y="191868"/>
                </a:cubicBezTo>
                <a:cubicBezTo>
                  <a:pt x="623345" y="192916"/>
                  <a:pt x="623830" y="195211"/>
                  <a:pt x="627469" y="195268"/>
                </a:cubicBezTo>
                <a:cubicBezTo>
                  <a:pt x="628079" y="193802"/>
                  <a:pt x="629441" y="193363"/>
                  <a:pt x="629374" y="190954"/>
                </a:cubicBezTo>
                <a:cubicBezTo>
                  <a:pt x="628231" y="190049"/>
                  <a:pt x="626278" y="191830"/>
                  <a:pt x="625802" y="191506"/>
                </a:cubicBezTo>
                <a:cubicBezTo>
                  <a:pt x="625107" y="191030"/>
                  <a:pt x="625802" y="188401"/>
                  <a:pt x="625250" y="187934"/>
                </a:cubicBezTo>
                <a:cubicBezTo>
                  <a:pt x="623392" y="186315"/>
                  <a:pt x="618896" y="185934"/>
                  <a:pt x="621487" y="189630"/>
                </a:cubicBezTo>
                <a:close/>
                <a:moveTo>
                  <a:pt x="632584" y="117316"/>
                </a:moveTo>
                <a:cubicBezTo>
                  <a:pt x="632651" y="116087"/>
                  <a:pt x="633679" y="113973"/>
                  <a:pt x="633355" y="112811"/>
                </a:cubicBezTo>
                <a:cubicBezTo>
                  <a:pt x="633174" y="112220"/>
                  <a:pt x="630603" y="112553"/>
                  <a:pt x="631288" y="111296"/>
                </a:cubicBezTo>
                <a:cubicBezTo>
                  <a:pt x="633032" y="112125"/>
                  <a:pt x="634146" y="105476"/>
                  <a:pt x="632241" y="105667"/>
                </a:cubicBezTo>
                <a:cubicBezTo>
                  <a:pt x="630993" y="108391"/>
                  <a:pt x="629193" y="100961"/>
                  <a:pt x="627536" y="106029"/>
                </a:cubicBezTo>
                <a:cubicBezTo>
                  <a:pt x="629603" y="106553"/>
                  <a:pt x="627593" y="109963"/>
                  <a:pt x="629031" y="110915"/>
                </a:cubicBezTo>
                <a:cubicBezTo>
                  <a:pt x="626040" y="110420"/>
                  <a:pt x="622668" y="109401"/>
                  <a:pt x="620954" y="110706"/>
                </a:cubicBezTo>
                <a:cubicBezTo>
                  <a:pt x="620773" y="106600"/>
                  <a:pt x="624764" y="106162"/>
                  <a:pt x="626040" y="108096"/>
                </a:cubicBezTo>
                <a:cubicBezTo>
                  <a:pt x="627298" y="105238"/>
                  <a:pt x="624326" y="106419"/>
                  <a:pt x="623040" y="105238"/>
                </a:cubicBezTo>
                <a:cubicBezTo>
                  <a:pt x="622373" y="104648"/>
                  <a:pt x="622564" y="102724"/>
                  <a:pt x="621135" y="102600"/>
                </a:cubicBezTo>
                <a:cubicBezTo>
                  <a:pt x="620249" y="104667"/>
                  <a:pt x="623792" y="108039"/>
                  <a:pt x="619230" y="106915"/>
                </a:cubicBezTo>
                <a:cubicBezTo>
                  <a:pt x="617811" y="110248"/>
                  <a:pt x="621963" y="109610"/>
                  <a:pt x="620535" y="112934"/>
                </a:cubicBezTo>
                <a:cubicBezTo>
                  <a:pt x="620182" y="118707"/>
                  <a:pt x="614410" y="121412"/>
                  <a:pt x="618049" y="127584"/>
                </a:cubicBezTo>
                <a:cubicBezTo>
                  <a:pt x="620106" y="127231"/>
                  <a:pt x="618858" y="122221"/>
                  <a:pt x="621259" y="122336"/>
                </a:cubicBezTo>
                <a:cubicBezTo>
                  <a:pt x="621259" y="123736"/>
                  <a:pt x="622392" y="123240"/>
                  <a:pt x="623516" y="122717"/>
                </a:cubicBezTo>
                <a:cubicBezTo>
                  <a:pt x="623328" y="123943"/>
                  <a:pt x="622726" y="125069"/>
                  <a:pt x="621811" y="125907"/>
                </a:cubicBezTo>
                <a:cubicBezTo>
                  <a:pt x="625764" y="125336"/>
                  <a:pt x="625621" y="126908"/>
                  <a:pt x="629888" y="126117"/>
                </a:cubicBezTo>
                <a:cubicBezTo>
                  <a:pt x="630326" y="124726"/>
                  <a:pt x="630250" y="121535"/>
                  <a:pt x="631793" y="121793"/>
                </a:cubicBezTo>
                <a:cubicBezTo>
                  <a:pt x="634165" y="122231"/>
                  <a:pt x="632479" y="118668"/>
                  <a:pt x="632555" y="117316"/>
                </a:cubicBezTo>
                <a:close/>
                <a:moveTo>
                  <a:pt x="641633" y="97961"/>
                </a:moveTo>
                <a:cubicBezTo>
                  <a:pt x="640075" y="97481"/>
                  <a:pt x="638393" y="97611"/>
                  <a:pt x="636927" y="98323"/>
                </a:cubicBezTo>
                <a:cubicBezTo>
                  <a:pt x="636823" y="97371"/>
                  <a:pt x="637280" y="96094"/>
                  <a:pt x="636194" y="95885"/>
                </a:cubicBezTo>
                <a:cubicBezTo>
                  <a:pt x="635641" y="97437"/>
                  <a:pt x="634003" y="97466"/>
                  <a:pt x="633336" y="98875"/>
                </a:cubicBezTo>
                <a:cubicBezTo>
                  <a:pt x="637108" y="98133"/>
                  <a:pt x="638108" y="100333"/>
                  <a:pt x="641633" y="97961"/>
                </a:cubicBezTo>
                <a:close/>
                <a:moveTo>
                  <a:pt x="646843" y="115106"/>
                </a:moveTo>
                <a:cubicBezTo>
                  <a:pt x="644242" y="114306"/>
                  <a:pt x="645414" y="110839"/>
                  <a:pt x="641785" y="110772"/>
                </a:cubicBezTo>
                <a:cubicBezTo>
                  <a:pt x="639937" y="114982"/>
                  <a:pt x="645004" y="119354"/>
                  <a:pt x="646843" y="115106"/>
                </a:cubicBezTo>
                <a:close/>
                <a:moveTo>
                  <a:pt x="653691" y="149891"/>
                </a:moveTo>
                <a:cubicBezTo>
                  <a:pt x="653053" y="152663"/>
                  <a:pt x="649824" y="149568"/>
                  <a:pt x="649186" y="149120"/>
                </a:cubicBezTo>
                <a:cubicBezTo>
                  <a:pt x="648395" y="151692"/>
                  <a:pt x="645957" y="153568"/>
                  <a:pt x="649357" y="154949"/>
                </a:cubicBezTo>
                <a:cubicBezTo>
                  <a:pt x="649643" y="152425"/>
                  <a:pt x="657196" y="153139"/>
                  <a:pt x="653691" y="149891"/>
                </a:cubicBezTo>
                <a:close/>
                <a:moveTo>
                  <a:pt x="651634" y="148386"/>
                </a:moveTo>
                <a:cubicBezTo>
                  <a:pt x="655358" y="141538"/>
                  <a:pt x="648091" y="144681"/>
                  <a:pt x="651634" y="148386"/>
                </a:cubicBezTo>
                <a:close/>
                <a:moveTo>
                  <a:pt x="654863" y="136175"/>
                </a:moveTo>
                <a:cubicBezTo>
                  <a:pt x="652777" y="135566"/>
                  <a:pt x="652158" y="137023"/>
                  <a:pt x="650167" y="136537"/>
                </a:cubicBezTo>
                <a:cubicBezTo>
                  <a:pt x="653186" y="134280"/>
                  <a:pt x="648910" y="131603"/>
                  <a:pt x="645290" y="131070"/>
                </a:cubicBezTo>
                <a:cubicBezTo>
                  <a:pt x="644157" y="134880"/>
                  <a:pt x="648091" y="135032"/>
                  <a:pt x="648843" y="137471"/>
                </a:cubicBezTo>
                <a:cubicBezTo>
                  <a:pt x="650224" y="139547"/>
                  <a:pt x="654987" y="140214"/>
                  <a:pt x="654825" y="136175"/>
                </a:cubicBezTo>
                <a:close/>
                <a:moveTo>
                  <a:pt x="655434" y="132794"/>
                </a:moveTo>
                <a:cubicBezTo>
                  <a:pt x="652643" y="132175"/>
                  <a:pt x="652262" y="130041"/>
                  <a:pt x="650739" y="133156"/>
                </a:cubicBezTo>
                <a:cubicBezTo>
                  <a:pt x="651967" y="134880"/>
                  <a:pt x="654015" y="134423"/>
                  <a:pt x="655434" y="132794"/>
                </a:cubicBezTo>
                <a:close/>
                <a:moveTo>
                  <a:pt x="662607" y="124736"/>
                </a:moveTo>
                <a:cubicBezTo>
                  <a:pt x="662026" y="122917"/>
                  <a:pt x="659530" y="124241"/>
                  <a:pt x="657901" y="125098"/>
                </a:cubicBezTo>
                <a:cubicBezTo>
                  <a:pt x="657387" y="125374"/>
                  <a:pt x="656149" y="124412"/>
                  <a:pt x="655644" y="124717"/>
                </a:cubicBezTo>
                <a:cubicBezTo>
                  <a:pt x="655310" y="124917"/>
                  <a:pt x="655644" y="127517"/>
                  <a:pt x="656387" y="127155"/>
                </a:cubicBezTo>
                <a:cubicBezTo>
                  <a:pt x="657292" y="124707"/>
                  <a:pt x="662540" y="128374"/>
                  <a:pt x="662607" y="124736"/>
                </a:cubicBezTo>
                <a:close/>
                <a:moveTo>
                  <a:pt x="667703" y="115211"/>
                </a:moveTo>
                <a:cubicBezTo>
                  <a:pt x="667112" y="118592"/>
                  <a:pt x="665369" y="109934"/>
                  <a:pt x="663188" y="114449"/>
                </a:cubicBezTo>
                <a:cubicBezTo>
                  <a:pt x="667169" y="115249"/>
                  <a:pt x="660168" y="117764"/>
                  <a:pt x="663750" y="118021"/>
                </a:cubicBezTo>
                <a:cubicBezTo>
                  <a:pt x="664064" y="116354"/>
                  <a:pt x="671122" y="117468"/>
                  <a:pt x="667703" y="115163"/>
                </a:cubicBezTo>
                <a:close/>
                <a:moveTo>
                  <a:pt x="670560" y="91398"/>
                </a:moveTo>
                <a:cubicBezTo>
                  <a:pt x="666702" y="85731"/>
                  <a:pt x="669207" y="95208"/>
                  <a:pt x="666055" y="90627"/>
                </a:cubicBezTo>
                <a:cubicBezTo>
                  <a:pt x="664559" y="94675"/>
                  <a:pt x="669522" y="94113"/>
                  <a:pt x="670922" y="96094"/>
                </a:cubicBezTo>
                <a:cubicBezTo>
                  <a:pt x="671450" y="94513"/>
                  <a:pt x="671330" y="92787"/>
                  <a:pt x="670589" y="91294"/>
                </a:cubicBezTo>
                <a:close/>
                <a:moveTo>
                  <a:pt x="660816" y="80473"/>
                </a:moveTo>
                <a:lnTo>
                  <a:pt x="660435" y="82721"/>
                </a:lnTo>
                <a:cubicBezTo>
                  <a:pt x="661080" y="82834"/>
                  <a:pt x="661693" y="82404"/>
                  <a:pt x="661807" y="81759"/>
                </a:cubicBezTo>
                <a:cubicBezTo>
                  <a:pt x="661920" y="81114"/>
                  <a:pt x="661488" y="80501"/>
                  <a:pt x="660845" y="80387"/>
                </a:cubicBezTo>
                <a:close/>
                <a:moveTo>
                  <a:pt x="50940" y="586717"/>
                </a:moveTo>
                <a:cubicBezTo>
                  <a:pt x="51216" y="583317"/>
                  <a:pt x="56340" y="581955"/>
                  <a:pt x="52083" y="579955"/>
                </a:cubicBezTo>
                <a:cubicBezTo>
                  <a:pt x="49063" y="580983"/>
                  <a:pt x="53531" y="583698"/>
                  <a:pt x="50178" y="584270"/>
                </a:cubicBezTo>
                <a:cubicBezTo>
                  <a:pt x="50178" y="582926"/>
                  <a:pt x="48606" y="582746"/>
                  <a:pt x="46977" y="582565"/>
                </a:cubicBezTo>
                <a:cubicBezTo>
                  <a:pt x="46177" y="585479"/>
                  <a:pt x="48854" y="585870"/>
                  <a:pt x="50940" y="586717"/>
                </a:cubicBezTo>
                <a:close/>
                <a:moveTo>
                  <a:pt x="676008" y="100342"/>
                </a:moveTo>
                <a:cubicBezTo>
                  <a:pt x="675832" y="101571"/>
                  <a:pt x="675233" y="102700"/>
                  <a:pt x="674313" y="103533"/>
                </a:cubicBezTo>
                <a:cubicBezTo>
                  <a:pt x="677085" y="104190"/>
                  <a:pt x="678123" y="102362"/>
                  <a:pt x="680333" y="102238"/>
                </a:cubicBezTo>
                <a:cubicBezTo>
                  <a:pt x="680218" y="102857"/>
                  <a:pt x="681028" y="103676"/>
                  <a:pt x="681457" y="102428"/>
                </a:cubicBezTo>
                <a:cubicBezTo>
                  <a:pt x="680133" y="101962"/>
                  <a:pt x="680971" y="101057"/>
                  <a:pt x="681838" y="100180"/>
                </a:cubicBezTo>
                <a:cubicBezTo>
                  <a:pt x="679199" y="99256"/>
                  <a:pt x="679037" y="101819"/>
                  <a:pt x="676008" y="100342"/>
                </a:cubicBezTo>
                <a:close/>
                <a:moveTo>
                  <a:pt x="637280" y="171446"/>
                </a:moveTo>
                <a:cubicBezTo>
                  <a:pt x="638394" y="174304"/>
                  <a:pt x="633660" y="175199"/>
                  <a:pt x="636518" y="175961"/>
                </a:cubicBezTo>
                <a:cubicBezTo>
                  <a:pt x="636699" y="175276"/>
                  <a:pt x="636908" y="174647"/>
                  <a:pt x="637832" y="175009"/>
                </a:cubicBezTo>
                <a:cubicBezTo>
                  <a:pt x="637737" y="176723"/>
                  <a:pt x="636727" y="179095"/>
                  <a:pt x="638194" y="179705"/>
                </a:cubicBezTo>
                <a:cubicBezTo>
                  <a:pt x="638556" y="178352"/>
                  <a:pt x="638994" y="177095"/>
                  <a:pt x="640842" y="177800"/>
                </a:cubicBezTo>
                <a:cubicBezTo>
                  <a:pt x="641956" y="174075"/>
                  <a:pt x="641585" y="171370"/>
                  <a:pt x="637280" y="171446"/>
                </a:cubicBezTo>
                <a:close/>
                <a:moveTo>
                  <a:pt x="654082" y="79235"/>
                </a:moveTo>
                <a:cubicBezTo>
                  <a:pt x="654158" y="78063"/>
                  <a:pt x="659330" y="77778"/>
                  <a:pt x="655787" y="76044"/>
                </a:cubicBezTo>
                <a:cubicBezTo>
                  <a:pt x="656120" y="77778"/>
                  <a:pt x="650929" y="78054"/>
                  <a:pt x="654082" y="79235"/>
                </a:cubicBezTo>
                <a:close/>
                <a:moveTo>
                  <a:pt x="469363" y="402647"/>
                </a:moveTo>
                <a:cubicBezTo>
                  <a:pt x="467154" y="407200"/>
                  <a:pt x="472602" y="406304"/>
                  <a:pt x="472926" y="409048"/>
                </a:cubicBezTo>
                <a:cubicBezTo>
                  <a:pt x="470828" y="410076"/>
                  <a:pt x="469963" y="412610"/>
                  <a:pt x="470991" y="414707"/>
                </a:cubicBezTo>
                <a:cubicBezTo>
                  <a:pt x="471191" y="415114"/>
                  <a:pt x="471455" y="415486"/>
                  <a:pt x="471773" y="415810"/>
                </a:cubicBezTo>
                <a:cubicBezTo>
                  <a:pt x="472240" y="414496"/>
                  <a:pt x="473135" y="415334"/>
                  <a:pt x="474031" y="416201"/>
                </a:cubicBezTo>
                <a:cubicBezTo>
                  <a:pt x="473574" y="410905"/>
                  <a:pt x="474859" y="404380"/>
                  <a:pt x="469363" y="402647"/>
                </a:cubicBezTo>
                <a:close/>
                <a:moveTo>
                  <a:pt x="483251" y="149958"/>
                </a:moveTo>
                <a:cubicBezTo>
                  <a:pt x="480936" y="147101"/>
                  <a:pt x="482441" y="147558"/>
                  <a:pt x="479879" y="149377"/>
                </a:cubicBezTo>
                <a:cubicBezTo>
                  <a:pt x="478844" y="150163"/>
                  <a:pt x="477368" y="149960"/>
                  <a:pt x="476582" y="148926"/>
                </a:cubicBezTo>
                <a:cubicBezTo>
                  <a:pt x="476553" y="148887"/>
                  <a:pt x="476524" y="148847"/>
                  <a:pt x="476498" y="148806"/>
                </a:cubicBezTo>
                <a:cubicBezTo>
                  <a:pt x="477222" y="151092"/>
                  <a:pt x="472478" y="152006"/>
                  <a:pt x="475736" y="153311"/>
                </a:cubicBezTo>
                <a:cubicBezTo>
                  <a:pt x="476469" y="149006"/>
                  <a:pt x="478460" y="152692"/>
                  <a:pt x="480431" y="152958"/>
                </a:cubicBezTo>
                <a:cubicBezTo>
                  <a:pt x="480098" y="152911"/>
                  <a:pt x="481336" y="152063"/>
                  <a:pt x="481755" y="152006"/>
                </a:cubicBezTo>
                <a:cubicBezTo>
                  <a:pt x="482832" y="151873"/>
                  <a:pt x="484041" y="152654"/>
                  <a:pt x="485127" y="152587"/>
                </a:cubicBezTo>
                <a:cubicBezTo>
                  <a:pt x="486232" y="150425"/>
                  <a:pt x="484003" y="150872"/>
                  <a:pt x="483251" y="149958"/>
                </a:cubicBezTo>
                <a:close/>
                <a:moveTo>
                  <a:pt x="470992" y="30791"/>
                </a:moveTo>
                <a:cubicBezTo>
                  <a:pt x="472669" y="28952"/>
                  <a:pt x="471526" y="33544"/>
                  <a:pt x="475498" y="31553"/>
                </a:cubicBezTo>
                <a:cubicBezTo>
                  <a:pt x="473478" y="34410"/>
                  <a:pt x="479308" y="36172"/>
                  <a:pt x="476241" y="33991"/>
                </a:cubicBezTo>
                <a:cubicBezTo>
                  <a:pt x="475059" y="30086"/>
                  <a:pt x="477469" y="27628"/>
                  <a:pt x="481898" y="28000"/>
                </a:cubicBezTo>
                <a:cubicBezTo>
                  <a:pt x="480870" y="23285"/>
                  <a:pt x="485223" y="26162"/>
                  <a:pt x="486042" y="24066"/>
                </a:cubicBezTo>
                <a:cubicBezTo>
                  <a:pt x="484556" y="23799"/>
                  <a:pt x="485346" y="21913"/>
                  <a:pt x="484137" y="21428"/>
                </a:cubicBezTo>
                <a:cubicBezTo>
                  <a:pt x="482577" y="22543"/>
                  <a:pt x="480864" y="23425"/>
                  <a:pt x="479050" y="24047"/>
                </a:cubicBezTo>
                <a:cubicBezTo>
                  <a:pt x="479917" y="22475"/>
                  <a:pt x="481203" y="21485"/>
                  <a:pt x="482070" y="19923"/>
                </a:cubicBezTo>
                <a:cubicBezTo>
                  <a:pt x="479620" y="20971"/>
                  <a:pt x="476775" y="19985"/>
                  <a:pt x="475498" y="17646"/>
                </a:cubicBezTo>
                <a:cubicBezTo>
                  <a:pt x="474688" y="21618"/>
                  <a:pt x="473173" y="24600"/>
                  <a:pt x="469649" y="24771"/>
                </a:cubicBezTo>
                <a:cubicBezTo>
                  <a:pt x="468852" y="26866"/>
                  <a:pt x="469381" y="29233"/>
                  <a:pt x="470992" y="30791"/>
                </a:cubicBezTo>
                <a:close/>
                <a:moveTo>
                  <a:pt x="467839" y="15179"/>
                </a:moveTo>
                <a:cubicBezTo>
                  <a:pt x="466049" y="15617"/>
                  <a:pt x="465506" y="16132"/>
                  <a:pt x="466335" y="17246"/>
                </a:cubicBezTo>
                <a:cubicBezTo>
                  <a:pt x="468687" y="20561"/>
                  <a:pt x="463010" y="21713"/>
                  <a:pt x="466506" y="23066"/>
                </a:cubicBezTo>
                <a:cubicBezTo>
                  <a:pt x="468211" y="21628"/>
                  <a:pt x="471688" y="20466"/>
                  <a:pt x="469706" y="17818"/>
                </a:cubicBezTo>
                <a:cubicBezTo>
                  <a:pt x="471068" y="17818"/>
                  <a:pt x="472878" y="18551"/>
                  <a:pt x="473288" y="17265"/>
                </a:cubicBezTo>
                <a:cubicBezTo>
                  <a:pt x="471504" y="15954"/>
                  <a:pt x="470188" y="14104"/>
                  <a:pt x="469535" y="11988"/>
                </a:cubicBezTo>
                <a:cubicBezTo>
                  <a:pt x="470173" y="12103"/>
                  <a:pt x="470973" y="11293"/>
                  <a:pt x="469725" y="10864"/>
                </a:cubicBezTo>
                <a:cubicBezTo>
                  <a:pt x="469030" y="13131"/>
                  <a:pt x="464696" y="10283"/>
                  <a:pt x="464649" y="13484"/>
                </a:cubicBezTo>
                <a:cubicBezTo>
                  <a:pt x="465973" y="13874"/>
                  <a:pt x="467916" y="13836"/>
                  <a:pt x="467868" y="15179"/>
                </a:cubicBezTo>
                <a:close/>
                <a:moveTo>
                  <a:pt x="462124" y="35077"/>
                </a:moveTo>
                <a:cubicBezTo>
                  <a:pt x="466887" y="37468"/>
                  <a:pt x="464620" y="26505"/>
                  <a:pt x="462896" y="30572"/>
                </a:cubicBezTo>
                <a:cubicBezTo>
                  <a:pt x="465792" y="31334"/>
                  <a:pt x="461067" y="32239"/>
                  <a:pt x="462172" y="35096"/>
                </a:cubicBezTo>
                <a:close/>
                <a:moveTo>
                  <a:pt x="449847" y="12122"/>
                </a:moveTo>
                <a:cubicBezTo>
                  <a:pt x="452390" y="13922"/>
                  <a:pt x="446808" y="15989"/>
                  <a:pt x="450009" y="17942"/>
                </a:cubicBezTo>
                <a:cubicBezTo>
                  <a:pt x="451797" y="15300"/>
                  <a:pt x="452354" y="12013"/>
                  <a:pt x="451533" y="8931"/>
                </a:cubicBezTo>
                <a:cubicBezTo>
                  <a:pt x="447570" y="10922"/>
                  <a:pt x="448675" y="6331"/>
                  <a:pt x="447037" y="8169"/>
                </a:cubicBezTo>
                <a:cubicBezTo>
                  <a:pt x="446227" y="10703"/>
                  <a:pt x="450037" y="9969"/>
                  <a:pt x="449847" y="12122"/>
                </a:cubicBezTo>
                <a:close/>
                <a:moveTo>
                  <a:pt x="444570" y="15865"/>
                </a:moveTo>
                <a:cubicBezTo>
                  <a:pt x="441227" y="16437"/>
                  <a:pt x="445694" y="19151"/>
                  <a:pt x="442665" y="20180"/>
                </a:cubicBezTo>
                <a:cubicBezTo>
                  <a:pt x="444751" y="20799"/>
                  <a:pt x="445370" y="19332"/>
                  <a:pt x="447361" y="19818"/>
                </a:cubicBezTo>
                <a:cubicBezTo>
                  <a:pt x="447980" y="17732"/>
                  <a:pt x="446513" y="17113"/>
                  <a:pt x="447008" y="15122"/>
                </a:cubicBezTo>
                <a:cubicBezTo>
                  <a:pt x="443474" y="15856"/>
                  <a:pt x="443732" y="9007"/>
                  <a:pt x="441750" y="11912"/>
                </a:cubicBezTo>
                <a:cubicBezTo>
                  <a:pt x="442722" y="13189"/>
                  <a:pt x="443665" y="14522"/>
                  <a:pt x="444570" y="15865"/>
                </a:cubicBezTo>
                <a:close/>
                <a:moveTo>
                  <a:pt x="335985" y="266373"/>
                </a:moveTo>
                <a:cubicBezTo>
                  <a:pt x="336642" y="270754"/>
                  <a:pt x="331784" y="268135"/>
                  <a:pt x="333346" y="268278"/>
                </a:cubicBezTo>
                <a:cubicBezTo>
                  <a:pt x="330241" y="268078"/>
                  <a:pt x="326393" y="269106"/>
                  <a:pt x="327689" y="274269"/>
                </a:cubicBezTo>
                <a:cubicBezTo>
                  <a:pt x="328755" y="275583"/>
                  <a:pt x="330975" y="272469"/>
                  <a:pt x="332775" y="271659"/>
                </a:cubicBezTo>
                <a:cubicBezTo>
                  <a:pt x="334051" y="271087"/>
                  <a:pt x="333261" y="270326"/>
                  <a:pt x="334289" y="269592"/>
                </a:cubicBezTo>
                <a:cubicBezTo>
                  <a:pt x="334566" y="269402"/>
                  <a:pt x="336375" y="270240"/>
                  <a:pt x="336547" y="269983"/>
                </a:cubicBezTo>
                <a:cubicBezTo>
                  <a:pt x="337147" y="268973"/>
                  <a:pt x="336823" y="266554"/>
                  <a:pt x="335975" y="266411"/>
                </a:cubicBezTo>
                <a:close/>
                <a:moveTo>
                  <a:pt x="358750" y="63871"/>
                </a:moveTo>
                <a:cubicBezTo>
                  <a:pt x="360293" y="61299"/>
                  <a:pt x="354320" y="59280"/>
                  <a:pt x="354625" y="60852"/>
                </a:cubicBezTo>
                <a:cubicBezTo>
                  <a:pt x="356854" y="61280"/>
                  <a:pt x="355530" y="64204"/>
                  <a:pt x="358740" y="63909"/>
                </a:cubicBezTo>
                <a:close/>
                <a:moveTo>
                  <a:pt x="363436" y="2063"/>
                </a:moveTo>
                <a:cubicBezTo>
                  <a:pt x="364569" y="2263"/>
                  <a:pt x="364941" y="1378"/>
                  <a:pt x="365884" y="1320"/>
                </a:cubicBezTo>
                <a:cubicBezTo>
                  <a:pt x="365779" y="2711"/>
                  <a:pt x="365770" y="4045"/>
                  <a:pt x="367789" y="3949"/>
                </a:cubicBezTo>
                <a:lnTo>
                  <a:pt x="368370" y="568"/>
                </a:lnTo>
                <a:cubicBezTo>
                  <a:pt x="364855" y="-1918"/>
                  <a:pt x="360778" y="4721"/>
                  <a:pt x="363426" y="2101"/>
                </a:cubicBezTo>
                <a:close/>
                <a:moveTo>
                  <a:pt x="337118" y="6874"/>
                </a:moveTo>
                <a:cubicBezTo>
                  <a:pt x="337014" y="8264"/>
                  <a:pt x="337004" y="9598"/>
                  <a:pt x="339023" y="9502"/>
                </a:cubicBezTo>
                <a:cubicBezTo>
                  <a:pt x="341443" y="7874"/>
                  <a:pt x="339328" y="5969"/>
                  <a:pt x="337537" y="4616"/>
                </a:cubicBezTo>
                <a:cubicBezTo>
                  <a:pt x="337442" y="7274"/>
                  <a:pt x="334070" y="5311"/>
                  <a:pt x="333575" y="7426"/>
                </a:cubicBezTo>
                <a:cubicBezTo>
                  <a:pt x="335737" y="10141"/>
                  <a:pt x="334832" y="7388"/>
                  <a:pt x="337109" y="6912"/>
                </a:cubicBezTo>
                <a:close/>
                <a:moveTo>
                  <a:pt x="180280" y="432441"/>
                </a:moveTo>
                <a:cubicBezTo>
                  <a:pt x="182309" y="433775"/>
                  <a:pt x="182185" y="430946"/>
                  <a:pt x="182918" y="430536"/>
                </a:cubicBezTo>
                <a:cubicBezTo>
                  <a:pt x="183337" y="430317"/>
                  <a:pt x="184823" y="431231"/>
                  <a:pt x="185166" y="430917"/>
                </a:cubicBezTo>
                <a:cubicBezTo>
                  <a:pt x="186118" y="429964"/>
                  <a:pt x="186528" y="427488"/>
                  <a:pt x="185737" y="427526"/>
                </a:cubicBezTo>
                <a:cubicBezTo>
                  <a:pt x="184537" y="430060"/>
                  <a:pt x="181489" y="429955"/>
                  <a:pt x="180280" y="432441"/>
                </a:cubicBezTo>
                <a:close/>
                <a:moveTo>
                  <a:pt x="439360" y="12655"/>
                </a:moveTo>
                <a:cubicBezTo>
                  <a:pt x="439255" y="14055"/>
                  <a:pt x="439236" y="15379"/>
                  <a:pt x="441265" y="15294"/>
                </a:cubicBezTo>
                <a:cubicBezTo>
                  <a:pt x="440200" y="11891"/>
                  <a:pt x="440413" y="8216"/>
                  <a:pt x="441865" y="4959"/>
                </a:cubicBezTo>
                <a:cubicBezTo>
                  <a:pt x="438160" y="2530"/>
                  <a:pt x="440531" y="8674"/>
                  <a:pt x="437912" y="7769"/>
                </a:cubicBezTo>
                <a:cubicBezTo>
                  <a:pt x="437817" y="6816"/>
                  <a:pt x="437188" y="6302"/>
                  <a:pt x="435845" y="6254"/>
                </a:cubicBezTo>
                <a:cubicBezTo>
                  <a:pt x="435845" y="9045"/>
                  <a:pt x="433378" y="8359"/>
                  <a:pt x="433769" y="11693"/>
                </a:cubicBezTo>
                <a:cubicBezTo>
                  <a:pt x="436464" y="12293"/>
                  <a:pt x="436817" y="14408"/>
                  <a:pt x="439322" y="12655"/>
                </a:cubicBezTo>
                <a:close/>
              </a:path>
            </a:pathLst>
          </a:custGeom>
          <a:solidFill>
            <a:schemeClr val="accent1">
              <a:lumMod val="60000"/>
              <a:lumOff val="40000"/>
            </a:schemeClr>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3926BFFB-A92B-4B54-DD47-2977D9B6D84C}"/>
              </a:ext>
            </a:extLst>
          </p:cNvPr>
          <p:cNvSpPr>
            <a:spLocks noChangeAspect="1"/>
          </p:cNvSpPr>
          <p:nvPr/>
        </p:nvSpPr>
        <p:spPr>
          <a:xfrm rot="8363684">
            <a:off x="5187089" y="3145798"/>
            <a:ext cx="317622" cy="371542"/>
          </a:xfrm>
          <a:custGeom>
            <a:avLst/>
            <a:gdLst>
              <a:gd name="connsiteX0" fmla="*/ 681704 w 682417"/>
              <a:gd name="connsiteY0" fmla="*/ 80445 h 798267"/>
              <a:gd name="connsiteX1" fmla="*/ 677580 w 682417"/>
              <a:gd name="connsiteY1" fmla="*/ 77425 h 798267"/>
              <a:gd name="connsiteX2" fmla="*/ 681704 w 682417"/>
              <a:gd name="connsiteY2" fmla="*/ 80445 h 798267"/>
              <a:gd name="connsiteX3" fmla="*/ 630488 w 682417"/>
              <a:gd name="connsiteY3" fmla="*/ 184210 h 798267"/>
              <a:gd name="connsiteX4" fmla="*/ 635946 w 682417"/>
              <a:gd name="connsiteY4" fmla="*/ 179343 h 798267"/>
              <a:gd name="connsiteX5" fmla="*/ 630488 w 682417"/>
              <a:gd name="connsiteY5" fmla="*/ 184210 h 798267"/>
              <a:gd name="connsiteX6" fmla="*/ 627859 w 682417"/>
              <a:gd name="connsiteY6" fmla="*/ 117678 h 798267"/>
              <a:gd name="connsiteX7" fmla="*/ 628221 w 682417"/>
              <a:gd name="connsiteY7" fmla="*/ 122383 h 798267"/>
              <a:gd name="connsiteX8" fmla="*/ 627859 w 682417"/>
              <a:gd name="connsiteY8" fmla="*/ 117678 h 798267"/>
              <a:gd name="connsiteX9" fmla="*/ 577253 w 682417"/>
              <a:gd name="connsiteY9" fmla="*/ 265601 h 798267"/>
              <a:gd name="connsiteX10" fmla="*/ 579301 w 682417"/>
              <a:gd name="connsiteY10" fmla="*/ 274059 h 798267"/>
              <a:gd name="connsiteX11" fmla="*/ 577253 w 682417"/>
              <a:gd name="connsiteY11" fmla="*/ 265601 h 798267"/>
              <a:gd name="connsiteX12" fmla="*/ 610753 w 682417"/>
              <a:gd name="connsiteY12" fmla="*/ 54489 h 798267"/>
              <a:gd name="connsiteX13" fmla="*/ 606992 w 682417"/>
              <a:gd name="connsiteY13" fmla="*/ 53866 h 798267"/>
              <a:gd name="connsiteX14" fmla="*/ 605866 w 682417"/>
              <a:gd name="connsiteY14" fmla="*/ 55975 h 798267"/>
              <a:gd name="connsiteX15" fmla="*/ 610753 w 682417"/>
              <a:gd name="connsiteY15" fmla="*/ 54499 h 798267"/>
              <a:gd name="connsiteX16" fmla="*/ 564032 w 682417"/>
              <a:gd name="connsiteY16" fmla="*/ 288871 h 798267"/>
              <a:gd name="connsiteX17" fmla="*/ 567414 w 682417"/>
              <a:gd name="connsiteY17" fmla="*/ 289442 h 798267"/>
              <a:gd name="connsiteX18" fmla="*/ 564032 w 682417"/>
              <a:gd name="connsiteY18" fmla="*/ 288871 h 798267"/>
              <a:gd name="connsiteX19" fmla="*/ 561956 w 682417"/>
              <a:gd name="connsiteY19" fmla="*/ 294309 h 798267"/>
              <a:gd name="connsiteX20" fmla="*/ 562127 w 682417"/>
              <a:gd name="connsiteY20" fmla="*/ 300139 h 798267"/>
              <a:gd name="connsiteX21" fmla="*/ 564985 w 682417"/>
              <a:gd name="connsiteY21" fmla="*/ 297138 h 798267"/>
              <a:gd name="connsiteX22" fmla="*/ 561956 w 682417"/>
              <a:gd name="connsiteY22" fmla="*/ 294309 h 798267"/>
              <a:gd name="connsiteX23" fmla="*/ 538144 w 682417"/>
              <a:gd name="connsiteY23" fmla="*/ 352869 h 798267"/>
              <a:gd name="connsiteX24" fmla="*/ 537381 w 682417"/>
              <a:gd name="connsiteY24" fmla="*/ 357374 h 798267"/>
              <a:gd name="connsiteX25" fmla="*/ 538096 w 682417"/>
              <a:gd name="connsiteY25" fmla="*/ 352869 h 798267"/>
              <a:gd name="connsiteX26" fmla="*/ 514179 w 682417"/>
              <a:gd name="connsiteY26" fmla="*/ 323294 h 798267"/>
              <a:gd name="connsiteX27" fmla="*/ 510997 w 682417"/>
              <a:gd name="connsiteY27" fmla="*/ 321599 h 798267"/>
              <a:gd name="connsiteX28" fmla="*/ 510616 w 682417"/>
              <a:gd name="connsiteY28" fmla="*/ 323846 h 798267"/>
              <a:gd name="connsiteX29" fmla="*/ 514131 w 682417"/>
              <a:gd name="connsiteY29" fmla="*/ 323294 h 798267"/>
              <a:gd name="connsiteX30" fmla="*/ 539267 w 682417"/>
              <a:gd name="connsiteY30" fmla="*/ 100323 h 798267"/>
              <a:gd name="connsiteX31" fmla="*/ 535134 w 682417"/>
              <a:gd name="connsiteY31" fmla="*/ 97304 h 798267"/>
              <a:gd name="connsiteX32" fmla="*/ 539220 w 682417"/>
              <a:gd name="connsiteY32" fmla="*/ 100323 h 798267"/>
              <a:gd name="connsiteX33" fmla="*/ 532286 w 682417"/>
              <a:gd name="connsiteY33" fmla="*/ 107257 h 798267"/>
              <a:gd name="connsiteX34" fmla="*/ 536096 w 682417"/>
              <a:gd name="connsiteY34" fmla="*/ 105572 h 798267"/>
              <a:gd name="connsiteX35" fmla="*/ 532895 w 682417"/>
              <a:gd name="connsiteY35" fmla="*/ 103876 h 798267"/>
              <a:gd name="connsiteX36" fmla="*/ 489423 w 682417"/>
              <a:gd name="connsiteY36" fmla="*/ 366633 h 798267"/>
              <a:gd name="connsiteX37" fmla="*/ 487166 w 682417"/>
              <a:gd name="connsiteY37" fmla="*/ 366252 h 798267"/>
              <a:gd name="connsiteX38" fmla="*/ 486785 w 682417"/>
              <a:gd name="connsiteY38" fmla="*/ 368500 h 798267"/>
              <a:gd name="connsiteX39" fmla="*/ 489042 w 682417"/>
              <a:gd name="connsiteY39" fmla="*/ 368881 h 798267"/>
              <a:gd name="connsiteX40" fmla="*/ 501082 w 682417"/>
              <a:gd name="connsiteY40" fmla="*/ 31286 h 798267"/>
              <a:gd name="connsiteX41" fmla="*/ 498081 w 682417"/>
              <a:gd name="connsiteY41" fmla="*/ 28429 h 798267"/>
              <a:gd name="connsiteX42" fmla="*/ 501082 w 682417"/>
              <a:gd name="connsiteY42" fmla="*/ 31286 h 798267"/>
              <a:gd name="connsiteX43" fmla="*/ 494348 w 682417"/>
              <a:gd name="connsiteY43" fmla="*/ 23190 h 798267"/>
              <a:gd name="connsiteX44" fmla="*/ 497338 w 682417"/>
              <a:gd name="connsiteY44" fmla="*/ 26047 h 798267"/>
              <a:gd name="connsiteX45" fmla="*/ 491528 w 682417"/>
              <a:gd name="connsiteY45" fmla="*/ 19275 h 798267"/>
              <a:gd name="connsiteX46" fmla="*/ 493024 w 682417"/>
              <a:gd name="connsiteY46" fmla="*/ 24161 h 798267"/>
              <a:gd name="connsiteX47" fmla="*/ 494348 w 682417"/>
              <a:gd name="connsiteY47" fmla="*/ 23152 h 798267"/>
              <a:gd name="connsiteX48" fmla="*/ 485851 w 682417"/>
              <a:gd name="connsiteY48" fmla="*/ 32181 h 798267"/>
              <a:gd name="connsiteX49" fmla="*/ 486623 w 682417"/>
              <a:gd name="connsiteY49" fmla="*/ 27676 h 798267"/>
              <a:gd name="connsiteX50" fmla="*/ 485851 w 682417"/>
              <a:gd name="connsiteY50" fmla="*/ 32143 h 798267"/>
              <a:gd name="connsiteX51" fmla="*/ 430263 w 682417"/>
              <a:gd name="connsiteY51" fmla="*/ 216328 h 798267"/>
              <a:gd name="connsiteX52" fmla="*/ 434578 w 682417"/>
              <a:gd name="connsiteY52" fmla="*/ 218233 h 798267"/>
              <a:gd name="connsiteX53" fmla="*/ 435150 w 682417"/>
              <a:gd name="connsiteY53" fmla="*/ 214852 h 798267"/>
              <a:gd name="connsiteX54" fmla="*/ 430263 w 682417"/>
              <a:gd name="connsiteY54" fmla="*/ 216328 h 798267"/>
              <a:gd name="connsiteX55" fmla="*/ 430092 w 682417"/>
              <a:gd name="connsiteY55" fmla="*/ 210499 h 798267"/>
              <a:gd name="connsiteX56" fmla="*/ 430092 w 682417"/>
              <a:gd name="connsiteY56" fmla="*/ 210499 h 798267"/>
              <a:gd name="connsiteX57" fmla="*/ 456705 w 682417"/>
              <a:gd name="connsiteY57" fmla="*/ 26047 h 798267"/>
              <a:gd name="connsiteX58" fmla="*/ 461810 w 682417"/>
              <a:gd name="connsiteY58" fmla="*/ 16522 h 798267"/>
              <a:gd name="connsiteX59" fmla="*/ 458810 w 682417"/>
              <a:gd name="connsiteY59" fmla="*/ 13665 h 798267"/>
              <a:gd name="connsiteX60" fmla="*/ 455057 w 682417"/>
              <a:gd name="connsiteY60" fmla="*/ 15341 h 798267"/>
              <a:gd name="connsiteX61" fmla="*/ 453371 w 682417"/>
              <a:gd name="connsiteY61" fmla="*/ 11579 h 798267"/>
              <a:gd name="connsiteX62" fmla="*/ 456705 w 682417"/>
              <a:gd name="connsiteY62" fmla="*/ 26047 h 798267"/>
              <a:gd name="connsiteX63" fmla="*/ 426882 w 682417"/>
              <a:gd name="connsiteY63" fmla="*/ 215747 h 798267"/>
              <a:gd name="connsiteX64" fmla="*/ 424815 w 682417"/>
              <a:gd name="connsiteY64" fmla="*/ 214242 h 798267"/>
              <a:gd name="connsiteX65" fmla="*/ 422205 w 682417"/>
              <a:gd name="connsiteY65" fmla="*/ 209156 h 798267"/>
              <a:gd name="connsiteX66" fmla="*/ 421062 w 682417"/>
              <a:gd name="connsiteY66" fmla="*/ 215919 h 798267"/>
              <a:gd name="connsiteX67" fmla="*/ 427434 w 682417"/>
              <a:gd name="connsiteY67" fmla="*/ 219319 h 798267"/>
              <a:gd name="connsiteX68" fmla="*/ 426882 w 682417"/>
              <a:gd name="connsiteY68" fmla="*/ 215747 h 798267"/>
              <a:gd name="connsiteX69" fmla="*/ 445837 w 682417"/>
              <a:gd name="connsiteY69" fmla="*/ 28829 h 798267"/>
              <a:gd name="connsiteX70" fmla="*/ 447551 w 682417"/>
              <a:gd name="connsiteY70" fmla="*/ 25647 h 798267"/>
              <a:gd name="connsiteX71" fmla="*/ 445837 w 682417"/>
              <a:gd name="connsiteY71" fmla="*/ 28829 h 798267"/>
              <a:gd name="connsiteX72" fmla="*/ 404812 w 682417"/>
              <a:gd name="connsiteY72" fmla="*/ 181857 h 798267"/>
              <a:gd name="connsiteX73" fmla="*/ 396345 w 682417"/>
              <a:gd name="connsiteY73" fmla="*/ 183905 h 798267"/>
              <a:gd name="connsiteX74" fmla="*/ 400279 w 682417"/>
              <a:gd name="connsiteY74" fmla="*/ 188049 h 798267"/>
              <a:gd name="connsiteX75" fmla="*/ 404812 w 682417"/>
              <a:gd name="connsiteY75" fmla="*/ 181857 h 798267"/>
              <a:gd name="connsiteX76" fmla="*/ 420910 w 682417"/>
              <a:gd name="connsiteY76" fmla="*/ 11855 h 798267"/>
              <a:gd name="connsiteX77" fmla="*/ 417157 w 682417"/>
              <a:gd name="connsiteY77" fmla="*/ 6578 h 798267"/>
              <a:gd name="connsiteX78" fmla="*/ 420910 w 682417"/>
              <a:gd name="connsiteY78" fmla="*/ 11855 h 798267"/>
              <a:gd name="connsiteX79" fmla="*/ 388125 w 682417"/>
              <a:gd name="connsiteY79" fmla="*/ 34144 h 798267"/>
              <a:gd name="connsiteX80" fmla="*/ 389801 w 682417"/>
              <a:gd name="connsiteY80" fmla="*/ 37906 h 798267"/>
              <a:gd name="connsiteX81" fmla="*/ 388125 w 682417"/>
              <a:gd name="connsiteY81" fmla="*/ 34144 h 798267"/>
              <a:gd name="connsiteX82" fmla="*/ 337833 w 682417"/>
              <a:gd name="connsiteY82" fmla="*/ 269078 h 798267"/>
              <a:gd name="connsiteX83" fmla="*/ 341786 w 682417"/>
              <a:gd name="connsiteY83" fmla="*/ 266220 h 798267"/>
              <a:gd name="connsiteX84" fmla="*/ 337852 w 682417"/>
              <a:gd name="connsiteY84" fmla="*/ 269049 h 798267"/>
              <a:gd name="connsiteX85" fmla="*/ 334289 w 682417"/>
              <a:gd name="connsiteY85" fmla="*/ 9902 h 798267"/>
              <a:gd name="connsiteX86" fmla="*/ 332032 w 682417"/>
              <a:gd name="connsiteY86" fmla="*/ 9521 h 798267"/>
              <a:gd name="connsiteX87" fmla="*/ 331651 w 682417"/>
              <a:gd name="connsiteY87" fmla="*/ 11779 h 798267"/>
              <a:gd name="connsiteX88" fmla="*/ 333899 w 682417"/>
              <a:gd name="connsiteY88" fmla="*/ 12160 h 798267"/>
              <a:gd name="connsiteX89" fmla="*/ 334289 w 682417"/>
              <a:gd name="connsiteY89" fmla="*/ 9902 h 798267"/>
              <a:gd name="connsiteX90" fmla="*/ 322945 w 682417"/>
              <a:gd name="connsiteY90" fmla="*/ 28857 h 798267"/>
              <a:gd name="connsiteX91" fmla="*/ 327650 w 682417"/>
              <a:gd name="connsiteY91" fmla="*/ 28486 h 798267"/>
              <a:gd name="connsiteX92" fmla="*/ 328412 w 682417"/>
              <a:gd name="connsiteY92" fmla="*/ 23980 h 798267"/>
              <a:gd name="connsiteX93" fmla="*/ 319192 w 682417"/>
              <a:gd name="connsiteY93" fmla="*/ 30534 h 798267"/>
              <a:gd name="connsiteX94" fmla="*/ 322945 w 682417"/>
              <a:gd name="connsiteY94" fmla="*/ 28857 h 798267"/>
              <a:gd name="connsiteX95" fmla="*/ 318364 w 682417"/>
              <a:gd name="connsiteY95" fmla="*/ 55899 h 798267"/>
              <a:gd name="connsiteX96" fmla="*/ 315363 w 682417"/>
              <a:gd name="connsiteY96" fmla="*/ 53041 h 798267"/>
              <a:gd name="connsiteX97" fmla="*/ 318364 w 682417"/>
              <a:gd name="connsiteY97" fmla="*/ 55899 h 798267"/>
              <a:gd name="connsiteX98" fmla="*/ 278120 w 682417"/>
              <a:gd name="connsiteY98" fmla="*/ 258934 h 798267"/>
              <a:gd name="connsiteX99" fmla="*/ 280740 w 682417"/>
              <a:gd name="connsiteY99" fmla="*/ 264010 h 798267"/>
              <a:gd name="connsiteX100" fmla="*/ 278120 w 682417"/>
              <a:gd name="connsiteY100" fmla="*/ 258934 h 798267"/>
              <a:gd name="connsiteX101" fmla="*/ 316382 w 682417"/>
              <a:gd name="connsiteY101" fmla="*/ 26600 h 798267"/>
              <a:gd name="connsiteX102" fmla="*/ 316744 w 682417"/>
              <a:gd name="connsiteY102" fmla="*/ 31296 h 798267"/>
              <a:gd name="connsiteX103" fmla="*/ 316382 w 682417"/>
              <a:gd name="connsiteY103" fmla="*/ 26581 h 798267"/>
              <a:gd name="connsiteX104" fmla="*/ 312572 w 682417"/>
              <a:gd name="connsiteY104" fmla="*/ 49136 h 798267"/>
              <a:gd name="connsiteX105" fmla="*/ 308762 w 682417"/>
              <a:gd name="connsiteY105" fmla="*/ 50812 h 798267"/>
              <a:gd name="connsiteX106" fmla="*/ 312553 w 682417"/>
              <a:gd name="connsiteY106" fmla="*/ 49117 h 798267"/>
              <a:gd name="connsiteX107" fmla="*/ 243288 w 682417"/>
              <a:gd name="connsiteY107" fmla="*/ 348069 h 798267"/>
              <a:gd name="connsiteX108" fmla="*/ 242907 w 682417"/>
              <a:gd name="connsiteY108" fmla="*/ 350316 h 798267"/>
              <a:gd name="connsiteX109" fmla="*/ 243859 w 682417"/>
              <a:gd name="connsiteY109" fmla="*/ 351640 h 798267"/>
              <a:gd name="connsiteX110" fmla="*/ 245183 w 682417"/>
              <a:gd name="connsiteY110" fmla="*/ 350688 h 798267"/>
              <a:gd name="connsiteX111" fmla="*/ 245916 w 682417"/>
              <a:gd name="connsiteY111" fmla="*/ 353136 h 798267"/>
              <a:gd name="connsiteX112" fmla="*/ 243288 w 682417"/>
              <a:gd name="connsiteY112" fmla="*/ 348069 h 798267"/>
              <a:gd name="connsiteX113" fmla="*/ 230476 w 682417"/>
              <a:gd name="connsiteY113" fmla="*/ 293719 h 798267"/>
              <a:gd name="connsiteX114" fmla="*/ 230476 w 682417"/>
              <a:gd name="connsiteY114" fmla="*/ 293719 h 798267"/>
              <a:gd name="connsiteX115" fmla="*/ 153857 w 682417"/>
              <a:gd name="connsiteY115" fmla="*/ 472008 h 798267"/>
              <a:gd name="connsiteX116" fmla="*/ 160620 w 682417"/>
              <a:gd name="connsiteY116" fmla="*/ 473160 h 798267"/>
              <a:gd name="connsiteX117" fmla="*/ 161573 w 682417"/>
              <a:gd name="connsiteY117" fmla="*/ 467522 h 798267"/>
              <a:gd name="connsiteX118" fmla="*/ 153857 w 682417"/>
              <a:gd name="connsiteY118" fmla="*/ 472008 h 798267"/>
              <a:gd name="connsiteX119" fmla="*/ 154010 w 682417"/>
              <a:gd name="connsiteY119" fmla="*/ 484790 h 798267"/>
              <a:gd name="connsiteX120" fmla="*/ 160220 w 682417"/>
              <a:gd name="connsiteY120" fmla="*/ 482362 h 798267"/>
              <a:gd name="connsiteX121" fmla="*/ 154010 w 682417"/>
              <a:gd name="connsiteY121" fmla="*/ 484790 h 798267"/>
              <a:gd name="connsiteX122" fmla="*/ 163335 w 682417"/>
              <a:gd name="connsiteY122" fmla="*/ 388978 h 798267"/>
              <a:gd name="connsiteX123" fmla="*/ 167478 w 682417"/>
              <a:gd name="connsiteY123" fmla="*/ 385054 h 798267"/>
              <a:gd name="connsiteX124" fmla="*/ 163335 w 682417"/>
              <a:gd name="connsiteY124" fmla="*/ 388978 h 798267"/>
              <a:gd name="connsiteX125" fmla="*/ 163935 w 682417"/>
              <a:gd name="connsiteY125" fmla="*/ 378653 h 798267"/>
              <a:gd name="connsiteX126" fmla="*/ 163935 w 682417"/>
              <a:gd name="connsiteY126" fmla="*/ 378653 h 798267"/>
              <a:gd name="connsiteX127" fmla="*/ 128521 w 682417"/>
              <a:gd name="connsiteY127" fmla="*/ 525681 h 798267"/>
              <a:gd name="connsiteX128" fmla="*/ 131521 w 682417"/>
              <a:gd name="connsiteY128" fmla="*/ 528539 h 798267"/>
              <a:gd name="connsiteX129" fmla="*/ 128521 w 682417"/>
              <a:gd name="connsiteY129" fmla="*/ 525681 h 798267"/>
              <a:gd name="connsiteX130" fmla="*/ 135607 w 682417"/>
              <a:gd name="connsiteY130" fmla="*/ 415582 h 798267"/>
              <a:gd name="connsiteX131" fmla="*/ 140475 w 682417"/>
              <a:gd name="connsiteY131" fmla="*/ 421049 h 798267"/>
              <a:gd name="connsiteX132" fmla="*/ 135607 w 682417"/>
              <a:gd name="connsiteY132" fmla="*/ 415582 h 798267"/>
              <a:gd name="connsiteX133" fmla="*/ 125378 w 682417"/>
              <a:gd name="connsiteY133" fmla="*/ 441671 h 798267"/>
              <a:gd name="connsiteX134" fmla="*/ 129188 w 682417"/>
              <a:gd name="connsiteY134" fmla="*/ 439994 h 798267"/>
              <a:gd name="connsiteX135" fmla="*/ 128435 w 682417"/>
              <a:gd name="connsiteY135" fmla="*/ 437546 h 798267"/>
              <a:gd name="connsiteX136" fmla="*/ 125378 w 682417"/>
              <a:gd name="connsiteY136" fmla="*/ 441671 h 798267"/>
              <a:gd name="connsiteX137" fmla="*/ 105156 w 682417"/>
              <a:gd name="connsiteY137" fmla="*/ 485771 h 798267"/>
              <a:gd name="connsiteX138" fmla="*/ 102537 w 682417"/>
              <a:gd name="connsiteY138" fmla="*/ 480695 h 798267"/>
              <a:gd name="connsiteX139" fmla="*/ 105156 w 682417"/>
              <a:gd name="connsiteY139" fmla="*/ 485771 h 798267"/>
              <a:gd name="connsiteX140" fmla="*/ 103070 w 682417"/>
              <a:gd name="connsiteY140" fmla="*/ 491220 h 798267"/>
              <a:gd name="connsiteX141" fmla="*/ 102899 w 682417"/>
              <a:gd name="connsiteY141" fmla="*/ 485390 h 798267"/>
              <a:gd name="connsiteX142" fmla="*/ 99708 w 682417"/>
              <a:gd name="connsiteY142" fmla="*/ 483695 h 798267"/>
              <a:gd name="connsiteX143" fmla="*/ 97431 w 682417"/>
              <a:gd name="connsiteY143" fmla="*/ 490267 h 798267"/>
              <a:gd name="connsiteX144" fmla="*/ 103070 w 682417"/>
              <a:gd name="connsiteY144" fmla="*/ 491220 h 798267"/>
              <a:gd name="connsiteX145" fmla="*/ 37014 w 682417"/>
              <a:gd name="connsiteY145" fmla="*/ 784914 h 798267"/>
              <a:gd name="connsiteX146" fmla="*/ 30794 w 682417"/>
              <a:gd name="connsiteY146" fmla="*/ 787343 h 798267"/>
              <a:gd name="connsiteX147" fmla="*/ 23851 w 682417"/>
              <a:gd name="connsiteY147" fmla="*/ 787343 h 798267"/>
              <a:gd name="connsiteX148" fmla="*/ 26460 w 682417"/>
              <a:gd name="connsiteY148" fmla="*/ 792419 h 798267"/>
              <a:gd name="connsiteX149" fmla="*/ 29318 w 682417"/>
              <a:gd name="connsiteY149" fmla="*/ 789419 h 798267"/>
              <a:gd name="connsiteX150" fmla="*/ 33614 w 682417"/>
              <a:gd name="connsiteY150" fmla="*/ 798268 h 798267"/>
              <a:gd name="connsiteX151" fmla="*/ 33442 w 682417"/>
              <a:gd name="connsiteY151" fmla="*/ 792438 h 798267"/>
              <a:gd name="connsiteX152" fmla="*/ 34957 w 682417"/>
              <a:gd name="connsiteY152" fmla="*/ 790381 h 798267"/>
              <a:gd name="connsiteX153" fmla="*/ 37586 w 682417"/>
              <a:gd name="connsiteY153" fmla="*/ 788476 h 798267"/>
              <a:gd name="connsiteX154" fmla="*/ 37014 w 682417"/>
              <a:gd name="connsiteY154" fmla="*/ 784914 h 798267"/>
              <a:gd name="connsiteX155" fmla="*/ 29127 w 682417"/>
              <a:gd name="connsiteY155" fmla="*/ 783580 h 798267"/>
              <a:gd name="connsiteX156" fmla="*/ 36452 w 682417"/>
              <a:gd name="connsiteY156" fmla="*/ 781342 h 798267"/>
              <a:gd name="connsiteX157" fmla="*/ 37776 w 682417"/>
              <a:gd name="connsiteY157" fmla="*/ 780389 h 798267"/>
              <a:gd name="connsiteX158" fmla="*/ 29127 w 682417"/>
              <a:gd name="connsiteY158" fmla="*/ 783580 h 798267"/>
              <a:gd name="connsiteX159" fmla="*/ 27061 w 682417"/>
              <a:gd name="connsiteY159" fmla="*/ 782066 h 798267"/>
              <a:gd name="connsiteX160" fmla="*/ 24422 w 682417"/>
              <a:gd name="connsiteY160" fmla="*/ 783971 h 798267"/>
              <a:gd name="connsiteX161" fmla="*/ 27061 w 682417"/>
              <a:gd name="connsiteY161" fmla="*/ 782066 h 798267"/>
              <a:gd name="connsiteX162" fmla="*/ 678799 w 682417"/>
              <a:gd name="connsiteY162" fmla="*/ 111296 h 798267"/>
              <a:gd name="connsiteX163" fmla="*/ 679752 w 682417"/>
              <a:gd name="connsiteY163" fmla="*/ 112620 h 798267"/>
              <a:gd name="connsiteX164" fmla="*/ 679561 w 682417"/>
              <a:gd name="connsiteY164" fmla="*/ 113744 h 798267"/>
              <a:gd name="connsiteX165" fmla="*/ 678799 w 682417"/>
              <a:gd name="connsiteY165" fmla="*/ 111296 h 798267"/>
              <a:gd name="connsiteX166" fmla="*/ 677847 w 682417"/>
              <a:gd name="connsiteY166" fmla="*/ 116935 h 798267"/>
              <a:gd name="connsiteX167" fmla="*/ 676142 w 682417"/>
              <a:gd name="connsiteY167" fmla="*/ 120126 h 798267"/>
              <a:gd name="connsiteX168" fmla="*/ 669569 w 682417"/>
              <a:gd name="connsiteY168" fmla="*/ 117849 h 798267"/>
              <a:gd name="connsiteX169" fmla="*/ 664293 w 682417"/>
              <a:gd name="connsiteY169" fmla="*/ 121593 h 798267"/>
              <a:gd name="connsiteX170" fmla="*/ 663531 w 682417"/>
              <a:gd name="connsiteY170" fmla="*/ 126098 h 798267"/>
              <a:gd name="connsiteX171" fmla="*/ 668045 w 682417"/>
              <a:gd name="connsiteY171" fmla="*/ 126869 h 798267"/>
              <a:gd name="connsiteX172" fmla="*/ 666702 w 682417"/>
              <a:gd name="connsiteY172" fmla="*/ 134756 h 798267"/>
              <a:gd name="connsiteX173" fmla="*/ 659940 w 682417"/>
              <a:gd name="connsiteY173" fmla="*/ 133604 h 798267"/>
              <a:gd name="connsiteX174" fmla="*/ 661045 w 682417"/>
              <a:gd name="connsiteY174" fmla="*/ 140747 h 798267"/>
              <a:gd name="connsiteX175" fmla="*/ 663683 w 682417"/>
              <a:gd name="connsiteY175" fmla="*/ 138842 h 798267"/>
              <a:gd name="connsiteX176" fmla="*/ 658406 w 682417"/>
              <a:gd name="connsiteY176" fmla="*/ 142586 h 798267"/>
              <a:gd name="connsiteX177" fmla="*/ 661406 w 682417"/>
              <a:gd name="connsiteY177" fmla="*/ 145443 h 798267"/>
              <a:gd name="connsiteX178" fmla="*/ 658778 w 682417"/>
              <a:gd name="connsiteY178" fmla="*/ 147348 h 798267"/>
              <a:gd name="connsiteX179" fmla="*/ 656139 w 682417"/>
              <a:gd name="connsiteY179" fmla="*/ 149253 h 798267"/>
              <a:gd name="connsiteX180" fmla="*/ 659321 w 682417"/>
              <a:gd name="connsiteY180" fmla="*/ 150949 h 798267"/>
              <a:gd name="connsiteX181" fmla="*/ 660073 w 682417"/>
              <a:gd name="connsiteY181" fmla="*/ 153397 h 798267"/>
              <a:gd name="connsiteX182" fmla="*/ 654806 w 682417"/>
              <a:gd name="connsiteY182" fmla="*/ 157140 h 798267"/>
              <a:gd name="connsiteX183" fmla="*/ 654053 w 682417"/>
              <a:gd name="connsiteY183" fmla="*/ 154692 h 798267"/>
              <a:gd name="connsiteX184" fmla="*/ 645595 w 682417"/>
              <a:gd name="connsiteY184" fmla="*/ 156740 h 798267"/>
              <a:gd name="connsiteX185" fmla="*/ 644071 w 682417"/>
              <a:gd name="connsiteY185" fmla="*/ 165751 h 798267"/>
              <a:gd name="connsiteX186" fmla="*/ 639366 w 682417"/>
              <a:gd name="connsiteY186" fmla="*/ 166112 h 798267"/>
              <a:gd name="connsiteX187" fmla="*/ 639728 w 682417"/>
              <a:gd name="connsiteY187" fmla="*/ 170808 h 798267"/>
              <a:gd name="connsiteX188" fmla="*/ 636175 w 682417"/>
              <a:gd name="connsiteY188" fmla="*/ 164417 h 798267"/>
              <a:gd name="connsiteX189" fmla="*/ 631117 w 682417"/>
              <a:gd name="connsiteY189" fmla="*/ 160074 h 798267"/>
              <a:gd name="connsiteX190" fmla="*/ 636556 w 682417"/>
              <a:gd name="connsiteY190" fmla="*/ 162160 h 798267"/>
              <a:gd name="connsiteX191" fmla="*/ 639194 w 682417"/>
              <a:gd name="connsiteY191" fmla="*/ 160255 h 798267"/>
              <a:gd name="connsiteX192" fmla="*/ 635813 w 682417"/>
              <a:gd name="connsiteY192" fmla="*/ 159683 h 798267"/>
              <a:gd name="connsiteX193" fmla="*/ 635260 w 682417"/>
              <a:gd name="connsiteY193" fmla="*/ 156111 h 798267"/>
              <a:gd name="connsiteX194" fmla="*/ 633946 w 682417"/>
              <a:gd name="connsiteY194" fmla="*/ 157064 h 798267"/>
              <a:gd name="connsiteX195" fmla="*/ 629431 w 682417"/>
              <a:gd name="connsiteY195" fmla="*/ 156302 h 798267"/>
              <a:gd name="connsiteX196" fmla="*/ 624145 w 682417"/>
              <a:gd name="connsiteY196" fmla="*/ 166998 h 798267"/>
              <a:gd name="connsiteX197" fmla="*/ 623192 w 682417"/>
              <a:gd name="connsiteY197" fmla="*/ 172637 h 798267"/>
              <a:gd name="connsiteX198" fmla="*/ 628079 w 682417"/>
              <a:gd name="connsiteY198" fmla="*/ 171142 h 798267"/>
              <a:gd name="connsiteX199" fmla="*/ 628821 w 682417"/>
              <a:gd name="connsiteY199" fmla="*/ 173590 h 798267"/>
              <a:gd name="connsiteX200" fmla="*/ 634641 w 682417"/>
              <a:gd name="connsiteY200" fmla="*/ 173418 h 798267"/>
              <a:gd name="connsiteX201" fmla="*/ 630698 w 682417"/>
              <a:gd name="connsiteY201" fmla="*/ 176276 h 798267"/>
              <a:gd name="connsiteX202" fmla="*/ 625993 w 682417"/>
              <a:gd name="connsiteY202" fmla="*/ 176638 h 798267"/>
              <a:gd name="connsiteX203" fmla="*/ 626545 w 682417"/>
              <a:gd name="connsiteY203" fmla="*/ 180209 h 798267"/>
              <a:gd name="connsiteX204" fmla="*/ 627097 w 682417"/>
              <a:gd name="connsiteY204" fmla="*/ 183772 h 798267"/>
              <a:gd name="connsiteX205" fmla="*/ 630098 w 682417"/>
              <a:gd name="connsiteY205" fmla="*/ 186629 h 798267"/>
              <a:gd name="connsiteX206" fmla="*/ 633289 w 682417"/>
              <a:gd name="connsiteY206" fmla="*/ 188325 h 798267"/>
              <a:gd name="connsiteX207" fmla="*/ 637242 w 682417"/>
              <a:gd name="connsiteY207" fmla="*/ 185515 h 798267"/>
              <a:gd name="connsiteX208" fmla="*/ 635337 w 682417"/>
              <a:gd name="connsiteY208" fmla="*/ 189830 h 798267"/>
              <a:gd name="connsiteX209" fmla="*/ 629707 w 682417"/>
              <a:gd name="connsiteY209" fmla="*/ 188877 h 798267"/>
              <a:gd name="connsiteX210" fmla="*/ 632127 w 682417"/>
              <a:gd name="connsiteY210" fmla="*/ 195088 h 798267"/>
              <a:gd name="connsiteX211" fmla="*/ 628564 w 682417"/>
              <a:gd name="connsiteY211" fmla="*/ 195640 h 798267"/>
              <a:gd name="connsiteX212" fmla="*/ 623097 w 682417"/>
              <a:gd name="connsiteY212" fmla="*/ 200507 h 798267"/>
              <a:gd name="connsiteX213" fmla="*/ 619906 w 682417"/>
              <a:gd name="connsiteY213" fmla="*/ 198812 h 798267"/>
              <a:gd name="connsiteX214" fmla="*/ 619506 w 682417"/>
              <a:gd name="connsiteY214" fmla="*/ 208013 h 798267"/>
              <a:gd name="connsiteX215" fmla="*/ 616887 w 682417"/>
              <a:gd name="connsiteY215" fmla="*/ 202936 h 798267"/>
              <a:gd name="connsiteX216" fmla="*/ 617058 w 682417"/>
              <a:gd name="connsiteY216" fmla="*/ 208765 h 798267"/>
              <a:gd name="connsiteX217" fmla="*/ 613677 w 682417"/>
              <a:gd name="connsiteY217" fmla="*/ 208184 h 798267"/>
              <a:gd name="connsiteX218" fmla="*/ 616677 w 682417"/>
              <a:gd name="connsiteY218" fmla="*/ 211042 h 798267"/>
              <a:gd name="connsiteX219" fmla="*/ 612724 w 682417"/>
              <a:gd name="connsiteY219" fmla="*/ 213852 h 798267"/>
              <a:gd name="connsiteX220" fmla="*/ 611381 w 682417"/>
              <a:gd name="connsiteY220" fmla="*/ 221738 h 798267"/>
              <a:gd name="connsiteX221" fmla="*/ 605752 w 682417"/>
              <a:gd name="connsiteY221" fmla="*/ 220786 h 798267"/>
              <a:gd name="connsiteX222" fmla="*/ 603114 w 682417"/>
              <a:gd name="connsiteY222" fmla="*/ 222691 h 798267"/>
              <a:gd name="connsiteX223" fmla="*/ 593503 w 682417"/>
              <a:gd name="connsiteY223" fmla="*/ 231492 h 798267"/>
              <a:gd name="connsiteX224" fmla="*/ 586750 w 682417"/>
              <a:gd name="connsiteY224" fmla="*/ 230349 h 798267"/>
              <a:gd name="connsiteX225" fmla="*/ 590864 w 682417"/>
              <a:gd name="connsiteY225" fmla="*/ 233368 h 798267"/>
              <a:gd name="connsiteX226" fmla="*/ 595751 w 682417"/>
              <a:gd name="connsiteY226" fmla="*/ 231873 h 798267"/>
              <a:gd name="connsiteX227" fmla="*/ 595922 w 682417"/>
              <a:gd name="connsiteY227" fmla="*/ 237702 h 798267"/>
              <a:gd name="connsiteX228" fmla="*/ 595179 w 682417"/>
              <a:gd name="connsiteY228" fmla="*/ 235254 h 798267"/>
              <a:gd name="connsiteX229" fmla="*/ 593674 w 682417"/>
              <a:gd name="connsiteY229" fmla="*/ 237321 h 798267"/>
              <a:gd name="connsiteX230" fmla="*/ 587845 w 682417"/>
              <a:gd name="connsiteY230" fmla="*/ 237493 h 798267"/>
              <a:gd name="connsiteX231" fmla="*/ 588407 w 682417"/>
              <a:gd name="connsiteY231" fmla="*/ 241065 h 798267"/>
              <a:gd name="connsiteX232" fmla="*/ 595351 w 682417"/>
              <a:gd name="connsiteY232" fmla="*/ 241065 h 798267"/>
              <a:gd name="connsiteX233" fmla="*/ 592493 w 682417"/>
              <a:gd name="connsiteY233" fmla="*/ 244065 h 798267"/>
              <a:gd name="connsiteX234" fmla="*/ 587407 w 682417"/>
              <a:gd name="connsiteY234" fmla="*/ 246675 h 798267"/>
              <a:gd name="connsiteX235" fmla="*/ 588540 w 682417"/>
              <a:gd name="connsiteY235" fmla="*/ 246865 h 798267"/>
              <a:gd name="connsiteX236" fmla="*/ 587588 w 682417"/>
              <a:gd name="connsiteY236" fmla="*/ 252504 h 798267"/>
              <a:gd name="connsiteX237" fmla="*/ 580615 w 682417"/>
              <a:gd name="connsiteY237" fmla="*/ 259438 h 798267"/>
              <a:gd name="connsiteX238" fmla="*/ 577425 w 682417"/>
              <a:gd name="connsiteY238" fmla="*/ 257733 h 798267"/>
              <a:gd name="connsiteX239" fmla="*/ 573472 w 682417"/>
              <a:gd name="connsiteY239" fmla="*/ 260543 h 798267"/>
              <a:gd name="connsiteX240" fmla="*/ 574958 w 682417"/>
              <a:gd name="connsiteY240" fmla="*/ 265439 h 798267"/>
              <a:gd name="connsiteX241" fmla="*/ 573624 w 682417"/>
              <a:gd name="connsiteY241" fmla="*/ 273316 h 798267"/>
              <a:gd name="connsiteX242" fmla="*/ 577005 w 682417"/>
              <a:gd name="connsiteY242" fmla="*/ 273897 h 798267"/>
              <a:gd name="connsiteX243" fmla="*/ 575100 w 682417"/>
              <a:gd name="connsiteY243" fmla="*/ 278212 h 798267"/>
              <a:gd name="connsiteX244" fmla="*/ 573396 w 682417"/>
              <a:gd name="connsiteY244" fmla="*/ 281403 h 798267"/>
              <a:gd name="connsiteX245" fmla="*/ 570538 w 682417"/>
              <a:gd name="connsiteY245" fmla="*/ 277450 h 798267"/>
              <a:gd name="connsiteX246" fmla="*/ 568633 w 682417"/>
              <a:gd name="connsiteY246" fmla="*/ 281765 h 798267"/>
              <a:gd name="connsiteX247" fmla="*/ 571633 w 682417"/>
              <a:gd name="connsiteY247" fmla="*/ 284623 h 798267"/>
              <a:gd name="connsiteX248" fmla="*/ 564299 w 682417"/>
              <a:gd name="connsiteY248" fmla="*/ 286851 h 798267"/>
              <a:gd name="connsiteX249" fmla="*/ 562813 w 682417"/>
              <a:gd name="connsiteY249" fmla="*/ 281965 h 798267"/>
              <a:gd name="connsiteX250" fmla="*/ 558298 w 682417"/>
              <a:gd name="connsiteY250" fmla="*/ 281194 h 798267"/>
              <a:gd name="connsiteX251" fmla="*/ 557727 w 682417"/>
              <a:gd name="connsiteY251" fmla="*/ 284575 h 798267"/>
              <a:gd name="connsiteX252" fmla="*/ 554355 w 682417"/>
              <a:gd name="connsiteY252" fmla="*/ 284003 h 798267"/>
              <a:gd name="connsiteX253" fmla="*/ 555098 w 682417"/>
              <a:gd name="connsiteY253" fmla="*/ 286451 h 798267"/>
              <a:gd name="connsiteX254" fmla="*/ 562242 w 682417"/>
              <a:gd name="connsiteY254" fmla="*/ 285346 h 798267"/>
              <a:gd name="connsiteX255" fmla="*/ 560537 w 682417"/>
              <a:gd name="connsiteY255" fmla="*/ 288528 h 798267"/>
              <a:gd name="connsiteX256" fmla="*/ 558089 w 682417"/>
              <a:gd name="connsiteY256" fmla="*/ 289280 h 798267"/>
              <a:gd name="connsiteX257" fmla="*/ 556031 w 682417"/>
              <a:gd name="connsiteY257" fmla="*/ 287766 h 798267"/>
              <a:gd name="connsiteX258" fmla="*/ 550202 w 682417"/>
              <a:gd name="connsiteY258" fmla="*/ 287937 h 798267"/>
              <a:gd name="connsiteX259" fmla="*/ 558641 w 682417"/>
              <a:gd name="connsiteY259" fmla="*/ 292843 h 798267"/>
              <a:gd name="connsiteX260" fmla="*/ 558260 w 682417"/>
              <a:gd name="connsiteY260" fmla="*/ 295100 h 798267"/>
              <a:gd name="connsiteX261" fmla="*/ 560165 w 682417"/>
              <a:gd name="connsiteY261" fmla="*/ 297738 h 798267"/>
              <a:gd name="connsiteX262" fmla="*/ 559403 w 682417"/>
              <a:gd name="connsiteY262" fmla="*/ 302244 h 798267"/>
              <a:gd name="connsiteX263" fmla="*/ 553383 w 682417"/>
              <a:gd name="connsiteY263" fmla="*/ 303549 h 798267"/>
              <a:gd name="connsiteX264" fmla="*/ 549812 w 682417"/>
              <a:gd name="connsiteY264" fmla="*/ 304101 h 798267"/>
              <a:gd name="connsiteX265" fmla="*/ 550174 w 682417"/>
              <a:gd name="connsiteY265" fmla="*/ 308797 h 798267"/>
              <a:gd name="connsiteX266" fmla="*/ 546964 w 682417"/>
              <a:gd name="connsiteY266" fmla="*/ 314055 h 798267"/>
              <a:gd name="connsiteX267" fmla="*/ 553164 w 682417"/>
              <a:gd name="connsiteY267" fmla="*/ 311626 h 798267"/>
              <a:gd name="connsiteX268" fmla="*/ 547516 w 682417"/>
              <a:gd name="connsiteY268" fmla="*/ 317617 h 798267"/>
              <a:gd name="connsiteX269" fmla="*/ 547516 w 682417"/>
              <a:gd name="connsiteY269" fmla="*/ 324570 h 798267"/>
              <a:gd name="connsiteX270" fmla="*/ 539439 w 682417"/>
              <a:gd name="connsiteY270" fmla="*/ 324361 h 798267"/>
              <a:gd name="connsiteX271" fmla="*/ 542049 w 682417"/>
              <a:gd name="connsiteY271" fmla="*/ 329438 h 798267"/>
              <a:gd name="connsiteX272" fmla="*/ 547878 w 682417"/>
              <a:gd name="connsiteY272" fmla="*/ 329266 h 798267"/>
              <a:gd name="connsiteX273" fmla="*/ 545430 w 682417"/>
              <a:gd name="connsiteY273" fmla="*/ 330019 h 798267"/>
              <a:gd name="connsiteX274" fmla="*/ 542411 w 682417"/>
              <a:gd name="connsiteY274" fmla="*/ 334143 h 798267"/>
              <a:gd name="connsiteX275" fmla="*/ 539410 w 682417"/>
              <a:gd name="connsiteY275" fmla="*/ 331285 h 798267"/>
              <a:gd name="connsiteX276" fmla="*/ 532438 w 682417"/>
              <a:gd name="connsiteY276" fmla="*/ 338220 h 798267"/>
              <a:gd name="connsiteX277" fmla="*/ 534124 w 682417"/>
              <a:gd name="connsiteY277" fmla="*/ 342030 h 798267"/>
              <a:gd name="connsiteX278" fmla="*/ 536572 w 682417"/>
              <a:gd name="connsiteY278" fmla="*/ 341287 h 798267"/>
              <a:gd name="connsiteX279" fmla="*/ 538477 w 682417"/>
              <a:gd name="connsiteY279" fmla="*/ 343925 h 798267"/>
              <a:gd name="connsiteX280" fmla="*/ 539782 w 682417"/>
              <a:gd name="connsiteY280" fmla="*/ 342973 h 798267"/>
              <a:gd name="connsiteX281" fmla="*/ 543163 w 682417"/>
              <a:gd name="connsiteY281" fmla="*/ 343544 h 798267"/>
              <a:gd name="connsiteX282" fmla="*/ 540525 w 682417"/>
              <a:gd name="connsiteY282" fmla="*/ 345449 h 798267"/>
              <a:gd name="connsiteX283" fmla="*/ 536762 w 682417"/>
              <a:gd name="connsiteY283" fmla="*/ 347126 h 798267"/>
              <a:gd name="connsiteX284" fmla="*/ 536000 w 682417"/>
              <a:gd name="connsiteY284" fmla="*/ 351631 h 798267"/>
              <a:gd name="connsiteX285" fmla="*/ 535229 w 682417"/>
              <a:gd name="connsiteY285" fmla="*/ 356146 h 798267"/>
              <a:gd name="connsiteX286" fmla="*/ 529962 w 682417"/>
              <a:gd name="connsiteY286" fmla="*/ 359889 h 798267"/>
              <a:gd name="connsiteX287" fmla="*/ 525199 w 682417"/>
              <a:gd name="connsiteY287" fmla="*/ 367204 h 798267"/>
              <a:gd name="connsiteX288" fmla="*/ 521084 w 682417"/>
              <a:gd name="connsiteY288" fmla="*/ 364185 h 798267"/>
              <a:gd name="connsiteX289" fmla="*/ 520684 w 682417"/>
              <a:gd name="connsiteY289" fmla="*/ 373386 h 798267"/>
              <a:gd name="connsiteX290" fmla="*/ 515045 w 682417"/>
              <a:gd name="connsiteY290" fmla="*/ 372434 h 798267"/>
              <a:gd name="connsiteX291" fmla="*/ 517665 w 682417"/>
              <a:gd name="connsiteY291" fmla="*/ 377510 h 798267"/>
              <a:gd name="connsiteX292" fmla="*/ 513702 w 682417"/>
              <a:gd name="connsiteY292" fmla="*/ 380368 h 798267"/>
              <a:gd name="connsiteX293" fmla="*/ 513131 w 682417"/>
              <a:gd name="connsiteY293" fmla="*/ 383749 h 798267"/>
              <a:gd name="connsiteX294" fmla="*/ 519894 w 682417"/>
              <a:gd name="connsiteY294" fmla="*/ 384902 h 798267"/>
              <a:gd name="connsiteX295" fmla="*/ 515007 w 682417"/>
              <a:gd name="connsiteY295" fmla="*/ 386388 h 798267"/>
              <a:gd name="connsiteX296" fmla="*/ 517627 w 682417"/>
              <a:gd name="connsiteY296" fmla="*/ 391474 h 798267"/>
              <a:gd name="connsiteX297" fmla="*/ 514598 w 682417"/>
              <a:gd name="connsiteY297" fmla="*/ 395598 h 798267"/>
              <a:gd name="connsiteX298" fmla="*/ 514217 w 682417"/>
              <a:gd name="connsiteY298" fmla="*/ 397846 h 798267"/>
              <a:gd name="connsiteX299" fmla="*/ 510645 w 682417"/>
              <a:gd name="connsiteY299" fmla="*/ 398399 h 798267"/>
              <a:gd name="connsiteX300" fmla="*/ 507082 w 682417"/>
              <a:gd name="connsiteY300" fmla="*/ 398951 h 798267"/>
              <a:gd name="connsiteX301" fmla="*/ 506520 w 682417"/>
              <a:gd name="connsiteY301" fmla="*/ 395379 h 798267"/>
              <a:gd name="connsiteX302" fmla="*/ 503663 w 682417"/>
              <a:gd name="connsiteY302" fmla="*/ 391426 h 798267"/>
              <a:gd name="connsiteX303" fmla="*/ 501758 w 682417"/>
              <a:gd name="connsiteY303" fmla="*/ 395741 h 798267"/>
              <a:gd name="connsiteX304" fmla="*/ 503663 w 682417"/>
              <a:gd name="connsiteY304" fmla="*/ 398380 h 798267"/>
              <a:gd name="connsiteX305" fmla="*/ 501968 w 682417"/>
              <a:gd name="connsiteY305" fmla="*/ 401570 h 798267"/>
              <a:gd name="connsiteX306" fmla="*/ 502139 w 682417"/>
              <a:gd name="connsiteY306" fmla="*/ 407400 h 798267"/>
              <a:gd name="connsiteX307" fmla="*/ 493509 w 682417"/>
              <a:gd name="connsiteY307" fmla="*/ 403590 h 798267"/>
              <a:gd name="connsiteX308" fmla="*/ 498567 w 682417"/>
              <a:gd name="connsiteY308" fmla="*/ 407924 h 798267"/>
              <a:gd name="connsiteX309" fmla="*/ 496853 w 682417"/>
              <a:gd name="connsiteY309" fmla="*/ 418068 h 798267"/>
              <a:gd name="connsiteX310" fmla="*/ 487251 w 682417"/>
              <a:gd name="connsiteY310" fmla="*/ 419973 h 798267"/>
              <a:gd name="connsiteX311" fmla="*/ 490842 w 682417"/>
              <a:gd name="connsiteY311" fmla="*/ 412467 h 798267"/>
              <a:gd name="connsiteX312" fmla="*/ 488594 w 682417"/>
              <a:gd name="connsiteY312" fmla="*/ 412077 h 798267"/>
              <a:gd name="connsiteX313" fmla="*/ 488404 w 682417"/>
              <a:gd name="connsiteY313" fmla="*/ 413210 h 798267"/>
              <a:gd name="connsiteX314" fmla="*/ 484451 w 682417"/>
              <a:gd name="connsiteY314" fmla="*/ 416010 h 798267"/>
              <a:gd name="connsiteX315" fmla="*/ 480641 w 682417"/>
              <a:gd name="connsiteY315" fmla="*/ 417696 h 798267"/>
              <a:gd name="connsiteX316" fmla="*/ 479336 w 682417"/>
              <a:gd name="connsiteY316" fmla="*/ 411677 h 798267"/>
              <a:gd name="connsiteX317" fmla="*/ 483680 w 682417"/>
              <a:gd name="connsiteY317" fmla="*/ 406619 h 798267"/>
              <a:gd name="connsiteX318" fmla="*/ 478050 w 682417"/>
              <a:gd name="connsiteY318" fmla="*/ 405666 h 798267"/>
              <a:gd name="connsiteX319" fmla="*/ 476364 w 682417"/>
              <a:gd name="connsiteY319" fmla="*/ 401856 h 798267"/>
              <a:gd name="connsiteX320" fmla="*/ 479384 w 682417"/>
              <a:gd name="connsiteY320" fmla="*/ 397741 h 798267"/>
              <a:gd name="connsiteX321" fmla="*/ 480698 w 682417"/>
              <a:gd name="connsiteY321" fmla="*/ 396789 h 798267"/>
              <a:gd name="connsiteX322" fmla="*/ 480146 w 682417"/>
              <a:gd name="connsiteY322" fmla="*/ 393217 h 798267"/>
              <a:gd name="connsiteX323" fmla="*/ 483156 w 682417"/>
              <a:gd name="connsiteY323" fmla="*/ 389093 h 798267"/>
              <a:gd name="connsiteX324" fmla="*/ 480298 w 682417"/>
              <a:gd name="connsiteY324" fmla="*/ 392093 h 798267"/>
              <a:gd name="connsiteX325" fmla="*/ 478393 w 682417"/>
              <a:gd name="connsiteY325" fmla="*/ 389455 h 798267"/>
              <a:gd name="connsiteX326" fmla="*/ 473688 w 682417"/>
              <a:gd name="connsiteY326" fmla="*/ 389817 h 798267"/>
              <a:gd name="connsiteX327" fmla="*/ 476326 w 682417"/>
              <a:gd name="connsiteY327" fmla="*/ 387912 h 798267"/>
              <a:gd name="connsiteX328" fmla="*/ 477469 w 682417"/>
              <a:gd name="connsiteY328" fmla="*/ 381149 h 798267"/>
              <a:gd name="connsiteX329" fmla="*/ 484803 w 682417"/>
              <a:gd name="connsiteY329" fmla="*/ 378910 h 798267"/>
              <a:gd name="connsiteX330" fmla="*/ 487251 w 682417"/>
              <a:gd name="connsiteY330" fmla="*/ 378168 h 798267"/>
              <a:gd name="connsiteX331" fmla="*/ 486299 w 682417"/>
              <a:gd name="connsiteY331" fmla="*/ 376844 h 798267"/>
              <a:gd name="connsiteX332" fmla="*/ 493271 w 682417"/>
              <a:gd name="connsiteY332" fmla="*/ 369919 h 798267"/>
              <a:gd name="connsiteX333" fmla="*/ 492142 w 682417"/>
              <a:gd name="connsiteY333" fmla="*/ 368744 h 798267"/>
              <a:gd name="connsiteX334" fmla="*/ 491023 w 682417"/>
              <a:gd name="connsiteY334" fmla="*/ 369538 h 798267"/>
              <a:gd name="connsiteX335" fmla="*/ 491404 w 682417"/>
              <a:gd name="connsiteY335" fmla="*/ 367280 h 798267"/>
              <a:gd name="connsiteX336" fmla="*/ 490452 w 682417"/>
              <a:gd name="connsiteY336" fmla="*/ 365966 h 798267"/>
              <a:gd name="connsiteX337" fmla="*/ 493862 w 682417"/>
              <a:gd name="connsiteY337" fmla="*/ 359584 h 798267"/>
              <a:gd name="connsiteX338" fmla="*/ 493690 w 682417"/>
              <a:gd name="connsiteY338" fmla="*/ 353764 h 798267"/>
              <a:gd name="connsiteX339" fmla="*/ 495595 w 682417"/>
              <a:gd name="connsiteY339" fmla="*/ 349440 h 798267"/>
              <a:gd name="connsiteX340" fmla="*/ 498805 w 682417"/>
              <a:gd name="connsiteY340" fmla="*/ 344192 h 798267"/>
              <a:gd name="connsiteX341" fmla="*/ 506139 w 682417"/>
              <a:gd name="connsiteY341" fmla="*/ 341954 h 798267"/>
              <a:gd name="connsiteX342" fmla="*/ 503282 w 682417"/>
              <a:gd name="connsiteY342" fmla="*/ 338001 h 798267"/>
              <a:gd name="connsiteX343" fmla="*/ 505558 w 682417"/>
              <a:gd name="connsiteY343" fmla="*/ 331438 h 798267"/>
              <a:gd name="connsiteX344" fmla="*/ 508940 w 682417"/>
              <a:gd name="connsiteY344" fmla="*/ 332009 h 798267"/>
              <a:gd name="connsiteX345" fmla="*/ 509711 w 682417"/>
              <a:gd name="connsiteY345" fmla="*/ 327504 h 798267"/>
              <a:gd name="connsiteX346" fmla="*/ 515722 w 682417"/>
              <a:gd name="connsiteY346" fmla="*/ 326199 h 798267"/>
              <a:gd name="connsiteX347" fmla="*/ 516674 w 682417"/>
              <a:gd name="connsiteY347" fmla="*/ 320570 h 798267"/>
              <a:gd name="connsiteX348" fmla="*/ 520636 w 682417"/>
              <a:gd name="connsiteY348" fmla="*/ 317712 h 798267"/>
              <a:gd name="connsiteX349" fmla="*/ 528161 w 682417"/>
              <a:gd name="connsiteY349" fmla="*/ 314350 h 798267"/>
              <a:gd name="connsiteX350" fmla="*/ 525523 w 682417"/>
              <a:gd name="connsiteY350" fmla="*/ 316255 h 798267"/>
              <a:gd name="connsiteX351" fmla="*/ 519522 w 682417"/>
              <a:gd name="connsiteY351" fmla="*/ 310607 h 798267"/>
              <a:gd name="connsiteX352" fmla="*/ 515407 w 682417"/>
              <a:gd name="connsiteY352" fmla="*/ 307587 h 798267"/>
              <a:gd name="connsiteX353" fmla="*/ 513912 w 682417"/>
              <a:gd name="connsiteY353" fmla="*/ 302701 h 798267"/>
              <a:gd name="connsiteX354" fmla="*/ 520694 w 682417"/>
              <a:gd name="connsiteY354" fmla="*/ 296891 h 798267"/>
              <a:gd name="connsiteX355" fmla="*/ 529152 w 682417"/>
              <a:gd name="connsiteY355" fmla="*/ 294852 h 798267"/>
              <a:gd name="connsiteX356" fmla="*/ 520713 w 682417"/>
              <a:gd name="connsiteY356" fmla="*/ 289937 h 798267"/>
              <a:gd name="connsiteX357" fmla="*/ 528980 w 682417"/>
              <a:gd name="connsiteY357" fmla="*/ 288985 h 798267"/>
              <a:gd name="connsiteX358" fmla="*/ 526923 w 682417"/>
              <a:gd name="connsiteY358" fmla="*/ 287470 h 798267"/>
              <a:gd name="connsiteX359" fmla="*/ 528619 w 682417"/>
              <a:gd name="connsiteY359" fmla="*/ 284289 h 798267"/>
              <a:gd name="connsiteX360" fmla="*/ 526713 w 682417"/>
              <a:gd name="connsiteY360" fmla="*/ 281651 h 798267"/>
              <a:gd name="connsiteX361" fmla="*/ 527285 w 682417"/>
              <a:gd name="connsiteY361" fmla="*/ 278269 h 798267"/>
              <a:gd name="connsiteX362" fmla="*/ 530495 w 682417"/>
              <a:gd name="connsiteY362" fmla="*/ 273021 h 798267"/>
              <a:gd name="connsiteX363" fmla="*/ 532933 w 682417"/>
              <a:gd name="connsiteY363" fmla="*/ 272278 h 798267"/>
              <a:gd name="connsiteX364" fmla="*/ 532381 w 682417"/>
              <a:gd name="connsiteY364" fmla="*/ 268697 h 798267"/>
              <a:gd name="connsiteX365" fmla="*/ 539744 w 682417"/>
              <a:gd name="connsiteY365" fmla="*/ 259515 h 798267"/>
              <a:gd name="connsiteX366" fmla="*/ 544058 w 682417"/>
              <a:gd name="connsiteY366" fmla="*/ 261420 h 798267"/>
              <a:gd name="connsiteX367" fmla="*/ 541068 w 682417"/>
              <a:gd name="connsiteY367" fmla="*/ 258562 h 798267"/>
              <a:gd name="connsiteX368" fmla="*/ 544078 w 682417"/>
              <a:gd name="connsiteY368" fmla="*/ 254438 h 798267"/>
              <a:gd name="connsiteX369" fmla="*/ 547097 w 682417"/>
              <a:gd name="connsiteY369" fmla="*/ 250313 h 798267"/>
              <a:gd name="connsiteX370" fmla="*/ 552726 w 682417"/>
              <a:gd name="connsiteY370" fmla="*/ 251266 h 798267"/>
              <a:gd name="connsiteX371" fmla="*/ 552726 w 682417"/>
              <a:gd name="connsiteY371" fmla="*/ 244313 h 798267"/>
              <a:gd name="connsiteX372" fmla="*/ 549707 w 682417"/>
              <a:gd name="connsiteY372" fmla="*/ 248437 h 798267"/>
              <a:gd name="connsiteX373" fmla="*/ 548964 w 682417"/>
              <a:gd name="connsiteY373" fmla="*/ 245999 h 798267"/>
              <a:gd name="connsiteX374" fmla="*/ 544268 w 682417"/>
              <a:gd name="connsiteY374" fmla="*/ 246361 h 798267"/>
              <a:gd name="connsiteX375" fmla="*/ 551793 w 682417"/>
              <a:gd name="connsiteY375" fmla="*/ 242998 h 798267"/>
              <a:gd name="connsiteX376" fmla="*/ 554803 w 682417"/>
              <a:gd name="connsiteY376" fmla="*/ 238864 h 798267"/>
              <a:gd name="connsiteX377" fmla="*/ 553126 w 682417"/>
              <a:gd name="connsiteY377" fmla="*/ 235112 h 798267"/>
              <a:gd name="connsiteX378" fmla="*/ 562166 w 682417"/>
              <a:gd name="connsiteY378" fmla="*/ 229682 h 798267"/>
              <a:gd name="connsiteX379" fmla="*/ 571691 w 682417"/>
              <a:gd name="connsiteY379" fmla="*/ 234788 h 798267"/>
              <a:gd name="connsiteX380" fmla="*/ 567947 w 682417"/>
              <a:gd name="connsiteY380" fmla="*/ 229511 h 798267"/>
              <a:gd name="connsiteX381" fmla="*/ 568709 w 682417"/>
              <a:gd name="connsiteY381" fmla="*/ 225006 h 798267"/>
              <a:gd name="connsiteX382" fmla="*/ 567585 w 682417"/>
              <a:gd name="connsiteY382" fmla="*/ 224815 h 798267"/>
              <a:gd name="connsiteX383" fmla="*/ 566099 w 682417"/>
              <a:gd name="connsiteY383" fmla="*/ 219929 h 798267"/>
              <a:gd name="connsiteX384" fmla="*/ 578539 w 682417"/>
              <a:gd name="connsiteY384" fmla="*/ 208127 h 798267"/>
              <a:gd name="connsiteX385" fmla="*/ 580254 w 682417"/>
              <a:gd name="connsiteY385" fmla="*/ 197983 h 798267"/>
              <a:gd name="connsiteX386" fmla="*/ 585330 w 682417"/>
              <a:gd name="connsiteY386" fmla="*/ 195364 h 798267"/>
              <a:gd name="connsiteX387" fmla="*/ 587054 w 682417"/>
              <a:gd name="connsiteY387" fmla="*/ 185229 h 798267"/>
              <a:gd name="connsiteX388" fmla="*/ 585759 w 682417"/>
              <a:gd name="connsiteY388" fmla="*/ 179209 h 798267"/>
              <a:gd name="connsiteX389" fmla="*/ 588207 w 682417"/>
              <a:gd name="connsiteY389" fmla="*/ 178457 h 798267"/>
              <a:gd name="connsiteX390" fmla="*/ 592712 w 682417"/>
              <a:gd name="connsiteY390" fmla="*/ 179228 h 798267"/>
              <a:gd name="connsiteX391" fmla="*/ 595570 w 682417"/>
              <a:gd name="connsiteY391" fmla="*/ 176228 h 798267"/>
              <a:gd name="connsiteX392" fmla="*/ 597818 w 682417"/>
              <a:gd name="connsiteY392" fmla="*/ 176609 h 798267"/>
              <a:gd name="connsiteX393" fmla="*/ 598199 w 682417"/>
              <a:gd name="connsiteY393" fmla="*/ 174352 h 798267"/>
              <a:gd name="connsiteX394" fmla="*/ 600475 w 682417"/>
              <a:gd name="connsiteY394" fmla="*/ 167789 h 798267"/>
              <a:gd name="connsiteX395" fmla="*/ 602923 w 682417"/>
              <a:gd name="connsiteY395" fmla="*/ 167046 h 798267"/>
              <a:gd name="connsiteX396" fmla="*/ 604647 w 682417"/>
              <a:gd name="connsiteY396" fmla="*/ 156902 h 798267"/>
              <a:gd name="connsiteX397" fmla="*/ 607505 w 682417"/>
              <a:gd name="connsiteY397" fmla="*/ 153901 h 798267"/>
              <a:gd name="connsiteX398" fmla="*/ 611257 w 682417"/>
              <a:gd name="connsiteY398" fmla="*/ 152215 h 798267"/>
              <a:gd name="connsiteX399" fmla="*/ 605438 w 682417"/>
              <a:gd name="connsiteY399" fmla="*/ 152396 h 798267"/>
              <a:gd name="connsiteX400" fmla="*/ 609390 w 682417"/>
              <a:gd name="connsiteY400" fmla="*/ 149587 h 798267"/>
              <a:gd name="connsiteX401" fmla="*/ 609029 w 682417"/>
              <a:gd name="connsiteY401" fmla="*/ 144891 h 798267"/>
              <a:gd name="connsiteX402" fmla="*/ 606171 w 682417"/>
              <a:gd name="connsiteY402" fmla="*/ 147882 h 798267"/>
              <a:gd name="connsiteX403" fmla="*/ 600732 w 682417"/>
              <a:gd name="connsiteY403" fmla="*/ 145805 h 798267"/>
              <a:gd name="connsiteX404" fmla="*/ 598827 w 682417"/>
              <a:gd name="connsiteY404" fmla="*/ 150110 h 798267"/>
              <a:gd name="connsiteX405" fmla="*/ 594322 w 682417"/>
              <a:gd name="connsiteY405" fmla="*/ 149348 h 798267"/>
              <a:gd name="connsiteX406" fmla="*/ 597179 w 682417"/>
              <a:gd name="connsiteY406" fmla="*/ 146358 h 798267"/>
              <a:gd name="connsiteX407" fmla="*/ 587778 w 682417"/>
              <a:gd name="connsiteY407" fmla="*/ 147082 h 798267"/>
              <a:gd name="connsiteX408" fmla="*/ 586273 w 682417"/>
              <a:gd name="connsiteY408" fmla="*/ 149139 h 798267"/>
              <a:gd name="connsiteX409" fmla="*/ 583635 w 682417"/>
              <a:gd name="connsiteY409" fmla="*/ 151044 h 798267"/>
              <a:gd name="connsiteX410" fmla="*/ 573872 w 682417"/>
              <a:gd name="connsiteY410" fmla="*/ 147062 h 798267"/>
              <a:gd name="connsiteX411" fmla="*/ 567290 w 682417"/>
              <a:gd name="connsiteY411" fmla="*/ 151749 h 798267"/>
              <a:gd name="connsiteX412" fmla="*/ 561642 w 682417"/>
              <a:gd name="connsiteY412" fmla="*/ 150796 h 798267"/>
              <a:gd name="connsiteX413" fmla="*/ 557698 w 682417"/>
              <a:gd name="connsiteY413" fmla="*/ 153654 h 798267"/>
              <a:gd name="connsiteX414" fmla="*/ 550926 w 682417"/>
              <a:gd name="connsiteY414" fmla="*/ 152501 h 798267"/>
              <a:gd name="connsiteX415" fmla="*/ 549431 w 682417"/>
              <a:gd name="connsiteY415" fmla="*/ 154568 h 798267"/>
              <a:gd name="connsiteX416" fmla="*/ 543020 w 682417"/>
              <a:gd name="connsiteY416" fmla="*/ 158121 h 798267"/>
              <a:gd name="connsiteX417" fmla="*/ 533800 w 682417"/>
              <a:gd name="connsiteY417" fmla="*/ 164674 h 798267"/>
              <a:gd name="connsiteX418" fmla="*/ 528914 w 682417"/>
              <a:gd name="connsiteY418" fmla="*/ 166160 h 798267"/>
              <a:gd name="connsiteX419" fmla="*/ 527228 w 682417"/>
              <a:gd name="connsiteY419" fmla="*/ 162398 h 798267"/>
              <a:gd name="connsiteX420" fmla="*/ 522141 w 682417"/>
              <a:gd name="connsiteY420" fmla="*/ 165017 h 798267"/>
              <a:gd name="connsiteX421" fmla="*/ 517265 w 682417"/>
              <a:gd name="connsiteY421" fmla="*/ 166503 h 798267"/>
              <a:gd name="connsiteX422" fmla="*/ 514407 w 682417"/>
              <a:gd name="connsiteY422" fmla="*/ 169494 h 798267"/>
              <a:gd name="connsiteX423" fmla="*/ 506911 w 682417"/>
              <a:gd name="connsiteY423" fmla="*/ 165912 h 798267"/>
              <a:gd name="connsiteX424" fmla="*/ 506330 w 682417"/>
              <a:gd name="connsiteY424" fmla="*/ 169284 h 798267"/>
              <a:gd name="connsiteX425" fmla="*/ 510073 w 682417"/>
              <a:gd name="connsiteY425" fmla="*/ 174561 h 798267"/>
              <a:gd name="connsiteX426" fmla="*/ 505535 w 682417"/>
              <a:gd name="connsiteY426" fmla="*/ 173564 h 798267"/>
              <a:gd name="connsiteX427" fmla="*/ 504053 w 682417"/>
              <a:gd name="connsiteY427" fmla="*/ 175857 h 798267"/>
              <a:gd name="connsiteX428" fmla="*/ 501053 w 682417"/>
              <a:gd name="connsiteY428" fmla="*/ 172999 h 798267"/>
              <a:gd name="connsiteX429" fmla="*/ 494091 w 682417"/>
              <a:gd name="connsiteY429" fmla="*/ 178952 h 798267"/>
              <a:gd name="connsiteX430" fmla="*/ 494090 w 682417"/>
              <a:gd name="connsiteY430" fmla="*/ 179943 h 798267"/>
              <a:gd name="connsiteX431" fmla="*/ 493347 w 682417"/>
              <a:gd name="connsiteY431" fmla="*/ 177495 h 798267"/>
              <a:gd name="connsiteX432" fmla="*/ 489385 w 682417"/>
              <a:gd name="connsiteY432" fmla="*/ 180295 h 798267"/>
              <a:gd name="connsiteX433" fmla="*/ 485261 w 682417"/>
              <a:gd name="connsiteY433" fmla="*/ 177276 h 798267"/>
              <a:gd name="connsiteX434" fmla="*/ 485813 w 682417"/>
              <a:gd name="connsiteY434" fmla="*/ 180848 h 798267"/>
              <a:gd name="connsiteX435" fmla="*/ 484861 w 682417"/>
              <a:gd name="connsiteY435" fmla="*/ 179533 h 798267"/>
              <a:gd name="connsiteX436" fmla="*/ 478469 w 682417"/>
              <a:gd name="connsiteY436" fmla="*/ 183086 h 798267"/>
              <a:gd name="connsiteX437" fmla="*/ 479231 w 682417"/>
              <a:gd name="connsiteY437" fmla="*/ 178581 h 798267"/>
              <a:gd name="connsiteX438" fmla="*/ 475278 w 682417"/>
              <a:gd name="connsiteY438" fmla="*/ 181391 h 798267"/>
              <a:gd name="connsiteX439" fmla="*/ 471468 w 682417"/>
              <a:gd name="connsiteY439" fmla="*/ 190020 h 798267"/>
              <a:gd name="connsiteX440" fmla="*/ 466030 w 682417"/>
              <a:gd name="connsiteY440" fmla="*/ 187934 h 798267"/>
              <a:gd name="connsiteX441" fmla="*/ 463944 w 682417"/>
              <a:gd name="connsiteY441" fmla="*/ 193383 h 798267"/>
              <a:gd name="connsiteX442" fmla="*/ 462820 w 682417"/>
              <a:gd name="connsiteY442" fmla="*/ 193192 h 798267"/>
              <a:gd name="connsiteX443" fmla="*/ 460753 w 682417"/>
              <a:gd name="connsiteY443" fmla="*/ 191678 h 798267"/>
              <a:gd name="connsiteX444" fmla="*/ 457895 w 682417"/>
              <a:gd name="connsiteY444" fmla="*/ 194678 h 798267"/>
              <a:gd name="connsiteX445" fmla="*/ 453009 w 682417"/>
              <a:gd name="connsiteY445" fmla="*/ 196164 h 798267"/>
              <a:gd name="connsiteX446" fmla="*/ 459772 w 682417"/>
              <a:gd name="connsiteY446" fmla="*/ 197316 h 798267"/>
              <a:gd name="connsiteX447" fmla="*/ 456752 w 682417"/>
              <a:gd name="connsiteY447" fmla="*/ 201441 h 798267"/>
              <a:gd name="connsiteX448" fmla="*/ 450561 w 682417"/>
              <a:gd name="connsiteY448" fmla="*/ 196907 h 798267"/>
              <a:gd name="connsiteX449" fmla="*/ 440760 w 682417"/>
              <a:gd name="connsiteY449" fmla="*/ 206841 h 798267"/>
              <a:gd name="connsiteX450" fmla="*/ 433816 w 682417"/>
              <a:gd name="connsiteY450" fmla="*/ 206841 h 798267"/>
              <a:gd name="connsiteX451" fmla="*/ 432111 w 682417"/>
              <a:gd name="connsiteY451" fmla="*/ 210032 h 798267"/>
              <a:gd name="connsiteX452" fmla="*/ 430425 w 682417"/>
              <a:gd name="connsiteY452" fmla="*/ 206270 h 798267"/>
              <a:gd name="connsiteX453" fmla="*/ 428730 w 682417"/>
              <a:gd name="connsiteY453" fmla="*/ 209451 h 798267"/>
              <a:gd name="connsiteX454" fmla="*/ 426472 w 682417"/>
              <a:gd name="connsiteY454" fmla="*/ 209070 h 798267"/>
              <a:gd name="connsiteX455" fmla="*/ 423120 w 682417"/>
              <a:gd name="connsiteY455" fmla="*/ 201545 h 798267"/>
              <a:gd name="connsiteX456" fmla="*/ 422348 w 682417"/>
              <a:gd name="connsiteY456" fmla="*/ 206051 h 798267"/>
              <a:gd name="connsiteX457" fmla="*/ 417652 w 682417"/>
              <a:gd name="connsiteY457" fmla="*/ 206413 h 798267"/>
              <a:gd name="connsiteX458" fmla="*/ 417652 w 682417"/>
              <a:gd name="connsiteY458" fmla="*/ 213366 h 798267"/>
              <a:gd name="connsiteX459" fmla="*/ 420824 w 682417"/>
              <a:gd name="connsiteY459" fmla="*/ 222024 h 798267"/>
              <a:gd name="connsiteX460" fmla="*/ 419310 w 682417"/>
              <a:gd name="connsiteY460" fmla="*/ 224082 h 798267"/>
              <a:gd name="connsiteX461" fmla="*/ 414223 w 682417"/>
              <a:gd name="connsiteY461" fmla="*/ 226701 h 798267"/>
              <a:gd name="connsiteX462" fmla="*/ 413490 w 682417"/>
              <a:gd name="connsiteY462" fmla="*/ 224263 h 798267"/>
              <a:gd name="connsiteX463" fmla="*/ 409746 w 682417"/>
              <a:gd name="connsiteY463" fmla="*/ 218976 h 798267"/>
              <a:gd name="connsiteX464" fmla="*/ 404470 w 682417"/>
              <a:gd name="connsiteY464" fmla="*/ 222729 h 798267"/>
              <a:gd name="connsiteX465" fmla="*/ 397135 w 682417"/>
              <a:gd name="connsiteY465" fmla="*/ 224958 h 798267"/>
              <a:gd name="connsiteX466" fmla="*/ 401450 w 682417"/>
              <a:gd name="connsiteY466" fmla="*/ 226863 h 798267"/>
              <a:gd name="connsiteX467" fmla="*/ 407641 w 682417"/>
              <a:gd name="connsiteY467" fmla="*/ 231387 h 798267"/>
              <a:gd name="connsiteX468" fmla="*/ 405555 w 682417"/>
              <a:gd name="connsiteY468" fmla="*/ 236836 h 798267"/>
              <a:gd name="connsiteX469" fmla="*/ 403489 w 682417"/>
              <a:gd name="connsiteY469" fmla="*/ 235321 h 798267"/>
              <a:gd name="connsiteX470" fmla="*/ 401984 w 682417"/>
              <a:gd name="connsiteY470" fmla="*/ 237379 h 798267"/>
              <a:gd name="connsiteX471" fmla="*/ 398174 w 682417"/>
              <a:gd name="connsiteY471" fmla="*/ 239064 h 798267"/>
              <a:gd name="connsiteX472" fmla="*/ 397221 w 682417"/>
              <a:gd name="connsiteY472" fmla="*/ 237750 h 798267"/>
              <a:gd name="connsiteX473" fmla="*/ 394202 w 682417"/>
              <a:gd name="connsiteY473" fmla="*/ 241874 h 798267"/>
              <a:gd name="connsiteX474" fmla="*/ 387439 w 682417"/>
              <a:gd name="connsiteY474" fmla="*/ 240722 h 798267"/>
              <a:gd name="connsiteX475" fmla="*/ 383677 w 682417"/>
              <a:gd name="connsiteY475" fmla="*/ 242408 h 798267"/>
              <a:gd name="connsiteX476" fmla="*/ 381591 w 682417"/>
              <a:gd name="connsiteY476" fmla="*/ 247846 h 798267"/>
              <a:gd name="connsiteX477" fmla="*/ 375771 w 682417"/>
              <a:gd name="connsiteY477" fmla="*/ 248018 h 798267"/>
              <a:gd name="connsiteX478" fmla="*/ 374447 w 682417"/>
              <a:gd name="connsiteY478" fmla="*/ 248970 h 798267"/>
              <a:gd name="connsiteX479" fmla="*/ 368437 w 682417"/>
              <a:gd name="connsiteY479" fmla="*/ 250275 h 798267"/>
              <a:gd name="connsiteX480" fmla="*/ 370494 w 682417"/>
              <a:gd name="connsiteY480" fmla="*/ 251780 h 798267"/>
              <a:gd name="connsiteX481" fmla="*/ 366684 w 682417"/>
              <a:gd name="connsiteY481" fmla="*/ 253466 h 798267"/>
              <a:gd name="connsiteX482" fmla="*/ 360836 w 682417"/>
              <a:gd name="connsiteY482" fmla="*/ 260581 h 798267"/>
              <a:gd name="connsiteX483" fmla="*/ 353692 w 682417"/>
              <a:gd name="connsiteY483" fmla="*/ 261696 h 798267"/>
              <a:gd name="connsiteX484" fmla="*/ 354273 w 682417"/>
              <a:gd name="connsiteY484" fmla="*/ 258305 h 798267"/>
              <a:gd name="connsiteX485" fmla="*/ 348053 w 682417"/>
              <a:gd name="connsiteY485" fmla="*/ 260734 h 798267"/>
              <a:gd name="connsiteX486" fmla="*/ 340357 w 682417"/>
              <a:gd name="connsiteY486" fmla="*/ 258267 h 798267"/>
              <a:gd name="connsiteX487" fmla="*/ 338861 w 682417"/>
              <a:gd name="connsiteY487" fmla="*/ 260334 h 798267"/>
              <a:gd name="connsiteX488" fmla="*/ 335832 w 682417"/>
              <a:gd name="connsiteY488" fmla="*/ 264458 h 798267"/>
              <a:gd name="connsiteX489" fmla="*/ 327755 w 682417"/>
              <a:gd name="connsiteY489" fmla="*/ 264249 h 798267"/>
              <a:gd name="connsiteX490" fmla="*/ 324545 w 682417"/>
              <a:gd name="connsiteY490" fmla="*/ 269497 h 798267"/>
              <a:gd name="connsiteX491" fmla="*/ 321688 w 682417"/>
              <a:gd name="connsiteY491" fmla="*/ 265544 h 798267"/>
              <a:gd name="connsiteX492" fmla="*/ 316421 w 682417"/>
              <a:gd name="connsiteY492" fmla="*/ 269287 h 798267"/>
              <a:gd name="connsiteX493" fmla="*/ 310801 w 682417"/>
              <a:gd name="connsiteY493" fmla="*/ 261382 h 798267"/>
              <a:gd name="connsiteX494" fmla="*/ 315487 w 682417"/>
              <a:gd name="connsiteY494" fmla="*/ 267973 h 798267"/>
              <a:gd name="connsiteX495" fmla="*/ 312630 w 682417"/>
              <a:gd name="connsiteY495" fmla="*/ 270964 h 798267"/>
              <a:gd name="connsiteX496" fmla="*/ 315249 w 682417"/>
              <a:gd name="connsiteY496" fmla="*/ 276050 h 798267"/>
              <a:gd name="connsiteX497" fmla="*/ 309439 w 682417"/>
              <a:gd name="connsiteY497" fmla="*/ 269268 h 798267"/>
              <a:gd name="connsiteX498" fmla="*/ 306991 w 682417"/>
              <a:gd name="connsiteY498" fmla="*/ 270011 h 798267"/>
              <a:gd name="connsiteX499" fmla="*/ 313734 w 682417"/>
              <a:gd name="connsiteY499" fmla="*/ 278107 h 798267"/>
              <a:gd name="connsiteX500" fmla="*/ 316744 w 682417"/>
              <a:gd name="connsiteY500" fmla="*/ 273983 h 798267"/>
              <a:gd name="connsiteX501" fmla="*/ 321069 w 682417"/>
              <a:gd name="connsiteY501" fmla="*/ 275888 h 798267"/>
              <a:gd name="connsiteX502" fmla="*/ 321831 w 682417"/>
              <a:gd name="connsiteY502" fmla="*/ 271383 h 798267"/>
              <a:gd name="connsiteX503" fmla="*/ 324450 w 682417"/>
              <a:gd name="connsiteY503" fmla="*/ 276460 h 798267"/>
              <a:gd name="connsiteX504" fmla="*/ 326126 w 682417"/>
              <a:gd name="connsiteY504" fmla="*/ 280222 h 798267"/>
              <a:gd name="connsiteX505" fmla="*/ 323688 w 682417"/>
              <a:gd name="connsiteY505" fmla="*/ 280974 h 798267"/>
              <a:gd name="connsiteX506" fmla="*/ 320688 w 682417"/>
              <a:gd name="connsiteY506" fmla="*/ 278117 h 798267"/>
              <a:gd name="connsiteX507" fmla="*/ 315925 w 682417"/>
              <a:gd name="connsiteY507" fmla="*/ 285432 h 798267"/>
              <a:gd name="connsiteX508" fmla="*/ 311991 w 682417"/>
              <a:gd name="connsiteY508" fmla="*/ 281289 h 798267"/>
              <a:gd name="connsiteX509" fmla="*/ 307838 w 682417"/>
              <a:gd name="connsiteY509" fmla="*/ 285223 h 798267"/>
              <a:gd name="connsiteX510" fmla="*/ 301076 w 682417"/>
              <a:gd name="connsiteY510" fmla="*/ 284080 h 798267"/>
              <a:gd name="connsiteX511" fmla="*/ 298094 w 682417"/>
              <a:gd name="connsiteY511" fmla="*/ 274297 h 798267"/>
              <a:gd name="connsiteX512" fmla="*/ 295237 w 682417"/>
              <a:gd name="connsiteY512" fmla="*/ 277298 h 798267"/>
              <a:gd name="connsiteX513" fmla="*/ 297294 w 682417"/>
              <a:gd name="connsiteY513" fmla="*/ 278803 h 798267"/>
              <a:gd name="connsiteX514" fmla="*/ 298780 w 682417"/>
              <a:gd name="connsiteY514" fmla="*/ 283699 h 798267"/>
              <a:gd name="connsiteX515" fmla="*/ 298399 w 682417"/>
              <a:gd name="connsiteY515" fmla="*/ 285947 h 798267"/>
              <a:gd name="connsiteX516" fmla="*/ 294999 w 682417"/>
              <a:gd name="connsiteY516" fmla="*/ 292328 h 798267"/>
              <a:gd name="connsiteX517" fmla="*/ 298809 w 682417"/>
              <a:gd name="connsiteY517" fmla="*/ 290652 h 798267"/>
              <a:gd name="connsiteX518" fmla="*/ 297094 w 682417"/>
              <a:gd name="connsiteY518" fmla="*/ 300796 h 798267"/>
              <a:gd name="connsiteX519" fmla="*/ 295599 w 682417"/>
              <a:gd name="connsiteY519" fmla="*/ 295900 h 798267"/>
              <a:gd name="connsiteX520" fmla="*/ 291275 w 682417"/>
              <a:gd name="connsiteY520" fmla="*/ 300958 h 798267"/>
              <a:gd name="connsiteX521" fmla="*/ 288417 w 682417"/>
              <a:gd name="connsiteY521" fmla="*/ 303958 h 798267"/>
              <a:gd name="connsiteX522" fmla="*/ 288246 w 682417"/>
              <a:gd name="connsiteY522" fmla="*/ 298138 h 798267"/>
              <a:gd name="connsiteX523" fmla="*/ 286169 w 682417"/>
              <a:gd name="connsiteY523" fmla="*/ 303577 h 798267"/>
              <a:gd name="connsiteX524" fmla="*/ 283169 w 682417"/>
              <a:gd name="connsiteY524" fmla="*/ 300720 h 798267"/>
              <a:gd name="connsiteX525" fmla="*/ 280311 w 682417"/>
              <a:gd name="connsiteY525" fmla="*/ 303720 h 798267"/>
              <a:gd name="connsiteX526" fmla="*/ 275996 w 682417"/>
              <a:gd name="connsiteY526" fmla="*/ 301815 h 798267"/>
              <a:gd name="connsiteX527" fmla="*/ 271663 w 682417"/>
              <a:gd name="connsiteY527" fmla="*/ 306873 h 798267"/>
              <a:gd name="connsiteX528" fmla="*/ 269986 w 682417"/>
              <a:gd name="connsiteY528" fmla="*/ 303111 h 798267"/>
              <a:gd name="connsiteX529" fmla="*/ 263766 w 682417"/>
              <a:gd name="connsiteY529" fmla="*/ 305539 h 798267"/>
              <a:gd name="connsiteX530" fmla="*/ 265671 w 682417"/>
              <a:gd name="connsiteY530" fmla="*/ 308178 h 798267"/>
              <a:gd name="connsiteX531" fmla="*/ 263966 w 682417"/>
              <a:gd name="connsiteY531" fmla="*/ 311369 h 798267"/>
              <a:gd name="connsiteX532" fmla="*/ 260614 w 682417"/>
              <a:gd name="connsiteY532" fmla="*/ 303844 h 798267"/>
              <a:gd name="connsiteX533" fmla="*/ 256651 w 682417"/>
              <a:gd name="connsiteY533" fmla="*/ 306644 h 798267"/>
              <a:gd name="connsiteX534" fmla="*/ 259832 w 682417"/>
              <a:gd name="connsiteY534" fmla="*/ 315303 h 798267"/>
              <a:gd name="connsiteX535" fmla="*/ 266224 w 682417"/>
              <a:gd name="connsiteY535" fmla="*/ 311750 h 798267"/>
              <a:gd name="connsiteX536" fmla="*/ 268862 w 682417"/>
              <a:gd name="connsiteY536" fmla="*/ 309845 h 798267"/>
              <a:gd name="connsiteX537" fmla="*/ 266005 w 682417"/>
              <a:gd name="connsiteY537" fmla="*/ 312836 h 798267"/>
              <a:gd name="connsiteX538" fmla="*/ 273529 w 682417"/>
              <a:gd name="connsiteY538" fmla="*/ 309473 h 798267"/>
              <a:gd name="connsiteX539" fmla="*/ 270901 w 682417"/>
              <a:gd name="connsiteY539" fmla="*/ 311378 h 798267"/>
              <a:gd name="connsiteX540" fmla="*/ 275958 w 682417"/>
              <a:gd name="connsiteY540" fmla="*/ 315712 h 798267"/>
              <a:gd name="connsiteX541" fmla="*/ 275187 w 682417"/>
              <a:gd name="connsiteY541" fmla="*/ 320217 h 798267"/>
              <a:gd name="connsiteX542" fmla="*/ 273282 w 682417"/>
              <a:gd name="connsiteY542" fmla="*/ 317579 h 798267"/>
              <a:gd name="connsiteX543" fmla="*/ 271577 w 682417"/>
              <a:gd name="connsiteY543" fmla="*/ 320779 h 798267"/>
              <a:gd name="connsiteX544" fmla="*/ 266881 w 682417"/>
              <a:gd name="connsiteY544" fmla="*/ 321132 h 798267"/>
              <a:gd name="connsiteX545" fmla="*/ 268567 w 682417"/>
              <a:gd name="connsiteY545" fmla="*/ 324942 h 798267"/>
              <a:gd name="connsiteX546" fmla="*/ 265186 w 682417"/>
              <a:gd name="connsiteY546" fmla="*/ 324370 h 798267"/>
              <a:gd name="connsiteX547" fmla="*/ 263281 w 682417"/>
              <a:gd name="connsiteY547" fmla="*/ 328685 h 798267"/>
              <a:gd name="connsiteX548" fmla="*/ 264966 w 682417"/>
              <a:gd name="connsiteY548" fmla="*/ 332495 h 798267"/>
              <a:gd name="connsiteX549" fmla="*/ 260642 w 682417"/>
              <a:gd name="connsiteY549" fmla="*/ 330590 h 798267"/>
              <a:gd name="connsiteX550" fmla="*/ 261004 w 682417"/>
              <a:gd name="connsiteY550" fmla="*/ 335286 h 798267"/>
              <a:gd name="connsiteX551" fmla="*/ 254060 w 682417"/>
              <a:gd name="connsiteY551" fmla="*/ 335286 h 798267"/>
              <a:gd name="connsiteX552" fmla="*/ 251031 w 682417"/>
              <a:gd name="connsiteY552" fmla="*/ 339410 h 798267"/>
              <a:gd name="connsiteX553" fmla="*/ 255737 w 682417"/>
              <a:gd name="connsiteY553" fmla="*/ 339048 h 798267"/>
              <a:gd name="connsiteX554" fmla="*/ 248402 w 682417"/>
              <a:gd name="connsiteY554" fmla="*/ 341287 h 798267"/>
              <a:gd name="connsiteX555" fmla="*/ 251422 w 682417"/>
              <a:gd name="connsiteY555" fmla="*/ 337153 h 798267"/>
              <a:gd name="connsiteX556" fmla="*/ 246726 w 682417"/>
              <a:gd name="connsiteY556" fmla="*/ 337524 h 798267"/>
              <a:gd name="connsiteX557" fmla="*/ 249336 w 682417"/>
              <a:gd name="connsiteY557" fmla="*/ 342601 h 798267"/>
              <a:gd name="connsiteX558" fmla="*/ 247259 w 682417"/>
              <a:gd name="connsiteY558" fmla="*/ 348050 h 798267"/>
              <a:gd name="connsiteX559" fmla="*/ 242383 w 682417"/>
              <a:gd name="connsiteY559" fmla="*/ 342582 h 798267"/>
              <a:gd name="connsiteX560" fmla="*/ 238573 w 682417"/>
              <a:gd name="connsiteY560" fmla="*/ 344268 h 798267"/>
              <a:gd name="connsiteX561" fmla="*/ 241192 w 682417"/>
              <a:gd name="connsiteY561" fmla="*/ 349345 h 798267"/>
              <a:gd name="connsiteX562" fmla="*/ 238744 w 682417"/>
              <a:gd name="connsiteY562" fmla="*/ 350088 h 798267"/>
              <a:gd name="connsiteX563" fmla="*/ 237230 w 682417"/>
              <a:gd name="connsiteY563" fmla="*/ 352155 h 798267"/>
              <a:gd name="connsiteX564" fmla="*/ 237020 w 682417"/>
              <a:gd name="connsiteY564" fmla="*/ 360232 h 798267"/>
              <a:gd name="connsiteX565" fmla="*/ 232134 w 682417"/>
              <a:gd name="connsiteY565" fmla="*/ 361718 h 798267"/>
              <a:gd name="connsiteX566" fmla="*/ 225523 w 682417"/>
              <a:gd name="connsiteY566" fmla="*/ 373348 h 798267"/>
              <a:gd name="connsiteX567" fmla="*/ 220275 w 682417"/>
              <a:gd name="connsiteY567" fmla="*/ 370138 h 798267"/>
              <a:gd name="connsiteX568" fmla="*/ 221761 w 682417"/>
              <a:gd name="connsiteY568" fmla="*/ 375034 h 798267"/>
              <a:gd name="connsiteX569" fmla="*/ 223818 w 682417"/>
              <a:gd name="connsiteY569" fmla="*/ 376539 h 798267"/>
              <a:gd name="connsiteX570" fmla="*/ 215913 w 682417"/>
              <a:gd name="connsiteY570" fmla="*/ 382159 h 798267"/>
              <a:gd name="connsiteX571" fmla="*/ 214008 w 682417"/>
              <a:gd name="connsiteY571" fmla="*/ 386473 h 798267"/>
              <a:gd name="connsiteX572" fmla="*/ 210817 w 682417"/>
              <a:gd name="connsiteY572" fmla="*/ 384768 h 798267"/>
              <a:gd name="connsiteX573" fmla="*/ 209864 w 682417"/>
              <a:gd name="connsiteY573" fmla="*/ 390407 h 798267"/>
              <a:gd name="connsiteX574" fmla="*/ 204426 w 682417"/>
              <a:gd name="connsiteY574" fmla="*/ 388321 h 798267"/>
              <a:gd name="connsiteX575" fmla="*/ 198958 w 682417"/>
              <a:gd name="connsiteY575" fmla="*/ 393188 h 798267"/>
              <a:gd name="connsiteX576" fmla="*/ 199139 w 682417"/>
              <a:gd name="connsiteY576" fmla="*/ 399018 h 798267"/>
              <a:gd name="connsiteX577" fmla="*/ 202873 w 682417"/>
              <a:gd name="connsiteY577" fmla="*/ 404295 h 798267"/>
              <a:gd name="connsiteX578" fmla="*/ 197244 w 682417"/>
              <a:gd name="connsiteY578" fmla="*/ 403342 h 798267"/>
              <a:gd name="connsiteX579" fmla="*/ 197415 w 682417"/>
              <a:gd name="connsiteY579" fmla="*/ 409171 h 798267"/>
              <a:gd name="connsiteX580" fmla="*/ 193843 w 682417"/>
              <a:gd name="connsiteY580" fmla="*/ 409724 h 798267"/>
              <a:gd name="connsiteX581" fmla="*/ 194205 w 682417"/>
              <a:gd name="connsiteY581" fmla="*/ 414420 h 798267"/>
              <a:gd name="connsiteX582" fmla="*/ 190395 w 682417"/>
              <a:gd name="connsiteY582" fmla="*/ 416096 h 798267"/>
              <a:gd name="connsiteX583" fmla="*/ 190567 w 682417"/>
              <a:gd name="connsiteY583" fmla="*/ 421925 h 798267"/>
              <a:gd name="connsiteX584" fmla="*/ 185871 w 682417"/>
              <a:gd name="connsiteY584" fmla="*/ 422287 h 798267"/>
              <a:gd name="connsiteX585" fmla="*/ 185099 w 682417"/>
              <a:gd name="connsiteY585" fmla="*/ 426802 h 798267"/>
              <a:gd name="connsiteX586" fmla="*/ 181537 w 682417"/>
              <a:gd name="connsiteY586" fmla="*/ 427345 h 798267"/>
              <a:gd name="connsiteX587" fmla="*/ 177022 w 682417"/>
              <a:gd name="connsiteY587" fmla="*/ 426583 h 798267"/>
              <a:gd name="connsiteX588" fmla="*/ 178689 w 682417"/>
              <a:gd name="connsiteY588" fmla="*/ 437299 h 798267"/>
              <a:gd name="connsiteX589" fmla="*/ 174374 w 682417"/>
              <a:gd name="connsiteY589" fmla="*/ 435394 h 798267"/>
              <a:gd name="connsiteX590" fmla="*/ 169288 w 682417"/>
              <a:gd name="connsiteY590" fmla="*/ 438013 h 798267"/>
              <a:gd name="connsiteX591" fmla="*/ 170593 w 682417"/>
              <a:gd name="connsiteY591" fmla="*/ 444033 h 798267"/>
              <a:gd name="connsiteX592" fmla="*/ 160239 w 682417"/>
              <a:gd name="connsiteY592" fmla="*/ 450396 h 798267"/>
              <a:gd name="connsiteX593" fmla="*/ 162144 w 682417"/>
              <a:gd name="connsiteY593" fmla="*/ 453025 h 798267"/>
              <a:gd name="connsiteX594" fmla="*/ 163820 w 682417"/>
              <a:gd name="connsiteY594" fmla="*/ 456835 h 798267"/>
              <a:gd name="connsiteX595" fmla="*/ 162487 w 682417"/>
              <a:gd name="connsiteY595" fmla="*/ 464721 h 798267"/>
              <a:gd name="connsiteX596" fmla="*/ 155534 w 682417"/>
              <a:gd name="connsiteY596" fmla="*/ 464721 h 798267"/>
              <a:gd name="connsiteX597" fmla="*/ 151771 w 682417"/>
              <a:gd name="connsiteY597" fmla="*/ 466398 h 798267"/>
              <a:gd name="connsiteX598" fmla="*/ 149114 w 682417"/>
              <a:gd name="connsiteY598" fmla="*/ 475218 h 798267"/>
              <a:gd name="connsiteX599" fmla="*/ 150600 w 682417"/>
              <a:gd name="connsiteY599" fmla="*/ 480104 h 798267"/>
              <a:gd name="connsiteX600" fmla="*/ 146647 w 682417"/>
              <a:gd name="connsiteY600" fmla="*/ 482914 h 798267"/>
              <a:gd name="connsiteX601" fmla="*/ 144285 w 682417"/>
              <a:gd name="connsiteY601" fmla="*/ 480866 h 798267"/>
              <a:gd name="connsiteX602" fmla="*/ 142761 w 682417"/>
              <a:gd name="connsiteY602" fmla="*/ 489877 h 798267"/>
              <a:gd name="connsiteX603" fmla="*/ 147285 w 682417"/>
              <a:gd name="connsiteY603" fmla="*/ 483685 h 798267"/>
              <a:gd name="connsiteX604" fmla="*/ 155924 w 682417"/>
              <a:gd name="connsiteY604" fmla="*/ 487495 h 798267"/>
              <a:gd name="connsiteX605" fmla="*/ 154772 w 682417"/>
              <a:gd name="connsiteY605" fmla="*/ 494258 h 798267"/>
              <a:gd name="connsiteX606" fmla="*/ 149304 w 682417"/>
              <a:gd name="connsiteY606" fmla="*/ 499126 h 798267"/>
              <a:gd name="connsiteX607" fmla="*/ 142913 w 682417"/>
              <a:gd name="connsiteY607" fmla="*/ 502678 h 798267"/>
              <a:gd name="connsiteX608" fmla="*/ 144818 w 682417"/>
              <a:gd name="connsiteY608" fmla="*/ 505317 h 798267"/>
              <a:gd name="connsiteX609" fmla="*/ 144047 w 682417"/>
              <a:gd name="connsiteY609" fmla="*/ 509822 h 798267"/>
              <a:gd name="connsiteX610" fmla="*/ 142923 w 682417"/>
              <a:gd name="connsiteY610" fmla="*/ 509632 h 798267"/>
              <a:gd name="connsiteX611" fmla="*/ 138160 w 682417"/>
              <a:gd name="connsiteY611" fmla="*/ 516947 h 798267"/>
              <a:gd name="connsiteX612" fmla="*/ 134969 w 682417"/>
              <a:gd name="connsiteY612" fmla="*/ 515242 h 798267"/>
              <a:gd name="connsiteX613" fmla="*/ 128568 w 682417"/>
              <a:gd name="connsiteY613" fmla="*/ 518795 h 798267"/>
              <a:gd name="connsiteX614" fmla="*/ 121215 w 682417"/>
              <a:gd name="connsiteY614" fmla="*/ 527977 h 798267"/>
              <a:gd name="connsiteX615" fmla="*/ 125339 w 682417"/>
              <a:gd name="connsiteY615" fmla="*/ 530996 h 798267"/>
              <a:gd name="connsiteX616" fmla="*/ 122130 w 682417"/>
              <a:gd name="connsiteY616" fmla="*/ 536254 h 798267"/>
              <a:gd name="connsiteX617" fmla="*/ 124749 w 682417"/>
              <a:gd name="connsiteY617" fmla="*/ 541331 h 798267"/>
              <a:gd name="connsiteX618" fmla="*/ 121368 w 682417"/>
              <a:gd name="connsiteY618" fmla="*/ 540759 h 798267"/>
              <a:gd name="connsiteX619" fmla="*/ 117605 w 682417"/>
              <a:gd name="connsiteY619" fmla="*/ 542436 h 798267"/>
              <a:gd name="connsiteX620" fmla="*/ 119263 w 682417"/>
              <a:gd name="connsiteY620" fmla="*/ 553151 h 798267"/>
              <a:gd name="connsiteX621" fmla="*/ 114376 w 682417"/>
              <a:gd name="connsiteY621" fmla="*/ 554637 h 798267"/>
              <a:gd name="connsiteX622" fmla="*/ 114548 w 682417"/>
              <a:gd name="connsiteY622" fmla="*/ 560467 h 798267"/>
              <a:gd name="connsiteX623" fmla="*/ 110785 w 682417"/>
              <a:gd name="connsiteY623" fmla="*/ 562152 h 798267"/>
              <a:gd name="connsiteX624" fmla="*/ 108147 w 682417"/>
              <a:gd name="connsiteY624" fmla="*/ 564057 h 798267"/>
              <a:gd name="connsiteX625" fmla="*/ 104565 w 682417"/>
              <a:gd name="connsiteY625" fmla="*/ 564610 h 798267"/>
              <a:gd name="connsiteX626" fmla="*/ 98936 w 682417"/>
              <a:gd name="connsiteY626" fmla="*/ 563657 h 798267"/>
              <a:gd name="connsiteX627" fmla="*/ 98936 w 682417"/>
              <a:gd name="connsiteY627" fmla="*/ 570611 h 798267"/>
              <a:gd name="connsiteX628" fmla="*/ 101956 w 682417"/>
              <a:gd name="connsiteY628" fmla="*/ 566486 h 798267"/>
              <a:gd name="connsiteX629" fmla="*/ 109652 w 682417"/>
              <a:gd name="connsiteY629" fmla="*/ 568944 h 798267"/>
              <a:gd name="connsiteX630" fmla="*/ 106994 w 682417"/>
              <a:gd name="connsiteY630" fmla="*/ 577773 h 798267"/>
              <a:gd name="connsiteX631" fmla="*/ 105089 w 682417"/>
              <a:gd name="connsiteY631" fmla="*/ 575135 h 798267"/>
              <a:gd name="connsiteX632" fmla="*/ 100927 w 682417"/>
              <a:gd name="connsiteY632" fmla="*/ 586022 h 798267"/>
              <a:gd name="connsiteX633" fmla="*/ 101689 w 682417"/>
              <a:gd name="connsiteY633" fmla="*/ 581507 h 798267"/>
              <a:gd name="connsiteX634" fmla="*/ 95126 w 682417"/>
              <a:gd name="connsiteY634" fmla="*/ 579240 h 798267"/>
              <a:gd name="connsiteX635" fmla="*/ 99422 w 682417"/>
              <a:gd name="connsiteY635" fmla="*/ 588089 h 798267"/>
              <a:gd name="connsiteX636" fmla="*/ 95660 w 682417"/>
              <a:gd name="connsiteY636" fmla="*/ 589765 h 798267"/>
              <a:gd name="connsiteX637" fmla="*/ 93574 w 682417"/>
              <a:gd name="connsiteY637" fmla="*/ 595204 h 798267"/>
              <a:gd name="connsiteX638" fmla="*/ 90011 w 682417"/>
              <a:gd name="connsiteY638" fmla="*/ 595766 h 798267"/>
              <a:gd name="connsiteX639" fmla="*/ 86439 w 682417"/>
              <a:gd name="connsiteY639" fmla="*/ 596319 h 798267"/>
              <a:gd name="connsiteX640" fmla="*/ 84734 w 682417"/>
              <a:gd name="connsiteY640" fmla="*/ 599500 h 798267"/>
              <a:gd name="connsiteX641" fmla="*/ 77591 w 682417"/>
              <a:gd name="connsiteY641" fmla="*/ 600614 h 798267"/>
              <a:gd name="connsiteX642" fmla="*/ 80010 w 682417"/>
              <a:gd name="connsiteY642" fmla="*/ 606815 h 798267"/>
              <a:gd name="connsiteX643" fmla="*/ 84773 w 682417"/>
              <a:gd name="connsiteY643" fmla="*/ 599500 h 798267"/>
              <a:gd name="connsiteX644" fmla="*/ 89449 w 682417"/>
              <a:gd name="connsiteY644" fmla="*/ 606091 h 798267"/>
              <a:gd name="connsiteX645" fmla="*/ 83239 w 682417"/>
              <a:gd name="connsiteY645" fmla="*/ 608520 h 798267"/>
              <a:gd name="connsiteX646" fmla="*/ 86420 w 682417"/>
              <a:gd name="connsiteY646" fmla="*/ 610216 h 798267"/>
              <a:gd name="connsiteX647" fmla="*/ 87916 w 682417"/>
              <a:gd name="connsiteY647" fmla="*/ 615111 h 798267"/>
              <a:gd name="connsiteX648" fmla="*/ 85058 w 682417"/>
              <a:gd name="connsiteY648" fmla="*/ 618102 h 798267"/>
              <a:gd name="connsiteX649" fmla="*/ 84106 w 682417"/>
              <a:gd name="connsiteY649" fmla="*/ 616797 h 798267"/>
              <a:gd name="connsiteX650" fmla="*/ 82782 w 682417"/>
              <a:gd name="connsiteY650" fmla="*/ 617750 h 798267"/>
              <a:gd name="connsiteX651" fmla="*/ 84687 w 682417"/>
              <a:gd name="connsiteY651" fmla="*/ 620388 h 798267"/>
              <a:gd name="connsiteX652" fmla="*/ 82248 w 682417"/>
              <a:gd name="connsiteY652" fmla="*/ 621141 h 798267"/>
              <a:gd name="connsiteX653" fmla="*/ 81867 w 682417"/>
              <a:gd name="connsiteY653" fmla="*/ 623389 h 798267"/>
              <a:gd name="connsiteX654" fmla="*/ 79419 w 682417"/>
              <a:gd name="connsiteY654" fmla="*/ 624132 h 798267"/>
              <a:gd name="connsiteX655" fmla="*/ 79038 w 682417"/>
              <a:gd name="connsiteY655" fmla="*/ 626389 h 798267"/>
              <a:gd name="connsiteX656" fmla="*/ 73571 w 682417"/>
              <a:gd name="connsiteY656" fmla="*/ 631256 h 798267"/>
              <a:gd name="connsiteX657" fmla="*/ 66237 w 682417"/>
              <a:gd name="connsiteY657" fmla="*/ 633485 h 798267"/>
              <a:gd name="connsiteX658" fmla="*/ 67189 w 682417"/>
              <a:gd name="connsiteY658" fmla="*/ 634809 h 798267"/>
              <a:gd name="connsiteX659" fmla="*/ 67932 w 682417"/>
              <a:gd name="connsiteY659" fmla="*/ 637257 h 798267"/>
              <a:gd name="connsiteX660" fmla="*/ 65656 w 682417"/>
              <a:gd name="connsiteY660" fmla="*/ 643820 h 798267"/>
              <a:gd name="connsiteX661" fmla="*/ 69980 w 682417"/>
              <a:gd name="connsiteY661" fmla="*/ 645725 h 798267"/>
              <a:gd name="connsiteX662" fmla="*/ 69390 w 682417"/>
              <a:gd name="connsiteY662" fmla="*/ 656059 h 798267"/>
              <a:gd name="connsiteX663" fmla="*/ 67485 w 682417"/>
              <a:gd name="connsiteY663" fmla="*/ 660374 h 798267"/>
              <a:gd name="connsiteX664" fmla="*/ 62970 w 682417"/>
              <a:gd name="connsiteY664" fmla="*/ 659612 h 798267"/>
              <a:gd name="connsiteX665" fmla="*/ 59379 w 682417"/>
              <a:gd name="connsiteY665" fmla="*/ 667118 h 798267"/>
              <a:gd name="connsiteX666" fmla="*/ 62941 w 682417"/>
              <a:gd name="connsiteY666" fmla="*/ 673519 h 798267"/>
              <a:gd name="connsiteX667" fmla="*/ 62360 w 682417"/>
              <a:gd name="connsiteY667" fmla="*/ 676900 h 798267"/>
              <a:gd name="connsiteX668" fmla="*/ 58598 w 682417"/>
              <a:gd name="connsiteY668" fmla="*/ 678577 h 798267"/>
              <a:gd name="connsiteX669" fmla="*/ 57083 w 682417"/>
              <a:gd name="connsiteY669" fmla="*/ 680634 h 798267"/>
              <a:gd name="connsiteX670" fmla="*/ 56874 w 682417"/>
              <a:gd name="connsiteY670" fmla="*/ 688721 h 798267"/>
              <a:gd name="connsiteX671" fmla="*/ 53311 w 682417"/>
              <a:gd name="connsiteY671" fmla="*/ 689273 h 798267"/>
              <a:gd name="connsiteX672" fmla="*/ 51606 w 682417"/>
              <a:gd name="connsiteY672" fmla="*/ 692464 h 798267"/>
              <a:gd name="connsiteX673" fmla="*/ 49349 w 682417"/>
              <a:gd name="connsiteY673" fmla="*/ 692083 h 798267"/>
              <a:gd name="connsiteX674" fmla="*/ 47654 w 682417"/>
              <a:gd name="connsiteY674" fmla="*/ 695274 h 798267"/>
              <a:gd name="connsiteX675" fmla="*/ 53664 w 682417"/>
              <a:gd name="connsiteY675" fmla="*/ 693969 h 798267"/>
              <a:gd name="connsiteX676" fmla="*/ 55150 w 682417"/>
              <a:gd name="connsiteY676" fmla="*/ 698865 h 798267"/>
              <a:gd name="connsiteX677" fmla="*/ 49330 w 682417"/>
              <a:gd name="connsiteY677" fmla="*/ 699027 h 798267"/>
              <a:gd name="connsiteX678" fmla="*/ 46101 w 682417"/>
              <a:gd name="connsiteY678" fmla="*/ 711238 h 798267"/>
              <a:gd name="connsiteX679" fmla="*/ 50797 w 682417"/>
              <a:gd name="connsiteY679" fmla="*/ 710876 h 798267"/>
              <a:gd name="connsiteX680" fmla="*/ 45530 w 682417"/>
              <a:gd name="connsiteY680" fmla="*/ 714619 h 798267"/>
              <a:gd name="connsiteX681" fmla="*/ 41567 w 682417"/>
              <a:gd name="connsiteY681" fmla="*/ 717420 h 798267"/>
              <a:gd name="connsiteX682" fmla="*/ 42320 w 682417"/>
              <a:gd name="connsiteY682" fmla="*/ 719867 h 798267"/>
              <a:gd name="connsiteX683" fmla="*/ 43825 w 682417"/>
              <a:gd name="connsiteY683" fmla="*/ 717810 h 798267"/>
              <a:gd name="connsiteX684" fmla="*/ 48339 w 682417"/>
              <a:gd name="connsiteY684" fmla="*/ 718572 h 798267"/>
              <a:gd name="connsiteX685" fmla="*/ 47958 w 682417"/>
              <a:gd name="connsiteY685" fmla="*/ 720829 h 798267"/>
              <a:gd name="connsiteX686" fmla="*/ 48120 w 682417"/>
              <a:gd name="connsiteY686" fmla="*/ 726649 h 798267"/>
              <a:gd name="connsiteX687" fmla="*/ 48863 w 682417"/>
              <a:gd name="connsiteY687" fmla="*/ 729097 h 798267"/>
              <a:gd name="connsiteX688" fmla="*/ 46425 w 682417"/>
              <a:gd name="connsiteY688" fmla="*/ 729840 h 798267"/>
              <a:gd name="connsiteX689" fmla="*/ 42243 w 682417"/>
              <a:gd name="connsiteY689" fmla="*/ 747680 h 798267"/>
              <a:gd name="connsiteX690" fmla="*/ 39986 w 682417"/>
              <a:gd name="connsiteY690" fmla="*/ 747299 h 798267"/>
              <a:gd name="connsiteX691" fmla="*/ 35395 w 682417"/>
              <a:gd name="connsiteY691" fmla="*/ 774341 h 798267"/>
              <a:gd name="connsiteX692" fmla="*/ 36138 w 682417"/>
              <a:gd name="connsiteY692" fmla="*/ 776789 h 798267"/>
              <a:gd name="connsiteX693" fmla="*/ 26746 w 682417"/>
              <a:gd name="connsiteY693" fmla="*/ 777513 h 798267"/>
              <a:gd name="connsiteX694" fmla="*/ 27889 w 682417"/>
              <a:gd name="connsiteY694" fmla="*/ 770750 h 798267"/>
              <a:gd name="connsiteX695" fmla="*/ 25822 w 682417"/>
              <a:gd name="connsiteY695" fmla="*/ 769245 h 798267"/>
              <a:gd name="connsiteX696" fmla="*/ 20765 w 682417"/>
              <a:gd name="connsiteY696" fmla="*/ 764911 h 798267"/>
              <a:gd name="connsiteX697" fmla="*/ 22250 w 682417"/>
              <a:gd name="connsiteY697" fmla="*/ 769797 h 798267"/>
              <a:gd name="connsiteX698" fmla="*/ 25108 w 682417"/>
              <a:gd name="connsiteY698" fmla="*/ 773750 h 798267"/>
              <a:gd name="connsiteX699" fmla="*/ 20984 w 682417"/>
              <a:gd name="connsiteY699" fmla="*/ 770731 h 798267"/>
              <a:gd name="connsiteX700" fmla="*/ 17602 w 682417"/>
              <a:gd name="connsiteY700" fmla="*/ 770159 h 798267"/>
              <a:gd name="connsiteX701" fmla="*/ 15154 w 682417"/>
              <a:gd name="connsiteY701" fmla="*/ 770902 h 798267"/>
              <a:gd name="connsiteX702" fmla="*/ 20222 w 682417"/>
              <a:gd name="connsiteY702" fmla="*/ 775246 h 798267"/>
              <a:gd name="connsiteX703" fmla="*/ 15326 w 682417"/>
              <a:gd name="connsiteY703" fmla="*/ 776732 h 798267"/>
              <a:gd name="connsiteX704" fmla="*/ 14945 w 682417"/>
              <a:gd name="connsiteY704" fmla="*/ 778980 h 798267"/>
              <a:gd name="connsiteX705" fmla="*/ 12878 w 682417"/>
              <a:gd name="connsiteY705" fmla="*/ 777475 h 798267"/>
              <a:gd name="connsiteX706" fmla="*/ 11182 w 682417"/>
              <a:gd name="connsiteY706" fmla="*/ 780656 h 798267"/>
              <a:gd name="connsiteX707" fmla="*/ 8744 w 682417"/>
              <a:gd name="connsiteY707" fmla="*/ 781408 h 798267"/>
              <a:gd name="connsiteX708" fmla="*/ 13649 w 682417"/>
              <a:gd name="connsiteY708" fmla="*/ 772969 h 798267"/>
              <a:gd name="connsiteX709" fmla="*/ 11744 w 682417"/>
              <a:gd name="connsiteY709" fmla="*/ 770331 h 798267"/>
              <a:gd name="connsiteX710" fmla="*/ 14602 w 682417"/>
              <a:gd name="connsiteY710" fmla="*/ 767331 h 798267"/>
              <a:gd name="connsiteX711" fmla="*/ 10287 w 682417"/>
              <a:gd name="connsiteY711" fmla="*/ 765425 h 798267"/>
              <a:gd name="connsiteX712" fmla="*/ 10868 w 682417"/>
              <a:gd name="connsiteY712" fmla="*/ 762044 h 798267"/>
              <a:gd name="connsiteX713" fmla="*/ 2038 w 682417"/>
              <a:gd name="connsiteY713" fmla="*/ 759387 h 798267"/>
              <a:gd name="connsiteX714" fmla="*/ 5448 w 682417"/>
              <a:gd name="connsiteY714" fmla="*/ 753014 h 798267"/>
              <a:gd name="connsiteX715" fmla="*/ 0 w 682417"/>
              <a:gd name="connsiteY715" fmla="*/ 750928 h 798267"/>
              <a:gd name="connsiteX716" fmla="*/ 5648 w 682417"/>
              <a:gd name="connsiteY716" fmla="*/ 744928 h 798267"/>
              <a:gd name="connsiteX717" fmla="*/ 7906 w 682417"/>
              <a:gd name="connsiteY717" fmla="*/ 745309 h 798267"/>
              <a:gd name="connsiteX718" fmla="*/ 7734 w 682417"/>
              <a:gd name="connsiteY718" fmla="*/ 739489 h 798267"/>
              <a:gd name="connsiteX719" fmla="*/ 11154 w 682417"/>
              <a:gd name="connsiteY719" fmla="*/ 726154 h 798267"/>
              <a:gd name="connsiteX720" fmla="*/ 12849 w 682417"/>
              <a:gd name="connsiteY720" fmla="*/ 722963 h 798267"/>
              <a:gd name="connsiteX721" fmla="*/ 13059 w 682417"/>
              <a:gd name="connsiteY721" fmla="*/ 714886 h 798267"/>
              <a:gd name="connsiteX722" fmla="*/ 22479 w 682417"/>
              <a:gd name="connsiteY722" fmla="*/ 707209 h 798267"/>
              <a:gd name="connsiteX723" fmla="*/ 21936 w 682417"/>
              <a:gd name="connsiteY723" fmla="*/ 703637 h 798267"/>
              <a:gd name="connsiteX724" fmla="*/ 20031 w 682417"/>
              <a:gd name="connsiteY724" fmla="*/ 701008 h 798267"/>
              <a:gd name="connsiteX725" fmla="*/ 18126 w 682417"/>
              <a:gd name="connsiteY725" fmla="*/ 698370 h 798267"/>
              <a:gd name="connsiteX726" fmla="*/ 15135 w 682417"/>
              <a:gd name="connsiteY726" fmla="*/ 695512 h 798267"/>
              <a:gd name="connsiteX727" fmla="*/ 17193 w 682417"/>
              <a:gd name="connsiteY727" fmla="*/ 697026 h 798267"/>
              <a:gd name="connsiteX728" fmla="*/ 22469 w 682417"/>
              <a:gd name="connsiteY728" fmla="*/ 693283 h 798267"/>
              <a:gd name="connsiteX729" fmla="*/ 23041 w 682417"/>
              <a:gd name="connsiteY729" fmla="*/ 689892 h 798267"/>
              <a:gd name="connsiteX730" fmla="*/ 19850 w 682417"/>
              <a:gd name="connsiteY730" fmla="*/ 688197 h 798267"/>
              <a:gd name="connsiteX731" fmla="*/ 17050 w 682417"/>
              <a:gd name="connsiteY731" fmla="*/ 684244 h 798267"/>
              <a:gd name="connsiteX732" fmla="*/ 19488 w 682417"/>
              <a:gd name="connsiteY732" fmla="*/ 683491 h 798267"/>
              <a:gd name="connsiteX733" fmla="*/ 19126 w 682417"/>
              <a:gd name="connsiteY733" fmla="*/ 678805 h 798267"/>
              <a:gd name="connsiteX734" fmla="*/ 15745 w 682417"/>
              <a:gd name="connsiteY734" fmla="*/ 678234 h 798267"/>
              <a:gd name="connsiteX735" fmla="*/ 14792 w 682417"/>
              <a:gd name="connsiteY735" fmla="*/ 669956 h 798267"/>
              <a:gd name="connsiteX736" fmla="*/ 20612 w 682417"/>
              <a:gd name="connsiteY736" fmla="*/ 669785 h 798267"/>
              <a:gd name="connsiteX737" fmla="*/ 18707 w 682417"/>
              <a:gd name="connsiteY737" fmla="*/ 667147 h 798267"/>
              <a:gd name="connsiteX738" fmla="*/ 25851 w 682417"/>
              <a:gd name="connsiteY738" fmla="*/ 666042 h 798267"/>
              <a:gd name="connsiteX739" fmla="*/ 24746 w 682417"/>
              <a:gd name="connsiteY739" fmla="*/ 658898 h 798267"/>
              <a:gd name="connsiteX740" fmla="*/ 29642 w 682417"/>
              <a:gd name="connsiteY740" fmla="*/ 657412 h 798267"/>
              <a:gd name="connsiteX741" fmla="*/ 31137 w 682417"/>
              <a:gd name="connsiteY741" fmla="*/ 655345 h 798267"/>
              <a:gd name="connsiteX742" fmla="*/ 33395 w 682417"/>
              <a:gd name="connsiteY742" fmla="*/ 655726 h 798267"/>
              <a:gd name="connsiteX743" fmla="*/ 33966 w 682417"/>
              <a:gd name="connsiteY743" fmla="*/ 652354 h 798267"/>
              <a:gd name="connsiteX744" fmla="*/ 34719 w 682417"/>
              <a:gd name="connsiteY744" fmla="*/ 654793 h 798267"/>
              <a:gd name="connsiteX745" fmla="*/ 35671 w 682417"/>
              <a:gd name="connsiteY745" fmla="*/ 649154 h 798267"/>
              <a:gd name="connsiteX746" fmla="*/ 33033 w 682417"/>
              <a:gd name="connsiteY746" fmla="*/ 651059 h 798267"/>
              <a:gd name="connsiteX747" fmla="*/ 34185 w 682417"/>
              <a:gd name="connsiteY747" fmla="*/ 644296 h 798267"/>
              <a:gd name="connsiteX748" fmla="*/ 32699 w 682417"/>
              <a:gd name="connsiteY748" fmla="*/ 639410 h 798267"/>
              <a:gd name="connsiteX749" fmla="*/ 31375 w 682417"/>
              <a:gd name="connsiteY749" fmla="*/ 640362 h 798267"/>
              <a:gd name="connsiteX750" fmla="*/ 29699 w 682417"/>
              <a:gd name="connsiteY750" fmla="*/ 636600 h 798267"/>
              <a:gd name="connsiteX751" fmla="*/ 36671 w 682417"/>
              <a:gd name="connsiteY751" fmla="*/ 629666 h 798267"/>
              <a:gd name="connsiteX752" fmla="*/ 29908 w 682417"/>
              <a:gd name="connsiteY752" fmla="*/ 628523 h 798267"/>
              <a:gd name="connsiteX753" fmla="*/ 33309 w 682417"/>
              <a:gd name="connsiteY753" fmla="*/ 622141 h 798267"/>
              <a:gd name="connsiteX754" fmla="*/ 28223 w 682417"/>
              <a:gd name="connsiteY754" fmla="*/ 624760 h 798267"/>
              <a:gd name="connsiteX755" fmla="*/ 32033 w 682417"/>
              <a:gd name="connsiteY755" fmla="*/ 616121 h 798267"/>
              <a:gd name="connsiteX756" fmla="*/ 35033 w 682417"/>
              <a:gd name="connsiteY756" fmla="*/ 618979 h 798267"/>
              <a:gd name="connsiteX757" fmla="*/ 36728 w 682417"/>
              <a:gd name="connsiteY757" fmla="*/ 615788 h 798267"/>
              <a:gd name="connsiteX758" fmla="*/ 39729 w 682417"/>
              <a:gd name="connsiteY758" fmla="*/ 618645 h 798267"/>
              <a:gd name="connsiteX759" fmla="*/ 41805 w 682417"/>
              <a:gd name="connsiteY759" fmla="*/ 613206 h 798267"/>
              <a:gd name="connsiteX760" fmla="*/ 43710 w 682417"/>
              <a:gd name="connsiteY760" fmla="*/ 615835 h 798267"/>
              <a:gd name="connsiteX761" fmla="*/ 52959 w 682417"/>
              <a:gd name="connsiteY761" fmla="*/ 602329 h 798267"/>
              <a:gd name="connsiteX762" fmla="*/ 48263 w 682417"/>
              <a:gd name="connsiteY762" fmla="*/ 602700 h 798267"/>
              <a:gd name="connsiteX763" fmla="*/ 45406 w 682417"/>
              <a:gd name="connsiteY763" fmla="*/ 605701 h 798267"/>
              <a:gd name="connsiteX764" fmla="*/ 42958 w 682417"/>
              <a:gd name="connsiteY764" fmla="*/ 606444 h 798267"/>
              <a:gd name="connsiteX765" fmla="*/ 39767 w 682417"/>
              <a:gd name="connsiteY765" fmla="*/ 604739 h 798267"/>
              <a:gd name="connsiteX766" fmla="*/ 38090 w 682417"/>
              <a:gd name="connsiteY766" fmla="*/ 600929 h 798267"/>
              <a:gd name="connsiteX767" fmla="*/ 44291 w 682417"/>
              <a:gd name="connsiteY767" fmla="*/ 598509 h 798267"/>
              <a:gd name="connsiteX768" fmla="*/ 40719 w 682417"/>
              <a:gd name="connsiteY768" fmla="*/ 599062 h 798267"/>
              <a:gd name="connsiteX769" fmla="*/ 43739 w 682417"/>
              <a:gd name="connsiteY769" fmla="*/ 594938 h 798267"/>
              <a:gd name="connsiteX770" fmla="*/ 45444 w 682417"/>
              <a:gd name="connsiteY770" fmla="*/ 591747 h 798267"/>
              <a:gd name="connsiteX771" fmla="*/ 43377 w 682417"/>
              <a:gd name="connsiteY771" fmla="*/ 590232 h 798267"/>
              <a:gd name="connsiteX772" fmla="*/ 49206 w 682417"/>
              <a:gd name="connsiteY772" fmla="*/ 590061 h 798267"/>
              <a:gd name="connsiteX773" fmla="*/ 50721 w 682417"/>
              <a:gd name="connsiteY773" fmla="*/ 588003 h 798267"/>
              <a:gd name="connsiteX774" fmla="*/ 56540 w 682417"/>
              <a:gd name="connsiteY774" fmla="*/ 587832 h 798267"/>
              <a:gd name="connsiteX775" fmla="*/ 53350 w 682417"/>
              <a:gd name="connsiteY775" fmla="*/ 586127 h 798267"/>
              <a:gd name="connsiteX776" fmla="*/ 54493 w 682417"/>
              <a:gd name="connsiteY776" fmla="*/ 579364 h 798267"/>
              <a:gd name="connsiteX777" fmla="*/ 57683 w 682417"/>
              <a:gd name="connsiteY777" fmla="*/ 581069 h 798267"/>
              <a:gd name="connsiteX778" fmla="*/ 58436 w 682417"/>
              <a:gd name="connsiteY778" fmla="*/ 583517 h 798267"/>
              <a:gd name="connsiteX779" fmla="*/ 59750 w 682417"/>
              <a:gd name="connsiteY779" fmla="*/ 582565 h 798267"/>
              <a:gd name="connsiteX780" fmla="*/ 61427 w 682417"/>
              <a:gd name="connsiteY780" fmla="*/ 586317 h 798267"/>
              <a:gd name="connsiteX781" fmla="*/ 62189 w 682417"/>
              <a:gd name="connsiteY781" fmla="*/ 581812 h 798267"/>
              <a:gd name="connsiteX782" fmla="*/ 65208 w 682417"/>
              <a:gd name="connsiteY782" fmla="*/ 577688 h 798267"/>
              <a:gd name="connsiteX783" fmla="*/ 59769 w 682417"/>
              <a:gd name="connsiteY783" fmla="*/ 575602 h 798267"/>
              <a:gd name="connsiteX784" fmla="*/ 65237 w 682417"/>
              <a:gd name="connsiteY784" fmla="*/ 570744 h 798267"/>
              <a:gd name="connsiteX785" fmla="*/ 62236 w 682417"/>
              <a:gd name="connsiteY785" fmla="*/ 567887 h 798267"/>
              <a:gd name="connsiteX786" fmla="*/ 61493 w 682417"/>
              <a:gd name="connsiteY786" fmla="*/ 565448 h 798267"/>
              <a:gd name="connsiteX787" fmla="*/ 63579 w 682417"/>
              <a:gd name="connsiteY787" fmla="*/ 560000 h 798267"/>
              <a:gd name="connsiteX788" fmla="*/ 67532 w 682417"/>
              <a:gd name="connsiteY788" fmla="*/ 557142 h 798267"/>
              <a:gd name="connsiteX789" fmla="*/ 64341 w 682417"/>
              <a:gd name="connsiteY789" fmla="*/ 555447 h 798267"/>
              <a:gd name="connsiteX790" fmla="*/ 65103 w 682417"/>
              <a:gd name="connsiteY790" fmla="*/ 550942 h 798267"/>
              <a:gd name="connsiteX791" fmla="*/ 67161 w 682417"/>
              <a:gd name="connsiteY791" fmla="*/ 552446 h 798267"/>
              <a:gd name="connsiteX792" fmla="*/ 75267 w 682417"/>
              <a:gd name="connsiteY792" fmla="*/ 545712 h 798267"/>
              <a:gd name="connsiteX793" fmla="*/ 75817 w 682417"/>
              <a:gd name="connsiteY793" fmla="*/ 541097 h 798267"/>
              <a:gd name="connsiteX794" fmla="*/ 78476 w 682417"/>
              <a:gd name="connsiteY794" fmla="*/ 540455 h 798267"/>
              <a:gd name="connsiteX795" fmla="*/ 78476 w 682417"/>
              <a:gd name="connsiteY795" fmla="*/ 533501 h 798267"/>
              <a:gd name="connsiteX796" fmla="*/ 82620 w 682417"/>
              <a:gd name="connsiteY796" fmla="*/ 529567 h 798267"/>
              <a:gd name="connsiteX797" fmla="*/ 77391 w 682417"/>
              <a:gd name="connsiteY797" fmla="*/ 519404 h 798267"/>
              <a:gd name="connsiteX798" fmla="*/ 82667 w 682417"/>
              <a:gd name="connsiteY798" fmla="*/ 515670 h 798267"/>
              <a:gd name="connsiteX799" fmla="*/ 84363 w 682417"/>
              <a:gd name="connsiteY799" fmla="*/ 512470 h 798267"/>
              <a:gd name="connsiteX800" fmla="*/ 87363 w 682417"/>
              <a:gd name="connsiteY800" fmla="*/ 515328 h 798267"/>
              <a:gd name="connsiteX801" fmla="*/ 84344 w 682417"/>
              <a:gd name="connsiteY801" fmla="*/ 519452 h 798267"/>
              <a:gd name="connsiteX802" fmla="*/ 88868 w 682417"/>
              <a:gd name="connsiteY802" fmla="*/ 513270 h 798267"/>
              <a:gd name="connsiteX803" fmla="*/ 90773 w 682417"/>
              <a:gd name="connsiteY803" fmla="*/ 515909 h 798267"/>
              <a:gd name="connsiteX804" fmla="*/ 92859 w 682417"/>
              <a:gd name="connsiteY804" fmla="*/ 510460 h 798267"/>
              <a:gd name="connsiteX805" fmla="*/ 96422 w 682417"/>
              <a:gd name="connsiteY805" fmla="*/ 509908 h 798267"/>
              <a:gd name="connsiteX806" fmla="*/ 91916 w 682417"/>
              <a:gd name="connsiteY806" fmla="*/ 509146 h 798267"/>
              <a:gd name="connsiteX807" fmla="*/ 90430 w 682417"/>
              <a:gd name="connsiteY807" fmla="*/ 504250 h 798267"/>
              <a:gd name="connsiteX808" fmla="*/ 89275 w 682417"/>
              <a:gd name="connsiteY808" fmla="*/ 505419 h 798267"/>
              <a:gd name="connsiteX809" fmla="*/ 90049 w 682417"/>
              <a:gd name="connsiteY809" fmla="*/ 506507 h 798267"/>
              <a:gd name="connsiteX810" fmla="*/ 85725 w 682417"/>
              <a:gd name="connsiteY810" fmla="*/ 504602 h 798267"/>
              <a:gd name="connsiteX811" fmla="*/ 88363 w 682417"/>
              <a:gd name="connsiteY811" fmla="*/ 502697 h 798267"/>
              <a:gd name="connsiteX812" fmla="*/ 92173 w 682417"/>
              <a:gd name="connsiteY812" fmla="*/ 494058 h 798267"/>
              <a:gd name="connsiteX813" fmla="*/ 90268 w 682417"/>
              <a:gd name="connsiteY813" fmla="*/ 498373 h 798267"/>
              <a:gd name="connsiteX814" fmla="*/ 98346 w 682417"/>
              <a:gd name="connsiteY814" fmla="*/ 498592 h 798267"/>
              <a:gd name="connsiteX815" fmla="*/ 98155 w 682417"/>
              <a:gd name="connsiteY815" fmla="*/ 499716 h 798267"/>
              <a:gd name="connsiteX816" fmla="*/ 108918 w 682417"/>
              <a:gd name="connsiteY816" fmla="*/ 484152 h 798267"/>
              <a:gd name="connsiteX817" fmla="*/ 108737 w 682417"/>
              <a:gd name="connsiteY817" fmla="*/ 478323 h 798267"/>
              <a:gd name="connsiteX818" fmla="*/ 109490 w 682417"/>
              <a:gd name="connsiteY818" fmla="*/ 480771 h 798267"/>
              <a:gd name="connsiteX819" fmla="*/ 113252 w 682417"/>
              <a:gd name="connsiteY819" fmla="*/ 479094 h 798267"/>
              <a:gd name="connsiteX820" fmla="*/ 110633 w 682417"/>
              <a:gd name="connsiteY820" fmla="*/ 474008 h 798267"/>
              <a:gd name="connsiteX821" fmla="*/ 113652 w 682417"/>
              <a:gd name="connsiteY821" fmla="*/ 469884 h 798267"/>
              <a:gd name="connsiteX822" fmla="*/ 120987 w 682417"/>
              <a:gd name="connsiteY822" fmla="*/ 467655 h 798267"/>
              <a:gd name="connsiteX823" fmla="*/ 122158 w 682417"/>
              <a:gd name="connsiteY823" fmla="*/ 453939 h 798267"/>
              <a:gd name="connsiteX824" fmla="*/ 129892 w 682417"/>
              <a:gd name="connsiteY824" fmla="*/ 442509 h 798267"/>
              <a:gd name="connsiteX825" fmla="*/ 133274 w 682417"/>
              <a:gd name="connsiteY825" fmla="*/ 443080 h 798267"/>
              <a:gd name="connsiteX826" fmla="*/ 130845 w 682417"/>
              <a:gd name="connsiteY826" fmla="*/ 436880 h 798267"/>
              <a:gd name="connsiteX827" fmla="*/ 134655 w 682417"/>
              <a:gd name="connsiteY827" fmla="*/ 435194 h 798267"/>
              <a:gd name="connsiteX828" fmla="*/ 134864 w 682417"/>
              <a:gd name="connsiteY828" fmla="*/ 427117 h 798267"/>
              <a:gd name="connsiteX829" fmla="*/ 137122 w 682417"/>
              <a:gd name="connsiteY829" fmla="*/ 427498 h 798267"/>
              <a:gd name="connsiteX830" fmla="*/ 135626 w 682417"/>
              <a:gd name="connsiteY830" fmla="*/ 422611 h 798267"/>
              <a:gd name="connsiteX831" fmla="*/ 139189 w 682417"/>
              <a:gd name="connsiteY831" fmla="*/ 422049 h 798267"/>
              <a:gd name="connsiteX832" fmla="*/ 142046 w 682417"/>
              <a:gd name="connsiteY832" fmla="*/ 426002 h 798267"/>
              <a:gd name="connsiteX833" fmla="*/ 145618 w 682417"/>
              <a:gd name="connsiteY833" fmla="*/ 425450 h 798267"/>
              <a:gd name="connsiteX834" fmla="*/ 140360 w 682417"/>
              <a:gd name="connsiteY834" fmla="*/ 422240 h 798267"/>
              <a:gd name="connsiteX835" fmla="*/ 138322 w 682417"/>
              <a:gd name="connsiteY835" fmla="*/ 413782 h 798267"/>
              <a:gd name="connsiteX836" fmla="*/ 143208 w 682417"/>
              <a:gd name="connsiteY836" fmla="*/ 412296 h 798267"/>
              <a:gd name="connsiteX837" fmla="*/ 143608 w 682417"/>
              <a:gd name="connsiteY837" fmla="*/ 403085 h 798267"/>
              <a:gd name="connsiteX838" fmla="*/ 146056 w 682417"/>
              <a:gd name="connsiteY838" fmla="*/ 402342 h 798267"/>
              <a:gd name="connsiteX839" fmla="*/ 145485 w 682417"/>
              <a:gd name="connsiteY839" fmla="*/ 405723 h 798267"/>
              <a:gd name="connsiteX840" fmla="*/ 147171 w 682417"/>
              <a:gd name="connsiteY840" fmla="*/ 409486 h 798267"/>
              <a:gd name="connsiteX841" fmla="*/ 152629 w 682417"/>
              <a:gd name="connsiteY841" fmla="*/ 404618 h 798267"/>
              <a:gd name="connsiteX842" fmla="*/ 151469 w 682417"/>
              <a:gd name="connsiteY842" fmla="*/ 403454 h 798267"/>
              <a:gd name="connsiteX843" fmla="*/ 150371 w 682417"/>
              <a:gd name="connsiteY843" fmla="*/ 404228 h 798267"/>
              <a:gd name="connsiteX844" fmla="*/ 154181 w 682417"/>
              <a:gd name="connsiteY844" fmla="*/ 395598 h 798267"/>
              <a:gd name="connsiteX845" fmla="*/ 159268 w 682417"/>
              <a:gd name="connsiteY845" fmla="*/ 392988 h 798267"/>
              <a:gd name="connsiteX846" fmla="*/ 162258 w 682417"/>
              <a:gd name="connsiteY846" fmla="*/ 395846 h 798267"/>
              <a:gd name="connsiteX847" fmla="*/ 169050 w 682417"/>
              <a:gd name="connsiteY847" fmla="*/ 390045 h 798267"/>
              <a:gd name="connsiteX848" fmla="*/ 167402 w 682417"/>
              <a:gd name="connsiteY848" fmla="*/ 372376 h 798267"/>
              <a:gd name="connsiteX849" fmla="*/ 172107 w 682417"/>
              <a:gd name="connsiteY849" fmla="*/ 372014 h 798267"/>
              <a:gd name="connsiteX850" fmla="*/ 173460 w 682417"/>
              <a:gd name="connsiteY850" fmla="*/ 357174 h 798267"/>
              <a:gd name="connsiteX851" fmla="*/ 175717 w 682417"/>
              <a:gd name="connsiteY851" fmla="*/ 357555 h 798267"/>
              <a:gd name="connsiteX852" fmla="*/ 175355 w 682417"/>
              <a:gd name="connsiteY852" fmla="*/ 352860 h 798267"/>
              <a:gd name="connsiteX853" fmla="*/ 182309 w 682417"/>
              <a:gd name="connsiteY853" fmla="*/ 352860 h 798267"/>
              <a:gd name="connsiteX854" fmla="*/ 183261 w 682417"/>
              <a:gd name="connsiteY854" fmla="*/ 347221 h 798267"/>
              <a:gd name="connsiteX855" fmla="*/ 188157 w 682417"/>
              <a:gd name="connsiteY855" fmla="*/ 345735 h 798267"/>
              <a:gd name="connsiteX856" fmla="*/ 193234 w 682417"/>
              <a:gd name="connsiteY856" fmla="*/ 343116 h 798267"/>
              <a:gd name="connsiteX857" fmla="*/ 196634 w 682417"/>
              <a:gd name="connsiteY857" fmla="*/ 336743 h 798267"/>
              <a:gd name="connsiteX858" fmla="*/ 201330 w 682417"/>
              <a:gd name="connsiteY858" fmla="*/ 336381 h 798267"/>
              <a:gd name="connsiteX859" fmla="*/ 199654 w 682417"/>
              <a:gd name="connsiteY859" fmla="*/ 332619 h 798267"/>
              <a:gd name="connsiteX860" fmla="*/ 202282 w 682417"/>
              <a:gd name="connsiteY860" fmla="*/ 330714 h 798267"/>
              <a:gd name="connsiteX861" fmla="*/ 198168 w 682417"/>
              <a:gd name="connsiteY861" fmla="*/ 327695 h 798267"/>
              <a:gd name="connsiteX862" fmla="*/ 199863 w 682417"/>
              <a:gd name="connsiteY862" fmla="*/ 324504 h 798267"/>
              <a:gd name="connsiteX863" fmla="*/ 198911 w 682417"/>
              <a:gd name="connsiteY863" fmla="*/ 323189 h 798267"/>
              <a:gd name="connsiteX864" fmla="*/ 200997 w 682417"/>
              <a:gd name="connsiteY864" fmla="*/ 317750 h 798267"/>
              <a:gd name="connsiteX865" fmla="*/ 201739 w 682417"/>
              <a:gd name="connsiteY865" fmla="*/ 320189 h 798267"/>
              <a:gd name="connsiteX866" fmla="*/ 209645 w 682417"/>
              <a:gd name="connsiteY866" fmla="*/ 314579 h 798267"/>
              <a:gd name="connsiteX867" fmla="*/ 214160 w 682417"/>
              <a:gd name="connsiteY867" fmla="*/ 315341 h 798267"/>
              <a:gd name="connsiteX868" fmla="*/ 215856 w 682417"/>
              <a:gd name="connsiteY868" fmla="*/ 312150 h 798267"/>
              <a:gd name="connsiteX869" fmla="*/ 218103 w 682417"/>
              <a:gd name="connsiteY869" fmla="*/ 312531 h 798267"/>
              <a:gd name="connsiteX870" fmla="*/ 219808 w 682417"/>
              <a:gd name="connsiteY870" fmla="*/ 309340 h 798267"/>
              <a:gd name="connsiteX871" fmla="*/ 223771 w 682417"/>
              <a:gd name="connsiteY871" fmla="*/ 306540 h 798267"/>
              <a:gd name="connsiteX872" fmla="*/ 229210 w 682417"/>
              <a:gd name="connsiteY872" fmla="*/ 308626 h 798267"/>
              <a:gd name="connsiteX873" fmla="*/ 234096 w 682417"/>
              <a:gd name="connsiteY873" fmla="*/ 307130 h 798267"/>
              <a:gd name="connsiteX874" fmla="*/ 237306 w 682417"/>
              <a:gd name="connsiteY874" fmla="*/ 301882 h 798267"/>
              <a:gd name="connsiteX875" fmla="*/ 234315 w 682417"/>
              <a:gd name="connsiteY875" fmla="*/ 299024 h 798267"/>
              <a:gd name="connsiteX876" fmla="*/ 235629 w 682417"/>
              <a:gd name="connsiteY876" fmla="*/ 298072 h 798267"/>
              <a:gd name="connsiteX877" fmla="*/ 233724 w 682417"/>
              <a:gd name="connsiteY877" fmla="*/ 295433 h 798267"/>
              <a:gd name="connsiteX878" fmla="*/ 234305 w 682417"/>
              <a:gd name="connsiteY878" fmla="*/ 292052 h 798267"/>
              <a:gd name="connsiteX879" fmla="*/ 233934 w 682417"/>
              <a:gd name="connsiteY879" fmla="*/ 287356 h 798267"/>
              <a:gd name="connsiteX880" fmla="*/ 235258 w 682417"/>
              <a:gd name="connsiteY880" fmla="*/ 286404 h 798267"/>
              <a:gd name="connsiteX881" fmla="*/ 238115 w 682417"/>
              <a:gd name="connsiteY881" fmla="*/ 283413 h 798267"/>
              <a:gd name="connsiteX882" fmla="*/ 237754 w 682417"/>
              <a:gd name="connsiteY882" fmla="*/ 278708 h 798267"/>
              <a:gd name="connsiteX883" fmla="*/ 242449 w 682417"/>
              <a:gd name="connsiteY883" fmla="*/ 278346 h 798267"/>
              <a:gd name="connsiteX884" fmla="*/ 243783 w 682417"/>
              <a:gd name="connsiteY884" fmla="*/ 270459 h 798267"/>
              <a:gd name="connsiteX885" fmla="*/ 250003 w 682417"/>
              <a:gd name="connsiteY885" fmla="*/ 268039 h 798267"/>
              <a:gd name="connsiteX886" fmla="*/ 252994 w 682417"/>
              <a:gd name="connsiteY886" fmla="*/ 270897 h 798267"/>
              <a:gd name="connsiteX887" fmla="*/ 255270 w 682417"/>
              <a:gd name="connsiteY887" fmla="*/ 264334 h 798267"/>
              <a:gd name="connsiteX888" fmla="*/ 263328 w 682417"/>
              <a:gd name="connsiteY888" fmla="*/ 271488 h 798267"/>
              <a:gd name="connsiteX889" fmla="*/ 265967 w 682417"/>
              <a:gd name="connsiteY889" fmla="*/ 269583 h 798267"/>
              <a:gd name="connsiteX890" fmla="*/ 261842 w 682417"/>
              <a:gd name="connsiteY890" fmla="*/ 266563 h 798267"/>
              <a:gd name="connsiteX891" fmla="*/ 262614 w 682417"/>
              <a:gd name="connsiteY891" fmla="*/ 255133 h 798267"/>
              <a:gd name="connsiteX892" fmla="*/ 266195 w 682417"/>
              <a:gd name="connsiteY892" fmla="*/ 254581 h 798267"/>
              <a:gd name="connsiteX893" fmla="*/ 271853 w 682417"/>
              <a:gd name="connsiteY893" fmla="*/ 248580 h 798267"/>
              <a:gd name="connsiteX894" fmla="*/ 271301 w 682417"/>
              <a:gd name="connsiteY894" fmla="*/ 245008 h 798267"/>
              <a:gd name="connsiteX895" fmla="*/ 278054 w 682417"/>
              <a:gd name="connsiteY895" fmla="*/ 246161 h 798267"/>
              <a:gd name="connsiteX896" fmla="*/ 275196 w 682417"/>
              <a:gd name="connsiteY896" fmla="*/ 242208 h 798267"/>
              <a:gd name="connsiteX897" fmla="*/ 283855 w 682417"/>
              <a:gd name="connsiteY897" fmla="*/ 239036 h 798267"/>
              <a:gd name="connsiteX898" fmla="*/ 283683 w 682417"/>
              <a:gd name="connsiteY898" fmla="*/ 233207 h 798267"/>
              <a:gd name="connsiteX899" fmla="*/ 288379 w 682417"/>
              <a:gd name="connsiteY899" fmla="*/ 232845 h 798267"/>
              <a:gd name="connsiteX900" fmla="*/ 291589 w 682417"/>
              <a:gd name="connsiteY900" fmla="*/ 227596 h 798267"/>
              <a:gd name="connsiteX901" fmla="*/ 293656 w 682417"/>
              <a:gd name="connsiteY901" fmla="*/ 229101 h 798267"/>
              <a:gd name="connsiteX902" fmla="*/ 302504 w 682417"/>
              <a:gd name="connsiteY902" fmla="*/ 224806 h 798267"/>
              <a:gd name="connsiteX903" fmla="*/ 303457 w 682417"/>
              <a:gd name="connsiteY903" fmla="*/ 219176 h 798267"/>
              <a:gd name="connsiteX904" fmla="*/ 305714 w 682417"/>
              <a:gd name="connsiteY904" fmla="*/ 219557 h 798267"/>
              <a:gd name="connsiteX905" fmla="*/ 306095 w 682417"/>
              <a:gd name="connsiteY905" fmla="*/ 217300 h 798267"/>
              <a:gd name="connsiteX906" fmla="*/ 308343 w 682417"/>
              <a:gd name="connsiteY906" fmla="*/ 217681 h 798267"/>
              <a:gd name="connsiteX907" fmla="*/ 311363 w 682417"/>
              <a:gd name="connsiteY907" fmla="*/ 213556 h 798267"/>
              <a:gd name="connsiteX908" fmla="*/ 312677 w 682417"/>
              <a:gd name="connsiteY908" fmla="*/ 212604 h 798267"/>
              <a:gd name="connsiteX909" fmla="*/ 316240 w 682417"/>
              <a:gd name="connsiteY909" fmla="*/ 219005 h 798267"/>
              <a:gd name="connsiteX910" fmla="*/ 319421 w 682417"/>
              <a:gd name="connsiteY910" fmla="*/ 220710 h 798267"/>
              <a:gd name="connsiteX911" fmla="*/ 319040 w 682417"/>
              <a:gd name="connsiteY911" fmla="*/ 222958 h 798267"/>
              <a:gd name="connsiteX912" fmla="*/ 326174 w 682417"/>
              <a:gd name="connsiteY912" fmla="*/ 228806 h 798267"/>
              <a:gd name="connsiteX913" fmla="*/ 324107 w 682417"/>
              <a:gd name="connsiteY913" fmla="*/ 227301 h 798267"/>
              <a:gd name="connsiteX914" fmla="*/ 323364 w 682417"/>
              <a:gd name="connsiteY914" fmla="*/ 224853 h 798267"/>
              <a:gd name="connsiteX915" fmla="*/ 323574 w 682417"/>
              <a:gd name="connsiteY915" fmla="*/ 216776 h 798267"/>
              <a:gd name="connsiteX916" fmla="*/ 329584 w 682417"/>
              <a:gd name="connsiteY916" fmla="*/ 215471 h 798267"/>
              <a:gd name="connsiteX917" fmla="*/ 326231 w 682417"/>
              <a:gd name="connsiteY917" fmla="*/ 207946 h 798267"/>
              <a:gd name="connsiteX918" fmla="*/ 331670 w 682417"/>
              <a:gd name="connsiteY918" fmla="*/ 210032 h 798267"/>
              <a:gd name="connsiteX919" fmla="*/ 332813 w 682417"/>
              <a:gd name="connsiteY919" fmla="*/ 203269 h 798267"/>
              <a:gd name="connsiteX920" fmla="*/ 338452 w 682417"/>
              <a:gd name="connsiteY920" fmla="*/ 204222 h 798267"/>
              <a:gd name="connsiteX921" fmla="*/ 343529 w 682417"/>
              <a:gd name="connsiteY921" fmla="*/ 201612 h 798267"/>
              <a:gd name="connsiteX922" fmla="*/ 344481 w 682417"/>
              <a:gd name="connsiteY922" fmla="*/ 195973 h 798267"/>
              <a:gd name="connsiteX923" fmla="*/ 350691 w 682417"/>
              <a:gd name="connsiteY923" fmla="*/ 193554 h 798267"/>
              <a:gd name="connsiteX924" fmla="*/ 352368 w 682417"/>
              <a:gd name="connsiteY924" fmla="*/ 197316 h 798267"/>
              <a:gd name="connsiteX925" fmla="*/ 355368 w 682417"/>
              <a:gd name="connsiteY925" fmla="*/ 200174 h 798267"/>
              <a:gd name="connsiteX926" fmla="*/ 358578 w 682417"/>
              <a:gd name="connsiteY926" fmla="*/ 194926 h 798267"/>
              <a:gd name="connsiteX927" fmla="*/ 356511 w 682417"/>
              <a:gd name="connsiteY927" fmla="*/ 193421 h 798267"/>
              <a:gd name="connsiteX928" fmla="*/ 358416 w 682417"/>
              <a:gd name="connsiteY928" fmla="*/ 189106 h 798267"/>
              <a:gd name="connsiteX929" fmla="*/ 361036 w 682417"/>
              <a:gd name="connsiteY929" fmla="*/ 194183 h 798267"/>
              <a:gd name="connsiteX930" fmla="*/ 365169 w 682417"/>
              <a:gd name="connsiteY930" fmla="*/ 190249 h 798267"/>
              <a:gd name="connsiteX931" fmla="*/ 367979 w 682417"/>
              <a:gd name="connsiteY931" fmla="*/ 194202 h 798267"/>
              <a:gd name="connsiteX932" fmla="*/ 369494 w 682417"/>
              <a:gd name="connsiteY932" fmla="*/ 192144 h 798267"/>
              <a:gd name="connsiteX933" fmla="*/ 374571 w 682417"/>
              <a:gd name="connsiteY933" fmla="*/ 189525 h 798267"/>
              <a:gd name="connsiteX934" fmla="*/ 375314 w 682417"/>
              <a:gd name="connsiteY934" fmla="*/ 191973 h 798267"/>
              <a:gd name="connsiteX935" fmla="*/ 377571 w 682417"/>
              <a:gd name="connsiteY935" fmla="*/ 192354 h 798267"/>
              <a:gd name="connsiteX936" fmla="*/ 381743 w 682417"/>
              <a:gd name="connsiteY936" fmla="*/ 181467 h 798267"/>
              <a:gd name="connsiteX937" fmla="*/ 390363 w 682417"/>
              <a:gd name="connsiteY937" fmla="*/ 185277 h 798267"/>
              <a:gd name="connsiteX938" fmla="*/ 386972 w 682417"/>
              <a:gd name="connsiteY938" fmla="*/ 191659 h 798267"/>
              <a:gd name="connsiteX939" fmla="*/ 392811 w 682417"/>
              <a:gd name="connsiteY939" fmla="*/ 184534 h 798267"/>
              <a:gd name="connsiteX940" fmla="*/ 399936 w 682417"/>
              <a:gd name="connsiteY940" fmla="*/ 190373 h 798267"/>
              <a:gd name="connsiteX941" fmla="*/ 408061 w 682417"/>
              <a:gd name="connsiteY941" fmla="*/ 176685 h 798267"/>
              <a:gd name="connsiteX942" fmla="*/ 405203 w 682417"/>
              <a:gd name="connsiteY942" fmla="*/ 179676 h 798267"/>
              <a:gd name="connsiteX943" fmla="*/ 402346 w 682417"/>
              <a:gd name="connsiteY943" fmla="*/ 175723 h 798267"/>
              <a:gd name="connsiteX944" fmla="*/ 398412 w 682417"/>
              <a:gd name="connsiteY944" fmla="*/ 171580 h 798267"/>
              <a:gd name="connsiteX945" fmla="*/ 404232 w 682417"/>
              <a:gd name="connsiteY945" fmla="*/ 171408 h 798267"/>
              <a:gd name="connsiteX946" fmla="*/ 403679 w 682417"/>
              <a:gd name="connsiteY946" fmla="*/ 167836 h 798267"/>
              <a:gd name="connsiteX947" fmla="*/ 407641 w 682417"/>
              <a:gd name="connsiteY947" fmla="*/ 165036 h 798267"/>
              <a:gd name="connsiteX948" fmla="*/ 411785 w 682417"/>
              <a:gd name="connsiteY948" fmla="*/ 161093 h 798267"/>
              <a:gd name="connsiteX949" fmla="*/ 420253 w 682417"/>
              <a:gd name="connsiteY949" fmla="*/ 159054 h 798267"/>
              <a:gd name="connsiteX950" fmla="*/ 421015 w 682417"/>
              <a:gd name="connsiteY950" fmla="*/ 154549 h 798267"/>
              <a:gd name="connsiteX951" fmla="*/ 431349 w 682417"/>
              <a:gd name="connsiteY951" fmla="*/ 155140 h 798267"/>
              <a:gd name="connsiteX952" fmla="*/ 433626 w 682417"/>
              <a:gd name="connsiteY952" fmla="*/ 148577 h 798267"/>
              <a:gd name="connsiteX953" fmla="*/ 436483 w 682417"/>
              <a:gd name="connsiteY953" fmla="*/ 145577 h 798267"/>
              <a:gd name="connsiteX954" fmla="*/ 439865 w 682417"/>
              <a:gd name="connsiteY954" fmla="*/ 146148 h 798267"/>
              <a:gd name="connsiteX955" fmla="*/ 449837 w 682417"/>
              <a:gd name="connsiteY955" fmla="*/ 142043 h 798267"/>
              <a:gd name="connsiteX956" fmla="*/ 449066 w 682417"/>
              <a:gd name="connsiteY956" fmla="*/ 146548 h 798267"/>
              <a:gd name="connsiteX957" fmla="*/ 450771 w 682417"/>
              <a:gd name="connsiteY957" fmla="*/ 143367 h 798267"/>
              <a:gd name="connsiteX958" fmla="*/ 455466 w 682417"/>
              <a:gd name="connsiteY958" fmla="*/ 142995 h 798267"/>
              <a:gd name="connsiteX959" fmla="*/ 459810 w 682417"/>
              <a:gd name="connsiteY959" fmla="*/ 137938 h 798267"/>
              <a:gd name="connsiteX960" fmla="*/ 459810 w 682417"/>
              <a:gd name="connsiteY960" fmla="*/ 130984 h 798267"/>
              <a:gd name="connsiteX961" fmla="*/ 466573 w 682417"/>
              <a:gd name="connsiteY961" fmla="*/ 132127 h 798267"/>
              <a:gd name="connsiteX962" fmla="*/ 468649 w 682417"/>
              <a:gd name="connsiteY962" fmla="*/ 126688 h 798267"/>
              <a:gd name="connsiteX963" fmla="*/ 473907 w 682417"/>
              <a:gd name="connsiteY963" fmla="*/ 129898 h 798267"/>
              <a:gd name="connsiteX964" fmla="*/ 472602 w 682417"/>
              <a:gd name="connsiteY964" fmla="*/ 123879 h 798267"/>
              <a:gd name="connsiteX965" fmla="*/ 474669 w 682417"/>
              <a:gd name="connsiteY965" fmla="*/ 125393 h 798267"/>
              <a:gd name="connsiteX966" fmla="*/ 481641 w 682417"/>
              <a:gd name="connsiteY966" fmla="*/ 118459 h 798267"/>
              <a:gd name="connsiteX967" fmla="*/ 484832 w 682417"/>
              <a:gd name="connsiteY967" fmla="*/ 120164 h 798267"/>
              <a:gd name="connsiteX968" fmla="*/ 486537 w 682417"/>
              <a:gd name="connsiteY968" fmla="*/ 116973 h 798267"/>
              <a:gd name="connsiteX969" fmla="*/ 492928 w 682417"/>
              <a:gd name="connsiteY969" fmla="*/ 113420 h 798267"/>
              <a:gd name="connsiteX970" fmla="*/ 496119 w 682417"/>
              <a:gd name="connsiteY970" fmla="*/ 115116 h 798267"/>
              <a:gd name="connsiteX971" fmla="*/ 499339 w 682417"/>
              <a:gd name="connsiteY971" fmla="*/ 109867 h 798267"/>
              <a:gd name="connsiteX972" fmla="*/ 503091 w 682417"/>
              <a:gd name="connsiteY972" fmla="*/ 108191 h 798267"/>
              <a:gd name="connsiteX973" fmla="*/ 505730 w 682417"/>
              <a:gd name="connsiteY973" fmla="*/ 106286 h 798267"/>
              <a:gd name="connsiteX974" fmla="*/ 508587 w 682417"/>
              <a:gd name="connsiteY974" fmla="*/ 110239 h 798267"/>
              <a:gd name="connsiteX975" fmla="*/ 514979 w 682417"/>
              <a:gd name="connsiteY975" fmla="*/ 106686 h 798267"/>
              <a:gd name="connsiteX976" fmla="*/ 525313 w 682417"/>
              <a:gd name="connsiteY976" fmla="*/ 107286 h 798267"/>
              <a:gd name="connsiteX977" fmla="*/ 519293 w 682417"/>
              <a:gd name="connsiteY977" fmla="*/ 108581 h 798267"/>
              <a:gd name="connsiteX978" fmla="*/ 527552 w 682417"/>
              <a:gd name="connsiteY978" fmla="*/ 114620 h 798267"/>
              <a:gd name="connsiteX979" fmla="*/ 531505 w 682417"/>
              <a:gd name="connsiteY979" fmla="*/ 111810 h 798267"/>
              <a:gd name="connsiteX980" fmla="*/ 536572 w 682417"/>
              <a:gd name="connsiteY980" fmla="*/ 116144 h 798267"/>
              <a:gd name="connsiteX981" fmla="*/ 542963 w 682417"/>
              <a:gd name="connsiteY981" fmla="*/ 112591 h 798267"/>
              <a:gd name="connsiteX982" fmla="*/ 540182 w 682417"/>
              <a:gd name="connsiteY982" fmla="*/ 101685 h 798267"/>
              <a:gd name="connsiteX983" fmla="*/ 544306 w 682417"/>
              <a:gd name="connsiteY983" fmla="*/ 104705 h 798267"/>
              <a:gd name="connsiteX984" fmla="*/ 547164 w 682417"/>
              <a:gd name="connsiteY984" fmla="*/ 101714 h 798267"/>
              <a:gd name="connsiteX985" fmla="*/ 544925 w 682417"/>
              <a:gd name="connsiteY985" fmla="*/ 94370 h 798267"/>
              <a:gd name="connsiteX986" fmla="*/ 553002 w 682417"/>
              <a:gd name="connsiteY986" fmla="*/ 94580 h 798267"/>
              <a:gd name="connsiteX987" fmla="*/ 556965 w 682417"/>
              <a:gd name="connsiteY987" fmla="*/ 91779 h 798267"/>
              <a:gd name="connsiteX988" fmla="*/ 548878 w 682417"/>
              <a:gd name="connsiteY988" fmla="*/ 91570 h 798267"/>
              <a:gd name="connsiteX989" fmla="*/ 542696 w 682417"/>
              <a:gd name="connsiteY989" fmla="*/ 87036 h 798267"/>
              <a:gd name="connsiteX990" fmla="*/ 541182 w 682417"/>
              <a:gd name="connsiteY990" fmla="*/ 89103 h 798267"/>
              <a:gd name="connsiteX991" fmla="*/ 535543 w 682417"/>
              <a:gd name="connsiteY991" fmla="*/ 88150 h 798267"/>
              <a:gd name="connsiteX992" fmla="*/ 529361 w 682417"/>
              <a:gd name="connsiteY992" fmla="*/ 83616 h 798267"/>
              <a:gd name="connsiteX993" fmla="*/ 519770 w 682417"/>
              <a:gd name="connsiteY993" fmla="*/ 85521 h 798267"/>
              <a:gd name="connsiteX994" fmla="*/ 514521 w 682417"/>
              <a:gd name="connsiteY994" fmla="*/ 82302 h 798267"/>
              <a:gd name="connsiteX995" fmla="*/ 499491 w 682417"/>
              <a:gd name="connsiteY995" fmla="*/ 82073 h 798267"/>
              <a:gd name="connsiteX996" fmla="*/ 498929 w 682417"/>
              <a:gd name="connsiteY996" fmla="*/ 78502 h 798267"/>
              <a:gd name="connsiteX997" fmla="*/ 494976 w 682417"/>
              <a:gd name="connsiteY997" fmla="*/ 81359 h 798267"/>
              <a:gd name="connsiteX998" fmla="*/ 490852 w 682417"/>
              <a:gd name="connsiteY998" fmla="*/ 78340 h 798267"/>
              <a:gd name="connsiteX999" fmla="*/ 478469 w 682417"/>
              <a:gd name="connsiteY999" fmla="*/ 83188 h 798267"/>
              <a:gd name="connsiteX1000" fmla="*/ 474155 w 682417"/>
              <a:gd name="connsiteY1000" fmla="*/ 81283 h 798267"/>
              <a:gd name="connsiteX1001" fmla="*/ 475298 w 682417"/>
              <a:gd name="connsiteY1001" fmla="*/ 74530 h 798267"/>
              <a:gd name="connsiteX1002" fmla="*/ 469087 w 682417"/>
              <a:gd name="connsiteY1002" fmla="*/ 76949 h 798267"/>
              <a:gd name="connsiteX1003" fmla="*/ 464772 w 682417"/>
              <a:gd name="connsiteY1003" fmla="*/ 75044 h 798267"/>
              <a:gd name="connsiteX1004" fmla="*/ 459877 w 682417"/>
              <a:gd name="connsiteY1004" fmla="*/ 76530 h 798267"/>
              <a:gd name="connsiteX1005" fmla="*/ 460648 w 682417"/>
              <a:gd name="connsiteY1005" fmla="*/ 72025 h 798267"/>
              <a:gd name="connsiteX1006" fmla="*/ 456695 w 682417"/>
              <a:gd name="connsiteY1006" fmla="*/ 74834 h 798267"/>
              <a:gd name="connsiteX1007" fmla="*/ 440369 w 682417"/>
              <a:gd name="connsiteY1007" fmla="*/ 68586 h 798267"/>
              <a:gd name="connsiteX1008" fmla="*/ 426463 w 682417"/>
              <a:gd name="connsiteY1008" fmla="*/ 68538 h 798267"/>
              <a:gd name="connsiteX1009" fmla="*/ 421586 w 682417"/>
              <a:gd name="connsiteY1009" fmla="*/ 63081 h 798267"/>
              <a:gd name="connsiteX1010" fmla="*/ 415385 w 682417"/>
              <a:gd name="connsiteY1010" fmla="*/ 65500 h 798267"/>
              <a:gd name="connsiteX1011" fmla="*/ 410518 w 682417"/>
              <a:gd name="connsiteY1011" fmla="*/ 60033 h 798267"/>
              <a:gd name="connsiteX1012" fmla="*/ 410870 w 682417"/>
              <a:gd name="connsiteY1012" fmla="*/ 64738 h 798267"/>
              <a:gd name="connsiteX1013" fmla="*/ 408242 w 682417"/>
              <a:gd name="connsiteY1013" fmla="*/ 66643 h 798267"/>
              <a:gd name="connsiteX1014" fmla="*/ 400545 w 682417"/>
              <a:gd name="connsiteY1014" fmla="*/ 64185 h 798267"/>
              <a:gd name="connsiteX1015" fmla="*/ 396221 w 682417"/>
              <a:gd name="connsiteY1015" fmla="*/ 62280 h 798267"/>
              <a:gd name="connsiteX1016" fmla="*/ 398288 w 682417"/>
              <a:gd name="connsiteY1016" fmla="*/ 63785 h 798267"/>
              <a:gd name="connsiteX1017" fmla="*/ 393202 w 682417"/>
              <a:gd name="connsiteY1017" fmla="*/ 66405 h 798267"/>
              <a:gd name="connsiteX1018" fmla="*/ 386448 w 682417"/>
              <a:gd name="connsiteY1018" fmla="*/ 65252 h 798267"/>
              <a:gd name="connsiteX1019" fmla="*/ 387020 w 682417"/>
              <a:gd name="connsiteY1019" fmla="*/ 61880 h 798267"/>
              <a:gd name="connsiteX1020" fmla="*/ 379495 w 682417"/>
              <a:gd name="connsiteY1020" fmla="*/ 65233 h 798267"/>
              <a:gd name="connsiteX1021" fmla="*/ 371608 w 682417"/>
              <a:gd name="connsiteY1021" fmla="*/ 63900 h 798267"/>
              <a:gd name="connsiteX1022" fmla="*/ 368437 w 682417"/>
              <a:gd name="connsiteY1022" fmla="*/ 55251 h 798267"/>
              <a:gd name="connsiteX1023" fmla="*/ 365970 w 682417"/>
              <a:gd name="connsiteY1023" fmla="*/ 62938 h 798267"/>
              <a:gd name="connsiteX1024" fmla="*/ 360150 w 682417"/>
              <a:gd name="connsiteY1024" fmla="*/ 63119 h 798267"/>
              <a:gd name="connsiteX1025" fmla="*/ 361464 w 682417"/>
              <a:gd name="connsiteY1025" fmla="*/ 62166 h 798267"/>
              <a:gd name="connsiteX1026" fmla="*/ 359969 w 682417"/>
              <a:gd name="connsiteY1026" fmla="*/ 57280 h 798267"/>
              <a:gd name="connsiteX1027" fmla="*/ 353568 w 682417"/>
              <a:gd name="connsiteY1027" fmla="*/ 60833 h 798267"/>
              <a:gd name="connsiteX1028" fmla="*/ 348129 w 682417"/>
              <a:gd name="connsiteY1028" fmla="*/ 58747 h 798267"/>
              <a:gd name="connsiteX1029" fmla="*/ 344919 w 682417"/>
              <a:gd name="connsiteY1029" fmla="*/ 63995 h 798267"/>
              <a:gd name="connsiteX1030" fmla="*/ 344176 w 682417"/>
              <a:gd name="connsiteY1030" fmla="*/ 61557 h 798267"/>
              <a:gd name="connsiteX1031" fmla="*/ 339290 w 682417"/>
              <a:gd name="connsiteY1031" fmla="*/ 63042 h 798267"/>
              <a:gd name="connsiteX1032" fmla="*/ 339671 w 682417"/>
              <a:gd name="connsiteY1032" fmla="*/ 60795 h 798267"/>
              <a:gd name="connsiteX1033" fmla="*/ 331394 w 682417"/>
              <a:gd name="connsiteY1033" fmla="*/ 61747 h 798267"/>
              <a:gd name="connsiteX1034" fmla="*/ 332908 w 682417"/>
              <a:gd name="connsiteY1034" fmla="*/ 59680 h 798267"/>
              <a:gd name="connsiteX1035" fmla="*/ 329336 w 682417"/>
              <a:gd name="connsiteY1035" fmla="*/ 60233 h 798267"/>
              <a:gd name="connsiteX1036" fmla="*/ 328032 w 682417"/>
              <a:gd name="connsiteY1036" fmla="*/ 54222 h 798267"/>
              <a:gd name="connsiteX1037" fmla="*/ 327079 w 682417"/>
              <a:gd name="connsiteY1037" fmla="*/ 52898 h 798267"/>
              <a:gd name="connsiteX1038" fmla="*/ 328574 w 682417"/>
              <a:gd name="connsiteY1038" fmla="*/ 50831 h 798267"/>
              <a:gd name="connsiteX1039" fmla="*/ 327841 w 682417"/>
              <a:gd name="connsiteY1039" fmla="*/ 48393 h 798267"/>
              <a:gd name="connsiteX1040" fmla="*/ 330279 w 682417"/>
              <a:gd name="connsiteY1040" fmla="*/ 47650 h 798267"/>
              <a:gd name="connsiteX1041" fmla="*/ 327660 w 682417"/>
              <a:gd name="connsiteY1041" fmla="*/ 42564 h 798267"/>
              <a:gd name="connsiteX1042" fmla="*/ 324288 w 682417"/>
              <a:gd name="connsiteY1042" fmla="*/ 41992 h 798267"/>
              <a:gd name="connsiteX1043" fmla="*/ 321821 w 682417"/>
              <a:gd name="connsiteY1043" fmla="*/ 49688 h 798267"/>
              <a:gd name="connsiteX1044" fmla="*/ 318821 w 682417"/>
              <a:gd name="connsiteY1044" fmla="*/ 46831 h 798267"/>
              <a:gd name="connsiteX1045" fmla="*/ 319183 w 682417"/>
              <a:gd name="connsiteY1045" fmla="*/ 51536 h 798267"/>
              <a:gd name="connsiteX1046" fmla="*/ 313382 w 682417"/>
              <a:gd name="connsiteY1046" fmla="*/ 44754 h 798267"/>
              <a:gd name="connsiteX1047" fmla="*/ 315830 w 682417"/>
              <a:gd name="connsiteY1047" fmla="*/ 44002 h 798267"/>
              <a:gd name="connsiteX1048" fmla="*/ 312630 w 682417"/>
              <a:gd name="connsiteY1048" fmla="*/ 42307 h 798267"/>
              <a:gd name="connsiteX1049" fmla="*/ 310953 w 682417"/>
              <a:gd name="connsiteY1049" fmla="*/ 38544 h 798267"/>
              <a:gd name="connsiteX1050" fmla="*/ 313420 w 682417"/>
              <a:gd name="connsiteY1050" fmla="*/ 30848 h 798267"/>
              <a:gd name="connsiteX1051" fmla="*/ 320183 w 682417"/>
              <a:gd name="connsiteY1051" fmla="*/ 31991 h 798267"/>
              <a:gd name="connsiteX1052" fmla="*/ 320535 w 682417"/>
              <a:gd name="connsiteY1052" fmla="*/ 36687 h 798267"/>
              <a:gd name="connsiteX1053" fmla="*/ 328070 w 682417"/>
              <a:gd name="connsiteY1053" fmla="*/ 33334 h 798267"/>
              <a:gd name="connsiteX1054" fmla="*/ 328841 w 682417"/>
              <a:gd name="connsiteY1054" fmla="*/ 28829 h 798267"/>
              <a:gd name="connsiteX1055" fmla="*/ 336166 w 682417"/>
              <a:gd name="connsiteY1055" fmla="*/ 26590 h 798267"/>
              <a:gd name="connsiteX1056" fmla="*/ 328089 w 682417"/>
              <a:gd name="connsiteY1056" fmla="*/ 26381 h 798267"/>
              <a:gd name="connsiteX1057" fmla="*/ 329603 w 682417"/>
              <a:gd name="connsiteY1057" fmla="*/ 24314 h 798267"/>
              <a:gd name="connsiteX1058" fmla="*/ 332623 w 682417"/>
              <a:gd name="connsiteY1058" fmla="*/ 20189 h 798267"/>
              <a:gd name="connsiteX1059" fmla="*/ 331870 w 682417"/>
              <a:gd name="connsiteY1059" fmla="*/ 17742 h 798267"/>
              <a:gd name="connsiteX1060" fmla="*/ 334509 w 682417"/>
              <a:gd name="connsiteY1060" fmla="*/ 15837 h 798267"/>
              <a:gd name="connsiteX1061" fmla="*/ 331327 w 682417"/>
              <a:gd name="connsiteY1061" fmla="*/ 14141 h 798267"/>
              <a:gd name="connsiteX1062" fmla="*/ 337147 w 682417"/>
              <a:gd name="connsiteY1062" fmla="*/ 13960 h 798267"/>
              <a:gd name="connsiteX1063" fmla="*/ 340004 w 682417"/>
              <a:gd name="connsiteY1063" fmla="*/ 10969 h 798267"/>
              <a:gd name="connsiteX1064" fmla="*/ 351844 w 682417"/>
              <a:gd name="connsiteY1064" fmla="*/ 9502 h 798267"/>
              <a:gd name="connsiteX1065" fmla="*/ 350891 w 682417"/>
              <a:gd name="connsiteY1065" fmla="*/ 15132 h 798267"/>
              <a:gd name="connsiteX1066" fmla="*/ 359159 w 682417"/>
              <a:gd name="connsiteY1066" fmla="*/ 14179 h 798267"/>
              <a:gd name="connsiteX1067" fmla="*/ 367808 w 682417"/>
              <a:gd name="connsiteY1067" fmla="*/ 11007 h 798267"/>
              <a:gd name="connsiteX1068" fmla="*/ 370427 w 682417"/>
              <a:gd name="connsiteY1068" fmla="*/ 16094 h 798267"/>
              <a:gd name="connsiteX1069" fmla="*/ 372866 w 682417"/>
              <a:gd name="connsiteY1069" fmla="*/ 15341 h 798267"/>
              <a:gd name="connsiteX1070" fmla="*/ 373075 w 682417"/>
              <a:gd name="connsiteY1070" fmla="*/ 7264 h 798267"/>
              <a:gd name="connsiteX1071" fmla="*/ 375933 w 682417"/>
              <a:gd name="connsiteY1071" fmla="*/ 11217 h 798267"/>
              <a:gd name="connsiteX1072" fmla="*/ 379895 w 682417"/>
              <a:gd name="connsiteY1072" fmla="*/ 8417 h 798267"/>
              <a:gd name="connsiteX1073" fmla="*/ 378762 w 682417"/>
              <a:gd name="connsiteY1073" fmla="*/ 8226 h 798267"/>
              <a:gd name="connsiteX1074" fmla="*/ 378601 w 682417"/>
              <a:gd name="connsiteY1074" fmla="*/ 509 h 798267"/>
              <a:gd name="connsiteX1075" fmla="*/ 378981 w 682417"/>
              <a:gd name="connsiteY1075" fmla="*/ 149 h 798267"/>
              <a:gd name="connsiteX1076" fmla="*/ 379343 w 682417"/>
              <a:gd name="connsiteY1076" fmla="*/ 4845 h 798267"/>
              <a:gd name="connsiteX1077" fmla="*/ 385353 w 682417"/>
              <a:gd name="connsiteY1077" fmla="*/ 3540 h 798267"/>
              <a:gd name="connsiteX1078" fmla="*/ 387420 w 682417"/>
              <a:gd name="connsiteY1078" fmla="*/ 5054 h 798267"/>
              <a:gd name="connsiteX1079" fmla="*/ 387591 w 682417"/>
              <a:gd name="connsiteY1079" fmla="*/ 10884 h 798267"/>
              <a:gd name="connsiteX1080" fmla="*/ 399793 w 682417"/>
              <a:gd name="connsiteY1080" fmla="*/ 14113 h 798267"/>
              <a:gd name="connsiteX1081" fmla="*/ 401869 w 682417"/>
              <a:gd name="connsiteY1081" fmla="*/ 8664 h 798267"/>
              <a:gd name="connsiteX1082" fmla="*/ 409575 w 682417"/>
              <a:gd name="connsiteY1082" fmla="*/ 11131 h 798267"/>
              <a:gd name="connsiteX1083" fmla="*/ 417652 w 682417"/>
              <a:gd name="connsiteY1083" fmla="*/ 11341 h 798267"/>
              <a:gd name="connsiteX1084" fmla="*/ 418605 w 682417"/>
              <a:gd name="connsiteY1084" fmla="*/ 12655 h 798267"/>
              <a:gd name="connsiteX1085" fmla="*/ 415966 w 682417"/>
              <a:gd name="connsiteY1085" fmla="*/ 14560 h 798267"/>
              <a:gd name="connsiteX1086" fmla="*/ 417262 w 682417"/>
              <a:gd name="connsiteY1086" fmla="*/ 20580 h 798267"/>
              <a:gd name="connsiteX1087" fmla="*/ 421630 w 682417"/>
              <a:gd name="connsiteY1087" fmla="*/ 21149 h 798267"/>
              <a:gd name="connsiteX1088" fmla="*/ 421767 w 682417"/>
              <a:gd name="connsiteY1088" fmla="*/ 21342 h 798267"/>
              <a:gd name="connsiteX1089" fmla="*/ 422922 w 682417"/>
              <a:gd name="connsiteY1089" fmla="*/ 20173 h 798267"/>
              <a:gd name="connsiteX1090" fmla="*/ 422148 w 682417"/>
              <a:gd name="connsiteY1090" fmla="*/ 19085 h 798267"/>
              <a:gd name="connsiteX1091" fmla="*/ 430416 w 682417"/>
              <a:gd name="connsiteY1091" fmla="*/ 18132 h 798267"/>
              <a:gd name="connsiteX1092" fmla="*/ 428911 w 682417"/>
              <a:gd name="connsiteY1092" fmla="*/ 20199 h 798267"/>
              <a:gd name="connsiteX1093" fmla="*/ 427215 w 682417"/>
              <a:gd name="connsiteY1093" fmla="*/ 23390 h 798267"/>
              <a:gd name="connsiteX1094" fmla="*/ 425891 w 682417"/>
              <a:gd name="connsiteY1094" fmla="*/ 24342 h 798267"/>
              <a:gd name="connsiteX1095" fmla="*/ 423624 w 682417"/>
              <a:gd name="connsiteY1095" fmla="*/ 30915 h 798267"/>
              <a:gd name="connsiteX1096" fmla="*/ 425853 w 682417"/>
              <a:gd name="connsiteY1096" fmla="*/ 38249 h 798267"/>
              <a:gd name="connsiteX1097" fmla="*/ 433378 w 682417"/>
              <a:gd name="connsiteY1097" fmla="*/ 34887 h 798267"/>
              <a:gd name="connsiteX1098" fmla="*/ 438817 w 682417"/>
              <a:gd name="connsiteY1098" fmla="*/ 36973 h 798267"/>
              <a:gd name="connsiteX1099" fmla="*/ 438417 w 682417"/>
              <a:gd name="connsiteY1099" fmla="*/ 46174 h 798267"/>
              <a:gd name="connsiteX1100" fmla="*/ 440322 w 682417"/>
              <a:gd name="connsiteY1100" fmla="*/ 41859 h 798267"/>
              <a:gd name="connsiteX1101" fmla="*/ 440512 w 682417"/>
              <a:gd name="connsiteY1101" fmla="*/ 40735 h 798267"/>
              <a:gd name="connsiteX1102" fmla="*/ 441855 w 682417"/>
              <a:gd name="connsiteY1102" fmla="*/ 32848 h 798267"/>
              <a:gd name="connsiteX1103" fmla="*/ 442598 w 682417"/>
              <a:gd name="connsiteY1103" fmla="*/ 35287 h 798267"/>
              <a:gd name="connsiteX1104" fmla="*/ 446913 w 682417"/>
              <a:gd name="connsiteY1104" fmla="*/ 37192 h 798267"/>
              <a:gd name="connsiteX1105" fmla="*/ 451247 w 682417"/>
              <a:gd name="connsiteY1105" fmla="*/ 32134 h 798267"/>
              <a:gd name="connsiteX1106" fmla="*/ 459515 w 682417"/>
              <a:gd name="connsiteY1106" fmla="*/ 31181 h 798267"/>
              <a:gd name="connsiteX1107" fmla="*/ 460077 w 682417"/>
              <a:gd name="connsiteY1107" fmla="*/ 34753 h 798267"/>
              <a:gd name="connsiteX1108" fmla="*/ 467773 w 682417"/>
              <a:gd name="connsiteY1108" fmla="*/ 37220 h 798267"/>
              <a:gd name="connsiteX1109" fmla="*/ 471707 w 682417"/>
              <a:gd name="connsiteY1109" fmla="*/ 41364 h 798267"/>
              <a:gd name="connsiteX1110" fmla="*/ 474155 w 682417"/>
              <a:gd name="connsiteY1110" fmla="*/ 40630 h 798267"/>
              <a:gd name="connsiteX1111" fmla="*/ 473974 w 682417"/>
              <a:gd name="connsiteY1111" fmla="*/ 34801 h 798267"/>
              <a:gd name="connsiteX1112" fmla="*/ 476974 w 682417"/>
              <a:gd name="connsiteY1112" fmla="*/ 37658 h 798267"/>
              <a:gd name="connsiteX1113" fmla="*/ 478660 w 682417"/>
              <a:gd name="connsiteY1113" fmla="*/ 41468 h 798267"/>
              <a:gd name="connsiteX1114" fmla="*/ 475078 w 682417"/>
              <a:gd name="connsiteY1114" fmla="*/ 42011 h 798267"/>
              <a:gd name="connsiteX1115" fmla="*/ 475440 w 682417"/>
              <a:gd name="connsiteY1115" fmla="*/ 46717 h 798267"/>
              <a:gd name="connsiteX1116" fmla="*/ 476955 w 682417"/>
              <a:gd name="connsiteY1116" fmla="*/ 44659 h 798267"/>
              <a:gd name="connsiteX1117" fmla="*/ 483718 w 682417"/>
              <a:gd name="connsiteY1117" fmla="*/ 45802 h 798267"/>
              <a:gd name="connsiteX1118" fmla="*/ 479593 w 682417"/>
              <a:gd name="connsiteY1118" fmla="*/ 42783 h 798267"/>
              <a:gd name="connsiteX1119" fmla="*/ 482060 w 682417"/>
              <a:gd name="connsiteY1119" fmla="*/ 35087 h 798267"/>
              <a:gd name="connsiteX1120" fmla="*/ 483737 w 682417"/>
              <a:gd name="connsiteY1120" fmla="*/ 38849 h 798267"/>
              <a:gd name="connsiteX1121" fmla="*/ 484689 w 682417"/>
              <a:gd name="connsiteY1121" fmla="*/ 33220 h 798267"/>
              <a:gd name="connsiteX1122" fmla="*/ 491842 w 682417"/>
              <a:gd name="connsiteY1122" fmla="*/ 32105 h 798267"/>
              <a:gd name="connsiteX1123" fmla="*/ 490890 w 682417"/>
              <a:gd name="connsiteY1123" fmla="*/ 37744 h 798267"/>
              <a:gd name="connsiteX1124" fmla="*/ 487128 w 682417"/>
              <a:gd name="connsiteY1124" fmla="*/ 39420 h 798267"/>
              <a:gd name="connsiteX1125" fmla="*/ 491642 w 682417"/>
              <a:gd name="connsiteY1125" fmla="*/ 40182 h 798267"/>
              <a:gd name="connsiteX1126" fmla="*/ 492595 w 682417"/>
              <a:gd name="connsiteY1126" fmla="*/ 41506 h 798267"/>
              <a:gd name="connsiteX1127" fmla="*/ 498986 w 682417"/>
              <a:gd name="connsiteY1127" fmla="*/ 37954 h 798267"/>
              <a:gd name="connsiteX1128" fmla="*/ 504615 w 682417"/>
              <a:gd name="connsiteY1128" fmla="*/ 38906 h 798267"/>
              <a:gd name="connsiteX1129" fmla="*/ 505177 w 682417"/>
              <a:gd name="connsiteY1129" fmla="*/ 42478 h 798267"/>
              <a:gd name="connsiteX1130" fmla="*/ 504806 w 682417"/>
              <a:gd name="connsiteY1130" fmla="*/ 37782 h 798267"/>
              <a:gd name="connsiteX1131" fmla="*/ 508387 w 682417"/>
              <a:gd name="connsiteY1131" fmla="*/ 37230 h 798267"/>
              <a:gd name="connsiteX1132" fmla="*/ 510292 w 682417"/>
              <a:gd name="connsiteY1132" fmla="*/ 32915 h 798267"/>
              <a:gd name="connsiteX1133" fmla="*/ 511969 w 682417"/>
              <a:gd name="connsiteY1133" fmla="*/ 36677 h 798267"/>
              <a:gd name="connsiteX1134" fmla="*/ 514045 w 682417"/>
              <a:gd name="connsiteY1134" fmla="*/ 31229 h 798267"/>
              <a:gd name="connsiteX1135" fmla="*/ 519684 w 682417"/>
              <a:gd name="connsiteY1135" fmla="*/ 32181 h 798267"/>
              <a:gd name="connsiteX1136" fmla="*/ 522303 w 682417"/>
              <a:gd name="connsiteY1136" fmla="*/ 37258 h 798267"/>
              <a:gd name="connsiteX1137" fmla="*/ 521541 w 682417"/>
              <a:gd name="connsiteY1137" fmla="*/ 41764 h 798267"/>
              <a:gd name="connsiteX1138" fmla="*/ 525656 w 682417"/>
              <a:gd name="connsiteY1138" fmla="*/ 44783 h 798267"/>
              <a:gd name="connsiteX1139" fmla="*/ 525275 w 682417"/>
              <a:gd name="connsiteY1139" fmla="*/ 47040 h 798267"/>
              <a:gd name="connsiteX1140" fmla="*/ 526599 w 682417"/>
              <a:gd name="connsiteY1140" fmla="*/ 46088 h 798267"/>
              <a:gd name="connsiteX1141" fmla="*/ 529971 w 682417"/>
              <a:gd name="connsiteY1141" fmla="*/ 46659 h 798267"/>
              <a:gd name="connsiteX1142" fmla="*/ 540858 w 682417"/>
              <a:gd name="connsiteY1142" fmla="*/ 50822 h 798267"/>
              <a:gd name="connsiteX1143" fmla="*/ 540858 w 682417"/>
              <a:gd name="connsiteY1143" fmla="*/ 43869 h 798267"/>
              <a:gd name="connsiteX1144" fmla="*/ 547078 w 682417"/>
              <a:gd name="connsiteY1144" fmla="*/ 41449 h 798267"/>
              <a:gd name="connsiteX1145" fmla="*/ 551193 w 682417"/>
              <a:gd name="connsiteY1145" fmla="*/ 44469 h 798267"/>
              <a:gd name="connsiteX1146" fmla="*/ 554212 w 682417"/>
              <a:gd name="connsiteY1146" fmla="*/ 40335 h 798267"/>
              <a:gd name="connsiteX1147" fmla="*/ 556470 w 682417"/>
              <a:gd name="connsiteY1147" fmla="*/ 40725 h 798267"/>
              <a:gd name="connsiteX1148" fmla="*/ 562127 w 682417"/>
              <a:gd name="connsiteY1148" fmla="*/ 34725 h 798267"/>
              <a:gd name="connsiteX1149" fmla="*/ 563080 w 682417"/>
              <a:gd name="connsiteY1149" fmla="*/ 42992 h 798267"/>
              <a:gd name="connsiteX1150" fmla="*/ 564985 w 682417"/>
              <a:gd name="connsiteY1150" fmla="*/ 38677 h 798267"/>
              <a:gd name="connsiteX1151" fmla="*/ 568376 w 682417"/>
              <a:gd name="connsiteY1151" fmla="*/ 39249 h 798267"/>
              <a:gd name="connsiteX1152" fmla="*/ 573624 w 682417"/>
              <a:gd name="connsiteY1152" fmla="*/ 42468 h 798267"/>
              <a:gd name="connsiteX1153" fmla="*/ 571538 w 682417"/>
              <a:gd name="connsiteY1153" fmla="*/ 47907 h 798267"/>
              <a:gd name="connsiteX1154" fmla="*/ 574920 w 682417"/>
              <a:gd name="connsiteY1154" fmla="*/ 48479 h 798267"/>
              <a:gd name="connsiteX1155" fmla="*/ 577920 w 682417"/>
              <a:gd name="connsiteY1155" fmla="*/ 51336 h 798267"/>
              <a:gd name="connsiteX1156" fmla="*/ 576967 w 682417"/>
              <a:gd name="connsiteY1156" fmla="*/ 56975 h 798267"/>
              <a:gd name="connsiteX1157" fmla="*/ 579977 w 682417"/>
              <a:gd name="connsiteY1157" fmla="*/ 52851 h 798267"/>
              <a:gd name="connsiteX1158" fmla="*/ 580530 w 682417"/>
              <a:gd name="connsiteY1158" fmla="*/ 56413 h 798267"/>
              <a:gd name="connsiteX1159" fmla="*/ 584492 w 682417"/>
              <a:gd name="connsiteY1159" fmla="*/ 53613 h 798267"/>
              <a:gd name="connsiteX1160" fmla="*/ 587121 w 682417"/>
              <a:gd name="connsiteY1160" fmla="*/ 51708 h 798267"/>
              <a:gd name="connsiteX1161" fmla="*/ 589931 w 682417"/>
              <a:gd name="connsiteY1161" fmla="*/ 55670 h 798267"/>
              <a:gd name="connsiteX1162" fmla="*/ 599523 w 682417"/>
              <a:gd name="connsiteY1162" fmla="*/ 53765 h 798267"/>
              <a:gd name="connsiteX1163" fmla="*/ 604771 w 682417"/>
              <a:gd name="connsiteY1163" fmla="*/ 56975 h 798267"/>
              <a:gd name="connsiteX1164" fmla="*/ 599670 w 682417"/>
              <a:gd name="connsiteY1164" fmla="*/ 57833 h 798267"/>
              <a:gd name="connsiteX1165" fmla="*/ 598942 w 682417"/>
              <a:gd name="connsiteY1165" fmla="*/ 57146 h 798267"/>
              <a:gd name="connsiteX1166" fmla="*/ 600627 w 682417"/>
              <a:gd name="connsiteY1166" fmla="*/ 60909 h 798267"/>
              <a:gd name="connsiteX1167" fmla="*/ 605333 w 682417"/>
              <a:gd name="connsiteY1167" fmla="*/ 60547 h 798267"/>
              <a:gd name="connsiteX1168" fmla="*/ 608190 w 682417"/>
              <a:gd name="connsiteY1168" fmla="*/ 57547 h 798267"/>
              <a:gd name="connsiteX1169" fmla="*/ 616058 w 682417"/>
              <a:gd name="connsiteY1169" fmla="*/ 65833 h 798267"/>
              <a:gd name="connsiteX1170" fmla="*/ 615515 w 682417"/>
              <a:gd name="connsiteY1170" fmla="*/ 62271 h 798267"/>
              <a:gd name="connsiteX1171" fmla="*/ 621887 w 682417"/>
              <a:gd name="connsiteY1171" fmla="*/ 65671 h 798267"/>
              <a:gd name="connsiteX1172" fmla="*/ 619839 w 682417"/>
              <a:gd name="connsiteY1172" fmla="*/ 57204 h 798267"/>
              <a:gd name="connsiteX1173" fmla="*/ 625278 w 682417"/>
              <a:gd name="connsiteY1173" fmla="*/ 59290 h 798267"/>
              <a:gd name="connsiteX1174" fmla="*/ 630927 w 682417"/>
              <a:gd name="connsiteY1174" fmla="*/ 60242 h 798267"/>
              <a:gd name="connsiteX1175" fmla="*/ 636365 w 682417"/>
              <a:gd name="connsiteY1175" fmla="*/ 62328 h 798267"/>
              <a:gd name="connsiteX1176" fmla="*/ 635803 w 682417"/>
              <a:gd name="connsiteY1176" fmla="*/ 58756 h 798267"/>
              <a:gd name="connsiteX1177" fmla="*/ 638813 w 682417"/>
              <a:gd name="connsiteY1177" fmla="*/ 61614 h 798267"/>
              <a:gd name="connsiteX1178" fmla="*/ 644643 w 682417"/>
              <a:gd name="connsiteY1178" fmla="*/ 61442 h 798267"/>
              <a:gd name="connsiteX1179" fmla="*/ 645214 w 682417"/>
              <a:gd name="connsiteY1179" fmla="*/ 58061 h 798267"/>
              <a:gd name="connsiteX1180" fmla="*/ 649719 w 682417"/>
              <a:gd name="connsiteY1180" fmla="*/ 58823 h 798267"/>
              <a:gd name="connsiteX1181" fmla="*/ 654606 w 682417"/>
              <a:gd name="connsiteY1181" fmla="*/ 57337 h 798267"/>
              <a:gd name="connsiteX1182" fmla="*/ 654968 w 682417"/>
              <a:gd name="connsiteY1182" fmla="*/ 62042 h 798267"/>
              <a:gd name="connsiteX1183" fmla="*/ 659730 w 682417"/>
              <a:gd name="connsiteY1183" fmla="*/ 54718 h 798267"/>
              <a:gd name="connsiteX1184" fmla="*/ 661787 w 682417"/>
              <a:gd name="connsiteY1184" fmla="*/ 56232 h 798267"/>
              <a:gd name="connsiteX1185" fmla="*/ 660283 w 682417"/>
              <a:gd name="connsiteY1185" fmla="*/ 58289 h 798267"/>
              <a:gd name="connsiteX1186" fmla="*/ 658197 w 682417"/>
              <a:gd name="connsiteY1186" fmla="*/ 63738 h 798267"/>
              <a:gd name="connsiteX1187" fmla="*/ 660264 w 682417"/>
              <a:gd name="connsiteY1187" fmla="*/ 65243 h 798267"/>
              <a:gd name="connsiteX1188" fmla="*/ 657625 w 682417"/>
              <a:gd name="connsiteY1188" fmla="*/ 67148 h 798267"/>
              <a:gd name="connsiteX1189" fmla="*/ 657987 w 682417"/>
              <a:gd name="connsiteY1189" fmla="*/ 71844 h 798267"/>
              <a:gd name="connsiteX1190" fmla="*/ 653663 w 682417"/>
              <a:gd name="connsiteY1190" fmla="*/ 69939 h 798267"/>
              <a:gd name="connsiteX1191" fmla="*/ 651605 w 682417"/>
              <a:gd name="connsiteY1191" fmla="*/ 68424 h 798267"/>
              <a:gd name="connsiteX1192" fmla="*/ 650462 w 682417"/>
              <a:gd name="connsiteY1192" fmla="*/ 75187 h 798267"/>
              <a:gd name="connsiteX1193" fmla="*/ 648014 w 682417"/>
              <a:gd name="connsiteY1193" fmla="*/ 75930 h 798267"/>
              <a:gd name="connsiteX1194" fmla="*/ 652329 w 682417"/>
              <a:gd name="connsiteY1194" fmla="*/ 77835 h 798267"/>
              <a:gd name="connsiteX1195" fmla="*/ 651948 w 682417"/>
              <a:gd name="connsiteY1195" fmla="*/ 80092 h 798267"/>
              <a:gd name="connsiteX1196" fmla="*/ 655501 w 682417"/>
              <a:gd name="connsiteY1196" fmla="*/ 86493 h 798267"/>
              <a:gd name="connsiteX1197" fmla="*/ 656073 w 682417"/>
              <a:gd name="connsiteY1197" fmla="*/ 83112 h 798267"/>
              <a:gd name="connsiteX1198" fmla="*/ 657025 w 682417"/>
              <a:gd name="connsiteY1198" fmla="*/ 84436 h 798267"/>
              <a:gd name="connsiteX1199" fmla="*/ 660778 w 682417"/>
              <a:gd name="connsiteY1199" fmla="*/ 82750 h 798267"/>
              <a:gd name="connsiteX1200" fmla="*/ 661330 w 682417"/>
              <a:gd name="connsiteY1200" fmla="*/ 86322 h 798267"/>
              <a:gd name="connsiteX1201" fmla="*/ 662845 w 682417"/>
              <a:gd name="connsiteY1201" fmla="*/ 84255 h 798267"/>
              <a:gd name="connsiteX1202" fmla="*/ 670379 w 682417"/>
              <a:gd name="connsiteY1202" fmla="*/ 80902 h 798267"/>
              <a:gd name="connsiteX1203" fmla="*/ 676008 w 682417"/>
              <a:gd name="connsiteY1203" fmla="*/ 81854 h 798267"/>
              <a:gd name="connsiteX1204" fmla="*/ 669798 w 682417"/>
              <a:gd name="connsiteY1204" fmla="*/ 84283 h 798267"/>
              <a:gd name="connsiteX1205" fmla="*/ 672598 w 682417"/>
              <a:gd name="connsiteY1205" fmla="*/ 88236 h 798267"/>
              <a:gd name="connsiteX1206" fmla="*/ 674284 w 682417"/>
              <a:gd name="connsiteY1206" fmla="*/ 91998 h 798267"/>
              <a:gd name="connsiteX1207" fmla="*/ 676370 w 682417"/>
              <a:gd name="connsiteY1207" fmla="*/ 86550 h 798267"/>
              <a:gd name="connsiteX1208" fmla="*/ 672951 w 682417"/>
              <a:gd name="connsiteY1208" fmla="*/ 99885 h 798267"/>
              <a:gd name="connsiteX1209" fmla="*/ 674408 w 682417"/>
              <a:gd name="connsiteY1209" fmla="*/ 111725 h 798267"/>
              <a:gd name="connsiteX1210" fmla="*/ 678218 w 682417"/>
              <a:gd name="connsiteY1210" fmla="*/ 110048 h 798267"/>
              <a:gd name="connsiteX1211" fmla="*/ 676513 w 682417"/>
              <a:gd name="connsiteY1211" fmla="*/ 113239 h 798267"/>
              <a:gd name="connsiteX1212" fmla="*/ 677847 w 682417"/>
              <a:gd name="connsiteY1212" fmla="*/ 116887 h 798267"/>
              <a:gd name="connsiteX1213" fmla="*/ 321974 w 682417"/>
              <a:gd name="connsiteY1213" fmla="*/ 41440 h 798267"/>
              <a:gd name="connsiteX1214" fmla="*/ 321974 w 682417"/>
              <a:gd name="connsiteY1214" fmla="*/ 41440 h 798267"/>
              <a:gd name="connsiteX1215" fmla="*/ 343881 w 682417"/>
              <a:gd name="connsiteY1215" fmla="*/ 15008 h 798267"/>
              <a:gd name="connsiteX1216" fmla="*/ 342567 w 682417"/>
              <a:gd name="connsiteY1216" fmla="*/ 15960 h 798267"/>
              <a:gd name="connsiteX1217" fmla="*/ 342186 w 682417"/>
              <a:gd name="connsiteY1217" fmla="*/ 18218 h 798267"/>
              <a:gd name="connsiteX1218" fmla="*/ 343843 w 682417"/>
              <a:gd name="connsiteY1218" fmla="*/ 15008 h 798267"/>
              <a:gd name="connsiteX1219" fmla="*/ 360588 w 682417"/>
              <a:gd name="connsiteY1219" fmla="*/ 25962 h 798267"/>
              <a:gd name="connsiteX1220" fmla="*/ 360207 w 682417"/>
              <a:gd name="connsiteY1220" fmla="*/ 28210 h 798267"/>
              <a:gd name="connsiteX1221" fmla="*/ 352482 w 682417"/>
              <a:gd name="connsiteY1221" fmla="*/ 32696 h 798267"/>
              <a:gd name="connsiteX1222" fmla="*/ 349625 w 682417"/>
              <a:gd name="connsiteY1222" fmla="*/ 28743 h 798267"/>
              <a:gd name="connsiteX1223" fmla="*/ 345119 w 682417"/>
              <a:gd name="connsiteY1223" fmla="*/ 27981 h 798267"/>
              <a:gd name="connsiteX1224" fmla="*/ 351111 w 682417"/>
              <a:gd name="connsiteY1224" fmla="*/ 33629 h 798267"/>
              <a:gd name="connsiteX1225" fmla="*/ 361083 w 682417"/>
              <a:gd name="connsiteY1225" fmla="*/ 29524 h 798267"/>
              <a:gd name="connsiteX1226" fmla="*/ 360550 w 682417"/>
              <a:gd name="connsiteY1226" fmla="*/ 25962 h 798267"/>
              <a:gd name="connsiteX1227" fmla="*/ 403060 w 682417"/>
              <a:gd name="connsiteY1227" fmla="*/ 21571 h 798267"/>
              <a:gd name="connsiteX1228" fmla="*/ 404012 w 682417"/>
              <a:gd name="connsiteY1228" fmla="*/ 22885 h 798267"/>
              <a:gd name="connsiteX1229" fmla="*/ 400460 w 682417"/>
              <a:gd name="connsiteY1229" fmla="*/ 16484 h 798267"/>
              <a:gd name="connsiteX1230" fmla="*/ 403022 w 682417"/>
              <a:gd name="connsiteY1230" fmla="*/ 21571 h 798267"/>
              <a:gd name="connsiteX1231" fmla="*/ 395745 w 682417"/>
              <a:gd name="connsiteY1231" fmla="*/ 16808 h 798267"/>
              <a:gd name="connsiteX1232" fmla="*/ 398002 w 682417"/>
              <a:gd name="connsiteY1232" fmla="*/ 17199 h 798267"/>
              <a:gd name="connsiteX1233" fmla="*/ 398383 w 682417"/>
              <a:gd name="connsiteY1233" fmla="*/ 14941 h 798267"/>
              <a:gd name="connsiteX1234" fmla="*/ 396126 w 682417"/>
              <a:gd name="connsiteY1234" fmla="*/ 14560 h 798267"/>
              <a:gd name="connsiteX1235" fmla="*/ 394983 w 682417"/>
              <a:gd name="connsiteY1235" fmla="*/ 21323 h 798267"/>
              <a:gd name="connsiteX1236" fmla="*/ 390858 w 682417"/>
              <a:gd name="connsiteY1236" fmla="*/ 18304 h 798267"/>
              <a:gd name="connsiteX1237" fmla="*/ 389534 w 682417"/>
              <a:gd name="connsiteY1237" fmla="*/ 19256 h 798267"/>
              <a:gd name="connsiteX1238" fmla="*/ 394945 w 682417"/>
              <a:gd name="connsiteY1238" fmla="*/ 21361 h 798267"/>
              <a:gd name="connsiteX1239" fmla="*/ 383553 w 682417"/>
              <a:gd name="connsiteY1239" fmla="*/ 20532 h 798267"/>
              <a:gd name="connsiteX1240" fmla="*/ 385239 w 682417"/>
              <a:gd name="connsiteY1240" fmla="*/ 24295 h 798267"/>
              <a:gd name="connsiteX1241" fmla="*/ 383477 w 682417"/>
              <a:gd name="connsiteY1241" fmla="*/ 20570 h 798267"/>
              <a:gd name="connsiteX1242" fmla="*/ 378495 w 682417"/>
              <a:gd name="connsiteY1242" fmla="*/ 16198 h 798267"/>
              <a:gd name="connsiteX1243" fmla="*/ 381495 w 682417"/>
              <a:gd name="connsiteY1243" fmla="*/ 19056 h 798267"/>
              <a:gd name="connsiteX1244" fmla="*/ 378419 w 682417"/>
              <a:gd name="connsiteY1244" fmla="*/ 16237 h 798267"/>
              <a:gd name="connsiteX1245" fmla="*/ 379800 w 682417"/>
              <a:gd name="connsiteY1245" fmla="*/ 22218 h 798267"/>
              <a:gd name="connsiteX1246" fmla="*/ 379228 w 682417"/>
              <a:gd name="connsiteY1246" fmla="*/ 25590 h 798267"/>
              <a:gd name="connsiteX1247" fmla="*/ 382086 w 682417"/>
              <a:gd name="connsiteY1247" fmla="*/ 22599 h 798267"/>
              <a:gd name="connsiteX1248" fmla="*/ 381248 w 682417"/>
              <a:gd name="connsiteY1248" fmla="*/ 41011 h 798267"/>
              <a:gd name="connsiteX1249" fmla="*/ 378990 w 682417"/>
              <a:gd name="connsiteY1249" fmla="*/ 40630 h 798267"/>
              <a:gd name="connsiteX1250" fmla="*/ 378600 w 682417"/>
              <a:gd name="connsiteY1250" fmla="*/ 42878 h 798267"/>
              <a:gd name="connsiteX1251" fmla="*/ 380857 w 682417"/>
              <a:gd name="connsiteY1251" fmla="*/ 43269 h 798267"/>
              <a:gd name="connsiteX1252" fmla="*/ 400574 w 682417"/>
              <a:gd name="connsiteY1252" fmla="*/ 50088 h 798267"/>
              <a:gd name="connsiteX1253" fmla="*/ 396764 w 682417"/>
              <a:gd name="connsiteY1253" fmla="*/ 51765 h 798267"/>
              <a:gd name="connsiteX1254" fmla="*/ 400507 w 682417"/>
              <a:gd name="connsiteY1254" fmla="*/ 50127 h 798267"/>
              <a:gd name="connsiteX1255" fmla="*/ 407156 w 682417"/>
              <a:gd name="connsiteY1255" fmla="*/ 45402 h 798267"/>
              <a:gd name="connsiteX1256" fmla="*/ 401888 w 682417"/>
              <a:gd name="connsiteY1256" fmla="*/ 49145 h 798267"/>
              <a:gd name="connsiteX1257" fmla="*/ 406394 w 682417"/>
              <a:gd name="connsiteY1257" fmla="*/ 49917 h 798267"/>
              <a:gd name="connsiteX1258" fmla="*/ 407079 w 682417"/>
              <a:gd name="connsiteY1258" fmla="*/ 45440 h 798267"/>
              <a:gd name="connsiteX1259" fmla="*/ 406270 w 682417"/>
              <a:gd name="connsiteY1259" fmla="*/ 30162 h 798267"/>
              <a:gd name="connsiteX1260" fmla="*/ 407775 w 682417"/>
              <a:gd name="connsiteY1260" fmla="*/ 28105 h 798267"/>
              <a:gd name="connsiteX1261" fmla="*/ 405717 w 682417"/>
              <a:gd name="connsiteY1261" fmla="*/ 26590 h 798267"/>
              <a:gd name="connsiteX1262" fmla="*/ 400822 w 682417"/>
              <a:gd name="connsiteY1262" fmla="*/ 28086 h 798267"/>
              <a:gd name="connsiteX1263" fmla="*/ 399307 w 682417"/>
              <a:gd name="connsiteY1263" fmla="*/ 30143 h 798267"/>
              <a:gd name="connsiteX1264" fmla="*/ 392001 w 682417"/>
              <a:gd name="connsiteY1264" fmla="*/ 25428 h 798267"/>
              <a:gd name="connsiteX1265" fmla="*/ 387658 w 682417"/>
              <a:gd name="connsiteY1265" fmla="*/ 30486 h 798267"/>
              <a:gd name="connsiteX1266" fmla="*/ 377523 w 682417"/>
              <a:gd name="connsiteY1266" fmla="*/ 28771 h 798267"/>
              <a:gd name="connsiteX1267" fmla="*/ 372056 w 682417"/>
              <a:gd name="connsiteY1267" fmla="*/ 33629 h 798267"/>
              <a:gd name="connsiteX1268" fmla="*/ 367741 w 682417"/>
              <a:gd name="connsiteY1268" fmla="*/ 31724 h 798267"/>
              <a:gd name="connsiteX1269" fmla="*/ 371675 w 682417"/>
              <a:gd name="connsiteY1269" fmla="*/ 35868 h 798267"/>
              <a:gd name="connsiteX1270" fmla="*/ 373351 w 682417"/>
              <a:gd name="connsiteY1270" fmla="*/ 39630 h 798267"/>
              <a:gd name="connsiteX1271" fmla="*/ 378628 w 682417"/>
              <a:gd name="connsiteY1271" fmla="*/ 35887 h 798267"/>
              <a:gd name="connsiteX1272" fmla="*/ 380686 w 682417"/>
              <a:gd name="connsiteY1272" fmla="*/ 37401 h 798267"/>
              <a:gd name="connsiteX1273" fmla="*/ 382200 w 682417"/>
              <a:gd name="connsiteY1273" fmla="*/ 35334 h 798267"/>
              <a:gd name="connsiteX1274" fmla="*/ 385582 w 682417"/>
              <a:gd name="connsiteY1274" fmla="*/ 35906 h 798267"/>
              <a:gd name="connsiteX1275" fmla="*/ 391382 w 682417"/>
              <a:gd name="connsiteY1275" fmla="*/ 42688 h 798267"/>
              <a:gd name="connsiteX1276" fmla="*/ 401164 w 682417"/>
              <a:gd name="connsiteY1276" fmla="*/ 39716 h 798267"/>
              <a:gd name="connsiteX1277" fmla="*/ 402307 w 682417"/>
              <a:gd name="connsiteY1277" fmla="*/ 32953 h 798267"/>
              <a:gd name="connsiteX1278" fmla="*/ 407175 w 682417"/>
              <a:gd name="connsiteY1278" fmla="*/ 38420 h 798267"/>
              <a:gd name="connsiteX1279" fmla="*/ 406222 w 682417"/>
              <a:gd name="connsiteY1279" fmla="*/ 30219 h 798267"/>
              <a:gd name="connsiteX1280" fmla="*/ 416404 w 682417"/>
              <a:gd name="connsiteY1280" fmla="*/ 31886 h 798267"/>
              <a:gd name="connsiteX1281" fmla="*/ 422043 w 682417"/>
              <a:gd name="connsiteY1281" fmla="*/ 32839 h 798267"/>
              <a:gd name="connsiteX1282" fmla="*/ 423948 w 682417"/>
              <a:gd name="connsiteY1282" fmla="*/ 28524 h 798267"/>
              <a:gd name="connsiteX1283" fmla="*/ 418128 w 682417"/>
              <a:gd name="connsiteY1283" fmla="*/ 28695 h 798267"/>
              <a:gd name="connsiteX1284" fmla="*/ 418836 w 682417"/>
              <a:gd name="connsiteY1284" fmla="*/ 30178 h 798267"/>
              <a:gd name="connsiteX1285" fmla="*/ 417738 w 682417"/>
              <a:gd name="connsiteY1285" fmla="*/ 30953 h 798267"/>
              <a:gd name="connsiteX1286" fmla="*/ 412290 w 682417"/>
              <a:gd name="connsiteY1286" fmla="*/ 28867 h 798267"/>
              <a:gd name="connsiteX1287" fmla="*/ 409289 w 682417"/>
              <a:gd name="connsiteY1287" fmla="*/ 26009 h 798267"/>
              <a:gd name="connsiteX1288" fmla="*/ 409842 w 682417"/>
              <a:gd name="connsiteY1288" fmla="*/ 29581 h 798267"/>
              <a:gd name="connsiteX1289" fmla="*/ 414528 w 682417"/>
              <a:gd name="connsiteY1289" fmla="*/ 36172 h 798267"/>
              <a:gd name="connsiteX1290" fmla="*/ 416328 w 682417"/>
              <a:gd name="connsiteY1290" fmla="*/ 31943 h 798267"/>
              <a:gd name="connsiteX1291" fmla="*/ 425587 w 682417"/>
              <a:gd name="connsiteY1291" fmla="*/ 39239 h 798267"/>
              <a:gd name="connsiteX1292" fmla="*/ 417700 w 682417"/>
              <a:gd name="connsiteY1292" fmla="*/ 37896 h 798267"/>
              <a:gd name="connsiteX1293" fmla="*/ 416747 w 682417"/>
              <a:gd name="connsiteY1293" fmla="*/ 43535 h 798267"/>
              <a:gd name="connsiteX1294" fmla="*/ 425015 w 682417"/>
              <a:gd name="connsiteY1294" fmla="*/ 42583 h 798267"/>
              <a:gd name="connsiteX1295" fmla="*/ 429720 w 682417"/>
              <a:gd name="connsiteY1295" fmla="*/ 42259 h 798267"/>
              <a:gd name="connsiteX1296" fmla="*/ 431425 w 682417"/>
              <a:gd name="connsiteY1296" fmla="*/ 39068 h 798267"/>
              <a:gd name="connsiteX1297" fmla="*/ 429644 w 682417"/>
              <a:gd name="connsiteY1297" fmla="*/ 42316 h 798267"/>
              <a:gd name="connsiteX1298" fmla="*/ 434045 w 682417"/>
              <a:gd name="connsiteY1298" fmla="*/ 44164 h 798267"/>
              <a:gd name="connsiteX1299" fmla="*/ 431787 w 682417"/>
              <a:gd name="connsiteY1299" fmla="*/ 43773 h 798267"/>
              <a:gd name="connsiteX1300" fmla="*/ 431406 w 682417"/>
              <a:gd name="connsiteY1300" fmla="*/ 46031 h 798267"/>
              <a:gd name="connsiteX1301" fmla="*/ 433664 w 682417"/>
              <a:gd name="connsiteY1301" fmla="*/ 46412 h 798267"/>
              <a:gd name="connsiteX1302" fmla="*/ 451685 w 682417"/>
              <a:gd name="connsiteY1302" fmla="*/ 49469 h 798267"/>
              <a:gd name="connsiteX1303" fmla="*/ 448304 w 682417"/>
              <a:gd name="connsiteY1303" fmla="*/ 48898 h 798267"/>
              <a:gd name="connsiteX1304" fmla="*/ 449799 w 682417"/>
              <a:gd name="connsiteY1304" fmla="*/ 53794 h 798267"/>
              <a:gd name="connsiteX1305" fmla="*/ 451609 w 682417"/>
              <a:gd name="connsiteY1305" fmla="*/ 49517 h 798267"/>
              <a:gd name="connsiteX1306" fmla="*/ 455105 w 682417"/>
              <a:gd name="connsiteY1306" fmla="*/ 36134 h 798267"/>
              <a:gd name="connsiteX1307" fmla="*/ 452476 w 682417"/>
              <a:gd name="connsiteY1307" fmla="*/ 38039 h 798267"/>
              <a:gd name="connsiteX1308" fmla="*/ 455028 w 682417"/>
              <a:gd name="connsiteY1308" fmla="*/ 36191 h 798267"/>
              <a:gd name="connsiteX1309" fmla="*/ 465582 w 682417"/>
              <a:gd name="connsiteY1309" fmla="*/ 49469 h 798267"/>
              <a:gd name="connsiteX1310" fmla="*/ 468601 w 682417"/>
              <a:gd name="connsiteY1310" fmla="*/ 45345 h 798267"/>
              <a:gd name="connsiteX1311" fmla="*/ 464658 w 682417"/>
              <a:gd name="connsiteY1311" fmla="*/ 41202 h 798267"/>
              <a:gd name="connsiteX1312" fmla="*/ 462391 w 682417"/>
              <a:gd name="connsiteY1312" fmla="*/ 47774 h 798267"/>
              <a:gd name="connsiteX1313" fmla="*/ 465515 w 682417"/>
              <a:gd name="connsiteY1313" fmla="*/ 49555 h 798267"/>
              <a:gd name="connsiteX1314" fmla="*/ 468944 w 682417"/>
              <a:gd name="connsiteY1314" fmla="*/ 57004 h 798267"/>
              <a:gd name="connsiteX1315" fmla="*/ 466687 w 682417"/>
              <a:gd name="connsiteY1315" fmla="*/ 56623 h 798267"/>
              <a:gd name="connsiteX1316" fmla="*/ 466306 w 682417"/>
              <a:gd name="connsiteY1316" fmla="*/ 58880 h 798267"/>
              <a:gd name="connsiteX1317" fmla="*/ 468563 w 682417"/>
              <a:gd name="connsiteY1317" fmla="*/ 59261 h 798267"/>
              <a:gd name="connsiteX1318" fmla="*/ 503301 w 682417"/>
              <a:gd name="connsiteY1318" fmla="*/ 66310 h 798267"/>
              <a:gd name="connsiteX1319" fmla="*/ 500282 w 682417"/>
              <a:gd name="connsiteY1319" fmla="*/ 70434 h 798267"/>
              <a:gd name="connsiteX1320" fmla="*/ 503234 w 682417"/>
              <a:gd name="connsiteY1320" fmla="*/ 66395 h 798267"/>
              <a:gd name="connsiteX1321" fmla="*/ 512778 w 682417"/>
              <a:gd name="connsiteY1321" fmla="*/ 37735 h 798267"/>
              <a:gd name="connsiteX1322" fmla="*/ 513731 w 682417"/>
              <a:gd name="connsiteY1322" fmla="*/ 46012 h 798267"/>
              <a:gd name="connsiteX1323" fmla="*/ 512712 w 682417"/>
              <a:gd name="connsiteY1323" fmla="*/ 37858 h 798267"/>
              <a:gd name="connsiteX1324" fmla="*/ 543906 w 682417"/>
              <a:gd name="connsiteY1324" fmla="*/ 59251 h 798267"/>
              <a:gd name="connsiteX1325" fmla="*/ 539210 w 682417"/>
              <a:gd name="connsiteY1325" fmla="*/ 59613 h 798267"/>
              <a:gd name="connsiteX1326" fmla="*/ 537305 w 682417"/>
              <a:gd name="connsiteY1326" fmla="*/ 63928 h 798267"/>
              <a:gd name="connsiteX1327" fmla="*/ 532419 w 682417"/>
              <a:gd name="connsiteY1327" fmla="*/ 65414 h 798267"/>
              <a:gd name="connsiteX1328" fmla="*/ 535772 w 682417"/>
              <a:gd name="connsiteY1328" fmla="*/ 72939 h 798267"/>
              <a:gd name="connsiteX1329" fmla="*/ 534486 w 682417"/>
              <a:gd name="connsiteY1329" fmla="*/ 66929 h 798267"/>
              <a:gd name="connsiteX1330" fmla="*/ 539563 w 682417"/>
              <a:gd name="connsiteY1330" fmla="*/ 64309 h 798267"/>
              <a:gd name="connsiteX1331" fmla="*/ 545011 w 682417"/>
              <a:gd name="connsiteY1331" fmla="*/ 66395 h 798267"/>
              <a:gd name="connsiteX1332" fmla="*/ 544409 w 682417"/>
              <a:gd name="connsiteY1332" fmla="*/ 59782 h 798267"/>
              <a:gd name="connsiteX1333" fmla="*/ 543839 w 682417"/>
              <a:gd name="connsiteY1333" fmla="*/ 59375 h 798267"/>
              <a:gd name="connsiteX1334" fmla="*/ 547888 w 682417"/>
              <a:gd name="connsiteY1334" fmla="*/ 49488 h 798267"/>
              <a:gd name="connsiteX1335" fmla="*/ 542801 w 682417"/>
              <a:gd name="connsiteY1335" fmla="*/ 52108 h 798267"/>
              <a:gd name="connsiteX1336" fmla="*/ 545992 w 682417"/>
              <a:gd name="connsiteY1336" fmla="*/ 53803 h 798267"/>
              <a:gd name="connsiteX1337" fmla="*/ 547821 w 682417"/>
              <a:gd name="connsiteY1337" fmla="*/ 49612 h 798267"/>
              <a:gd name="connsiteX1338" fmla="*/ 51454 w 682417"/>
              <a:gd name="connsiteY1338" fmla="*/ 597243 h 798267"/>
              <a:gd name="connsiteX1339" fmla="*/ 50502 w 682417"/>
              <a:gd name="connsiteY1339" fmla="*/ 595919 h 798267"/>
              <a:gd name="connsiteX1340" fmla="*/ 48244 w 682417"/>
              <a:gd name="connsiteY1340" fmla="*/ 595538 h 798267"/>
              <a:gd name="connsiteX1341" fmla="*/ 51454 w 682417"/>
              <a:gd name="connsiteY1341" fmla="*/ 597243 h 798267"/>
              <a:gd name="connsiteX1342" fmla="*/ 9658 w 682417"/>
              <a:gd name="connsiteY1342" fmla="*/ 754767 h 798267"/>
              <a:gd name="connsiteX1343" fmla="*/ 11154 w 682417"/>
              <a:gd name="connsiteY1343" fmla="*/ 759663 h 798267"/>
              <a:gd name="connsiteX1344" fmla="*/ 9658 w 682417"/>
              <a:gd name="connsiteY1344" fmla="*/ 754767 h 798267"/>
              <a:gd name="connsiteX1345" fmla="*/ 20355 w 682417"/>
              <a:gd name="connsiteY1345" fmla="*/ 760063 h 798267"/>
              <a:gd name="connsiteX1346" fmla="*/ 16783 w 682417"/>
              <a:gd name="connsiteY1346" fmla="*/ 760615 h 798267"/>
              <a:gd name="connsiteX1347" fmla="*/ 14145 w 682417"/>
              <a:gd name="connsiteY1347" fmla="*/ 762520 h 798267"/>
              <a:gd name="connsiteX1348" fmla="*/ 20355 w 682417"/>
              <a:gd name="connsiteY1348" fmla="*/ 760063 h 798267"/>
              <a:gd name="connsiteX1349" fmla="*/ 26813 w 682417"/>
              <a:gd name="connsiteY1349" fmla="*/ 674214 h 798267"/>
              <a:gd name="connsiteX1350" fmla="*/ 24908 w 682417"/>
              <a:gd name="connsiteY1350" fmla="*/ 671566 h 798267"/>
              <a:gd name="connsiteX1351" fmla="*/ 21888 w 682417"/>
              <a:gd name="connsiteY1351" fmla="*/ 675700 h 798267"/>
              <a:gd name="connsiteX1352" fmla="*/ 26813 w 682417"/>
              <a:gd name="connsiteY1352" fmla="*/ 674224 h 798267"/>
              <a:gd name="connsiteX1353" fmla="*/ 26175 w 682417"/>
              <a:gd name="connsiteY1353" fmla="*/ 691492 h 798267"/>
              <a:gd name="connsiteX1354" fmla="*/ 24470 w 682417"/>
              <a:gd name="connsiteY1354" fmla="*/ 694683 h 798267"/>
              <a:gd name="connsiteX1355" fmla="*/ 26175 w 682417"/>
              <a:gd name="connsiteY1355" fmla="*/ 691492 h 798267"/>
              <a:gd name="connsiteX1356" fmla="*/ 27889 w 682417"/>
              <a:gd name="connsiteY1356" fmla="*/ 681348 h 798267"/>
              <a:gd name="connsiteX1357" fmla="*/ 29575 w 682417"/>
              <a:gd name="connsiteY1357" fmla="*/ 685111 h 798267"/>
              <a:gd name="connsiteX1358" fmla="*/ 27908 w 682417"/>
              <a:gd name="connsiteY1358" fmla="*/ 681348 h 798267"/>
              <a:gd name="connsiteX1359" fmla="*/ 40072 w 682417"/>
              <a:gd name="connsiteY1359" fmla="*/ 637076 h 798267"/>
              <a:gd name="connsiteX1360" fmla="*/ 35728 w 682417"/>
              <a:gd name="connsiteY1360" fmla="*/ 642143 h 798267"/>
              <a:gd name="connsiteX1361" fmla="*/ 40072 w 682417"/>
              <a:gd name="connsiteY1361" fmla="*/ 637076 h 798267"/>
              <a:gd name="connsiteX1362" fmla="*/ 44929 w 682417"/>
              <a:gd name="connsiteY1362" fmla="*/ 710943 h 798267"/>
              <a:gd name="connsiteX1363" fmla="*/ 41167 w 682417"/>
              <a:gd name="connsiteY1363" fmla="*/ 712619 h 798267"/>
              <a:gd name="connsiteX1364" fmla="*/ 44929 w 682417"/>
              <a:gd name="connsiteY1364" fmla="*/ 710904 h 798267"/>
              <a:gd name="connsiteX1365" fmla="*/ 57998 w 682417"/>
              <a:gd name="connsiteY1365" fmla="*/ 674900 h 798267"/>
              <a:gd name="connsiteX1366" fmla="*/ 52730 w 682417"/>
              <a:gd name="connsiteY1366" fmla="*/ 678643 h 798267"/>
              <a:gd name="connsiteX1367" fmla="*/ 57998 w 682417"/>
              <a:gd name="connsiteY1367" fmla="*/ 674862 h 798267"/>
              <a:gd name="connsiteX1368" fmla="*/ 58579 w 682417"/>
              <a:gd name="connsiteY1368" fmla="*/ 603120 h 798267"/>
              <a:gd name="connsiteX1369" fmla="*/ 53883 w 682417"/>
              <a:gd name="connsiteY1369" fmla="*/ 603481 h 798267"/>
              <a:gd name="connsiteX1370" fmla="*/ 58560 w 682417"/>
              <a:gd name="connsiteY1370" fmla="*/ 603081 h 798267"/>
              <a:gd name="connsiteX1371" fmla="*/ 65780 w 682417"/>
              <a:gd name="connsiteY1371" fmla="*/ 649554 h 798267"/>
              <a:gd name="connsiteX1372" fmla="*/ 68399 w 682417"/>
              <a:gd name="connsiteY1372" fmla="*/ 654640 h 798267"/>
              <a:gd name="connsiteX1373" fmla="*/ 65780 w 682417"/>
              <a:gd name="connsiteY1373" fmla="*/ 649516 h 798267"/>
              <a:gd name="connsiteX1374" fmla="*/ 96965 w 682417"/>
              <a:gd name="connsiteY1374" fmla="*/ 520366 h 798267"/>
              <a:gd name="connsiteX1375" fmla="*/ 93774 w 682417"/>
              <a:gd name="connsiteY1375" fmla="*/ 518661 h 798267"/>
              <a:gd name="connsiteX1376" fmla="*/ 91869 w 682417"/>
              <a:gd name="connsiteY1376" fmla="*/ 522976 h 798267"/>
              <a:gd name="connsiteX1377" fmla="*/ 96965 w 682417"/>
              <a:gd name="connsiteY1377" fmla="*/ 520328 h 798267"/>
              <a:gd name="connsiteX1378" fmla="*/ 124587 w 682417"/>
              <a:gd name="connsiteY1378" fmla="*/ 514651 h 798267"/>
              <a:gd name="connsiteX1379" fmla="*/ 121958 w 682417"/>
              <a:gd name="connsiteY1379" fmla="*/ 516556 h 798267"/>
              <a:gd name="connsiteX1380" fmla="*/ 124606 w 682417"/>
              <a:gd name="connsiteY1380" fmla="*/ 514585 h 798267"/>
              <a:gd name="connsiteX1381" fmla="*/ 136827 w 682417"/>
              <a:gd name="connsiteY1381" fmla="*/ 442528 h 798267"/>
              <a:gd name="connsiteX1382" fmla="*/ 134579 w 682417"/>
              <a:gd name="connsiteY1382" fmla="*/ 442147 h 798267"/>
              <a:gd name="connsiteX1383" fmla="*/ 134198 w 682417"/>
              <a:gd name="connsiteY1383" fmla="*/ 444404 h 798267"/>
              <a:gd name="connsiteX1384" fmla="*/ 136436 w 682417"/>
              <a:gd name="connsiteY1384" fmla="*/ 444785 h 798267"/>
              <a:gd name="connsiteX1385" fmla="*/ 141170 w 682417"/>
              <a:gd name="connsiteY1385" fmla="*/ 498916 h 798267"/>
              <a:gd name="connsiteX1386" fmla="*/ 140218 w 682417"/>
              <a:gd name="connsiteY1386" fmla="*/ 497592 h 798267"/>
              <a:gd name="connsiteX1387" fmla="*/ 137960 w 682417"/>
              <a:gd name="connsiteY1387" fmla="*/ 497211 h 798267"/>
              <a:gd name="connsiteX1388" fmla="*/ 141189 w 682417"/>
              <a:gd name="connsiteY1388" fmla="*/ 498849 h 798267"/>
              <a:gd name="connsiteX1389" fmla="*/ 144370 w 682417"/>
              <a:gd name="connsiteY1389" fmla="*/ 432241 h 798267"/>
              <a:gd name="connsiteX1390" fmla="*/ 141732 w 682417"/>
              <a:gd name="connsiteY1390" fmla="*/ 434146 h 798267"/>
              <a:gd name="connsiteX1391" fmla="*/ 139284 w 682417"/>
              <a:gd name="connsiteY1391" fmla="*/ 434898 h 798267"/>
              <a:gd name="connsiteX1392" fmla="*/ 142484 w 682417"/>
              <a:gd name="connsiteY1392" fmla="*/ 436594 h 798267"/>
              <a:gd name="connsiteX1393" fmla="*/ 144389 w 682417"/>
              <a:gd name="connsiteY1393" fmla="*/ 432146 h 798267"/>
              <a:gd name="connsiteX1394" fmla="*/ 178146 w 682417"/>
              <a:gd name="connsiteY1394" fmla="*/ 383483 h 798267"/>
              <a:gd name="connsiteX1395" fmla="*/ 176451 w 682417"/>
              <a:gd name="connsiteY1395" fmla="*/ 386673 h 798267"/>
              <a:gd name="connsiteX1396" fmla="*/ 178165 w 682417"/>
              <a:gd name="connsiteY1396" fmla="*/ 383387 h 798267"/>
              <a:gd name="connsiteX1397" fmla="*/ 190414 w 682417"/>
              <a:gd name="connsiteY1397" fmla="*/ 365852 h 798267"/>
              <a:gd name="connsiteX1398" fmla="*/ 187614 w 682417"/>
              <a:gd name="connsiteY1398" fmla="*/ 361908 h 798267"/>
              <a:gd name="connsiteX1399" fmla="*/ 185890 w 682417"/>
              <a:gd name="connsiteY1399" fmla="*/ 372043 h 798267"/>
              <a:gd name="connsiteX1400" fmla="*/ 190033 w 682417"/>
              <a:gd name="connsiteY1400" fmla="*/ 368109 h 798267"/>
              <a:gd name="connsiteX1401" fmla="*/ 191938 w 682417"/>
              <a:gd name="connsiteY1401" fmla="*/ 370748 h 798267"/>
              <a:gd name="connsiteX1402" fmla="*/ 190433 w 682417"/>
              <a:gd name="connsiteY1402" fmla="*/ 365756 h 798267"/>
              <a:gd name="connsiteX1403" fmla="*/ 195177 w 682417"/>
              <a:gd name="connsiteY1403" fmla="*/ 399132 h 798267"/>
              <a:gd name="connsiteX1404" fmla="*/ 193110 w 682417"/>
              <a:gd name="connsiteY1404" fmla="*/ 397627 h 798267"/>
              <a:gd name="connsiteX1405" fmla="*/ 194796 w 682417"/>
              <a:gd name="connsiteY1405" fmla="*/ 401389 h 798267"/>
              <a:gd name="connsiteX1406" fmla="*/ 195224 w 682417"/>
              <a:gd name="connsiteY1406" fmla="*/ 399037 h 798267"/>
              <a:gd name="connsiteX1407" fmla="*/ 198844 w 682417"/>
              <a:gd name="connsiteY1407" fmla="*/ 363813 h 798267"/>
              <a:gd name="connsiteX1408" fmla="*/ 201292 w 682417"/>
              <a:gd name="connsiteY1408" fmla="*/ 363070 h 798267"/>
              <a:gd name="connsiteX1409" fmla="*/ 201673 w 682417"/>
              <a:gd name="connsiteY1409" fmla="*/ 360823 h 798267"/>
              <a:gd name="connsiteX1410" fmla="*/ 198482 w 682417"/>
              <a:gd name="connsiteY1410" fmla="*/ 359118 h 798267"/>
              <a:gd name="connsiteX1411" fmla="*/ 198892 w 682417"/>
              <a:gd name="connsiteY1411" fmla="*/ 363709 h 798267"/>
              <a:gd name="connsiteX1412" fmla="*/ 203359 w 682417"/>
              <a:gd name="connsiteY1412" fmla="*/ 364585 h 798267"/>
              <a:gd name="connsiteX1413" fmla="*/ 199549 w 682417"/>
              <a:gd name="connsiteY1413" fmla="*/ 366261 h 798267"/>
              <a:gd name="connsiteX1414" fmla="*/ 198977 w 682417"/>
              <a:gd name="connsiteY1414" fmla="*/ 369643 h 798267"/>
              <a:gd name="connsiteX1415" fmla="*/ 202940 w 682417"/>
              <a:gd name="connsiteY1415" fmla="*/ 366833 h 798267"/>
              <a:gd name="connsiteX1416" fmla="*/ 206121 w 682417"/>
              <a:gd name="connsiteY1416" fmla="*/ 368528 h 798267"/>
              <a:gd name="connsiteX1417" fmla="*/ 203406 w 682417"/>
              <a:gd name="connsiteY1417" fmla="*/ 364490 h 798267"/>
              <a:gd name="connsiteX1418" fmla="*/ 209074 w 682417"/>
              <a:gd name="connsiteY1418" fmla="*/ 344678 h 798267"/>
              <a:gd name="connsiteX1419" fmla="*/ 207007 w 682417"/>
              <a:gd name="connsiteY1419" fmla="*/ 343173 h 798267"/>
              <a:gd name="connsiteX1420" fmla="*/ 208693 w 682417"/>
              <a:gd name="connsiteY1420" fmla="*/ 346935 h 798267"/>
              <a:gd name="connsiteX1421" fmla="*/ 210645 w 682417"/>
              <a:gd name="connsiteY1421" fmla="*/ 321760 h 798267"/>
              <a:gd name="connsiteX1422" fmla="*/ 211198 w 682417"/>
              <a:gd name="connsiteY1422" fmla="*/ 325332 h 798267"/>
              <a:gd name="connsiteX1423" fmla="*/ 210674 w 682417"/>
              <a:gd name="connsiteY1423" fmla="*/ 321665 h 798267"/>
              <a:gd name="connsiteX1424" fmla="*/ 225266 w 682417"/>
              <a:gd name="connsiteY1424" fmla="*/ 331200 h 798267"/>
              <a:gd name="connsiteX1425" fmla="*/ 218323 w 682417"/>
              <a:gd name="connsiteY1425" fmla="*/ 331200 h 798267"/>
              <a:gd name="connsiteX1426" fmla="*/ 219065 w 682417"/>
              <a:gd name="connsiteY1426" fmla="*/ 333648 h 798267"/>
              <a:gd name="connsiteX1427" fmla="*/ 217741 w 682417"/>
              <a:gd name="connsiteY1427" fmla="*/ 334600 h 798267"/>
              <a:gd name="connsiteX1428" fmla="*/ 216789 w 682417"/>
              <a:gd name="connsiteY1428" fmla="*/ 333276 h 798267"/>
              <a:gd name="connsiteX1429" fmla="*/ 217225 w 682417"/>
              <a:gd name="connsiteY1429" fmla="*/ 338742 h 798267"/>
              <a:gd name="connsiteX1430" fmla="*/ 218084 w 682417"/>
              <a:gd name="connsiteY1430" fmla="*/ 339296 h 798267"/>
              <a:gd name="connsiteX1431" fmla="*/ 224295 w 682417"/>
              <a:gd name="connsiteY1431" fmla="*/ 336867 h 798267"/>
              <a:gd name="connsiteX1432" fmla="*/ 225295 w 682417"/>
              <a:gd name="connsiteY1432" fmla="*/ 331105 h 798267"/>
              <a:gd name="connsiteX1433" fmla="*/ 239535 w 682417"/>
              <a:gd name="connsiteY1433" fmla="*/ 295252 h 798267"/>
              <a:gd name="connsiteX1434" fmla="*/ 235982 w 682417"/>
              <a:gd name="connsiteY1434" fmla="*/ 288852 h 798267"/>
              <a:gd name="connsiteX1435" fmla="*/ 235220 w 682417"/>
              <a:gd name="connsiteY1435" fmla="*/ 293357 h 798267"/>
              <a:gd name="connsiteX1436" fmla="*/ 239535 w 682417"/>
              <a:gd name="connsiteY1436" fmla="*/ 295252 h 798267"/>
              <a:gd name="connsiteX1437" fmla="*/ 244040 w 682417"/>
              <a:gd name="connsiteY1437" fmla="*/ 296014 h 798267"/>
              <a:gd name="connsiteX1438" fmla="*/ 238763 w 682417"/>
              <a:gd name="connsiteY1438" fmla="*/ 299758 h 798267"/>
              <a:gd name="connsiteX1439" fmla="*/ 244002 w 682417"/>
              <a:gd name="connsiteY1439" fmla="*/ 296014 h 798267"/>
              <a:gd name="connsiteX1440" fmla="*/ 253565 w 682417"/>
              <a:gd name="connsiteY1440" fmla="*/ 315064 h 798267"/>
              <a:gd name="connsiteX1441" fmla="*/ 255241 w 682417"/>
              <a:gd name="connsiteY1441" fmla="*/ 318827 h 798267"/>
              <a:gd name="connsiteX1442" fmla="*/ 253536 w 682417"/>
              <a:gd name="connsiteY1442" fmla="*/ 315026 h 798267"/>
              <a:gd name="connsiteX1443" fmla="*/ 257585 w 682417"/>
              <a:gd name="connsiteY1443" fmla="*/ 291395 h 798267"/>
              <a:gd name="connsiteX1444" fmla="*/ 251555 w 682417"/>
              <a:gd name="connsiteY1444" fmla="*/ 292700 h 798267"/>
              <a:gd name="connsiteX1445" fmla="*/ 257556 w 682417"/>
              <a:gd name="connsiteY1445" fmla="*/ 291319 h 798267"/>
              <a:gd name="connsiteX1446" fmla="*/ 290570 w 682417"/>
              <a:gd name="connsiteY1446" fmla="*/ 254095 h 798267"/>
              <a:gd name="connsiteX1447" fmla="*/ 290922 w 682417"/>
              <a:gd name="connsiteY1447" fmla="*/ 258800 h 798267"/>
              <a:gd name="connsiteX1448" fmla="*/ 296199 w 682417"/>
              <a:gd name="connsiteY1448" fmla="*/ 255057 h 798267"/>
              <a:gd name="connsiteX1449" fmla="*/ 292646 w 682417"/>
              <a:gd name="connsiteY1449" fmla="*/ 248656 h 798267"/>
              <a:gd name="connsiteX1450" fmla="*/ 294351 w 682417"/>
              <a:gd name="connsiteY1450" fmla="*/ 245465 h 798267"/>
              <a:gd name="connsiteX1451" fmla="*/ 292618 w 682417"/>
              <a:gd name="connsiteY1451" fmla="*/ 248618 h 798267"/>
              <a:gd name="connsiteX1452" fmla="*/ 293599 w 682417"/>
              <a:gd name="connsiteY1452" fmla="*/ 236074 h 798267"/>
              <a:gd name="connsiteX1453" fmla="*/ 295504 w 682417"/>
              <a:gd name="connsiteY1453" fmla="*/ 231749 h 798267"/>
              <a:gd name="connsiteX1454" fmla="*/ 289874 w 682417"/>
              <a:gd name="connsiteY1454" fmla="*/ 230797 h 798267"/>
              <a:gd name="connsiteX1455" fmla="*/ 293599 w 682417"/>
              <a:gd name="connsiteY1455" fmla="*/ 236074 h 798267"/>
              <a:gd name="connsiteX1456" fmla="*/ 286045 w 682417"/>
              <a:gd name="connsiteY1456" fmla="*/ 246380 h 798267"/>
              <a:gd name="connsiteX1457" fmla="*/ 288112 w 682417"/>
              <a:gd name="connsiteY1457" fmla="*/ 247885 h 798267"/>
              <a:gd name="connsiteX1458" fmla="*/ 289627 w 682417"/>
              <a:gd name="connsiteY1458" fmla="*/ 245827 h 798267"/>
              <a:gd name="connsiteX1459" fmla="*/ 287560 w 682417"/>
              <a:gd name="connsiteY1459" fmla="*/ 244322 h 798267"/>
              <a:gd name="connsiteX1460" fmla="*/ 286045 w 682417"/>
              <a:gd name="connsiteY1460" fmla="*/ 246342 h 798267"/>
              <a:gd name="connsiteX1461" fmla="*/ 272272 w 682417"/>
              <a:gd name="connsiteY1461" fmla="*/ 266068 h 798267"/>
              <a:gd name="connsiteX1462" fmla="*/ 273958 w 682417"/>
              <a:gd name="connsiteY1462" fmla="*/ 269830 h 798267"/>
              <a:gd name="connsiteX1463" fmla="*/ 272272 w 682417"/>
              <a:gd name="connsiteY1463" fmla="*/ 266030 h 798267"/>
              <a:gd name="connsiteX1464" fmla="*/ 292751 w 682417"/>
              <a:gd name="connsiteY1464" fmla="*/ 268382 h 798267"/>
              <a:gd name="connsiteX1465" fmla="*/ 284178 w 682417"/>
              <a:gd name="connsiteY1465" fmla="*/ 257648 h 798267"/>
              <a:gd name="connsiteX1466" fmla="*/ 278930 w 682417"/>
              <a:gd name="connsiteY1466" fmla="*/ 254438 h 798267"/>
              <a:gd name="connsiteX1467" fmla="*/ 277435 w 682417"/>
              <a:gd name="connsiteY1467" fmla="*/ 249551 h 798267"/>
              <a:gd name="connsiteX1468" fmla="*/ 273844 w 682417"/>
              <a:gd name="connsiteY1468" fmla="*/ 257057 h 798267"/>
              <a:gd name="connsiteX1469" fmla="*/ 267633 w 682417"/>
              <a:gd name="connsiteY1469" fmla="*/ 259477 h 798267"/>
              <a:gd name="connsiteX1470" fmla="*/ 267062 w 682417"/>
              <a:gd name="connsiteY1470" fmla="*/ 262858 h 798267"/>
              <a:gd name="connsiteX1471" fmla="*/ 263490 w 682417"/>
              <a:gd name="connsiteY1471" fmla="*/ 263410 h 798267"/>
              <a:gd name="connsiteX1472" fmla="*/ 268938 w 682417"/>
              <a:gd name="connsiteY1472" fmla="*/ 265496 h 798267"/>
              <a:gd name="connsiteX1473" fmla="*/ 271948 w 682417"/>
              <a:gd name="connsiteY1473" fmla="*/ 261372 h 798267"/>
              <a:gd name="connsiteX1474" fmla="*/ 279463 w 682417"/>
              <a:gd name="connsiteY1474" fmla="*/ 264963 h 798267"/>
              <a:gd name="connsiteX1475" fmla="*/ 283007 w 682417"/>
              <a:gd name="connsiteY1475" fmla="*/ 271364 h 798267"/>
              <a:gd name="connsiteX1476" fmla="*/ 287350 w 682417"/>
              <a:gd name="connsiteY1476" fmla="*/ 266306 h 798267"/>
              <a:gd name="connsiteX1477" fmla="*/ 292751 w 682417"/>
              <a:gd name="connsiteY1477" fmla="*/ 268344 h 798267"/>
              <a:gd name="connsiteX1478" fmla="*/ 295408 w 682417"/>
              <a:gd name="connsiteY1478" fmla="*/ 259562 h 798267"/>
              <a:gd name="connsiteX1479" fmla="*/ 291598 w 682417"/>
              <a:gd name="connsiteY1479" fmla="*/ 261248 h 798267"/>
              <a:gd name="connsiteX1480" fmla="*/ 295723 w 682417"/>
              <a:gd name="connsiteY1480" fmla="*/ 264258 h 798267"/>
              <a:gd name="connsiteX1481" fmla="*/ 295408 w 682417"/>
              <a:gd name="connsiteY1481" fmla="*/ 259524 h 798267"/>
              <a:gd name="connsiteX1482" fmla="*/ 297933 w 682417"/>
              <a:gd name="connsiteY1482" fmla="*/ 230987 h 798267"/>
              <a:gd name="connsiteX1483" fmla="*/ 301695 w 682417"/>
              <a:gd name="connsiteY1483" fmla="*/ 229301 h 798267"/>
              <a:gd name="connsiteX1484" fmla="*/ 299447 w 682417"/>
              <a:gd name="connsiteY1484" fmla="*/ 228920 h 798267"/>
              <a:gd name="connsiteX1485" fmla="*/ 297933 w 682417"/>
              <a:gd name="connsiteY1485" fmla="*/ 230968 h 798267"/>
              <a:gd name="connsiteX1486" fmla="*/ 297704 w 682417"/>
              <a:gd name="connsiteY1486" fmla="*/ 246018 h 798267"/>
              <a:gd name="connsiteX1487" fmla="*/ 299380 w 682417"/>
              <a:gd name="connsiteY1487" fmla="*/ 249780 h 798267"/>
              <a:gd name="connsiteX1488" fmla="*/ 297704 w 682417"/>
              <a:gd name="connsiteY1488" fmla="*/ 245999 h 798267"/>
              <a:gd name="connsiteX1489" fmla="*/ 302171 w 682417"/>
              <a:gd name="connsiteY1489" fmla="*/ 260686 h 798267"/>
              <a:gd name="connsiteX1490" fmla="*/ 303124 w 682417"/>
              <a:gd name="connsiteY1490" fmla="*/ 255057 h 798267"/>
              <a:gd name="connsiteX1491" fmla="*/ 305029 w 682417"/>
              <a:gd name="connsiteY1491" fmla="*/ 257695 h 798267"/>
              <a:gd name="connsiteX1492" fmla="*/ 302409 w 682417"/>
              <a:gd name="connsiteY1492" fmla="*/ 252609 h 798267"/>
              <a:gd name="connsiteX1493" fmla="*/ 299971 w 682417"/>
              <a:gd name="connsiteY1493" fmla="*/ 253352 h 798267"/>
              <a:gd name="connsiteX1494" fmla="*/ 302171 w 682417"/>
              <a:gd name="connsiteY1494" fmla="*/ 260667 h 798267"/>
              <a:gd name="connsiteX1495" fmla="*/ 307210 w 682417"/>
              <a:gd name="connsiteY1495" fmla="*/ 271983 h 798267"/>
              <a:gd name="connsiteX1496" fmla="*/ 302324 w 682417"/>
              <a:gd name="connsiteY1496" fmla="*/ 273469 h 798267"/>
              <a:gd name="connsiteX1497" fmla="*/ 307210 w 682417"/>
              <a:gd name="connsiteY1497" fmla="*/ 271964 h 798267"/>
              <a:gd name="connsiteX1498" fmla="*/ 307210 w 682417"/>
              <a:gd name="connsiteY1498" fmla="*/ 278927 h 798267"/>
              <a:gd name="connsiteX1499" fmla="*/ 308696 w 682417"/>
              <a:gd name="connsiteY1499" fmla="*/ 283822 h 798267"/>
              <a:gd name="connsiteX1500" fmla="*/ 307162 w 682417"/>
              <a:gd name="connsiteY1500" fmla="*/ 278936 h 798267"/>
              <a:gd name="connsiteX1501" fmla="*/ 316392 w 682417"/>
              <a:gd name="connsiteY1501" fmla="*/ 224844 h 798267"/>
              <a:gd name="connsiteX1502" fmla="*/ 315839 w 682417"/>
              <a:gd name="connsiteY1502" fmla="*/ 221272 h 798267"/>
              <a:gd name="connsiteX1503" fmla="*/ 314516 w 682417"/>
              <a:gd name="connsiteY1503" fmla="*/ 222224 h 798267"/>
              <a:gd name="connsiteX1504" fmla="*/ 313392 w 682417"/>
              <a:gd name="connsiteY1504" fmla="*/ 222034 h 798267"/>
              <a:gd name="connsiteX1505" fmla="*/ 316373 w 682417"/>
              <a:gd name="connsiteY1505" fmla="*/ 224825 h 798267"/>
              <a:gd name="connsiteX1506" fmla="*/ 318735 w 682417"/>
              <a:gd name="connsiteY1506" fmla="*/ 258857 h 798267"/>
              <a:gd name="connsiteX1507" fmla="*/ 317240 w 682417"/>
              <a:gd name="connsiteY1507" fmla="*/ 253971 h 798267"/>
              <a:gd name="connsiteX1508" fmla="*/ 316659 w 682417"/>
              <a:gd name="connsiteY1508" fmla="*/ 257738 h 798267"/>
              <a:gd name="connsiteX1509" fmla="*/ 318716 w 682417"/>
              <a:gd name="connsiteY1509" fmla="*/ 258838 h 798267"/>
              <a:gd name="connsiteX1510" fmla="*/ 334080 w 682417"/>
              <a:gd name="connsiteY1510" fmla="*/ 216252 h 798267"/>
              <a:gd name="connsiteX1511" fmla="*/ 332175 w 682417"/>
              <a:gd name="connsiteY1511" fmla="*/ 220567 h 798267"/>
              <a:gd name="connsiteX1512" fmla="*/ 333489 w 682417"/>
              <a:gd name="connsiteY1512" fmla="*/ 219614 h 798267"/>
              <a:gd name="connsiteX1513" fmla="*/ 337995 w 682417"/>
              <a:gd name="connsiteY1513" fmla="*/ 220376 h 798267"/>
              <a:gd name="connsiteX1514" fmla="*/ 340424 w 682417"/>
              <a:gd name="connsiteY1514" fmla="*/ 226577 h 798267"/>
              <a:gd name="connsiteX1515" fmla="*/ 339059 w 682417"/>
              <a:gd name="connsiteY1515" fmla="*/ 217425 h 798267"/>
              <a:gd name="connsiteX1516" fmla="*/ 334061 w 682417"/>
              <a:gd name="connsiteY1516" fmla="*/ 216233 h 798267"/>
              <a:gd name="connsiteX1517" fmla="*/ 352282 w 682417"/>
              <a:gd name="connsiteY1517" fmla="*/ 225129 h 798267"/>
              <a:gd name="connsiteX1518" fmla="*/ 352882 w 682417"/>
              <a:gd name="connsiteY1518" fmla="*/ 221786 h 798267"/>
              <a:gd name="connsiteX1519" fmla="*/ 354940 w 682417"/>
              <a:gd name="connsiteY1519" fmla="*/ 223291 h 798267"/>
              <a:gd name="connsiteX1520" fmla="*/ 357959 w 682417"/>
              <a:gd name="connsiteY1520" fmla="*/ 219167 h 798267"/>
              <a:gd name="connsiteX1521" fmla="*/ 359254 w 682417"/>
              <a:gd name="connsiteY1521" fmla="*/ 225177 h 798267"/>
              <a:gd name="connsiteX1522" fmla="*/ 360597 w 682417"/>
              <a:gd name="connsiteY1522" fmla="*/ 217290 h 798267"/>
              <a:gd name="connsiteX1523" fmla="*/ 362293 w 682417"/>
              <a:gd name="connsiteY1523" fmla="*/ 214109 h 798267"/>
              <a:gd name="connsiteX1524" fmla="*/ 355349 w 682417"/>
              <a:gd name="connsiteY1524" fmla="*/ 214109 h 798267"/>
              <a:gd name="connsiteX1525" fmla="*/ 352263 w 682417"/>
              <a:gd name="connsiteY1525" fmla="*/ 225110 h 798267"/>
              <a:gd name="connsiteX1526" fmla="*/ 346853 w 682417"/>
              <a:gd name="connsiteY1526" fmla="*/ 216100 h 798267"/>
              <a:gd name="connsiteX1527" fmla="*/ 351930 w 682417"/>
              <a:gd name="connsiteY1527" fmla="*/ 213480 h 798267"/>
              <a:gd name="connsiteX1528" fmla="*/ 348929 w 682417"/>
              <a:gd name="connsiteY1528" fmla="*/ 210623 h 798267"/>
              <a:gd name="connsiteX1529" fmla="*/ 346834 w 682417"/>
              <a:gd name="connsiteY1529" fmla="*/ 216071 h 798267"/>
              <a:gd name="connsiteX1530" fmla="*/ 350177 w 682417"/>
              <a:gd name="connsiteY1530" fmla="*/ 237531 h 798267"/>
              <a:gd name="connsiteX1531" fmla="*/ 347177 w 682417"/>
              <a:gd name="connsiteY1531" fmla="*/ 234673 h 798267"/>
              <a:gd name="connsiteX1532" fmla="*/ 350158 w 682417"/>
              <a:gd name="connsiteY1532" fmla="*/ 237512 h 798267"/>
              <a:gd name="connsiteX1533" fmla="*/ 358750 w 682417"/>
              <a:gd name="connsiteY1533" fmla="*/ 248266 h 798267"/>
              <a:gd name="connsiteX1534" fmla="*/ 351425 w 682417"/>
              <a:gd name="connsiteY1534" fmla="*/ 243503 h 798267"/>
              <a:gd name="connsiteX1535" fmla="*/ 347433 w 682417"/>
              <a:gd name="connsiteY1535" fmla="*/ 246898 h 798267"/>
              <a:gd name="connsiteX1536" fmla="*/ 345224 w 682417"/>
              <a:gd name="connsiteY1536" fmla="*/ 245932 h 798267"/>
              <a:gd name="connsiteX1537" fmla="*/ 348967 w 682417"/>
              <a:gd name="connsiteY1537" fmla="*/ 251209 h 798267"/>
              <a:gd name="connsiteX1538" fmla="*/ 351987 w 682417"/>
              <a:gd name="connsiteY1538" fmla="*/ 247084 h 798267"/>
              <a:gd name="connsiteX1539" fmla="*/ 355178 w 682417"/>
              <a:gd name="connsiteY1539" fmla="*/ 248780 h 798267"/>
              <a:gd name="connsiteX1540" fmla="*/ 353273 w 682417"/>
              <a:gd name="connsiteY1540" fmla="*/ 246142 h 798267"/>
              <a:gd name="connsiteX1541" fmla="*/ 358769 w 682417"/>
              <a:gd name="connsiteY1541" fmla="*/ 248247 h 798267"/>
              <a:gd name="connsiteX1542" fmla="*/ 366522 w 682417"/>
              <a:gd name="connsiteY1542" fmla="*/ 222920 h 798267"/>
              <a:gd name="connsiteX1543" fmla="*/ 362712 w 682417"/>
              <a:gd name="connsiteY1543" fmla="*/ 231549 h 798267"/>
              <a:gd name="connsiteX1544" fmla="*/ 361036 w 682417"/>
              <a:gd name="connsiteY1544" fmla="*/ 227739 h 798267"/>
              <a:gd name="connsiteX1545" fmla="*/ 356692 w 682417"/>
              <a:gd name="connsiteY1545" fmla="*/ 232807 h 798267"/>
              <a:gd name="connsiteX1546" fmla="*/ 364198 w 682417"/>
              <a:gd name="connsiteY1546" fmla="*/ 236397 h 798267"/>
              <a:gd name="connsiteX1547" fmla="*/ 363836 w 682417"/>
              <a:gd name="connsiteY1547" fmla="*/ 231692 h 798267"/>
              <a:gd name="connsiteX1548" fmla="*/ 366112 w 682417"/>
              <a:gd name="connsiteY1548" fmla="*/ 225129 h 798267"/>
              <a:gd name="connsiteX1549" fmla="*/ 367243 w 682417"/>
              <a:gd name="connsiteY1549" fmla="*/ 223937 h 798267"/>
              <a:gd name="connsiteX1550" fmla="*/ 366541 w 682417"/>
              <a:gd name="connsiteY1550" fmla="*/ 222901 h 798267"/>
              <a:gd name="connsiteX1551" fmla="*/ 380810 w 682417"/>
              <a:gd name="connsiteY1551" fmla="*/ 227682 h 798267"/>
              <a:gd name="connsiteX1552" fmla="*/ 383086 w 682417"/>
              <a:gd name="connsiteY1552" fmla="*/ 221110 h 798267"/>
              <a:gd name="connsiteX1553" fmla="*/ 380810 w 682417"/>
              <a:gd name="connsiteY1553" fmla="*/ 227644 h 798267"/>
              <a:gd name="connsiteX1554" fmla="*/ 383591 w 682417"/>
              <a:gd name="connsiteY1554" fmla="*/ 238579 h 798267"/>
              <a:gd name="connsiteX1555" fmla="*/ 374771 w 682417"/>
              <a:gd name="connsiteY1555" fmla="*/ 235931 h 798267"/>
              <a:gd name="connsiteX1556" fmla="*/ 378905 w 682417"/>
              <a:gd name="connsiteY1556" fmla="*/ 238950 h 798267"/>
              <a:gd name="connsiteX1557" fmla="*/ 383591 w 682417"/>
              <a:gd name="connsiteY1557" fmla="*/ 238541 h 798267"/>
              <a:gd name="connsiteX1558" fmla="*/ 385801 w 682417"/>
              <a:gd name="connsiteY1558" fmla="*/ 191430 h 798267"/>
              <a:gd name="connsiteX1559" fmla="*/ 386182 w 682417"/>
              <a:gd name="connsiteY1559" fmla="*/ 189172 h 798267"/>
              <a:gd name="connsiteX1560" fmla="*/ 383934 w 682417"/>
              <a:gd name="connsiteY1560" fmla="*/ 188791 h 798267"/>
              <a:gd name="connsiteX1561" fmla="*/ 383543 w 682417"/>
              <a:gd name="connsiteY1561" fmla="*/ 191039 h 798267"/>
              <a:gd name="connsiteX1562" fmla="*/ 386258 w 682417"/>
              <a:gd name="connsiteY1562" fmla="*/ 229759 h 798267"/>
              <a:gd name="connsiteX1563" fmla="*/ 386429 w 682417"/>
              <a:gd name="connsiteY1563" fmla="*/ 235588 h 798267"/>
              <a:gd name="connsiteX1564" fmla="*/ 386220 w 682417"/>
              <a:gd name="connsiteY1564" fmla="*/ 229720 h 798267"/>
              <a:gd name="connsiteX1565" fmla="*/ 391354 w 682417"/>
              <a:gd name="connsiteY1565" fmla="*/ 220234 h 798267"/>
              <a:gd name="connsiteX1566" fmla="*/ 387401 w 682417"/>
              <a:gd name="connsiteY1566" fmla="*/ 223034 h 798267"/>
              <a:gd name="connsiteX1567" fmla="*/ 391354 w 682417"/>
              <a:gd name="connsiteY1567" fmla="*/ 220157 h 798267"/>
              <a:gd name="connsiteX1568" fmla="*/ 391897 w 682417"/>
              <a:gd name="connsiteY1568" fmla="*/ 230711 h 798267"/>
              <a:gd name="connsiteX1569" fmla="*/ 397145 w 682417"/>
              <a:gd name="connsiteY1569" fmla="*/ 233930 h 798267"/>
              <a:gd name="connsiteX1570" fmla="*/ 398097 w 682417"/>
              <a:gd name="connsiteY1570" fmla="*/ 228292 h 798267"/>
              <a:gd name="connsiteX1571" fmla="*/ 391935 w 682417"/>
              <a:gd name="connsiteY1571" fmla="*/ 230673 h 798267"/>
              <a:gd name="connsiteX1572" fmla="*/ 395859 w 682417"/>
              <a:gd name="connsiteY1572" fmla="*/ 220957 h 798267"/>
              <a:gd name="connsiteX1573" fmla="*/ 395097 w 682417"/>
              <a:gd name="connsiteY1573" fmla="*/ 225463 h 798267"/>
              <a:gd name="connsiteX1574" fmla="*/ 395859 w 682417"/>
              <a:gd name="connsiteY1574" fmla="*/ 220919 h 798267"/>
              <a:gd name="connsiteX1575" fmla="*/ 404365 w 682417"/>
              <a:gd name="connsiteY1575" fmla="*/ 205013 h 798267"/>
              <a:gd name="connsiteX1576" fmla="*/ 398536 w 682417"/>
              <a:gd name="connsiteY1576" fmla="*/ 205184 h 798267"/>
              <a:gd name="connsiteX1577" fmla="*/ 398707 w 682417"/>
              <a:gd name="connsiteY1577" fmla="*/ 211004 h 798267"/>
              <a:gd name="connsiteX1578" fmla="*/ 401726 w 682417"/>
              <a:gd name="connsiteY1578" fmla="*/ 206879 h 798267"/>
              <a:gd name="connsiteX1579" fmla="*/ 404365 w 682417"/>
              <a:gd name="connsiteY1579" fmla="*/ 204974 h 798267"/>
              <a:gd name="connsiteX1580" fmla="*/ 410385 w 682417"/>
              <a:gd name="connsiteY1580" fmla="*/ 203717 h 798267"/>
              <a:gd name="connsiteX1581" fmla="*/ 408480 w 682417"/>
              <a:gd name="connsiteY1581" fmla="*/ 201079 h 798267"/>
              <a:gd name="connsiteX1582" fmla="*/ 406575 w 682417"/>
              <a:gd name="connsiteY1582" fmla="*/ 205394 h 798267"/>
              <a:gd name="connsiteX1583" fmla="*/ 408823 w 682417"/>
              <a:gd name="connsiteY1583" fmla="*/ 205775 h 798267"/>
              <a:gd name="connsiteX1584" fmla="*/ 410385 w 682417"/>
              <a:gd name="connsiteY1584" fmla="*/ 203689 h 798267"/>
              <a:gd name="connsiteX1585" fmla="*/ 410385 w 682417"/>
              <a:gd name="connsiteY1585" fmla="*/ 217624 h 798267"/>
              <a:gd name="connsiteX1586" fmla="*/ 413375 w 682417"/>
              <a:gd name="connsiteY1586" fmla="*/ 220481 h 798267"/>
              <a:gd name="connsiteX1587" fmla="*/ 410347 w 682417"/>
              <a:gd name="connsiteY1587" fmla="*/ 217586 h 798267"/>
              <a:gd name="connsiteX1588" fmla="*/ 416614 w 682417"/>
              <a:gd name="connsiteY1588" fmla="*/ 208242 h 798267"/>
              <a:gd name="connsiteX1589" fmla="*/ 413423 w 682417"/>
              <a:gd name="connsiteY1589" fmla="*/ 206537 h 798267"/>
              <a:gd name="connsiteX1590" fmla="*/ 414709 w 682417"/>
              <a:gd name="connsiteY1590" fmla="*/ 212556 h 798267"/>
              <a:gd name="connsiteX1591" fmla="*/ 416966 w 682417"/>
              <a:gd name="connsiteY1591" fmla="*/ 212937 h 798267"/>
              <a:gd name="connsiteX1592" fmla="*/ 416576 w 682417"/>
              <a:gd name="connsiteY1592" fmla="*/ 208203 h 798267"/>
              <a:gd name="connsiteX1593" fmla="*/ 415890 w 682417"/>
              <a:gd name="connsiteY1593" fmla="*/ 198840 h 798267"/>
              <a:gd name="connsiteX1594" fmla="*/ 417195 w 682417"/>
              <a:gd name="connsiteY1594" fmla="*/ 197888 h 798267"/>
              <a:gd name="connsiteX1595" fmla="*/ 415119 w 682417"/>
              <a:gd name="connsiteY1595" fmla="*/ 203336 h 798267"/>
              <a:gd name="connsiteX1596" fmla="*/ 418500 w 682417"/>
              <a:gd name="connsiteY1596" fmla="*/ 203908 h 798267"/>
              <a:gd name="connsiteX1597" fmla="*/ 415852 w 682417"/>
              <a:gd name="connsiteY1597" fmla="*/ 198802 h 798267"/>
              <a:gd name="connsiteX1598" fmla="*/ 489737 w 682417"/>
              <a:gd name="connsiteY1598" fmla="*/ 132537 h 798267"/>
              <a:gd name="connsiteX1599" fmla="*/ 496862 w 682417"/>
              <a:gd name="connsiteY1599" fmla="*/ 138385 h 798267"/>
              <a:gd name="connsiteX1600" fmla="*/ 501005 w 682417"/>
              <a:gd name="connsiteY1600" fmla="*/ 134451 h 798267"/>
              <a:gd name="connsiteX1601" fmla="*/ 500263 w 682417"/>
              <a:gd name="connsiteY1601" fmla="*/ 132003 h 798267"/>
              <a:gd name="connsiteX1602" fmla="*/ 503263 w 682417"/>
              <a:gd name="connsiteY1602" fmla="*/ 134861 h 798267"/>
              <a:gd name="connsiteX1603" fmla="*/ 503091 w 682417"/>
              <a:gd name="connsiteY1603" fmla="*/ 129032 h 798267"/>
              <a:gd name="connsiteX1604" fmla="*/ 498386 w 682417"/>
              <a:gd name="connsiteY1604" fmla="*/ 129394 h 798267"/>
              <a:gd name="connsiteX1605" fmla="*/ 496881 w 682417"/>
              <a:gd name="connsiteY1605" fmla="*/ 131461 h 798267"/>
              <a:gd name="connsiteX1606" fmla="*/ 493881 w 682417"/>
              <a:gd name="connsiteY1606" fmla="*/ 128603 h 798267"/>
              <a:gd name="connsiteX1607" fmla="*/ 491242 w 682417"/>
              <a:gd name="connsiteY1607" fmla="*/ 130508 h 798267"/>
              <a:gd name="connsiteX1608" fmla="*/ 489699 w 682417"/>
              <a:gd name="connsiteY1608" fmla="*/ 132499 h 798267"/>
              <a:gd name="connsiteX1609" fmla="*/ 457086 w 682417"/>
              <a:gd name="connsiteY1609" fmla="*/ 181486 h 798267"/>
              <a:gd name="connsiteX1610" fmla="*/ 455028 w 682417"/>
              <a:gd name="connsiteY1610" fmla="*/ 179981 h 798267"/>
              <a:gd name="connsiteX1611" fmla="*/ 454276 w 682417"/>
              <a:gd name="connsiteY1611" fmla="*/ 177533 h 798267"/>
              <a:gd name="connsiteX1612" fmla="*/ 449189 w 682417"/>
              <a:gd name="connsiteY1612" fmla="*/ 187058 h 798267"/>
              <a:gd name="connsiteX1613" fmla="*/ 446180 w 682417"/>
              <a:gd name="connsiteY1613" fmla="*/ 184200 h 798267"/>
              <a:gd name="connsiteX1614" fmla="*/ 456133 w 682417"/>
              <a:gd name="connsiteY1614" fmla="*/ 187058 h 798267"/>
              <a:gd name="connsiteX1615" fmla="*/ 457048 w 682417"/>
              <a:gd name="connsiteY1615" fmla="*/ 181448 h 798267"/>
              <a:gd name="connsiteX1616" fmla="*/ 473278 w 682417"/>
              <a:gd name="connsiteY1616" fmla="*/ 181905 h 798267"/>
              <a:gd name="connsiteX1617" fmla="*/ 468220 w 682417"/>
              <a:gd name="connsiteY1617" fmla="*/ 177571 h 798267"/>
              <a:gd name="connsiteX1618" fmla="*/ 462210 w 682417"/>
              <a:gd name="connsiteY1618" fmla="*/ 171913 h 798267"/>
              <a:gd name="connsiteX1619" fmla="*/ 462210 w 682417"/>
              <a:gd name="connsiteY1619" fmla="*/ 178876 h 798267"/>
              <a:gd name="connsiteX1620" fmla="*/ 466725 w 682417"/>
              <a:gd name="connsiteY1620" fmla="*/ 179638 h 798267"/>
              <a:gd name="connsiteX1621" fmla="*/ 468982 w 682417"/>
              <a:gd name="connsiteY1621" fmla="*/ 180019 h 798267"/>
              <a:gd name="connsiteX1622" fmla="*/ 467468 w 682417"/>
              <a:gd name="connsiteY1622" fmla="*/ 182076 h 798267"/>
              <a:gd name="connsiteX1623" fmla="*/ 462020 w 682417"/>
              <a:gd name="connsiteY1623" fmla="*/ 180000 h 798267"/>
              <a:gd name="connsiteX1624" fmla="*/ 473212 w 682417"/>
              <a:gd name="connsiteY1624" fmla="*/ 181867 h 798267"/>
              <a:gd name="connsiteX1625" fmla="*/ 485089 w 682417"/>
              <a:gd name="connsiteY1625" fmla="*/ 166541 h 798267"/>
              <a:gd name="connsiteX1626" fmla="*/ 484137 w 682417"/>
              <a:gd name="connsiteY1626" fmla="*/ 172180 h 798267"/>
              <a:gd name="connsiteX1627" fmla="*/ 485089 w 682417"/>
              <a:gd name="connsiteY1627" fmla="*/ 166541 h 798267"/>
              <a:gd name="connsiteX1628" fmla="*/ 493900 w 682417"/>
              <a:gd name="connsiteY1628" fmla="*/ 176152 h 798267"/>
              <a:gd name="connsiteX1629" fmla="*/ 493900 w 682417"/>
              <a:gd name="connsiteY1629" fmla="*/ 176152 h 798267"/>
              <a:gd name="connsiteX1630" fmla="*/ 495100 w 682417"/>
              <a:gd name="connsiteY1630" fmla="*/ 148529 h 798267"/>
              <a:gd name="connsiteX1631" fmla="*/ 490976 w 682417"/>
              <a:gd name="connsiteY1631" fmla="*/ 145500 h 798267"/>
              <a:gd name="connsiteX1632" fmla="*/ 489280 w 682417"/>
              <a:gd name="connsiteY1632" fmla="*/ 148701 h 798267"/>
              <a:gd name="connsiteX1633" fmla="*/ 487042 w 682417"/>
              <a:gd name="connsiteY1633" fmla="*/ 141357 h 798267"/>
              <a:gd name="connsiteX1634" fmla="*/ 482155 w 682417"/>
              <a:gd name="connsiteY1634" fmla="*/ 142852 h 798267"/>
              <a:gd name="connsiteX1635" fmla="*/ 476326 w 682417"/>
              <a:gd name="connsiteY1635" fmla="*/ 143024 h 798267"/>
              <a:gd name="connsiteX1636" fmla="*/ 475374 w 682417"/>
              <a:gd name="connsiteY1636" fmla="*/ 141709 h 798267"/>
              <a:gd name="connsiteX1637" fmla="*/ 470868 w 682417"/>
              <a:gd name="connsiteY1637" fmla="*/ 140938 h 798267"/>
              <a:gd name="connsiteX1638" fmla="*/ 472373 w 682417"/>
              <a:gd name="connsiteY1638" fmla="*/ 138871 h 798267"/>
              <a:gd name="connsiteX1639" fmla="*/ 466906 w 682417"/>
              <a:gd name="connsiteY1639" fmla="*/ 143748 h 798267"/>
              <a:gd name="connsiteX1640" fmla="*/ 465782 w 682417"/>
              <a:gd name="connsiteY1640" fmla="*/ 143557 h 798267"/>
              <a:gd name="connsiteX1641" fmla="*/ 466525 w 682417"/>
              <a:gd name="connsiteY1641" fmla="*/ 146005 h 798267"/>
              <a:gd name="connsiteX1642" fmla="*/ 459381 w 682417"/>
              <a:gd name="connsiteY1642" fmla="*/ 147110 h 798267"/>
              <a:gd name="connsiteX1643" fmla="*/ 455819 w 682417"/>
              <a:gd name="connsiteY1643" fmla="*/ 147663 h 798267"/>
              <a:gd name="connsiteX1644" fmla="*/ 457876 w 682417"/>
              <a:gd name="connsiteY1644" fmla="*/ 149167 h 798267"/>
              <a:gd name="connsiteX1645" fmla="*/ 456362 w 682417"/>
              <a:gd name="connsiteY1645" fmla="*/ 151234 h 798267"/>
              <a:gd name="connsiteX1646" fmla="*/ 461258 w 682417"/>
              <a:gd name="connsiteY1646" fmla="*/ 149749 h 798267"/>
              <a:gd name="connsiteX1647" fmla="*/ 467830 w 682417"/>
              <a:gd name="connsiteY1647" fmla="*/ 152015 h 798267"/>
              <a:gd name="connsiteX1648" fmla="*/ 469525 w 682417"/>
              <a:gd name="connsiteY1648" fmla="*/ 148825 h 798267"/>
              <a:gd name="connsiteX1649" fmla="*/ 473659 w 682417"/>
              <a:gd name="connsiteY1649" fmla="*/ 151844 h 798267"/>
              <a:gd name="connsiteX1650" fmla="*/ 471021 w 682417"/>
              <a:gd name="connsiteY1650" fmla="*/ 153749 h 798267"/>
              <a:gd name="connsiteX1651" fmla="*/ 468954 w 682417"/>
              <a:gd name="connsiteY1651" fmla="*/ 152235 h 798267"/>
              <a:gd name="connsiteX1652" fmla="*/ 465744 w 682417"/>
              <a:gd name="connsiteY1652" fmla="*/ 157483 h 798267"/>
              <a:gd name="connsiteX1653" fmla="*/ 471764 w 682417"/>
              <a:gd name="connsiteY1653" fmla="*/ 156197 h 798267"/>
              <a:gd name="connsiteX1654" fmla="*/ 477012 w 682417"/>
              <a:gd name="connsiteY1654" fmla="*/ 159397 h 798267"/>
              <a:gd name="connsiteX1655" fmla="*/ 478698 w 682417"/>
              <a:gd name="connsiteY1655" fmla="*/ 163160 h 798267"/>
              <a:gd name="connsiteX1656" fmla="*/ 480603 w 682417"/>
              <a:gd name="connsiteY1656" fmla="*/ 158845 h 798267"/>
              <a:gd name="connsiteX1657" fmla="*/ 484908 w 682417"/>
              <a:gd name="connsiteY1657" fmla="*/ 160750 h 798267"/>
              <a:gd name="connsiteX1658" fmla="*/ 488671 w 682417"/>
              <a:gd name="connsiteY1658" fmla="*/ 159073 h 798267"/>
              <a:gd name="connsiteX1659" fmla="*/ 490376 w 682417"/>
              <a:gd name="connsiteY1659" fmla="*/ 155883 h 798267"/>
              <a:gd name="connsiteX1660" fmla="*/ 496195 w 682417"/>
              <a:gd name="connsiteY1660" fmla="*/ 155711 h 798267"/>
              <a:gd name="connsiteX1661" fmla="*/ 495100 w 682417"/>
              <a:gd name="connsiteY1661" fmla="*/ 148491 h 798267"/>
              <a:gd name="connsiteX1662" fmla="*/ 501634 w 682417"/>
              <a:gd name="connsiteY1662" fmla="*/ 164722 h 798267"/>
              <a:gd name="connsiteX1663" fmla="*/ 504263 w 682417"/>
              <a:gd name="connsiteY1663" fmla="*/ 162817 h 798267"/>
              <a:gd name="connsiteX1664" fmla="*/ 497491 w 682417"/>
              <a:gd name="connsiteY1664" fmla="*/ 168618 h 798267"/>
              <a:gd name="connsiteX1665" fmla="*/ 504244 w 682417"/>
              <a:gd name="connsiteY1665" fmla="*/ 169770 h 798267"/>
              <a:gd name="connsiteX1666" fmla="*/ 501634 w 682417"/>
              <a:gd name="connsiteY1666" fmla="*/ 164636 h 798267"/>
              <a:gd name="connsiteX1667" fmla="*/ 505625 w 682417"/>
              <a:gd name="connsiteY1667" fmla="*/ 148005 h 798267"/>
              <a:gd name="connsiteX1668" fmla="*/ 496414 w 682417"/>
              <a:gd name="connsiteY1668" fmla="*/ 147605 h 798267"/>
              <a:gd name="connsiteX1669" fmla="*/ 505987 w 682417"/>
              <a:gd name="connsiteY1669" fmla="*/ 152711 h 798267"/>
              <a:gd name="connsiteX1670" fmla="*/ 505625 w 682417"/>
              <a:gd name="connsiteY1670" fmla="*/ 147948 h 798267"/>
              <a:gd name="connsiteX1671" fmla="*/ 509435 w 682417"/>
              <a:gd name="connsiteY1671" fmla="*/ 125469 h 798267"/>
              <a:gd name="connsiteX1672" fmla="*/ 504577 w 682417"/>
              <a:gd name="connsiteY1672" fmla="*/ 120011 h 798267"/>
              <a:gd name="connsiteX1673" fmla="*/ 503806 w 682417"/>
              <a:gd name="connsiteY1673" fmla="*/ 124517 h 798267"/>
              <a:gd name="connsiteX1674" fmla="*/ 509445 w 682417"/>
              <a:gd name="connsiteY1674" fmla="*/ 125412 h 798267"/>
              <a:gd name="connsiteX1675" fmla="*/ 514055 w 682417"/>
              <a:gd name="connsiteY1675" fmla="*/ 152920 h 798267"/>
              <a:gd name="connsiteX1676" fmla="*/ 509921 w 682417"/>
              <a:gd name="connsiteY1676" fmla="*/ 156854 h 798267"/>
              <a:gd name="connsiteX1677" fmla="*/ 514064 w 682417"/>
              <a:gd name="connsiteY1677" fmla="*/ 152863 h 798267"/>
              <a:gd name="connsiteX1678" fmla="*/ 517417 w 682417"/>
              <a:gd name="connsiteY1678" fmla="*/ 160445 h 798267"/>
              <a:gd name="connsiteX1679" fmla="*/ 517617 w 682417"/>
              <a:gd name="connsiteY1679" fmla="*/ 159321 h 798267"/>
              <a:gd name="connsiteX1680" fmla="*/ 518360 w 682417"/>
              <a:gd name="connsiteY1680" fmla="*/ 161769 h 798267"/>
              <a:gd name="connsiteX1681" fmla="*/ 517427 w 682417"/>
              <a:gd name="connsiteY1681" fmla="*/ 160388 h 798267"/>
              <a:gd name="connsiteX1682" fmla="*/ 526152 w 682417"/>
              <a:gd name="connsiteY1682" fmla="*/ 129470 h 798267"/>
              <a:gd name="connsiteX1683" fmla="*/ 520903 w 682417"/>
              <a:gd name="connsiteY1683" fmla="*/ 126260 h 798267"/>
              <a:gd name="connsiteX1684" fmla="*/ 517141 w 682417"/>
              <a:gd name="connsiteY1684" fmla="*/ 127936 h 798267"/>
              <a:gd name="connsiteX1685" fmla="*/ 510950 w 682417"/>
              <a:gd name="connsiteY1685" fmla="*/ 123412 h 798267"/>
              <a:gd name="connsiteX1686" fmla="*/ 519198 w 682417"/>
              <a:gd name="connsiteY1686" fmla="*/ 129451 h 798267"/>
              <a:gd name="connsiteX1687" fmla="*/ 520884 w 682417"/>
              <a:gd name="connsiteY1687" fmla="*/ 133213 h 798267"/>
              <a:gd name="connsiteX1688" fmla="*/ 526161 w 682417"/>
              <a:gd name="connsiteY1688" fmla="*/ 129394 h 798267"/>
              <a:gd name="connsiteX1689" fmla="*/ 544592 w 682417"/>
              <a:gd name="connsiteY1689" fmla="*/ 123317 h 798267"/>
              <a:gd name="connsiteX1690" fmla="*/ 546668 w 682417"/>
              <a:gd name="connsiteY1690" fmla="*/ 117878 h 798267"/>
              <a:gd name="connsiteX1691" fmla="*/ 544601 w 682417"/>
              <a:gd name="connsiteY1691" fmla="*/ 123259 h 798267"/>
              <a:gd name="connsiteX1692" fmla="*/ 541934 w 682417"/>
              <a:gd name="connsiteY1692" fmla="*/ 132146 h 798267"/>
              <a:gd name="connsiteX1693" fmla="*/ 543992 w 682417"/>
              <a:gd name="connsiteY1693" fmla="*/ 133651 h 798267"/>
              <a:gd name="connsiteX1694" fmla="*/ 546430 w 682417"/>
              <a:gd name="connsiteY1694" fmla="*/ 132908 h 798267"/>
              <a:gd name="connsiteX1695" fmla="*/ 545325 w 682417"/>
              <a:gd name="connsiteY1695" fmla="*/ 125765 h 798267"/>
              <a:gd name="connsiteX1696" fmla="*/ 541953 w 682417"/>
              <a:gd name="connsiteY1696" fmla="*/ 125193 h 798267"/>
              <a:gd name="connsiteX1697" fmla="*/ 536296 w 682417"/>
              <a:gd name="connsiteY1697" fmla="*/ 131184 h 798267"/>
              <a:gd name="connsiteX1698" fmla="*/ 532171 w 682417"/>
              <a:gd name="connsiteY1698" fmla="*/ 128174 h 798267"/>
              <a:gd name="connsiteX1699" fmla="*/ 528771 w 682417"/>
              <a:gd name="connsiteY1699" fmla="*/ 134547 h 798267"/>
              <a:gd name="connsiteX1700" fmla="*/ 532324 w 682417"/>
              <a:gd name="connsiteY1700" fmla="*/ 140947 h 798267"/>
              <a:gd name="connsiteX1701" fmla="*/ 534981 w 682417"/>
              <a:gd name="connsiteY1701" fmla="*/ 132127 h 798267"/>
              <a:gd name="connsiteX1702" fmla="*/ 537972 w 682417"/>
              <a:gd name="connsiteY1702" fmla="*/ 134985 h 798267"/>
              <a:gd name="connsiteX1703" fmla="*/ 541944 w 682417"/>
              <a:gd name="connsiteY1703" fmla="*/ 132089 h 798267"/>
              <a:gd name="connsiteX1704" fmla="*/ 546240 w 682417"/>
              <a:gd name="connsiteY1704" fmla="*/ 134051 h 798267"/>
              <a:gd name="connsiteX1705" fmla="*/ 542677 w 682417"/>
              <a:gd name="connsiteY1705" fmla="*/ 134613 h 798267"/>
              <a:gd name="connsiteX1706" fmla="*/ 541725 w 682417"/>
              <a:gd name="connsiteY1706" fmla="*/ 140243 h 798267"/>
              <a:gd name="connsiteX1707" fmla="*/ 546240 w 682417"/>
              <a:gd name="connsiteY1707" fmla="*/ 133975 h 798267"/>
              <a:gd name="connsiteX1708" fmla="*/ 552326 w 682417"/>
              <a:gd name="connsiteY1708" fmla="*/ 111906 h 798267"/>
              <a:gd name="connsiteX1709" fmla="*/ 550240 w 682417"/>
              <a:gd name="connsiteY1709" fmla="*/ 117344 h 798267"/>
              <a:gd name="connsiteX1710" fmla="*/ 553812 w 682417"/>
              <a:gd name="connsiteY1710" fmla="*/ 116792 h 798267"/>
              <a:gd name="connsiteX1711" fmla="*/ 552336 w 682417"/>
              <a:gd name="connsiteY1711" fmla="*/ 111829 h 798267"/>
              <a:gd name="connsiteX1712" fmla="*/ 559460 w 682417"/>
              <a:gd name="connsiteY1712" fmla="*/ 49345 h 798267"/>
              <a:gd name="connsiteX1713" fmla="*/ 557555 w 682417"/>
              <a:gd name="connsiteY1713" fmla="*/ 46707 h 798267"/>
              <a:gd name="connsiteX1714" fmla="*/ 555108 w 682417"/>
              <a:gd name="connsiteY1714" fmla="*/ 47460 h 798267"/>
              <a:gd name="connsiteX1715" fmla="*/ 559470 w 682417"/>
              <a:gd name="connsiteY1715" fmla="*/ 49269 h 798267"/>
              <a:gd name="connsiteX1716" fmla="*/ 558270 w 682417"/>
              <a:gd name="connsiteY1716" fmla="*/ 70015 h 798267"/>
              <a:gd name="connsiteX1717" fmla="*/ 561480 w 682417"/>
              <a:gd name="connsiteY1717" fmla="*/ 64766 h 798267"/>
              <a:gd name="connsiteX1718" fmla="*/ 553593 w 682417"/>
              <a:gd name="connsiteY1718" fmla="*/ 63423 h 798267"/>
              <a:gd name="connsiteX1719" fmla="*/ 551898 w 682417"/>
              <a:gd name="connsiteY1719" fmla="*/ 66614 h 798267"/>
              <a:gd name="connsiteX1720" fmla="*/ 552431 w 682417"/>
              <a:gd name="connsiteY1720" fmla="*/ 77139 h 798267"/>
              <a:gd name="connsiteX1721" fmla="*/ 558279 w 682417"/>
              <a:gd name="connsiteY1721" fmla="*/ 69939 h 798267"/>
              <a:gd name="connsiteX1722" fmla="*/ 563385 w 682417"/>
              <a:gd name="connsiteY1722" fmla="*/ 121897 h 798267"/>
              <a:gd name="connsiteX1723" fmla="*/ 559441 w 682417"/>
              <a:gd name="connsiteY1723" fmla="*/ 117745 h 798267"/>
              <a:gd name="connsiteX1724" fmla="*/ 557536 w 682417"/>
              <a:gd name="connsiteY1724" fmla="*/ 115106 h 798267"/>
              <a:gd name="connsiteX1725" fmla="*/ 556193 w 682417"/>
              <a:gd name="connsiteY1725" fmla="*/ 122993 h 798267"/>
              <a:gd name="connsiteX1726" fmla="*/ 563385 w 682417"/>
              <a:gd name="connsiteY1726" fmla="*/ 121821 h 798267"/>
              <a:gd name="connsiteX1727" fmla="*/ 571129 w 682417"/>
              <a:gd name="connsiteY1727" fmla="*/ 42049 h 798267"/>
              <a:gd name="connsiteX1728" fmla="*/ 569224 w 682417"/>
              <a:gd name="connsiteY1728" fmla="*/ 46374 h 798267"/>
              <a:gd name="connsiteX1729" fmla="*/ 571138 w 682417"/>
              <a:gd name="connsiteY1729" fmla="*/ 41973 h 798267"/>
              <a:gd name="connsiteX1730" fmla="*/ 592274 w 682417"/>
              <a:gd name="connsiteY1730" fmla="*/ 74625 h 798267"/>
              <a:gd name="connsiteX1731" fmla="*/ 596027 w 682417"/>
              <a:gd name="connsiteY1731" fmla="*/ 72939 h 798267"/>
              <a:gd name="connsiteX1732" fmla="*/ 593779 w 682417"/>
              <a:gd name="connsiteY1732" fmla="*/ 72558 h 798267"/>
              <a:gd name="connsiteX1733" fmla="*/ 592284 w 682417"/>
              <a:gd name="connsiteY1733" fmla="*/ 74549 h 798267"/>
              <a:gd name="connsiteX1734" fmla="*/ 584873 w 682417"/>
              <a:gd name="connsiteY1734" fmla="*/ 97713 h 798267"/>
              <a:gd name="connsiteX1735" fmla="*/ 583387 w 682417"/>
              <a:gd name="connsiteY1735" fmla="*/ 92827 h 798267"/>
              <a:gd name="connsiteX1736" fmla="*/ 584883 w 682417"/>
              <a:gd name="connsiteY1736" fmla="*/ 97637 h 798267"/>
              <a:gd name="connsiteX1737" fmla="*/ 572767 w 682417"/>
              <a:gd name="connsiteY1737" fmla="*/ 128117 h 798267"/>
              <a:gd name="connsiteX1738" fmla="*/ 575015 w 682417"/>
              <a:gd name="connsiteY1738" fmla="*/ 128498 h 798267"/>
              <a:gd name="connsiteX1739" fmla="*/ 575405 w 682417"/>
              <a:gd name="connsiteY1739" fmla="*/ 126250 h 798267"/>
              <a:gd name="connsiteX1740" fmla="*/ 573148 w 682417"/>
              <a:gd name="connsiteY1740" fmla="*/ 125869 h 798267"/>
              <a:gd name="connsiteX1741" fmla="*/ 572776 w 682417"/>
              <a:gd name="connsiteY1741" fmla="*/ 128041 h 798267"/>
              <a:gd name="connsiteX1742" fmla="*/ 574224 w 682417"/>
              <a:gd name="connsiteY1742" fmla="*/ 139966 h 798267"/>
              <a:gd name="connsiteX1743" fmla="*/ 574224 w 682417"/>
              <a:gd name="connsiteY1743" fmla="*/ 139966 h 798267"/>
              <a:gd name="connsiteX1744" fmla="*/ 578034 w 682417"/>
              <a:gd name="connsiteY1744" fmla="*/ 131327 h 798267"/>
              <a:gd name="connsiteX1745" fmla="*/ 574815 w 682417"/>
              <a:gd name="connsiteY1745" fmla="*/ 136585 h 798267"/>
              <a:gd name="connsiteX1746" fmla="*/ 578025 w 682417"/>
              <a:gd name="connsiteY1746" fmla="*/ 131299 h 798267"/>
              <a:gd name="connsiteX1747" fmla="*/ 594455 w 682417"/>
              <a:gd name="connsiteY1747" fmla="*/ 102724 h 798267"/>
              <a:gd name="connsiteX1748" fmla="*/ 589198 w 682417"/>
              <a:gd name="connsiteY1748" fmla="*/ 99504 h 798267"/>
              <a:gd name="connsiteX1749" fmla="*/ 585435 w 682417"/>
              <a:gd name="connsiteY1749" fmla="*/ 101190 h 798267"/>
              <a:gd name="connsiteX1750" fmla="*/ 584673 w 682417"/>
              <a:gd name="connsiteY1750" fmla="*/ 105695 h 798267"/>
              <a:gd name="connsiteX1751" fmla="*/ 577548 w 682417"/>
              <a:gd name="connsiteY1751" fmla="*/ 99857 h 798267"/>
              <a:gd name="connsiteX1752" fmla="*/ 577901 w 682417"/>
              <a:gd name="connsiteY1752" fmla="*/ 104552 h 798267"/>
              <a:gd name="connsiteX1753" fmla="*/ 582225 w 682417"/>
              <a:gd name="connsiteY1753" fmla="*/ 106457 h 798267"/>
              <a:gd name="connsiteX1754" fmla="*/ 577320 w 682417"/>
              <a:gd name="connsiteY1754" fmla="*/ 114897 h 798267"/>
              <a:gd name="connsiteX1755" fmla="*/ 585759 w 682417"/>
              <a:gd name="connsiteY1755" fmla="*/ 119802 h 798267"/>
              <a:gd name="connsiteX1756" fmla="*/ 587264 w 682417"/>
              <a:gd name="connsiteY1756" fmla="*/ 117745 h 798267"/>
              <a:gd name="connsiteX1757" fmla="*/ 585035 w 682417"/>
              <a:gd name="connsiteY1757" fmla="*/ 110410 h 798267"/>
              <a:gd name="connsiteX1758" fmla="*/ 582016 w 682417"/>
              <a:gd name="connsiteY1758" fmla="*/ 114535 h 798267"/>
              <a:gd name="connsiteX1759" fmla="*/ 581273 w 682417"/>
              <a:gd name="connsiteY1759" fmla="*/ 112087 h 798267"/>
              <a:gd name="connsiteX1760" fmla="*/ 585607 w 682417"/>
              <a:gd name="connsiteY1760" fmla="*/ 107029 h 798267"/>
              <a:gd name="connsiteX1761" fmla="*/ 587664 w 682417"/>
              <a:gd name="connsiteY1761" fmla="*/ 108534 h 798267"/>
              <a:gd name="connsiteX1762" fmla="*/ 589369 w 682417"/>
              <a:gd name="connsiteY1762" fmla="*/ 105343 h 798267"/>
              <a:gd name="connsiteX1763" fmla="*/ 592369 w 682417"/>
              <a:gd name="connsiteY1763" fmla="*/ 108200 h 798267"/>
              <a:gd name="connsiteX1764" fmla="*/ 594455 w 682417"/>
              <a:gd name="connsiteY1764" fmla="*/ 102724 h 798267"/>
              <a:gd name="connsiteX1765" fmla="*/ 606838 w 682417"/>
              <a:gd name="connsiteY1765" fmla="*/ 97866 h 798267"/>
              <a:gd name="connsiteX1766" fmla="*/ 592922 w 682417"/>
              <a:gd name="connsiteY1766" fmla="*/ 97866 h 798267"/>
              <a:gd name="connsiteX1767" fmla="*/ 596732 w 682417"/>
              <a:gd name="connsiteY1767" fmla="*/ 96189 h 798267"/>
              <a:gd name="connsiteX1768" fmla="*/ 598408 w 682417"/>
              <a:gd name="connsiteY1768" fmla="*/ 99952 h 798267"/>
              <a:gd name="connsiteX1769" fmla="*/ 598989 w 682417"/>
              <a:gd name="connsiteY1769" fmla="*/ 96570 h 798267"/>
              <a:gd name="connsiteX1770" fmla="*/ 602151 w 682417"/>
              <a:gd name="connsiteY1770" fmla="*/ 105229 h 798267"/>
              <a:gd name="connsiteX1771" fmla="*/ 603104 w 682417"/>
              <a:gd name="connsiteY1771" fmla="*/ 99590 h 798267"/>
              <a:gd name="connsiteX1772" fmla="*/ 606876 w 682417"/>
              <a:gd name="connsiteY1772" fmla="*/ 97885 h 798267"/>
              <a:gd name="connsiteX1773" fmla="*/ 487289 w 682417"/>
              <a:gd name="connsiteY1773" fmla="*/ 379025 h 798267"/>
              <a:gd name="connsiteX1774" fmla="*/ 485975 w 682417"/>
              <a:gd name="connsiteY1774" fmla="*/ 379977 h 798267"/>
              <a:gd name="connsiteX1775" fmla="*/ 487651 w 682417"/>
              <a:gd name="connsiteY1775" fmla="*/ 383787 h 798267"/>
              <a:gd name="connsiteX1776" fmla="*/ 487289 w 682417"/>
              <a:gd name="connsiteY1776" fmla="*/ 379025 h 798267"/>
              <a:gd name="connsiteX1777" fmla="*/ 491185 w 682417"/>
              <a:gd name="connsiteY1777" fmla="*/ 397046 h 798267"/>
              <a:gd name="connsiteX1778" fmla="*/ 491738 w 682417"/>
              <a:gd name="connsiteY1778" fmla="*/ 400628 h 798267"/>
              <a:gd name="connsiteX1779" fmla="*/ 491185 w 682417"/>
              <a:gd name="connsiteY1779" fmla="*/ 397046 h 798267"/>
              <a:gd name="connsiteX1780" fmla="*/ 511121 w 682417"/>
              <a:gd name="connsiteY1780" fmla="*/ 388845 h 798267"/>
              <a:gd name="connsiteX1781" fmla="*/ 509807 w 682417"/>
              <a:gd name="connsiteY1781" fmla="*/ 389798 h 798267"/>
              <a:gd name="connsiteX1782" fmla="*/ 509426 w 682417"/>
              <a:gd name="connsiteY1782" fmla="*/ 392045 h 798267"/>
              <a:gd name="connsiteX1783" fmla="*/ 514121 w 682417"/>
              <a:gd name="connsiteY1783" fmla="*/ 391684 h 798267"/>
              <a:gd name="connsiteX1784" fmla="*/ 511121 w 682417"/>
              <a:gd name="connsiteY1784" fmla="*/ 388874 h 798267"/>
              <a:gd name="connsiteX1785" fmla="*/ 520303 w 682417"/>
              <a:gd name="connsiteY1785" fmla="*/ 334753 h 798267"/>
              <a:gd name="connsiteX1786" fmla="*/ 512026 w 682417"/>
              <a:gd name="connsiteY1786" fmla="*/ 335705 h 798267"/>
              <a:gd name="connsiteX1787" fmla="*/ 510721 w 682417"/>
              <a:gd name="connsiteY1787" fmla="*/ 336658 h 798267"/>
              <a:gd name="connsiteX1788" fmla="*/ 512626 w 682417"/>
              <a:gd name="connsiteY1788" fmla="*/ 339296 h 798267"/>
              <a:gd name="connsiteX1789" fmla="*/ 520303 w 682417"/>
              <a:gd name="connsiteY1789" fmla="*/ 334781 h 798267"/>
              <a:gd name="connsiteX1790" fmla="*/ 535486 w 682417"/>
              <a:gd name="connsiteY1790" fmla="*/ 347764 h 798267"/>
              <a:gd name="connsiteX1791" fmla="*/ 536258 w 682417"/>
              <a:gd name="connsiteY1791" fmla="*/ 343249 h 798267"/>
              <a:gd name="connsiteX1792" fmla="*/ 535486 w 682417"/>
              <a:gd name="connsiteY1792" fmla="*/ 347792 h 798267"/>
              <a:gd name="connsiteX1793" fmla="*/ 530247 w 682417"/>
              <a:gd name="connsiteY1793" fmla="*/ 337601 h 798267"/>
              <a:gd name="connsiteX1794" fmla="*/ 529866 w 682417"/>
              <a:gd name="connsiteY1794" fmla="*/ 339848 h 798267"/>
              <a:gd name="connsiteX1795" fmla="*/ 521408 w 682417"/>
              <a:gd name="connsiteY1795" fmla="*/ 341896 h 798267"/>
              <a:gd name="connsiteX1796" fmla="*/ 524789 w 682417"/>
              <a:gd name="connsiteY1796" fmla="*/ 342468 h 798267"/>
              <a:gd name="connsiteX1797" fmla="*/ 527790 w 682417"/>
              <a:gd name="connsiteY1797" fmla="*/ 345325 h 798267"/>
              <a:gd name="connsiteX1798" fmla="*/ 530247 w 682417"/>
              <a:gd name="connsiteY1798" fmla="*/ 337629 h 798267"/>
              <a:gd name="connsiteX1799" fmla="*/ 553964 w 682417"/>
              <a:gd name="connsiteY1799" fmla="*/ 259305 h 798267"/>
              <a:gd name="connsiteX1800" fmla="*/ 550231 w 682417"/>
              <a:gd name="connsiteY1800" fmla="*/ 254038 h 798267"/>
              <a:gd name="connsiteX1801" fmla="*/ 550755 w 682417"/>
              <a:gd name="connsiteY1801" fmla="*/ 264515 h 798267"/>
              <a:gd name="connsiteX1802" fmla="*/ 553964 w 682417"/>
              <a:gd name="connsiteY1802" fmla="*/ 259334 h 798267"/>
              <a:gd name="connsiteX1803" fmla="*/ 561480 w 682417"/>
              <a:gd name="connsiteY1803" fmla="*/ 255981 h 798267"/>
              <a:gd name="connsiteX1804" fmla="*/ 559575 w 682417"/>
              <a:gd name="connsiteY1804" fmla="*/ 260296 h 798267"/>
              <a:gd name="connsiteX1805" fmla="*/ 561480 w 682417"/>
              <a:gd name="connsiteY1805" fmla="*/ 255981 h 798267"/>
              <a:gd name="connsiteX1806" fmla="*/ 567509 w 682417"/>
              <a:gd name="connsiteY1806" fmla="*/ 247723 h 798267"/>
              <a:gd name="connsiteX1807" fmla="*/ 565261 w 682417"/>
              <a:gd name="connsiteY1807" fmla="*/ 247342 h 798267"/>
              <a:gd name="connsiteX1808" fmla="*/ 564880 w 682417"/>
              <a:gd name="connsiteY1808" fmla="*/ 249599 h 798267"/>
              <a:gd name="connsiteX1809" fmla="*/ 567128 w 682417"/>
              <a:gd name="connsiteY1809" fmla="*/ 249980 h 798267"/>
              <a:gd name="connsiteX1810" fmla="*/ 581882 w 682417"/>
              <a:gd name="connsiteY1810" fmla="*/ 224644 h 798267"/>
              <a:gd name="connsiteX1811" fmla="*/ 576805 w 682417"/>
              <a:gd name="connsiteY1811" fmla="*/ 227263 h 798267"/>
              <a:gd name="connsiteX1812" fmla="*/ 575853 w 682417"/>
              <a:gd name="connsiteY1812" fmla="*/ 225949 h 798267"/>
              <a:gd name="connsiteX1813" fmla="*/ 576215 w 682417"/>
              <a:gd name="connsiteY1813" fmla="*/ 230644 h 798267"/>
              <a:gd name="connsiteX1814" fmla="*/ 581882 w 682417"/>
              <a:gd name="connsiteY1814" fmla="*/ 224644 h 798267"/>
              <a:gd name="connsiteX1815" fmla="*/ 609905 w 682417"/>
              <a:gd name="connsiteY1815" fmla="*/ 216652 h 798267"/>
              <a:gd name="connsiteX1816" fmla="*/ 607657 w 682417"/>
              <a:gd name="connsiteY1816" fmla="*/ 216271 h 798267"/>
              <a:gd name="connsiteX1817" fmla="*/ 606523 w 682417"/>
              <a:gd name="connsiteY1817" fmla="*/ 216071 h 798267"/>
              <a:gd name="connsiteX1818" fmla="*/ 608428 w 682417"/>
              <a:gd name="connsiteY1818" fmla="*/ 218710 h 798267"/>
              <a:gd name="connsiteX1819" fmla="*/ 609905 w 682417"/>
              <a:gd name="connsiteY1819" fmla="*/ 216662 h 798267"/>
              <a:gd name="connsiteX1820" fmla="*/ 660387 w 682417"/>
              <a:gd name="connsiteY1820" fmla="*/ 103486 h 798267"/>
              <a:gd name="connsiteX1821" fmla="*/ 667169 w 682417"/>
              <a:gd name="connsiteY1821" fmla="*/ 97685 h 798267"/>
              <a:gd name="connsiteX1822" fmla="*/ 660406 w 682417"/>
              <a:gd name="connsiteY1822" fmla="*/ 103495 h 798267"/>
              <a:gd name="connsiteX1823" fmla="*/ 662292 w 682417"/>
              <a:gd name="connsiteY1823" fmla="*/ 92218 h 798267"/>
              <a:gd name="connsiteX1824" fmla="*/ 657787 w 682417"/>
              <a:gd name="connsiteY1824" fmla="*/ 91456 h 798267"/>
              <a:gd name="connsiteX1825" fmla="*/ 662321 w 682417"/>
              <a:gd name="connsiteY1825" fmla="*/ 92246 h 798267"/>
              <a:gd name="connsiteX1826" fmla="*/ 650862 w 682417"/>
              <a:gd name="connsiteY1826" fmla="*/ 91427 h 798267"/>
              <a:gd name="connsiteX1827" fmla="*/ 653120 w 682417"/>
              <a:gd name="connsiteY1827" fmla="*/ 91817 h 798267"/>
              <a:gd name="connsiteX1828" fmla="*/ 654825 w 682417"/>
              <a:gd name="connsiteY1828" fmla="*/ 88627 h 798267"/>
              <a:gd name="connsiteX1829" fmla="*/ 651434 w 682417"/>
              <a:gd name="connsiteY1829" fmla="*/ 88055 h 798267"/>
              <a:gd name="connsiteX1830" fmla="*/ 650653 w 682417"/>
              <a:gd name="connsiteY1830" fmla="*/ 99514 h 798267"/>
              <a:gd name="connsiteX1831" fmla="*/ 654463 w 682417"/>
              <a:gd name="connsiteY1831" fmla="*/ 97828 h 798267"/>
              <a:gd name="connsiteX1832" fmla="*/ 656539 w 682417"/>
              <a:gd name="connsiteY1832" fmla="*/ 92389 h 798267"/>
              <a:gd name="connsiteX1833" fmla="*/ 654291 w 682417"/>
              <a:gd name="connsiteY1833" fmla="*/ 92008 h 798267"/>
              <a:gd name="connsiteX1834" fmla="*/ 652777 w 682417"/>
              <a:gd name="connsiteY1834" fmla="*/ 94065 h 798267"/>
              <a:gd name="connsiteX1835" fmla="*/ 652586 w 682417"/>
              <a:gd name="connsiteY1835" fmla="*/ 95199 h 798267"/>
              <a:gd name="connsiteX1836" fmla="*/ 649948 w 682417"/>
              <a:gd name="connsiteY1836" fmla="*/ 97104 h 798267"/>
              <a:gd name="connsiteX1837" fmla="*/ 650643 w 682417"/>
              <a:gd name="connsiteY1837" fmla="*/ 99523 h 798267"/>
              <a:gd name="connsiteX1838" fmla="*/ 648157 w 682417"/>
              <a:gd name="connsiteY1838" fmla="*/ 66624 h 798267"/>
              <a:gd name="connsiteX1839" fmla="*/ 648157 w 682417"/>
              <a:gd name="connsiteY1839" fmla="*/ 66624 h 798267"/>
              <a:gd name="connsiteX1840" fmla="*/ 647481 w 682417"/>
              <a:gd name="connsiteY1840" fmla="*/ 104724 h 798267"/>
              <a:gd name="connsiteX1841" fmla="*/ 645776 w 682417"/>
              <a:gd name="connsiteY1841" fmla="*/ 107915 h 798267"/>
              <a:gd name="connsiteX1842" fmla="*/ 651996 w 682417"/>
              <a:gd name="connsiteY1842" fmla="*/ 105486 h 798267"/>
              <a:gd name="connsiteX1843" fmla="*/ 645614 w 682417"/>
              <a:gd name="connsiteY1843" fmla="*/ 102085 h 798267"/>
              <a:gd name="connsiteX1844" fmla="*/ 647433 w 682417"/>
              <a:gd name="connsiteY1844" fmla="*/ 104771 h 798267"/>
              <a:gd name="connsiteX1845" fmla="*/ 645204 w 682417"/>
              <a:gd name="connsiteY1845" fmla="*/ 111296 h 798267"/>
              <a:gd name="connsiteX1846" fmla="*/ 648395 w 682417"/>
              <a:gd name="connsiteY1846" fmla="*/ 113001 h 798267"/>
              <a:gd name="connsiteX1847" fmla="*/ 647081 w 682417"/>
              <a:gd name="connsiteY1847" fmla="*/ 113954 h 798267"/>
              <a:gd name="connsiteX1848" fmla="*/ 650291 w 682417"/>
              <a:gd name="connsiteY1848" fmla="*/ 108705 h 798267"/>
              <a:gd name="connsiteX1849" fmla="*/ 645157 w 682417"/>
              <a:gd name="connsiteY1849" fmla="*/ 111344 h 798267"/>
              <a:gd name="connsiteX1850" fmla="*/ 631384 w 682417"/>
              <a:gd name="connsiteY1850" fmla="*/ 83445 h 798267"/>
              <a:gd name="connsiteX1851" fmla="*/ 635508 w 682417"/>
              <a:gd name="connsiteY1851" fmla="*/ 86464 h 798267"/>
              <a:gd name="connsiteX1852" fmla="*/ 633832 w 682417"/>
              <a:gd name="connsiteY1852" fmla="*/ 82702 h 798267"/>
              <a:gd name="connsiteX1853" fmla="*/ 633660 w 682417"/>
              <a:gd name="connsiteY1853" fmla="*/ 76873 h 798267"/>
              <a:gd name="connsiteX1854" fmla="*/ 631336 w 682417"/>
              <a:gd name="connsiteY1854" fmla="*/ 83493 h 798267"/>
              <a:gd name="connsiteX1855" fmla="*/ 617392 w 682417"/>
              <a:gd name="connsiteY1855" fmla="*/ 97361 h 798267"/>
              <a:gd name="connsiteX1856" fmla="*/ 617782 w 682417"/>
              <a:gd name="connsiteY1856" fmla="*/ 95104 h 798267"/>
              <a:gd name="connsiteX1857" fmla="*/ 617030 w 682417"/>
              <a:gd name="connsiteY1857" fmla="*/ 92656 h 798267"/>
              <a:gd name="connsiteX1858" fmla="*/ 617392 w 682417"/>
              <a:gd name="connsiteY1858" fmla="*/ 97361 h 798267"/>
              <a:gd name="connsiteX1859" fmla="*/ 613248 w 682417"/>
              <a:gd name="connsiteY1859" fmla="*/ 101295 h 798267"/>
              <a:gd name="connsiteX1860" fmla="*/ 615677 w 682417"/>
              <a:gd name="connsiteY1860" fmla="*/ 107505 h 798267"/>
              <a:gd name="connsiteX1861" fmla="*/ 616439 w 682417"/>
              <a:gd name="connsiteY1861" fmla="*/ 102990 h 798267"/>
              <a:gd name="connsiteX1862" fmla="*/ 613248 w 682417"/>
              <a:gd name="connsiteY1862" fmla="*/ 101295 h 798267"/>
              <a:gd name="connsiteX1863" fmla="*/ 611343 w 682417"/>
              <a:gd name="connsiteY1863" fmla="*/ 119516 h 798267"/>
              <a:gd name="connsiteX1864" fmla="*/ 607028 w 682417"/>
              <a:gd name="connsiteY1864" fmla="*/ 117611 h 798267"/>
              <a:gd name="connsiteX1865" fmla="*/ 608933 w 682417"/>
              <a:gd name="connsiteY1865" fmla="*/ 120250 h 798267"/>
              <a:gd name="connsiteX1866" fmla="*/ 610838 w 682417"/>
              <a:gd name="connsiteY1866" fmla="*/ 122878 h 798267"/>
              <a:gd name="connsiteX1867" fmla="*/ 612800 w 682417"/>
              <a:gd name="connsiteY1867" fmla="*/ 199755 h 798267"/>
              <a:gd name="connsiteX1868" fmla="*/ 613181 w 682417"/>
              <a:gd name="connsiteY1868" fmla="*/ 197497 h 798267"/>
              <a:gd name="connsiteX1869" fmla="*/ 612772 w 682417"/>
              <a:gd name="connsiteY1869" fmla="*/ 199755 h 798267"/>
              <a:gd name="connsiteX1870" fmla="*/ 613572 w 682417"/>
              <a:gd name="connsiteY1870" fmla="*/ 126850 h 798267"/>
              <a:gd name="connsiteX1871" fmla="*/ 612429 w 682417"/>
              <a:gd name="connsiteY1871" fmla="*/ 133604 h 798267"/>
              <a:gd name="connsiteX1872" fmla="*/ 614342 w 682417"/>
              <a:gd name="connsiteY1872" fmla="*/ 127966 h 798267"/>
              <a:gd name="connsiteX1873" fmla="*/ 613543 w 682417"/>
              <a:gd name="connsiteY1873" fmla="*/ 126850 h 798267"/>
              <a:gd name="connsiteX1874" fmla="*/ 615867 w 682417"/>
              <a:gd name="connsiteY1874" fmla="*/ 113325 h 798267"/>
              <a:gd name="connsiteX1875" fmla="*/ 617372 w 682417"/>
              <a:gd name="connsiteY1875" fmla="*/ 111258 h 798267"/>
              <a:gd name="connsiteX1876" fmla="*/ 616058 w 682417"/>
              <a:gd name="connsiteY1876" fmla="*/ 112210 h 798267"/>
              <a:gd name="connsiteX1877" fmla="*/ 614382 w 682417"/>
              <a:gd name="connsiteY1877" fmla="*/ 108400 h 798267"/>
              <a:gd name="connsiteX1878" fmla="*/ 609857 w 682417"/>
              <a:gd name="connsiteY1878" fmla="*/ 114592 h 798267"/>
              <a:gd name="connsiteX1879" fmla="*/ 615296 w 682417"/>
              <a:gd name="connsiteY1879" fmla="*/ 116678 h 798267"/>
              <a:gd name="connsiteX1880" fmla="*/ 615839 w 682417"/>
              <a:gd name="connsiteY1880" fmla="*/ 113325 h 798267"/>
              <a:gd name="connsiteX1881" fmla="*/ 621468 w 682417"/>
              <a:gd name="connsiteY1881" fmla="*/ 189630 h 798267"/>
              <a:gd name="connsiteX1882" fmla="*/ 622802 w 682417"/>
              <a:gd name="connsiteY1882" fmla="*/ 188677 h 798267"/>
              <a:gd name="connsiteX1883" fmla="*/ 621087 w 682417"/>
              <a:gd name="connsiteY1883" fmla="*/ 191868 h 798267"/>
              <a:gd name="connsiteX1884" fmla="*/ 627469 w 682417"/>
              <a:gd name="connsiteY1884" fmla="*/ 195268 h 798267"/>
              <a:gd name="connsiteX1885" fmla="*/ 629374 w 682417"/>
              <a:gd name="connsiteY1885" fmla="*/ 190954 h 798267"/>
              <a:gd name="connsiteX1886" fmla="*/ 625802 w 682417"/>
              <a:gd name="connsiteY1886" fmla="*/ 191506 h 798267"/>
              <a:gd name="connsiteX1887" fmla="*/ 625250 w 682417"/>
              <a:gd name="connsiteY1887" fmla="*/ 187934 h 798267"/>
              <a:gd name="connsiteX1888" fmla="*/ 621487 w 682417"/>
              <a:gd name="connsiteY1888" fmla="*/ 189630 h 798267"/>
              <a:gd name="connsiteX1889" fmla="*/ 632584 w 682417"/>
              <a:gd name="connsiteY1889" fmla="*/ 117316 h 798267"/>
              <a:gd name="connsiteX1890" fmla="*/ 633355 w 682417"/>
              <a:gd name="connsiteY1890" fmla="*/ 112811 h 798267"/>
              <a:gd name="connsiteX1891" fmla="*/ 631288 w 682417"/>
              <a:gd name="connsiteY1891" fmla="*/ 111296 h 798267"/>
              <a:gd name="connsiteX1892" fmla="*/ 632241 w 682417"/>
              <a:gd name="connsiteY1892" fmla="*/ 105667 h 798267"/>
              <a:gd name="connsiteX1893" fmla="*/ 627536 w 682417"/>
              <a:gd name="connsiteY1893" fmla="*/ 106029 h 798267"/>
              <a:gd name="connsiteX1894" fmla="*/ 629031 w 682417"/>
              <a:gd name="connsiteY1894" fmla="*/ 110915 h 798267"/>
              <a:gd name="connsiteX1895" fmla="*/ 620954 w 682417"/>
              <a:gd name="connsiteY1895" fmla="*/ 110706 h 798267"/>
              <a:gd name="connsiteX1896" fmla="*/ 626040 w 682417"/>
              <a:gd name="connsiteY1896" fmla="*/ 108096 h 798267"/>
              <a:gd name="connsiteX1897" fmla="*/ 623040 w 682417"/>
              <a:gd name="connsiteY1897" fmla="*/ 105238 h 798267"/>
              <a:gd name="connsiteX1898" fmla="*/ 621135 w 682417"/>
              <a:gd name="connsiteY1898" fmla="*/ 102600 h 798267"/>
              <a:gd name="connsiteX1899" fmla="*/ 619230 w 682417"/>
              <a:gd name="connsiteY1899" fmla="*/ 106915 h 798267"/>
              <a:gd name="connsiteX1900" fmla="*/ 620535 w 682417"/>
              <a:gd name="connsiteY1900" fmla="*/ 112934 h 798267"/>
              <a:gd name="connsiteX1901" fmla="*/ 618049 w 682417"/>
              <a:gd name="connsiteY1901" fmla="*/ 127584 h 798267"/>
              <a:gd name="connsiteX1902" fmla="*/ 621259 w 682417"/>
              <a:gd name="connsiteY1902" fmla="*/ 122336 h 798267"/>
              <a:gd name="connsiteX1903" fmla="*/ 623516 w 682417"/>
              <a:gd name="connsiteY1903" fmla="*/ 122717 h 798267"/>
              <a:gd name="connsiteX1904" fmla="*/ 621811 w 682417"/>
              <a:gd name="connsiteY1904" fmla="*/ 125907 h 798267"/>
              <a:gd name="connsiteX1905" fmla="*/ 629888 w 682417"/>
              <a:gd name="connsiteY1905" fmla="*/ 126117 h 798267"/>
              <a:gd name="connsiteX1906" fmla="*/ 631793 w 682417"/>
              <a:gd name="connsiteY1906" fmla="*/ 121793 h 798267"/>
              <a:gd name="connsiteX1907" fmla="*/ 632555 w 682417"/>
              <a:gd name="connsiteY1907" fmla="*/ 117316 h 798267"/>
              <a:gd name="connsiteX1908" fmla="*/ 641633 w 682417"/>
              <a:gd name="connsiteY1908" fmla="*/ 97961 h 798267"/>
              <a:gd name="connsiteX1909" fmla="*/ 636927 w 682417"/>
              <a:gd name="connsiteY1909" fmla="*/ 98323 h 798267"/>
              <a:gd name="connsiteX1910" fmla="*/ 636194 w 682417"/>
              <a:gd name="connsiteY1910" fmla="*/ 95885 h 798267"/>
              <a:gd name="connsiteX1911" fmla="*/ 633336 w 682417"/>
              <a:gd name="connsiteY1911" fmla="*/ 98875 h 798267"/>
              <a:gd name="connsiteX1912" fmla="*/ 641633 w 682417"/>
              <a:gd name="connsiteY1912" fmla="*/ 97961 h 798267"/>
              <a:gd name="connsiteX1913" fmla="*/ 646843 w 682417"/>
              <a:gd name="connsiteY1913" fmla="*/ 115106 h 798267"/>
              <a:gd name="connsiteX1914" fmla="*/ 641785 w 682417"/>
              <a:gd name="connsiteY1914" fmla="*/ 110772 h 798267"/>
              <a:gd name="connsiteX1915" fmla="*/ 646843 w 682417"/>
              <a:gd name="connsiteY1915" fmla="*/ 115106 h 798267"/>
              <a:gd name="connsiteX1916" fmla="*/ 653691 w 682417"/>
              <a:gd name="connsiteY1916" fmla="*/ 149891 h 798267"/>
              <a:gd name="connsiteX1917" fmla="*/ 649186 w 682417"/>
              <a:gd name="connsiteY1917" fmla="*/ 149120 h 798267"/>
              <a:gd name="connsiteX1918" fmla="*/ 649357 w 682417"/>
              <a:gd name="connsiteY1918" fmla="*/ 154949 h 798267"/>
              <a:gd name="connsiteX1919" fmla="*/ 653691 w 682417"/>
              <a:gd name="connsiteY1919" fmla="*/ 149891 h 798267"/>
              <a:gd name="connsiteX1920" fmla="*/ 651634 w 682417"/>
              <a:gd name="connsiteY1920" fmla="*/ 148386 h 798267"/>
              <a:gd name="connsiteX1921" fmla="*/ 651634 w 682417"/>
              <a:gd name="connsiteY1921" fmla="*/ 148386 h 798267"/>
              <a:gd name="connsiteX1922" fmla="*/ 654863 w 682417"/>
              <a:gd name="connsiteY1922" fmla="*/ 136175 h 798267"/>
              <a:gd name="connsiteX1923" fmla="*/ 650167 w 682417"/>
              <a:gd name="connsiteY1923" fmla="*/ 136537 h 798267"/>
              <a:gd name="connsiteX1924" fmla="*/ 645290 w 682417"/>
              <a:gd name="connsiteY1924" fmla="*/ 131070 h 798267"/>
              <a:gd name="connsiteX1925" fmla="*/ 648843 w 682417"/>
              <a:gd name="connsiteY1925" fmla="*/ 137471 h 798267"/>
              <a:gd name="connsiteX1926" fmla="*/ 654825 w 682417"/>
              <a:gd name="connsiteY1926" fmla="*/ 136175 h 798267"/>
              <a:gd name="connsiteX1927" fmla="*/ 655434 w 682417"/>
              <a:gd name="connsiteY1927" fmla="*/ 132794 h 798267"/>
              <a:gd name="connsiteX1928" fmla="*/ 650739 w 682417"/>
              <a:gd name="connsiteY1928" fmla="*/ 133156 h 798267"/>
              <a:gd name="connsiteX1929" fmla="*/ 655434 w 682417"/>
              <a:gd name="connsiteY1929" fmla="*/ 132794 h 798267"/>
              <a:gd name="connsiteX1930" fmla="*/ 662607 w 682417"/>
              <a:gd name="connsiteY1930" fmla="*/ 124736 h 798267"/>
              <a:gd name="connsiteX1931" fmla="*/ 657901 w 682417"/>
              <a:gd name="connsiteY1931" fmla="*/ 125098 h 798267"/>
              <a:gd name="connsiteX1932" fmla="*/ 655644 w 682417"/>
              <a:gd name="connsiteY1932" fmla="*/ 124717 h 798267"/>
              <a:gd name="connsiteX1933" fmla="*/ 656387 w 682417"/>
              <a:gd name="connsiteY1933" fmla="*/ 127155 h 798267"/>
              <a:gd name="connsiteX1934" fmla="*/ 662607 w 682417"/>
              <a:gd name="connsiteY1934" fmla="*/ 124736 h 798267"/>
              <a:gd name="connsiteX1935" fmla="*/ 667703 w 682417"/>
              <a:gd name="connsiteY1935" fmla="*/ 115211 h 798267"/>
              <a:gd name="connsiteX1936" fmla="*/ 663188 w 682417"/>
              <a:gd name="connsiteY1936" fmla="*/ 114449 h 798267"/>
              <a:gd name="connsiteX1937" fmla="*/ 663750 w 682417"/>
              <a:gd name="connsiteY1937" fmla="*/ 118021 h 798267"/>
              <a:gd name="connsiteX1938" fmla="*/ 667703 w 682417"/>
              <a:gd name="connsiteY1938" fmla="*/ 115163 h 798267"/>
              <a:gd name="connsiteX1939" fmla="*/ 670560 w 682417"/>
              <a:gd name="connsiteY1939" fmla="*/ 91398 h 798267"/>
              <a:gd name="connsiteX1940" fmla="*/ 666055 w 682417"/>
              <a:gd name="connsiteY1940" fmla="*/ 90627 h 798267"/>
              <a:gd name="connsiteX1941" fmla="*/ 670922 w 682417"/>
              <a:gd name="connsiteY1941" fmla="*/ 96094 h 798267"/>
              <a:gd name="connsiteX1942" fmla="*/ 670589 w 682417"/>
              <a:gd name="connsiteY1942" fmla="*/ 91294 h 798267"/>
              <a:gd name="connsiteX1943" fmla="*/ 660816 w 682417"/>
              <a:gd name="connsiteY1943" fmla="*/ 80473 h 798267"/>
              <a:gd name="connsiteX1944" fmla="*/ 660435 w 682417"/>
              <a:gd name="connsiteY1944" fmla="*/ 82721 h 798267"/>
              <a:gd name="connsiteX1945" fmla="*/ 661807 w 682417"/>
              <a:gd name="connsiteY1945" fmla="*/ 81759 h 798267"/>
              <a:gd name="connsiteX1946" fmla="*/ 660845 w 682417"/>
              <a:gd name="connsiteY1946" fmla="*/ 80387 h 798267"/>
              <a:gd name="connsiteX1947" fmla="*/ 50940 w 682417"/>
              <a:gd name="connsiteY1947" fmla="*/ 586717 h 798267"/>
              <a:gd name="connsiteX1948" fmla="*/ 52083 w 682417"/>
              <a:gd name="connsiteY1948" fmla="*/ 579955 h 798267"/>
              <a:gd name="connsiteX1949" fmla="*/ 50178 w 682417"/>
              <a:gd name="connsiteY1949" fmla="*/ 584270 h 798267"/>
              <a:gd name="connsiteX1950" fmla="*/ 46977 w 682417"/>
              <a:gd name="connsiteY1950" fmla="*/ 582565 h 798267"/>
              <a:gd name="connsiteX1951" fmla="*/ 50940 w 682417"/>
              <a:gd name="connsiteY1951" fmla="*/ 586717 h 798267"/>
              <a:gd name="connsiteX1952" fmla="*/ 676008 w 682417"/>
              <a:gd name="connsiteY1952" fmla="*/ 100342 h 798267"/>
              <a:gd name="connsiteX1953" fmla="*/ 674313 w 682417"/>
              <a:gd name="connsiteY1953" fmla="*/ 103533 h 798267"/>
              <a:gd name="connsiteX1954" fmla="*/ 680333 w 682417"/>
              <a:gd name="connsiteY1954" fmla="*/ 102238 h 798267"/>
              <a:gd name="connsiteX1955" fmla="*/ 681457 w 682417"/>
              <a:gd name="connsiteY1955" fmla="*/ 102428 h 798267"/>
              <a:gd name="connsiteX1956" fmla="*/ 681838 w 682417"/>
              <a:gd name="connsiteY1956" fmla="*/ 100180 h 798267"/>
              <a:gd name="connsiteX1957" fmla="*/ 676008 w 682417"/>
              <a:gd name="connsiteY1957" fmla="*/ 100342 h 798267"/>
              <a:gd name="connsiteX1958" fmla="*/ 637280 w 682417"/>
              <a:gd name="connsiteY1958" fmla="*/ 171446 h 798267"/>
              <a:gd name="connsiteX1959" fmla="*/ 636518 w 682417"/>
              <a:gd name="connsiteY1959" fmla="*/ 175961 h 798267"/>
              <a:gd name="connsiteX1960" fmla="*/ 637832 w 682417"/>
              <a:gd name="connsiteY1960" fmla="*/ 175009 h 798267"/>
              <a:gd name="connsiteX1961" fmla="*/ 638194 w 682417"/>
              <a:gd name="connsiteY1961" fmla="*/ 179705 h 798267"/>
              <a:gd name="connsiteX1962" fmla="*/ 640842 w 682417"/>
              <a:gd name="connsiteY1962" fmla="*/ 177800 h 798267"/>
              <a:gd name="connsiteX1963" fmla="*/ 637280 w 682417"/>
              <a:gd name="connsiteY1963" fmla="*/ 171446 h 798267"/>
              <a:gd name="connsiteX1964" fmla="*/ 654082 w 682417"/>
              <a:gd name="connsiteY1964" fmla="*/ 79235 h 798267"/>
              <a:gd name="connsiteX1965" fmla="*/ 655787 w 682417"/>
              <a:gd name="connsiteY1965" fmla="*/ 76044 h 798267"/>
              <a:gd name="connsiteX1966" fmla="*/ 654082 w 682417"/>
              <a:gd name="connsiteY1966" fmla="*/ 79235 h 798267"/>
              <a:gd name="connsiteX1967" fmla="*/ 469363 w 682417"/>
              <a:gd name="connsiteY1967" fmla="*/ 402647 h 798267"/>
              <a:gd name="connsiteX1968" fmla="*/ 472926 w 682417"/>
              <a:gd name="connsiteY1968" fmla="*/ 409048 h 798267"/>
              <a:gd name="connsiteX1969" fmla="*/ 470991 w 682417"/>
              <a:gd name="connsiteY1969" fmla="*/ 414707 h 798267"/>
              <a:gd name="connsiteX1970" fmla="*/ 471773 w 682417"/>
              <a:gd name="connsiteY1970" fmla="*/ 415810 h 798267"/>
              <a:gd name="connsiteX1971" fmla="*/ 474031 w 682417"/>
              <a:gd name="connsiteY1971" fmla="*/ 416201 h 798267"/>
              <a:gd name="connsiteX1972" fmla="*/ 469363 w 682417"/>
              <a:gd name="connsiteY1972" fmla="*/ 402647 h 798267"/>
              <a:gd name="connsiteX1973" fmla="*/ 483251 w 682417"/>
              <a:gd name="connsiteY1973" fmla="*/ 149958 h 798267"/>
              <a:gd name="connsiteX1974" fmla="*/ 479879 w 682417"/>
              <a:gd name="connsiteY1974" fmla="*/ 149377 h 798267"/>
              <a:gd name="connsiteX1975" fmla="*/ 476582 w 682417"/>
              <a:gd name="connsiteY1975" fmla="*/ 148926 h 798267"/>
              <a:gd name="connsiteX1976" fmla="*/ 476498 w 682417"/>
              <a:gd name="connsiteY1976" fmla="*/ 148806 h 798267"/>
              <a:gd name="connsiteX1977" fmla="*/ 475736 w 682417"/>
              <a:gd name="connsiteY1977" fmla="*/ 153311 h 798267"/>
              <a:gd name="connsiteX1978" fmla="*/ 480431 w 682417"/>
              <a:gd name="connsiteY1978" fmla="*/ 152958 h 798267"/>
              <a:gd name="connsiteX1979" fmla="*/ 481755 w 682417"/>
              <a:gd name="connsiteY1979" fmla="*/ 152006 h 798267"/>
              <a:gd name="connsiteX1980" fmla="*/ 485127 w 682417"/>
              <a:gd name="connsiteY1980" fmla="*/ 152587 h 798267"/>
              <a:gd name="connsiteX1981" fmla="*/ 483251 w 682417"/>
              <a:gd name="connsiteY1981" fmla="*/ 149958 h 798267"/>
              <a:gd name="connsiteX1982" fmla="*/ 470992 w 682417"/>
              <a:gd name="connsiteY1982" fmla="*/ 30791 h 798267"/>
              <a:gd name="connsiteX1983" fmla="*/ 475498 w 682417"/>
              <a:gd name="connsiteY1983" fmla="*/ 31553 h 798267"/>
              <a:gd name="connsiteX1984" fmla="*/ 476241 w 682417"/>
              <a:gd name="connsiteY1984" fmla="*/ 33991 h 798267"/>
              <a:gd name="connsiteX1985" fmla="*/ 481898 w 682417"/>
              <a:gd name="connsiteY1985" fmla="*/ 28000 h 798267"/>
              <a:gd name="connsiteX1986" fmla="*/ 486042 w 682417"/>
              <a:gd name="connsiteY1986" fmla="*/ 24066 h 798267"/>
              <a:gd name="connsiteX1987" fmla="*/ 484137 w 682417"/>
              <a:gd name="connsiteY1987" fmla="*/ 21428 h 798267"/>
              <a:gd name="connsiteX1988" fmla="*/ 479050 w 682417"/>
              <a:gd name="connsiteY1988" fmla="*/ 24047 h 798267"/>
              <a:gd name="connsiteX1989" fmla="*/ 482070 w 682417"/>
              <a:gd name="connsiteY1989" fmla="*/ 19923 h 798267"/>
              <a:gd name="connsiteX1990" fmla="*/ 475498 w 682417"/>
              <a:gd name="connsiteY1990" fmla="*/ 17646 h 798267"/>
              <a:gd name="connsiteX1991" fmla="*/ 469649 w 682417"/>
              <a:gd name="connsiteY1991" fmla="*/ 24771 h 798267"/>
              <a:gd name="connsiteX1992" fmla="*/ 470992 w 682417"/>
              <a:gd name="connsiteY1992" fmla="*/ 30791 h 798267"/>
              <a:gd name="connsiteX1993" fmla="*/ 467839 w 682417"/>
              <a:gd name="connsiteY1993" fmla="*/ 15179 h 798267"/>
              <a:gd name="connsiteX1994" fmla="*/ 466335 w 682417"/>
              <a:gd name="connsiteY1994" fmla="*/ 17246 h 798267"/>
              <a:gd name="connsiteX1995" fmla="*/ 466506 w 682417"/>
              <a:gd name="connsiteY1995" fmla="*/ 23066 h 798267"/>
              <a:gd name="connsiteX1996" fmla="*/ 469706 w 682417"/>
              <a:gd name="connsiteY1996" fmla="*/ 17818 h 798267"/>
              <a:gd name="connsiteX1997" fmla="*/ 473288 w 682417"/>
              <a:gd name="connsiteY1997" fmla="*/ 17265 h 798267"/>
              <a:gd name="connsiteX1998" fmla="*/ 469535 w 682417"/>
              <a:gd name="connsiteY1998" fmla="*/ 11988 h 798267"/>
              <a:gd name="connsiteX1999" fmla="*/ 469725 w 682417"/>
              <a:gd name="connsiteY1999" fmla="*/ 10864 h 798267"/>
              <a:gd name="connsiteX2000" fmla="*/ 464649 w 682417"/>
              <a:gd name="connsiteY2000" fmla="*/ 13484 h 798267"/>
              <a:gd name="connsiteX2001" fmla="*/ 467868 w 682417"/>
              <a:gd name="connsiteY2001" fmla="*/ 15179 h 798267"/>
              <a:gd name="connsiteX2002" fmla="*/ 462124 w 682417"/>
              <a:gd name="connsiteY2002" fmla="*/ 35077 h 798267"/>
              <a:gd name="connsiteX2003" fmla="*/ 462896 w 682417"/>
              <a:gd name="connsiteY2003" fmla="*/ 30572 h 798267"/>
              <a:gd name="connsiteX2004" fmla="*/ 462172 w 682417"/>
              <a:gd name="connsiteY2004" fmla="*/ 35096 h 798267"/>
              <a:gd name="connsiteX2005" fmla="*/ 449847 w 682417"/>
              <a:gd name="connsiteY2005" fmla="*/ 12122 h 798267"/>
              <a:gd name="connsiteX2006" fmla="*/ 450009 w 682417"/>
              <a:gd name="connsiteY2006" fmla="*/ 17942 h 798267"/>
              <a:gd name="connsiteX2007" fmla="*/ 451533 w 682417"/>
              <a:gd name="connsiteY2007" fmla="*/ 8931 h 798267"/>
              <a:gd name="connsiteX2008" fmla="*/ 447037 w 682417"/>
              <a:gd name="connsiteY2008" fmla="*/ 8169 h 798267"/>
              <a:gd name="connsiteX2009" fmla="*/ 449847 w 682417"/>
              <a:gd name="connsiteY2009" fmla="*/ 12122 h 798267"/>
              <a:gd name="connsiteX2010" fmla="*/ 444570 w 682417"/>
              <a:gd name="connsiteY2010" fmla="*/ 15865 h 798267"/>
              <a:gd name="connsiteX2011" fmla="*/ 442665 w 682417"/>
              <a:gd name="connsiteY2011" fmla="*/ 20180 h 798267"/>
              <a:gd name="connsiteX2012" fmla="*/ 447361 w 682417"/>
              <a:gd name="connsiteY2012" fmla="*/ 19818 h 798267"/>
              <a:gd name="connsiteX2013" fmla="*/ 447008 w 682417"/>
              <a:gd name="connsiteY2013" fmla="*/ 15122 h 798267"/>
              <a:gd name="connsiteX2014" fmla="*/ 441750 w 682417"/>
              <a:gd name="connsiteY2014" fmla="*/ 11912 h 798267"/>
              <a:gd name="connsiteX2015" fmla="*/ 444570 w 682417"/>
              <a:gd name="connsiteY2015" fmla="*/ 15865 h 798267"/>
              <a:gd name="connsiteX2016" fmla="*/ 335985 w 682417"/>
              <a:gd name="connsiteY2016" fmla="*/ 266373 h 798267"/>
              <a:gd name="connsiteX2017" fmla="*/ 333346 w 682417"/>
              <a:gd name="connsiteY2017" fmla="*/ 268278 h 798267"/>
              <a:gd name="connsiteX2018" fmla="*/ 327689 w 682417"/>
              <a:gd name="connsiteY2018" fmla="*/ 274269 h 798267"/>
              <a:gd name="connsiteX2019" fmla="*/ 332775 w 682417"/>
              <a:gd name="connsiteY2019" fmla="*/ 271659 h 798267"/>
              <a:gd name="connsiteX2020" fmla="*/ 334289 w 682417"/>
              <a:gd name="connsiteY2020" fmla="*/ 269592 h 798267"/>
              <a:gd name="connsiteX2021" fmla="*/ 336547 w 682417"/>
              <a:gd name="connsiteY2021" fmla="*/ 269983 h 798267"/>
              <a:gd name="connsiteX2022" fmla="*/ 335975 w 682417"/>
              <a:gd name="connsiteY2022" fmla="*/ 266411 h 798267"/>
              <a:gd name="connsiteX2023" fmla="*/ 358750 w 682417"/>
              <a:gd name="connsiteY2023" fmla="*/ 63871 h 798267"/>
              <a:gd name="connsiteX2024" fmla="*/ 354625 w 682417"/>
              <a:gd name="connsiteY2024" fmla="*/ 60852 h 798267"/>
              <a:gd name="connsiteX2025" fmla="*/ 358740 w 682417"/>
              <a:gd name="connsiteY2025" fmla="*/ 63909 h 798267"/>
              <a:gd name="connsiteX2026" fmla="*/ 363436 w 682417"/>
              <a:gd name="connsiteY2026" fmla="*/ 2063 h 798267"/>
              <a:gd name="connsiteX2027" fmla="*/ 365884 w 682417"/>
              <a:gd name="connsiteY2027" fmla="*/ 1320 h 798267"/>
              <a:gd name="connsiteX2028" fmla="*/ 367789 w 682417"/>
              <a:gd name="connsiteY2028" fmla="*/ 3949 h 798267"/>
              <a:gd name="connsiteX2029" fmla="*/ 368370 w 682417"/>
              <a:gd name="connsiteY2029" fmla="*/ 568 h 798267"/>
              <a:gd name="connsiteX2030" fmla="*/ 363426 w 682417"/>
              <a:gd name="connsiteY2030" fmla="*/ 2101 h 798267"/>
              <a:gd name="connsiteX2031" fmla="*/ 337118 w 682417"/>
              <a:gd name="connsiteY2031" fmla="*/ 6874 h 798267"/>
              <a:gd name="connsiteX2032" fmla="*/ 339023 w 682417"/>
              <a:gd name="connsiteY2032" fmla="*/ 9502 h 798267"/>
              <a:gd name="connsiteX2033" fmla="*/ 337537 w 682417"/>
              <a:gd name="connsiteY2033" fmla="*/ 4616 h 798267"/>
              <a:gd name="connsiteX2034" fmla="*/ 333575 w 682417"/>
              <a:gd name="connsiteY2034" fmla="*/ 7426 h 798267"/>
              <a:gd name="connsiteX2035" fmla="*/ 337109 w 682417"/>
              <a:gd name="connsiteY2035" fmla="*/ 6912 h 798267"/>
              <a:gd name="connsiteX2036" fmla="*/ 180280 w 682417"/>
              <a:gd name="connsiteY2036" fmla="*/ 432441 h 798267"/>
              <a:gd name="connsiteX2037" fmla="*/ 182918 w 682417"/>
              <a:gd name="connsiteY2037" fmla="*/ 430536 h 798267"/>
              <a:gd name="connsiteX2038" fmla="*/ 185166 w 682417"/>
              <a:gd name="connsiteY2038" fmla="*/ 430917 h 798267"/>
              <a:gd name="connsiteX2039" fmla="*/ 185737 w 682417"/>
              <a:gd name="connsiteY2039" fmla="*/ 427526 h 798267"/>
              <a:gd name="connsiteX2040" fmla="*/ 180280 w 682417"/>
              <a:gd name="connsiteY2040" fmla="*/ 432441 h 798267"/>
              <a:gd name="connsiteX2041" fmla="*/ 439360 w 682417"/>
              <a:gd name="connsiteY2041" fmla="*/ 12655 h 798267"/>
              <a:gd name="connsiteX2042" fmla="*/ 441265 w 682417"/>
              <a:gd name="connsiteY2042" fmla="*/ 15294 h 798267"/>
              <a:gd name="connsiteX2043" fmla="*/ 441865 w 682417"/>
              <a:gd name="connsiteY2043" fmla="*/ 4959 h 798267"/>
              <a:gd name="connsiteX2044" fmla="*/ 437912 w 682417"/>
              <a:gd name="connsiteY2044" fmla="*/ 7769 h 798267"/>
              <a:gd name="connsiteX2045" fmla="*/ 435845 w 682417"/>
              <a:gd name="connsiteY2045" fmla="*/ 6254 h 798267"/>
              <a:gd name="connsiteX2046" fmla="*/ 433769 w 682417"/>
              <a:gd name="connsiteY2046" fmla="*/ 11693 h 798267"/>
              <a:gd name="connsiteX2047" fmla="*/ 439322 w 682417"/>
              <a:gd name="connsiteY2047" fmla="*/ 12655 h 79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682417" h="798267">
                <a:moveTo>
                  <a:pt x="681704" y="80445"/>
                </a:moveTo>
                <a:cubicBezTo>
                  <a:pt x="680133" y="79578"/>
                  <a:pt x="679142" y="78292"/>
                  <a:pt x="677580" y="77425"/>
                </a:cubicBezTo>
                <a:cubicBezTo>
                  <a:pt x="678456" y="75015"/>
                  <a:pt x="684448" y="77006"/>
                  <a:pt x="681704" y="80445"/>
                </a:cubicBezTo>
                <a:close/>
                <a:moveTo>
                  <a:pt x="630488" y="184210"/>
                </a:moveTo>
                <a:cubicBezTo>
                  <a:pt x="631231" y="181076"/>
                  <a:pt x="634689" y="181753"/>
                  <a:pt x="635946" y="179343"/>
                </a:cubicBezTo>
                <a:cubicBezTo>
                  <a:pt x="631222" y="177019"/>
                  <a:pt x="625974" y="181933"/>
                  <a:pt x="630488" y="184210"/>
                </a:cubicBezTo>
                <a:close/>
                <a:moveTo>
                  <a:pt x="627859" y="117678"/>
                </a:moveTo>
                <a:cubicBezTo>
                  <a:pt x="625488" y="118840"/>
                  <a:pt x="627650" y="122783"/>
                  <a:pt x="628221" y="122383"/>
                </a:cubicBezTo>
                <a:cubicBezTo>
                  <a:pt x="629107" y="121774"/>
                  <a:pt x="628745" y="117459"/>
                  <a:pt x="627859" y="117678"/>
                </a:cubicBezTo>
                <a:close/>
                <a:moveTo>
                  <a:pt x="577253" y="265601"/>
                </a:moveTo>
                <a:cubicBezTo>
                  <a:pt x="577872" y="269411"/>
                  <a:pt x="575653" y="271221"/>
                  <a:pt x="579301" y="274059"/>
                </a:cubicBezTo>
                <a:cubicBezTo>
                  <a:pt x="578796" y="271116"/>
                  <a:pt x="580911" y="266315"/>
                  <a:pt x="577253" y="265601"/>
                </a:cubicBezTo>
                <a:close/>
                <a:moveTo>
                  <a:pt x="610753" y="54489"/>
                </a:moveTo>
                <a:cubicBezTo>
                  <a:pt x="609886" y="53278"/>
                  <a:pt x="608203" y="52999"/>
                  <a:pt x="606992" y="53866"/>
                </a:cubicBezTo>
                <a:cubicBezTo>
                  <a:pt x="606308" y="54355"/>
                  <a:pt x="605892" y="55135"/>
                  <a:pt x="605866" y="55975"/>
                </a:cubicBezTo>
                <a:cubicBezTo>
                  <a:pt x="608381" y="56737"/>
                  <a:pt x="610152" y="56432"/>
                  <a:pt x="610753" y="54499"/>
                </a:cubicBezTo>
                <a:close/>
                <a:moveTo>
                  <a:pt x="564032" y="288871"/>
                </a:moveTo>
                <a:cubicBezTo>
                  <a:pt x="565337" y="289261"/>
                  <a:pt x="566242" y="291309"/>
                  <a:pt x="567414" y="289442"/>
                </a:cubicBezTo>
                <a:cubicBezTo>
                  <a:pt x="566109" y="289052"/>
                  <a:pt x="565204" y="287004"/>
                  <a:pt x="564032" y="288871"/>
                </a:cubicBezTo>
                <a:close/>
                <a:moveTo>
                  <a:pt x="561956" y="294309"/>
                </a:moveTo>
                <a:cubicBezTo>
                  <a:pt x="560289" y="295405"/>
                  <a:pt x="560756" y="298481"/>
                  <a:pt x="562127" y="300139"/>
                </a:cubicBezTo>
                <a:cubicBezTo>
                  <a:pt x="562661" y="298577"/>
                  <a:pt x="564299" y="298548"/>
                  <a:pt x="564985" y="297138"/>
                </a:cubicBezTo>
                <a:cubicBezTo>
                  <a:pt x="563385" y="296595"/>
                  <a:pt x="563385" y="294957"/>
                  <a:pt x="561956" y="294309"/>
                </a:cubicBezTo>
                <a:close/>
                <a:moveTo>
                  <a:pt x="538144" y="352869"/>
                </a:moveTo>
                <a:cubicBezTo>
                  <a:pt x="537696" y="353507"/>
                  <a:pt x="534619" y="356727"/>
                  <a:pt x="537381" y="357374"/>
                </a:cubicBezTo>
                <a:cubicBezTo>
                  <a:pt x="536619" y="355136"/>
                  <a:pt x="541344" y="354184"/>
                  <a:pt x="538096" y="352869"/>
                </a:cubicBezTo>
                <a:close/>
                <a:moveTo>
                  <a:pt x="514179" y="323294"/>
                </a:moveTo>
                <a:cubicBezTo>
                  <a:pt x="512953" y="323116"/>
                  <a:pt x="511828" y="322517"/>
                  <a:pt x="510997" y="321599"/>
                </a:cubicBezTo>
                <a:lnTo>
                  <a:pt x="510616" y="323846"/>
                </a:lnTo>
                <a:cubicBezTo>
                  <a:pt x="511950" y="325390"/>
                  <a:pt x="513112" y="325532"/>
                  <a:pt x="514131" y="323294"/>
                </a:cubicBezTo>
                <a:close/>
                <a:moveTo>
                  <a:pt x="539267" y="100323"/>
                </a:moveTo>
                <a:cubicBezTo>
                  <a:pt x="540934" y="97675"/>
                  <a:pt x="536305" y="94684"/>
                  <a:pt x="535134" y="97304"/>
                </a:cubicBezTo>
                <a:cubicBezTo>
                  <a:pt x="537324" y="97694"/>
                  <a:pt x="536000" y="100628"/>
                  <a:pt x="539220" y="100323"/>
                </a:cubicBezTo>
                <a:close/>
                <a:moveTo>
                  <a:pt x="532286" y="107257"/>
                </a:moveTo>
                <a:cubicBezTo>
                  <a:pt x="533798" y="107730"/>
                  <a:pt x="535428" y="107009"/>
                  <a:pt x="536096" y="105572"/>
                </a:cubicBezTo>
                <a:cubicBezTo>
                  <a:pt x="534865" y="105393"/>
                  <a:pt x="533733" y="104794"/>
                  <a:pt x="532895" y="103876"/>
                </a:cubicBezTo>
                <a:close/>
                <a:moveTo>
                  <a:pt x="489423" y="366633"/>
                </a:moveTo>
                <a:lnTo>
                  <a:pt x="487166" y="366252"/>
                </a:lnTo>
                <a:lnTo>
                  <a:pt x="486785" y="368500"/>
                </a:lnTo>
                <a:lnTo>
                  <a:pt x="489042" y="368881"/>
                </a:lnTo>
                <a:close/>
                <a:moveTo>
                  <a:pt x="501082" y="31286"/>
                </a:moveTo>
                <a:cubicBezTo>
                  <a:pt x="502463" y="29133"/>
                  <a:pt x="499015" y="25733"/>
                  <a:pt x="498081" y="28429"/>
                </a:cubicBezTo>
                <a:cubicBezTo>
                  <a:pt x="499843" y="28829"/>
                  <a:pt x="498472" y="31448"/>
                  <a:pt x="501082" y="31286"/>
                </a:cubicBezTo>
                <a:close/>
                <a:moveTo>
                  <a:pt x="494348" y="23190"/>
                </a:moveTo>
                <a:cubicBezTo>
                  <a:pt x="495138" y="23618"/>
                  <a:pt x="494976" y="26543"/>
                  <a:pt x="497338" y="26047"/>
                </a:cubicBezTo>
                <a:cubicBezTo>
                  <a:pt x="497443" y="22342"/>
                  <a:pt x="496729" y="19218"/>
                  <a:pt x="491528" y="19275"/>
                </a:cubicBezTo>
                <a:cubicBezTo>
                  <a:pt x="491154" y="21052"/>
                  <a:pt x="491719" y="22897"/>
                  <a:pt x="493024" y="24161"/>
                </a:cubicBezTo>
                <a:cubicBezTo>
                  <a:pt x="492662" y="23666"/>
                  <a:pt x="493709" y="22809"/>
                  <a:pt x="494348" y="23152"/>
                </a:cubicBezTo>
                <a:close/>
                <a:moveTo>
                  <a:pt x="485851" y="32181"/>
                </a:moveTo>
                <a:cubicBezTo>
                  <a:pt x="485137" y="29905"/>
                  <a:pt x="489871" y="28991"/>
                  <a:pt x="486623" y="27676"/>
                </a:cubicBezTo>
                <a:cubicBezTo>
                  <a:pt x="486175" y="28276"/>
                  <a:pt x="483089" y="31505"/>
                  <a:pt x="485851" y="32143"/>
                </a:cubicBezTo>
                <a:close/>
                <a:moveTo>
                  <a:pt x="430263" y="216328"/>
                </a:moveTo>
                <a:cubicBezTo>
                  <a:pt x="431893" y="216384"/>
                  <a:pt x="433439" y="217066"/>
                  <a:pt x="434578" y="218233"/>
                </a:cubicBezTo>
                <a:lnTo>
                  <a:pt x="435150" y="214852"/>
                </a:lnTo>
                <a:cubicBezTo>
                  <a:pt x="432635" y="214080"/>
                  <a:pt x="430873" y="214385"/>
                  <a:pt x="430263" y="216328"/>
                </a:cubicBezTo>
                <a:close/>
                <a:moveTo>
                  <a:pt x="430092" y="210499"/>
                </a:moveTo>
                <a:cubicBezTo>
                  <a:pt x="426025" y="213709"/>
                  <a:pt x="433673" y="214623"/>
                  <a:pt x="430092" y="210499"/>
                </a:cubicBezTo>
                <a:close/>
                <a:moveTo>
                  <a:pt x="456705" y="26047"/>
                </a:moveTo>
                <a:cubicBezTo>
                  <a:pt x="460277" y="25485"/>
                  <a:pt x="460086" y="19637"/>
                  <a:pt x="461810" y="16522"/>
                </a:cubicBezTo>
                <a:cubicBezTo>
                  <a:pt x="459457" y="17056"/>
                  <a:pt x="459905" y="13874"/>
                  <a:pt x="458810" y="13665"/>
                </a:cubicBezTo>
                <a:cubicBezTo>
                  <a:pt x="458333" y="13589"/>
                  <a:pt x="456810" y="16789"/>
                  <a:pt x="455057" y="15341"/>
                </a:cubicBezTo>
                <a:cubicBezTo>
                  <a:pt x="455247" y="13551"/>
                  <a:pt x="455867" y="11455"/>
                  <a:pt x="453371" y="11579"/>
                </a:cubicBezTo>
                <a:cubicBezTo>
                  <a:pt x="454524" y="16399"/>
                  <a:pt x="451456" y="24190"/>
                  <a:pt x="456705" y="26047"/>
                </a:cubicBezTo>
                <a:close/>
                <a:moveTo>
                  <a:pt x="426882" y="215747"/>
                </a:moveTo>
                <a:cubicBezTo>
                  <a:pt x="426977" y="213595"/>
                  <a:pt x="424920" y="216071"/>
                  <a:pt x="424815" y="214242"/>
                </a:cubicBezTo>
                <a:cubicBezTo>
                  <a:pt x="423158" y="213099"/>
                  <a:pt x="426006" y="208765"/>
                  <a:pt x="422205" y="209156"/>
                </a:cubicBezTo>
                <a:cubicBezTo>
                  <a:pt x="420386" y="208661"/>
                  <a:pt x="419176" y="215823"/>
                  <a:pt x="421062" y="215919"/>
                </a:cubicBezTo>
                <a:cubicBezTo>
                  <a:pt x="423196" y="213204"/>
                  <a:pt x="422872" y="220481"/>
                  <a:pt x="427434" y="219319"/>
                </a:cubicBezTo>
                <a:cubicBezTo>
                  <a:pt x="427482" y="217976"/>
                  <a:pt x="428130" y="216157"/>
                  <a:pt x="426882" y="215747"/>
                </a:cubicBezTo>
                <a:close/>
                <a:moveTo>
                  <a:pt x="445837" y="28829"/>
                </a:moveTo>
                <a:cubicBezTo>
                  <a:pt x="446141" y="27400"/>
                  <a:pt x="447551" y="27524"/>
                  <a:pt x="447551" y="25647"/>
                </a:cubicBezTo>
                <a:cubicBezTo>
                  <a:pt x="445065" y="23418"/>
                  <a:pt x="443579" y="28905"/>
                  <a:pt x="445837" y="28829"/>
                </a:cubicBezTo>
                <a:close/>
                <a:moveTo>
                  <a:pt x="404812" y="181857"/>
                </a:moveTo>
                <a:cubicBezTo>
                  <a:pt x="400698" y="180724"/>
                  <a:pt x="397193" y="180381"/>
                  <a:pt x="396345" y="183905"/>
                </a:cubicBezTo>
                <a:cubicBezTo>
                  <a:pt x="399707" y="183286"/>
                  <a:pt x="401364" y="183438"/>
                  <a:pt x="400279" y="188049"/>
                </a:cubicBezTo>
                <a:cubicBezTo>
                  <a:pt x="403746" y="188744"/>
                  <a:pt x="404222" y="185210"/>
                  <a:pt x="404812" y="181857"/>
                </a:cubicBezTo>
                <a:close/>
                <a:moveTo>
                  <a:pt x="420910" y="11855"/>
                </a:moveTo>
                <a:cubicBezTo>
                  <a:pt x="422024" y="8407"/>
                  <a:pt x="418605" y="8188"/>
                  <a:pt x="417157" y="6578"/>
                </a:cubicBezTo>
                <a:cubicBezTo>
                  <a:pt x="416023" y="10017"/>
                  <a:pt x="419452" y="10236"/>
                  <a:pt x="420910" y="11855"/>
                </a:cubicBezTo>
                <a:close/>
                <a:moveTo>
                  <a:pt x="388125" y="34144"/>
                </a:moveTo>
                <a:cubicBezTo>
                  <a:pt x="387669" y="35640"/>
                  <a:pt x="388384" y="37244"/>
                  <a:pt x="389801" y="37906"/>
                </a:cubicBezTo>
                <a:cubicBezTo>
                  <a:pt x="390252" y="36410"/>
                  <a:pt x="389539" y="34809"/>
                  <a:pt x="388125" y="34144"/>
                </a:cubicBezTo>
                <a:close/>
                <a:moveTo>
                  <a:pt x="337833" y="269078"/>
                </a:moveTo>
                <a:cubicBezTo>
                  <a:pt x="340690" y="270364"/>
                  <a:pt x="340404" y="267116"/>
                  <a:pt x="341786" y="266220"/>
                </a:cubicBezTo>
                <a:cubicBezTo>
                  <a:pt x="338909" y="264944"/>
                  <a:pt x="339223" y="268192"/>
                  <a:pt x="337852" y="269049"/>
                </a:cubicBezTo>
                <a:close/>
                <a:moveTo>
                  <a:pt x="334289" y="9902"/>
                </a:moveTo>
                <a:lnTo>
                  <a:pt x="332032" y="9521"/>
                </a:lnTo>
                <a:cubicBezTo>
                  <a:pt x="331899" y="10274"/>
                  <a:pt x="331775" y="11026"/>
                  <a:pt x="331651" y="11779"/>
                </a:cubicBezTo>
                <a:lnTo>
                  <a:pt x="333899" y="12160"/>
                </a:lnTo>
                <a:cubicBezTo>
                  <a:pt x="334032" y="11407"/>
                  <a:pt x="334156" y="10655"/>
                  <a:pt x="334289" y="9902"/>
                </a:cubicBezTo>
                <a:close/>
                <a:moveTo>
                  <a:pt x="322945" y="28857"/>
                </a:moveTo>
                <a:cubicBezTo>
                  <a:pt x="324850" y="31505"/>
                  <a:pt x="325241" y="28724"/>
                  <a:pt x="327650" y="28486"/>
                </a:cubicBezTo>
                <a:cubicBezTo>
                  <a:pt x="328270" y="25428"/>
                  <a:pt x="326155" y="25904"/>
                  <a:pt x="328412" y="23980"/>
                </a:cubicBezTo>
                <a:cubicBezTo>
                  <a:pt x="324305" y="24125"/>
                  <a:pt x="320679" y="26703"/>
                  <a:pt x="319192" y="30534"/>
                </a:cubicBezTo>
                <a:cubicBezTo>
                  <a:pt x="321345" y="31286"/>
                  <a:pt x="321678" y="29381"/>
                  <a:pt x="322945" y="28857"/>
                </a:cubicBezTo>
                <a:close/>
                <a:moveTo>
                  <a:pt x="318364" y="55899"/>
                </a:moveTo>
                <a:cubicBezTo>
                  <a:pt x="316802" y="55356"/>
                  <a:pt x="316773" y="53717"/>
                  <a:pt x="315363" y="53041"/>
                </a:cubicBezTo>
                <a:cubicBezTo>
                  <a:pt x="313982" y="55222"/>
                  <a:pt x="317421" y="58623"/>
                  <a:pt x="318364" y="55899"/>
                </a:cubicBezTo>
                <a:close/>
                <a:moveTo>
                  <a:pt x="278120" y="258934"/>
                </a:moveTo>
                <a:cubicBezTo>
                  <a:pt x="277454" y="261715"/>
                  <a:pt x="279254" y="262744"/>
                  <a:pt x="280740" y="264010"/>
                </a:cubicBezTo>
                <a:cubicBezTo>
                  <a:pt x="281559" y="261096"/>
                  <a:pt x="281149" y="259076"/>
                  <a:pt x="278120" y="258934"/>
                </a:cubicBezTo>
                <a:close/>
                <a:moveTo>
                  <a:pt x="316382" y="26600"/>
                </a:moveTo>
                <a:cubicBezTo>
                  <a:pt x="316287" y="28314"/>
                  <a:pt x="315268" y="30686"/>
                  <a:pt x="316744" y="31296"/>
                </a:cubicBezTo>
                <a:cubicBezTo>
                  <a:pt x="318459" y="30029"/>
                  <a:pt x="318945" y="27333"/>
                  <a:pt x="316382" y="26581"/>
                </a:cubicBezTo>
                <a:close/>
                <a:moveTo>
                  <a:pt x="312572" y="49136"/>
                </a:moveTo>
                <a:cubicBezTo>
                  <a:pt x="311201" y="47231"/>
                  <a:pt x="308496" y="46736"/>
                  <a:pt x="308762" y="50812"/>
                </a:cubicBezTo>
                <a:cubicBezTo>
                  <a:pt x="310272" y="51277"/>
                  <a:pt x="311893" y="50552"/>
                  <a:pt x="312553" y="49117"/>
                </a:cubicBezTo>
                <a:close/>
                <a:moveTo>
                  <a:pt x="243288" y="348069"/>
                </a:moveTo>
                <a:lnTo>
                  <a:pt x="242907" y="350316"/>
                </a:lnTo>
                <a:cubicBezTo>
                  <a:pt x="242849" y="351012"/>
                  <a:pt x="242849" y="351679"/>
                  <a:pt x="243859" y="351640"/>
                </a:cubicBezTo>
                <a:cubicBezTo>
                  <a:pt x="244040" y="350964"/>
                  <a:pt x="244250" y="350326"/>
                  <a:pt x="245183" y="350688"/>
                </a:cubicBezTo>
                <a:cubicBezTo>
                  <a:pt x="245278" y="351640"/>
                  <a:pt x="244831" y="352917"/>
                  <a:pt x="245916" y="353136"/>
                </a:cubicBezTo>
                <a:cubicBezTo>
                  <a:pt x="246717" y="350250"/>
                  <a:pt x="246316" y="348230"/>
                  <a:pt x="243288" y="348069"/>
                </a:cubicBezTo>
                <a:close/>
                <a:moveTo>
                  <a:pt x="230476" y="293719"/>
                </a:moveTo>
                <a:cubicBezTo>
                  <a:pt x="224142" y="291423"/>
                  <a:pt x="229181" y="298529"/>
                  <a:pt x="230476" y="293719"/>
                </a:cubicBezTo>
                <a:close/>
                <a:moveTo>
                  <a:pt x="153857" y="472008"/>
                </a:moveTo>
                <a:cubicBezTo>
                  <a:pt x="158086" y="472627"/>
                  <a:pt x="157286" y="471293"/>
                  <a:pt x="160620" y="473160"/>
                </a:cubicBezTo>
                <a:cubicBezTo>
                  <a:pt x="161903" y="471577"/>
                  <a:pt x="162264" y="469438"/>
                  <a:pt x="161573" y="467522"/>
                </a:cubicBezTo>
                <a:cubicBezTo>
                  <a:pt x="158334" y="468084"/>
                  <a:pt x="153724" y="466702"/>
                  <a:pt x="153857" y="472008"/>
                </a:cubicBezTo>
                <a:close/>
                <a:moveTo>
                  <a:pt x="154010" y="484790"/>
                </a:moveTo>
                <a:cubicBezTo>
                  <a:pt x="156867" y="485152"/>
                  <a:pt x="159839" y="485562"/>
                  <a:pt x="160220" y="482362"/>
                </a:cubicBezTo>
                <a:cubicBezTo>
                  <a:pt x="157833" y="481403"/>
                  <a:pt x="155113" y="482467"/>
                  <a:pt x="154010" y="484790"/>
                </a:cubicBezTo>
                <a:close/>
                <a:moveTo>
                  <a:pt x="163335" y="388978"/>
                </a:moveTo>
                <a:cubicBezTo>
                  <a:pt x="166249" y="389836"/>
                  <a:pt x="166640" y="387073"/>
                  <a:pt x="167478" y="385054"/>
                </a:cubicBezTo>
                <a:cubicBezTo>
                  <a:pt x="164535" y="384206"/>
                  <a:pt x="164144" y="386911"/>
                  <a:pt x="163335" y="388978"/>
                </a:cubicBezTo>
                <a:close/>
                <a:moveTo>
                  <a:pt x="163935" y="378653"/>
                </a:moveTo>
                <a:cubicBezTo>
                  <a:pt x="168002" y="375434"/>
                  <a:pt x="160344" y="374529"/>
                  <a:pt x="163935" y="378653"/>
                </a:cubicBezTo>
                <a:close/>
                <a:moveTo>
                  <a:pt x="128521" y="525681"/>
                </a:moveTo>
                <a:cubicBezTo>
                  <a:pt x="127140" y="527834"/>
                  <a:pt x="130578" y="531234"/>
                  <a:pt x="131521" y="528539"/>
                </a:cubicBezTo>
                <a:cubicBezTo>
                  <a:pt x="129997" y="527967"/>
                  <a:pt x="129931" y="526329"/>
                  <a:pt x="128521" y="525681"/>
                </a:cubicBezTo>
                <a:close/>
                <a:moveTo>
                  <a:pt x="135607" y="415582"/>
                </a:moveTo>
                <a:cubicBezTo>
                  <a:pt x="135484" y="418649"/>
                  <a:pt x="137922" y="419897"/>
                  <a:pt x="140475" y="421049"/>
                </a:cubicBezTo>
                <a:cubicBezTo>
                  <a:pt x="140799" y="417849"/>
                  <a:pt x="139332" y="415915"/>
                  <a:pt x="135607" y="415582"/>
                </a:cubicBezTo>
                <a:close/>
                <a:moveTo>
                  <a:pt x="125378" y="441671"/>
                </a:moveTo>
                <a:cubicBezTo>
                  <a:pt x="125711" y="439766"/>
                  <a:pt x="128616" y="441575"/>
                  <a:pt x="129188" y="439994"/>
                </a:cubicBezTo>
                <a:cubicBezTo>
                  <a:pt x="128349" y="439604"/>
                  <a:pt x="128035" y="438832"/>
                  <a:pt x="128435" y="437546"/>
                </a:cubicBezTo>
                <a:cubicBezTo>
                  <a:pt x="125759" y="435880"/>
                  <a:pt x="122768" y="440509"/>
                  <a:pt x="125378" y="441671"/>
                </a:cubicBezTo>
                <a:close/>
                <a:moveTo>
                  <a:pt x="105156" y="485771"/>
                </a:moveTo>
                <a:cubicBezTo>
                  <a:pt x="105823" y="482990"/>
                  <a:pt x="104013" y="481961"/>
                  <a:pt x="102537" y="480695"/>
                </a:cubicBezTo>
                <a:cubicBezTo>
                  <a:pt x="101717" y="483590"/>
                  <a:pt x="102118" y="485629"/>
                  <a:pt x="105156" y="485771"/>
                </a:cubicBezTo>
                <a:close/>
                <a:moveTo>
                  <a:pt x="103070" y="491220"/>
                </a:moveTo>
                <a:cubicBezTo>
                  <a:pt x="104023" y="488581"/>
                  <a:pt x="101432" y="488419"/>
                  <a:pt x="102899" y="485390"/>
                </a:cubicBezTo>
                <a:cubicBezTo>
                  <a:pt x="101670" y="485214"/>
                  <a:pt x="100541" y="484615"/>
                  <a:pt x="99708" y="483695"/>
                </a:cubicBezTo>
                <a:cubicBezTo>
                  <a:pt x="98689" y="484752"/>
                  <a:pt x="94431" y="488134"/>
                  <a:pt x="97431" y="490267"/>
                </a:cubicBezTo>
                <a:cubicBezTo>
                  <a:pt x="98031" y="485276"/>
                  <a:pt x="101479" y="490820"/>
                  <a:pt x="103070" y="491220"/>
                </a:cubicBezTo>
                <a:close/>
                <a:moveTo>
                  <a:pt x="37014" y="784914"/>
                </a:moveTo>
                <a:cubicBezTo>
                  <a:pt x="33557" y="783780"/>
                  <a:pt x="33518" y="787447"/>
                  <a:pt x="30794" y="787343"/>
                </a:cubicBezTo>
                <a:cubicBezTo>
                  <a:pt x="28708" y="787657"/>
                  <a:pt x="24413" y="784856"/>
                  <a:pt x="23851" y="787343"/>
                </a:cubicBezTo>
                <a:cubicBezTo>
                  <a:pt x="26118" y="788038"/>
                  <a:pt x="23270" y="792372"/>
                  <a:pt x="26460" y="792419"/>
                </a:cubicBezTo>
                <a:cubicBezTo>
                  <a:pt x="27138" y="791189"/>
                  <a:pt x="28122" y="790155"/>
                  <a:pt x="29318" y="789419"/>
                </a:cubicBezTo>
                <a:cubicBezTo>
                  <a:pt x="31375" y="791924"/>
                  <a:pt x="30166" y="796744"/>
                  <a:pt x="33614" y="798268"/>
                </a:cubicBezTo>
                <a:cubicBezTo>
                  <a:pt x="35081" y="795239"/>
                  <a:pt x="32528" y="795077"/>
                  <a:pt x="33442" y="792438"/>
                </a:cubicBezTo>
                <a:cubicBezTo>
                  <a:pt x="34871" y="792962"/>
                  <a:pt x="34271" y="790943"/>
                  <a:pt x="34957" y="790381"/>
                </a:cubicBezTo>
                <a:cubicBezTo>
                  <a:pt x="35643" y="789819"/>
                  <a:pt x="38148" y="791067"/>
                  <a:pt x="37586" y="788476"/>
                </a:cubicBezTo>
                <a:cubicBezTo>
                  <a:pt x="36281" y="788076"/>
                  <a:pt x="36652" y="786495"/>
                  <a:pt x="37014" y="784914"/>
                </a:cubicBezTo>
                <a:close/>
                <a:moveTo>
                  <a:pt x="29127" y="783580"/>
                </a:moveTo>
                <a:cubicBezTo>
                  <a:pt x="33004" y="784866"/>
                  <a:pt x="32566" y="780056"/>
                  <a:pt x="36452" y="781342"/>
                </a:cubicBezTo>
                <a:cubicBezTo>
                  <a:pt x="36319" y="782542"/>
                  <a:pt x="37748" y="782475"/>
                  <a:pt x="37776" y="780389"/>
                </a:cubicBezTo>
                <a:cubicBezTo>
                  <a:pt x="33271" y="779189"/>
                  <a:pt x="29851" y="779494"/>
                  <a:pt x="29127" y="783580"/>
                </a:cubicBezTo>
                <a:close/>
                <a:moveTo>
                  <a:pt x="27061" y="782066"/>
                </a:moveTo>
                <a:cubicBezTo>
                  <a:pt x="24965" y="780389"/>
                  <a:pt x="21346" y="782923"/>
                  <a:pt x="24422" y="783971"/>
                </a:cubicBezTo>
                <a:cubicBezTo>
                  <a:pt x="24679" y="782456"/>
                  <a:pt x="26565" y="783247"/>
                  <a:pt x="27061" y="782066"/>
                </a:cubicBezTo>
                <a:close/>
                <a:moveTo>
                  <a:pt x="678799" y="111296"/>
                </a:moveTo>
                <a:cubicBezTo>
                  <a:pt x="679475" y="111477"/>
                  <a:pt x="680104" y="111696"/>
                  <a:pt x="679752" y="112620"/>
                </a:cubicBezTo>
                <a:cubicBezTo>
                  <a:pt x="679133" y="112506"/>
                  <a:pt x="678313" y="113315"/>
                  <a:pt x="679561" y="113744"/>
                </a:cubicBezTo>
                <a:cubicBezTo>
                  <a:pt x="681971" y="113087"/>
                  <a:pt x="680809" y="108019"/>
                  <a:pt x="678799" y="111296"/>
                </a:cubicBezTo>
                <a:close/>
                <a:moveTo>
                  <a:pt x="677847" y="116935"/>
                </a:moveTo>
                <a:cubicBezTo>
                  <a:pt x="674703" y="114011"/>
                  <a:pt x="676246" y="117459"/>
                  <a:pt x="676142" y="120126"/>
                </a:cubicBezTo>
                <a:cubicBezTo>
                  <a:pt x="673745" y="120204"/>
                  <a:pt x="671404" y="119393"/>
                  <a:pt x="669569" y="117849"/>
                </a:cubicBezTo>
                <a:cubicBezTo>
                  <a:pt x="666112" y="116687"/>
                  <a:pt x="668198" y="123374"/>
                  <a:pt x="664293" y="121593"/>
                </a:cubicBezTo>
                <a:cubicBezTo>
                  <a:pt x="664045" y="123098"/>
                  <a:pt x="663788" y="124603"/>
                  <a:pt x="663531" y="126098"/>
                </a:cubicBezTo>
                <a:cubicBezTo>
                  <a:pt x="663312" y="129051"/>
                  <a:pt x="665740" y="124879"/>
                  <a:pt x="668045" y="126869"/>
                </a:cubicBezTo>
                <a:cubicBezTo>
                  <a:pt x="665369" y="129289"/>
                  <a:pt x="661978" y="132375"/>
                  <a:pt x="666702" y="134756"/>
                </a:cubicBezTo>
                <a:cubicBezTo>
                  <a:pt x="663673" y="138185"/>
                  <a:pt x="663359" y="134623"/>
                  <a:pt x="659940" y="133604"/>
                </a:cubicBezTo>
                <a:cubicBezTo>
                  <a:pt x="659206" y="136775"/>
                  <a:pt x="663378" y="136461"/>
                  <a:pt x="661045" y="140747"/>
                </a:cubicBezTo>
                <a:cubicBezTo>
                  <a:pt x="662140" y="140424"/>
                  <a:pt x="663235" y="140100"/>
                  <a:pt x="663683" y="138842"/>
                </a:cubicBezTo>
                <a:cubicBezTo>
                  <a:pt x="666255" y="140747"/>
                  <a:pt x="661568" y="144100"/>
                  <a:pt x="658406" y="142586"/>
                </a:cubicBezTo>
                <a:cubicBezTo>
                  <a:pt x="658406" y="144253"/>
                  <a:pt x="661702" y="143538"/>
                  <a:pt x="661406" y="145443"/>
                </a:cubicBezTo>
                <a:cubicBezTo>
                  <a:pt x="661492" y="147434"/>
                  <a:pt x="660168" y="147424"/>
                  <a:pt x="658778" y="147348"/>
                </a:cubicBezTo>
                <a:cubicBezTo>
                  <a:pt x="657501" y="147424"/>
                  <a:pt x="657625" y="149463"/>
                  <a:pt x="656139" y="149253"/>
                </a:cubicBezTo>
                <a:cubicBezTo>
                  <a:pt x="656139" y="150606"/>
                  <a:pt x="658044" y="150549"/>
                  <a:pt x="659321" y="150949"/>
                </a:cubicBezTo>
                <a:cubicBezTo>
                  <a:pt x="658921" y="152225"/>
                  <a:pt x="659235" y="152997"/>
                  <a:pt x="660073" y="153397"/>
                </a:cubicBezTo>
                <a:cubicBezTo>
                  <a:pt x="659263" y="155978"/>
                  <a:pt x="656158" y="155302"/>
                  <a:pt x="654806" y="157140"/>
                </a:cubicBezTo>
                <a:cubicBezTo>
                  <a:pt x="653434" y="157473"/>
                  <a:pt x="654501" y="154911"/>
                  <a:pt x="654053" y="154692"/>
                </a:cubicBezTo>
                <a:cubicBezTo>
                  <a:pt x="651424" y="153387"/>
                  <a:pt x="649205" y="157940"/>
                  <a:pt x="645595" y="156740"/>
                </a:cubicBezTo>
                <a:cubicBezTo>
                  <a:pt x="645043" y="161502"/>
                  <a:pt x="642861" y="161740"/>
                  <a:pt x="644071" y="165751"/>
                </a:cubicBezTo>
                <a:cubicBezTo>
                  <a:pt x="642605" y="166462"/>
                  <a:pt x="640923" y="166592"/>
                  <a:pt x="639366" y="166112"/>
                </a:cubicBezTo>
                <a:cubicBezTo>
                  <a:pt x="640073" y="167576"/>
                  <a:pt x="640202" y="169253"/>
                  <a:pt x="639728" y="170808"/>
                </a:cubicBezTo>
                <a:cubicBezTo>
                  <a:pt x="635422" y="170894"/>
                  <a:pt x="637594" y="166389"/>
                  <a:pt x="636175" y="164417"/>
                </a:cubicBezTo>
                <a:cubicBezTo>
                  <a:pt x="632917" y="164084"/>
                  <a:pt x="630003" y="163465"/>
                  <a:pt x="631117" y="160074"/>
                </a:cubicBezTo>
                <a:cubicBezTo>
                  <a:pt x="634460" y="159683"/>
                  <a:pt x="633765" y="162160"/>
                  <a:pt x="636556" y="162160"/>
                </a:cubicBezTo>
                <a:cubicBezTo>
                  <a:pt x="637651" y="161826"/>
                  <a:pt x="638737" y="161512"/>
                  <a:pt x="639194" y="160255"/>
                </a:cubicBezTo>
                <a:cubicBezTo>
                  <a:pt x="639194" y="158216"/>
                  <a:pt x="637404" y="160836"/>
                  <a:pt x="635813" y="159683"/>
                </a:cubicBezTo>
                <a:cubicBezTo>
                  <a:pt x="635422" y="159407"/>
                  <a:pt x="635727" y="156559"/>
                  <a:pt x="635260" y="156111"/>
                </a:cubicBezTo>
                <a:cubicBezTo>
                  <a:pt x="634308" y="155225"/>
                  <a:pt x="634136" y="157064"/>
                  <a:pt x="633946" y="157064"/>
                </a:cubicBezTo>
                <a:cubicBezTo>
                  <a:pt x="632270" y="157121"/>
                  <a:pt x="632946" y="155159"/>
                  <a:pt x="629431" y="156302"/>
                </a:cubicBezTo>
                <a:cubicBezTo>
                  <a:pt x="628917" y="161359"/>
                  <a:pt x="630688" y="167732"/>
                  <a:pt x="624145" y="166998"/>
                </a:cubicBezTo>
                <a:cubicBezTo>
                  <a:pt x="623830" y="168903"/>
                  <a:pt x="623507" y="170751"/>
                  <a:pt x="623192" y="172637"/>
                </a:cubicBezTo>
                <a:cubicBezTo>
                  <a:pt x="625097" y="175114"/>
                  <a:pt x="627355" y="171094"/>
                  <a:pt x="628079" y="171142"/>
                </a:cubicBezTo>
                <a:cubicBezTo>
                  <a:pt x="629603" y="171246"/>
                  <a:pt x="628155" y="173047"/>
                  <a:pt x="628821" y="173590"/>
                </a:cubicBezTo>
                <a:cubicBezTo>
                  <a:pt x="630479" y="175056"/>
                  <a:pt x="631860" y="172866"/>
                  <a:pt x="634641" y="173418"/>
                </a:cubicBezTo>
                <a:cubicBezTo>
                  <a:pt x="634898" y="176057"/>
                  <a:pt x="631203" y="173961"/>
                  <a:pt x="630698" y="176276"/>
                </a:cubicBezTo>
                <a:cubicBezTo>
                  <a:pt x="630346" y="177800"/>
                  <a:pt x="627507" y="176685"/>
                  <a:pt x="625993" y="176638"/>
                </a:cubicBezTo>
                <a:cubicBezTo>
                  <a:pt x="624792" y="178447"/>
                  <a:pt x="626354" y="179495"/>
                  <a:pt x="626545" y="180209"/>
                </a:cubicBezTo>
                <a:cubicBezTo>
                  <a:pt x="626627" y="181411"/>
                  <a:pt x="626812" y="182602"/>
                  <a:pt x="627097" y="183772"/>
                </a:cubicBezTo>
                <a:cubicBezTo>
                  <a:pt x="627840" y="184867"/>
                  <a:pt x="630793" y="184496"/>
                  <a:pt x="630098" y="186629"/>
                </a:cubicBezTo>
                <a:cubicBezTo>
                  <a:pt x="631717" y="186801"/>
                  <a:pt x="633327" y="186982"/>
                  <a:pt x="633289" y="188325"/>
                </a:cubicBezTo>
                <a:cubicBezTo>
                  <a:pt x="637813" y="188734"/>
                  <a:pt x="632689" y="184200"/>
                  <a:pt x="637242" y="185515"/>
                </a:cubicBezTo>
                <a:cubicBezTo>
                  <a:pt x="637051" y="187563"/>
                  <a:pt x="635460" y="187668"/>
                  <a:pt x="635337" y="189830"/>
                </a:cubicBezTo>
                <a:cubicBezTo>
                  <a:pt x="631631" y="189887"/>
                  <a:pt x="632212" y="187125"/>
                  <a:pt x="629707" y="188877"/>
                </a:cubicBezTo>
                <a:cubicBezTo>
                  <a:pt x="628202" y="192582"/>
                  <a:pt x="634041" y="191087"/>
                  <a:pt x="632127" y="195088"/>
                </a:cubicBezTo>
                <a:cubicBezTo>
                  <a:pt x="630584" y="193383"/>
                  <a:pt x="630803" y="194135"/>
                  <a:pt x="628564" y="195640"/>
                </a:cubicBezTo>
                <a:cubicBezTo>
                  <a:pt x="626659" y="196897"/>
                  <a:pt x="623611" y="198231"/>
                  <a:pt x="623097" y="200507"/>
                </a:cubicBezTo>
                <a:cubicBezTo>
                  <a:pt x="621192" y="200507"/>
                  <a:pt x="621344" y="199117"/>
                  <a:pt x="619906" y="198812"/>
                </a:cubicBezTo>
                <a:cubicBezTo>
                  <a:pt x="621935" y="202393"/>
                  <a:pt x="617830" y="204184"/>
                  <a:pt x="619506" y="208013"/>
                </a:cubicBezTo>
                <a:cubicBezTo>
                  <a:pt x="616306" y="208013"/>
                  <a:pt x="619154" y="203631"/>
                  <a:pt x="616887" y="202936"/>
                </a:cubicBezTo>
                <a:cubicBezTo>
                  <a:pt x="612467" y="204279"/>
                  <a:pt x="618354" y="206384"/>
                  <a:pt x="617058" y="208765"/>
                </a:cubicBezTo>
                <a:lnTo>
                  <a:pt x="613677" y="208184"/>
                </a:lnTo>
                <a:cubicBezTo>
                  <a:pt x="612724" y="210499"/>
                  <a:pt x="614925" y="210604"/>
                  <a:pt x="616677" y="211042"/>
                </a:cubicBezTo>
                <a:cubicBezTo>
                  <a:pt x="616468" y="213537"/>
                  <a:pt x="615144" y="214471"/>
                  <a:pt x="612724" y="213852"/>
                </a:cubicBezTo>
                <a:cubicBezTo>
                  <a:pt x="614848" y="216709"/>
                  <a:pt x="611134" y="217538"/>
                  <a:pt x="611381" y="221738"/>
                </a:cubicBezTo>
                <a:cubicBezTo>
                  <a:pt x="609752" y="222091"/>
                  <a:pt x="607304" y="220214"/>
                  <a:pt x="605752" y="220786"/>
                </a:cubicBezTo>
                <a:cubicBezTo>
                  <a:pt x="603714" y="221529"/>
                  <a:pt x="602742" y="230159"/>
                  <a:pt x="603114" y="222691"/>
                </a:cubicBezTo>
                <a:cubicBezTo>
                  <a:pt x="599256" y="224710"/>
                  <a:pt x="594817" y="225891"/>
                  <a:pt x="593503" y="231492"/>
                </a:cubicBezTo>
                <a:cubicBezTo>
                  <a:pt x="591776" y="229616"/>
                  <a:pt x="588997" y="229145"/>
                  <a:pt x="586750" y="230349"/>
                </a:cubicBezTo>
                <a:cubicBezTo>
                  <a:pt x="586483" y="232540"/>
                  <a:pt x="591512" y="229139"/>
                  <a:pt x="590864" y="233368"/>
                </a:cubicBezTo>
                <a:cubicBezTo>
                  <a:pt x="591817" y="231921"/>
                  <a:pt x="595236" y="233930"/>
                  <a:pt x="595751" y="231873"/>
                </a:cubicBezTo>
                <a:cubicBezTo>
                  <a:pt x="598608" y="232473"/>
                  <a:pt x="597713" y="236531"/>
                  <a:pt x="595922" y="237702"/>
                </a:cubicBezTo>
                <a:cubicBezTo>
                  <a:pt x="594617" y="238112"/>
                  <a:pt x="595560" y="235388"/>
                  <a:pt x="595179" y="235254"/>
                </a:cubicBezTo>
                <a:cubicBezTo>
                  <a:pt x="593827" y="234788"/>
                  <a:pt x="594389" y="236931"/>
                  <a:pt x="593674" y="237321"/>
                </a:cubicBezTo>
                <a:cubicBezTo>
                  <a:pt x="592160" y="238150"/>
                  <a:pt x="588912" y="236636"/>
                  <a:pt x="587845" y="237493"/>
                </a:cubicBezTo>
                <a:cubicBezTo>
                  <a:pt x="588438" y="238583"/>
                  <a:pt x="588637" y="239845"/>
                  <a:pt x="588407" y="241065"/>
                </a:cubicBezTo>
                <a:cubicBezTo>
                  <a:pt x="591055" y="241541"/>
                  <a:pt x="592055" y="239684"/>
                  <a:pt x="595351" y="241065"/>
                </a:cubicBezTo>
                <a:cubicBezTo>
                  <a:pt x="595284" y="242617"/>
                  <a:pt x="588588" y="241417"/>
                  <a:pt x="592493" y="244065"/>
                </a:cubicBezTo>
                <a:cubicBezTo>
                  <a:pt x="591779" y="246322"/>
                  <a:pt x="589093" y="245799"/>
                  <a:pt x="587407" y="246675"/>
                </a:cubicBezTo>
                <a:cubicBezTo>
                  <a:pt x="587131" y="248351"/>
                  <a:pt x="588769" y="247046"/>
                  <a:pt x="588540" y="246865"/>
                </a:cubicBezTo>
                <a:cubicBezTo>
                  <a:pt x="591693" y="249256"/>
                  <a:pt x="586969" y="248389"/>
                  <a:pt x="587588" y="252504"/>
                </a:cubicBezTo>
                <a:cubicBezTo>
                  <a:pt x="580920" y="250418"/>
                  <a:pt x="581997" y="257219"/>
                  <a:pt x="580615" y="259438"/>
                </a:cubicBezTo>
                <a:cubicBezTo>
                  <a:pt x="578996" y="259257"/>
                  <a:pt x="577386" y="259086"/>
                  <a:pt x="577425" y="257733"/>
                </a:cubicBezTo>
                <a:cubicBezTo>
                  <a:pt x="574805" y="256781"/>
                  <a:pt x="577177" y="262972"/>
                  <a:pt x="573472" y="260543"/>
                </a:cubicBezTo>
                <a:cubicBezTo>
                  <a:pt x="572129" y="263477"/>
                  <a:pt x="575329" y="263191"/>
                  <a:pt x="574958" y="265439"/>
                </a:cubicBezTo>
                <a:cubicBezTo>
                  <a:pt x="574519" y="268061"/>
                  <a:pt x="574075" y="270687"/>
                  <a:pt x="573624" y="273316"/>
                </a:cubicBezTo>
                <a:cubicBezTo>
                  <a:pt x="573834" y="275078"/>
                  <a:pt x="575139" y="273116"/>
                  <a:pt x="577005" y="273897"/>
                </a:cubicBezTo>
                <a:cubicBezTo>
                  <a:pt x="576663" y="276755"/>
                  <a:pt x="578558" y="277784"/>
                  <a:pt x="575100" y="278212"/>
                </a:cubicBezTo>
                <a:cubicBezTo>
                  <a:pt x="576891" y="281194"/>
                  <a:pt x="574596" y="279412"/>
                  <a:pt x="573396" y="281403"/>
                </a:cubicBezTo>
                <a:cubicBezTo>
                  <a:pt x="571214" y="280936"/>
                  <a:pt x="576586" y="276983"/>
                  <a:pt x="570538" y="277450"/>
                </a:cubicBezTo>
                <a:cubicBezTo>
                  <a:pt x="568947" y="277536"/>
                  <a:pt x="569119" y="280108"/>
                  <a:pt x="568633" y="281765"/>
                </a:cubicBezTo>
                <a:cubicBezTo>
                  <a:pt x="569374" y="282957"/>
                  <a:pt x="570407" y="283941"/>
                  <a:pt x="571633" y="284623"/>
                </a:cubicBezTo>
                <a:cubicBezTo>
                  <a:pt x="568690" y="287785"/>
                  <a:pt x="565918" y="283079"/>
                  <a:pt x="564299" y="286851"/>
                </a:cubicBezTo>
                <a:cubicBezTo>
                  <a:pt x="562242" y="286328"/>
                  <a:pt x="564252" y="282918"/>
                  <a:pt x="562813" y="281965"/>
                </a:cubicBezTo>
                <a:lnTo>
                  <a:pt x="558298" y="281194"/>
                </a:lnTo>
                <a:cubicBezTo>
                  <a:pt x="556546" y="281403"/>
                  <a:pt x="558498" y="282718"/>
                  <a:pt x="557727" y="284575"/>
                </a:cubicBezTo>
                <a:cubicBezTo>
                  <a:pt x="556022" y="285680"/>
                  <a:pt x="555879" y="284718"/>
                  <a:pt x="554355" y="284003"/>
                </a:cubicBezTo>
                <a:cubicBezTo>
                  <a:pt x="554412" y="284956"/>
                  <a:pt x="555308" y="285318"/>
                  <a:pt x="555098" y="286451"/>
                </a:cubicBezTo>
                <a:cubicBezTo>
                  <a:pt x="558251" y="287185"/>
                  <a:pt x="557955" y="283013"/>
                  <a:pt x="562242" y="285346"/>
                </a:cubicBezTo>
                <a:cubicBezTo>
                  <a:pt x="562242" y="287375"/>
                  <a:pt x="561623" y="288023"/>
                  <a:pt x="560537" y="288528"/>
                </a:cubicBezTo>
                <a:cubicBezTo>
                  <a:pt x="560727" y="288433"/>
                  <a:pt x="557136" y="289099"/>
                  <a:pt x="558089" y="289280"/>
                </a:cubicBezTo>
                <a:cubicBezTo>
                  <a:pt x="557136" y="289099"/>
                  <a:pt x="557194" y="287804"/>
                  <a:pt x="556031" y="287766"/>
                </a:cubicBezTo>
                <a:cubicBezTo>
                  <a:pt x="553745" y="287699"/>
                  <a:pt x="552355" y="289318"/>
                  <a:pt x="550202" y="287937"/>
                </a:cubicBezTo>
                <a:cubicBezTo>
                  <a:pt x="549916" y="291747"/>
                  <a:pt x="554774" y="291966"/>
                  <a:pt x="558641" y="292843"/>
                </a:cubicBezTo>
                <a:cubicBezTo>
                  <a:pt x="560213" y="293795"/>
                  <a:pt x="558289" y="295310"/>
                  <a:pt x="558260" y="295100"/>
                </a:cubicBezTo>
                <a:cubicBezTo>
                  <a:pt x="558384" y="295891"/>
                  <a:pt x="560165" y="297529"/>
                  <a:pt x="560165" y="297738"/>
                </a:cubicBezTo>
                <a:cubicBezTo>
                  <a:pt x="560165" y="299234"/>
                  <a:pt x="557127" y="300872"/>
                  <a:pt x="559403" y="302244"/>
                </a:cubicBezTo>
                <a:cubicBezTo>
                  <a:pt x="559127" y="304758"/>
                  <a:pt x="554746" y="301510"/>
                  <a:pt x="553383" y="303549"/>
                </a:cubicBezTo>
                <a:cubicBezTo>
                  <a:pt x="551278" y="306673"/>
                  <a:pt x="553964" y="305044"/>
                  <a:pt x="549812" y="304101"/>
                </a:cubicBezTo>
                <a:cubicBezTo>
                  <a:pt x="548650" y="306320"/>
                  <a:pt x="550450" y="307283"/>
                  <a:pt x="550174" y="308797"/>
                </a:cubicBezTo>
                <a:cubicBezTo>
                  <a:pt x="549697" y="311388"/>
                  <a:pt x="547592" y="311007"/>
                  <a:pt x="546964" y="314055"/>
                </a:cubicBezTo>
                <a:cubicBezTo>
                  <a:pt x="550955" y="315960"/>
                  <a:pt x="549459" y="310121"/>
                  <a:pt x="553164" y="311626"/>
                </a:cubicBezTo>
                <a:cubicBezTo>
                  <a:pt x="553224" y="314826"/>
                  <a:pt x="550715" y="317489"/>
                  <a:pt x="547516" y="317617"/>
                </a:cubicBezTo>
                <a:cubicBezTo>
                  <a:pt x="546116" y="320922"/>
                  <a:pt x="547973" y="321922"/>
                  <a:pt x="547516" y="324570"/>
                </a:cubicBezTo>
                <a:cubicBezTo>
                  <a:pt x="545192" y="327428"/>
                  <a:pt x="541915" y="320999"/>
                  <a:pt x="539439" y="324361"/>
                </a:cubicBezTo>
                <a:cubicBezTo>
                  <a:pt x="539829" y="325856"/>
                  <a:pt x="543935" y="324266"/>
                  <a:pt x="542049" y="329438"/>
                </a:cubicBezTo>
                <a:cubicBezTo>
                  <a:pt x="543889" y="328598"/>
                  <a:pt x="545991" y="328536"/>
                  <a:pt x="547878" y="329266"/>
                </a:cubicBezTo>
                <a:cubicBezTo>
                  <a:pt x="547440" y="332124"/>
                  <a:pt x="546811" y="330504"/>
                  <a:pt x="545430" y="330019"/>
                </a:cubicBezTo>
                <a:cubicBezTo>
                  <a:pt x="543401" y="329952"/>
                  <a:pt x="542573" y="331524"/>
                  <a:pt x="542411" y="334143"/>
                </a:cubicBezTo>
                <a:cubicBezTo>
                  <a:pt x="539810" y="334334"/>
                  <a:pt x="541172" y="331714"/>
                  <a:pt x="539410" y="331285"/>
                </a:cubicBezTo>
                <a:cubicBezTo>
                  <a:pt x="533819" y="328980"/>
                  <a:pt x="536905" y="338906"/>
                  <a:pt x="532438" y="338220"/>
                </a:cubicBezTo>
                <a:cubicBezTo>
                  <a:pt x="532981" y="339487"/>
                  <a:pt x="534838" y="339820"/>
                  <a:pt x="534124" y="342030"/>
                </a:cubicBezTo>
                <a:cubicBezTo>
                  <a:pt x="535162" y="343125"/>
                  <a:pt x="536458" y="341249"/>
                  <a:pt x="536572" y="341287"/>
                </a:cubicBezTo>
                <a:cubicBezTo>
                  <a:pt x="537934" y="341744"/>
                  <a:pt x="537658" y="343401"/>
                  <a:pt x="538477" y="343925"/>
                </a:cubicBezTo>
                <a:cubicBezTo>
                  <a:pt x="539610" y="344678"/>
                  <a:pt x="539429" y="342973"/>
                  <a:pt x="539782" y="342973"/>
                </a:cubicBezTo>
                <a:cubicBezTo>
                  <a:pt x="540534" y="342973"/>
                  <a:pt x="542639" y="345983"/>
                  <a:pt x="543163" y="343544"/>
                </a:cubicBezTo>
                <a:cubicBezTo>
                  <a:pt x="546821" y="344497"/>
                  <a:pt x="540239" y="349192"/>
                  <a:pt x="540525" y="345449"/>
                </a:cubicBezTo>
                <a:cubicBezTo>
                  <a:pt x="539258" y="345992"/>
                  <a:pt x="538925" y="347840"/>
                  <a:pt x="536762" y="347126"/>
                </a:cubicBezTo>
                <a:cubicBezTo>
                  <a:pt x="536543" y="347535"/>
                  <a:pt x="539191" y="352183"/>
                  <a:pt x="536000" y="351631"/>
                </a:cubicBezTo>
                <a:cubicBezTo>
                  <a:pt x="532981" y="351126"/>
                  <a:pt x="536115" y="353850"/>
                  <a:pt x="535229" y="356146"/>
                </a:cubicBezTo>
                <a:cubicBezTo>
                  <a:pt x="531333" y="354365"/>
                  <a:pt x="533429" y="361051"/>
                  <a:pt x="529962" y="359889"/>
                </a:cubicBezTo>
                <a:cubicBezTo>
                  <a:pt x="529742" y="364223"/>
                  <a:pt x="526847" y="364794"/>
                  <a:pt x="525199" y="367204"/>
                </a:cubicBezTo>
                <a:cubicBezTo>
                  <a:pt x="521989" y="367500"/>
                  <a:pt x="523294" y="364575"/>
                  <a:pt x="521084" y="364185"/>
                </a:cubicBezTo>
                <a:cubicBezTo>
                  <a:pt x="522199" y="366471"/>
                  <a:pt x="519103" y="369700"/>
                  <a:pt x="520684" y="373386"/>
                </a:cubicBezTo>
                <a:cubicBezTo>
                  <a:pt x="517827" y="373034"/>
                  <a:pt x="516826" y="374910"/>
                  <a:pt x="515045" y="372434"/>
                </a:cubicBezTo>
                <a:cubicBezTo>
                  <a:pt x="515150" y="374662"/>
                  <a:pt x="514636" y="377348"/>
                  <a:pt x="517665" y="377510"/>
                </a:cubicBezTo>
                <a:cubicBezTo>
                  <a:pt x="517446" y="380006"/>
                  <a:pt x="516141" y="380939"/>
                  <a:pt x="513702" y="380368"/>
                </a:cubicBezTo>
                <a:cubicBezTo>
                  <a:pt x="513407" y="382016"/>
                  <a:pt x="517855" y="384749"/>
                  <a:pt x="513131" y="383749"/>
                </a:cubicBezTo>
                <a:cubicBezTo>
                  <a:pt x="513645" y="386997"/>
                  <a:pt x="516941" y="382797"/>
                  <a:pt x="519894" y="384902"/>
                </a:cubicBezTo>
                <a:cubicBezTo>
                  <a:pt x="520446" y="388474"/>
                  <a:pt x="517036" y="386464"/>
                  <a:pt x="515007" y="386388"/>
                </a:cubicBezTo>
                <a:cubicBezTo>
                  <a:pt x="515625" y="388203"/>
                  <a:pt x="516507" y="389917"/>
                  <a:pt x="517627" y="391474"/>
                </a:cubicBezTo>
                <a:cubicBezTo>
                  <a:pt x="517731" y="394512"/>
                  <a:pt x="515617" y="393265"/>
                  <a:pt x="514598" y="395598"/>
                </a:cubicBezTo>
                <a:cubicBezTo>
                  <a:pt x="514436" y="395979"/>
                  <a:pt x="514598" y="397646"/>
                  <a:pt x="514217" y="397846"/>
                </a:cubicBezTo>
                <a:cubicBezTo>
                  <a:pt x="513836" y="398046"/>
                  <a:pt x="508997" y="393789"/>
                  <a:pt x="510645" y="398399"/>
                </a:cubicBezTo>
                <a:cubicBezTo>
                  <a:pt x="509064" y="398037"/>
                  <a:pt x="507483" y="397675"/>
                  <a:pt x="507082" y="398951"/>
                </a:cubicBezTo>
                <a:cubicBezTo>
                  <a:pt x="505787" y="398551"/>
                  <a:pt x="506473" y="396732"/>
                  <a:pt x="506520" y="395379"/>
                </a:cubicBezTo>
                <a:cubicBezTo>
                  <a:pt x="506759" y="393227"/>
                  <a:pt x="502930" y="393970"/>
                  <a:pt x="503663" y="391426"/>
                </a:cubicBezTo>
                <a:cubicBezTo>
                  <a:pt x="502577" y="391426"/>
                  <a:pt x="501606" y="394160"/>
                  <a:pt x="501758" y="395741"/>
                </a:cubicBezTo>
                <a:cubicBezTo>
                  <a:pt x="501758" y="396189"/>
                  <a:pt x="503663" y="398170"/>
                  <a:pt x="503663" y="398380"/>
                </a:cubicBezTo>
                <a:cubicBezTo>
                  <a:pt x="503663" y="398999"/>
                  <a:pt x="502244" y="400285"/>
                  <a:pt x="501968" y="401570"/>
                </a:cubicBezTo>
                <a:cubicBezTo>
                  <a:pt x="501529" y="403571"/>
                  <a:pt x="503168" y="405380"/>
                  <a:pt x="502139" y="407400"/>
                </a:cubicBezTo>
                <a:cubicBezTo>
                  <a:pt x="496643" y="407990"/>
                  <a:pt x="499005" y="403018"/>
                  <a:pt x="493509" y="403590"/>
                </a:cubicBezTo>
                <a:cubicBezTo>
                  <a:pt x="494605" y="405495"/>
                  <a:pt x="497519" y="406028"/>
                  <a:pt x="498567" y="407924"/>
                </a:cubicBezTo>
                <a:lnTo>
                  <a:pt x="496853" y="418068"/>
                </a:lnTo>
                <a:cubicBezTo>
                  <a:pt x="493509" y="418496"/>
                  <a:pt x="491604" y="420925"/>
                  <a:pt x="487251" y="419973"/>
                </a:cubicBezTo>
                <a:cubicBezTo>
                  <a:pt x="487737" y="416458"/>
                  <a:pt x="491347" y="417353"/>
                  <a:pt x="490842" y="412467"/>
                </a:cubicBezTo>
                <a:lnTo>
                  <a:pt x="488594" y="412077"/>
                </a:lnTo>
                <a:cubicBezTo>
                  <a:pt x="487280" y="412077"/>
                  <a:pt x="487775" y="413105"/>
                  <a:pt x="488404" y="413210"/>
                </a:cubicBezTo>
                <a:cubicBezTo>
                  <a:pt x="487099" y="414163"/>
                  <a:pt x="485794" y="415115"/>
                  <a:pt x="484451" y="416010"/>
                </a:cubicBezTo>
                <a:cubicBezTo>
                  <a:pt x="483786" y="417451"/>
                  <a:pt x="482155" y="418173"/>
                  <a:pt x="480641" y="417696"/>
                </a:cubicBezTo>
                <a:cubicBezTo>
                  <a:pt x="482070" y="414372"/>
                  <a:pt x="477917" y="415010"/>
                  <a:pt x="479336" y="411677"/>
                </a:cubicBezTo>
                <a:cubicBezTo>
                  <a:pt x="481784" y="411391"/>
                  <a:pt x="483908" y="410657"/>
                  <a:pt x="483680" y="406619"/>
                </a:cubicBezTo>
                <a:cubicBezTo>
                  <a:pt x="482489" y="404818"/>
                  <a:pt x="478917" y="402371"/>
                  <a:pt x="478050" y="405666"/>
                </a:cubicBezTo>
                <a:cubicBezTo>
                  <a:pt x="477641" y="404809"/>
                  <a:pt x="476002" y="403123"/>
                  <a:pt x="476364" y="401856"/>
                </a:cubicBezTo>
                <a:cubicBezTo>
                  <a:pt x="476926" y="399894"/>
                  <a:pt x="478126" y="400599"/>
                  <a:pt x="479384" y="397741"/>
                </a:cubicBezTo>
                <a:cubicBezTo>
                  <a:pt x="479584" y="397275"/>
                  <a:pt x="480755" y="396522"/>
                  <a:pt x="480698" y="396789"/>
                </a:cubicBezTo>
                <a:cubicBezTo>
                  <a:pt x="480870" y="395894"/>
                  <a:pt x="479374" y="394684"/>
                  <a:pt x="480146" y="393217"/>
                </a:cubicBezTo>
                <a:cubicBezTo>
                  <a:pt x="480498" y="392550"/>
                  <a:pt x="483851" y="392865"/>
                  <a:pt x="483156" y="389093"/>
                </a:cubicBezTo>
                <a:cubicBezTo>
                  <a:pt x="480851" y="388140"/>
                  <a:pt x="480755" y="390340"/>
                  <a:pt x="480298" y="392093"/>
                </a:cubicBezTo>
                <a:cubicBezTo>
                  <a:pt x="477831" y="393046"/>
                  <a:pt x="478946" y="389750"/>
                  <a:pt x="478393" y="389455"/>
                </a:cubicBezTo>
                <a:cubicBezTo>
                  <a:pt x="476669" y="388502"/>
                  <a:pt x="475536" y="390807"/>
                  <a:pt x="473688" y="389817"/>
                </a:cubicBezTo>
                <a:cubicBezTo>
                  <a:pt x="472945" y="387264"/>
                  <a:pt x="475783" y="388578"/>
                  <a:pt x="476326" y="387912"/>
                </a:cubicBezTo>
                <a:cubicBezTo>
                  <a:pt x="478288" y="385645"/>
                  <a:pt x="477145" y="383854"/>
                  <a:pt x="477469" y="381149"/>
                </a:cubicBezTo>
                <a:cubicBezTo>
                  <a:pt x="479689" y="382101"/>
                  <a:pt x="484137" y="381949"/>
                  <a:pt x="484803" y="378910"/>
                </a:cubicBezTo>
                <a:cubicBezTo>
                  <a:pt x="485146" y="377377"/>
                  <a:pt x="486499" y="378910"/>
                  <a:pt x="487251" y="378168"/>
                </a:cubicBezTo>
                <a:cubicBezTo>
                  <a:pt x="488004" y="377425"/>
                  <a:pt x="486404" y="376701"/>
                  <a:pt x="486299" y="376844"/>
                </a:cubicBezTo>
                <a:cubicBezTo>
                  <a:pt x="488204" y="373824"/>
                  <a:pt x="492290" y="373243"/>
                  <a:pt x="493271" y="369919"/>
                </a:cubicBezTo>
                <a:cubicBezTo>
                  <a:pt x="493284" y="369283"/>
                  <a:pt x="492779" y="368756"/>
                  <a:pt x="492142" y="368744"/>
                </a:cubicBezTo>
                <a:cubicBezTo>
                  <a:pt x="491635" y="368733"/>
                  <a:pt x="491180" y="369056"/>
                  <a:pt x="491023" y="369538"/>
                </a:cubicBezTo>
                <a:cubicBezTo>
                  <a:pt x="489595" y="368785"/>
                  <a:pt x="491128" y="368528"/>
                  <a:pt x="491404" y="367280"/>
                </a:cubicBezTo>
                <a:cubicBezTo>
                  <a:pt x="491328" y="367604"/>
                  <a:pt x="489680" y="366395"/>
                  <a:pt x="490452" y="365966"/>
                </a:cubicBezTo>
                <a:cubicBezTo>
                  <a:pt x="492890" y="364613"/>
                  <a:pt x="491052" y="361585"/>
                  <a:pt x="493862" y="359584"/>
                </a:cubicBezTo>
                <a:cubicBezTo>
                  <a:pt x="496862" y="357451"/>
                  <a:pt x="491500" y="358756"/>
                  <a:pt x="493690" y="353764"/>
                </a:cubicBezTo>
                <a:cubicBezTo>
                  <a:pt x="494186" y="352265"/>
                  <a:pt x="494824" y="350817"/>
                  <a:pt x="495595" y="349440"/>
                </a:cubicBezTo>
                <a:cubicBezTo>
                  <a:pt x="497215" y="347535"/>
                  <a:pt x="500596" y="348831"/>
                  <a:pt x="498805" y="344192"/>
                </a:cubicBezTo>
                <a:cubicBezTo>
                  <a:pt x="501853" y="348326"/>
                  <a:pt x="500710" y="338639"/>
                  <a:pt x="506139" y="341954"/>
                </a:cubicBezTo>
                <a:cubicBezTo>
                  <a:pt x="506775" y="339534"/>
                  <a:pt x="505822" y="338217"/>
                  <a:pt x="503282" y="338001"/>
                </a:cubicBezTo>
                <a:cubicBezTo>
                  <a:pt x="503053" y="334419"/>
                  <a:pt x="505787" y="335019"/>
                  <a:pt x="505558" y="331438"/>
                </a:cubicBezTo>
                <a:cubicBezTo>
                  <a:pt x="506816" y="333038"/>
                  <a:pt x="507254" y="332171"/>
                  <a:pt x="508940" y="332009"/>
                </a:cubicBezTo>
                <a:lnTo>
                  <a:pt x="509711" y="327504"/>
                </a:lnTo>
                <a:cubicBezTo>
                  <a:pt x="512474" y="328142"/>
                  <a:pt x="513521" y="326323"/>
                  <a:pt x="515722" y="326199"/>
                </a:cubicBezTo>
                <a:cubicBezTo>
                  <a:pt x="516045" y="324294"/>
                  <a:pt x="516363" y="322418"/>
                  <a:pt x="516674" y="320570"/>
                </a:cubicBezTo>
                <a:cubicBezTo>
                  <a:pt x="518350" y="320243"/>
                  <a:pt x="519797" y="319199"/>
                  <a:pt x="520636" y="317712"/>
                </a:cubicBezTo>
                <a:cubicBezTo>
                  <a:pt x="524218" y="318112"/>
                  <a:pt x="527495" y="318055"/>
                  <a:pt x="528161" y="314350"/>
                </a:cubicBezTo>
                <a:cubicBezTo>
                  <a:pt x="526313" y="313617"/>
                  <a:pt x="525885" y="314874"/>
                  <a:pt x="525523" y="316255"/>
                </a:cubicBezTo>
                <a:cubicBezTo>
                  <a:pt x="523183" y="314770"/>
                  <a:pt x="521146" y="312853"/>
                  <a:pt x="519522" y="310607"/>
                </a:cubicBezTo>
                <a:cubicBezTo>
                  <a:pt x="516969" y="312188"/>
                  <a:pt x="517322" y="309378"/>
                  <a:pt x="515407" y="307587"/>
                </a:cubicBezTo>
                <a:cubicBezTo>
                  <a:pt x="513502" y="306978"/>
                  <a:pt x="513159" y="305216"/>
                  <a:pt x="513912" y="302701"/>
                </a:cubicBezTo>
                <a:cubicBezTo>
                  <a:pt x="517284" y="302320"/>
                  <a:pt x="520665" y="301977"/>
                  <a:pt x="520694" y="296891"/>
                </a:cubicBezTo>
                <a:cubicBezTo>
                  <a:pt x="524504" y="294567"/>
                  <a:pt x="527361" y="298205"/>
                  <a:pt x="529152" y="294852"/>
                </a:cubicBezTo>
                <a:cubicBezTo>
                  <a:pt x="526628" y="290795"/>
                  <a:pt x="522599" y="293690"/>
                  <a:pt x="520713" y="289937"/>
                </a:cubicBezTo>
                <a:cubicBezTo>
                  <a:pt x="523325" y="288854"/>
                  <a:pt x="526190" y="288525"/>
                  <a:pt x="528980" y="288985"/>
                </a:cubicBezTo>
                <a:cubicBezTo>
                  <a:pt x="529723" y="287775"/>
                  <a:pt x="527018" y="288032"/>
                  <a:pt x="526923" y="287470"/>
                </a:cubicBezTo>
                <a:cubicBezTo>
                  <a:pt x="526590" y="285718"/>
                  <a:pt x="528457" y="285565"/>
                  <a:pt x="528619" y="284289"/>
                </a:cubicBezTo>
                <a:cubicBezTo>
                  <a:pt x="528780" y="283013"/>
                  <a:pt x="526885" y="282460"/>
                  <a:pt x="526713" y="281651"/>
                </a:cubicBezTo>
                <a:cubicBezTo>
                  <a:pt x="526609" y="281051"/>
                  <a:pt x="529781" y="278736"/>
                  <a:pt x="527285" y="278269"/>
                </a:cubicBezTo>
                <a:cubicBezTo>
                  <a:pt x="529552" y="277317"/>
                  <a:pt x="528523" y="275831"/>
                  <a:pt x="530495" y="273021"/>
                </a:cubicBezTo>
                <a:cubicBezTo>
                  <a:pt x="531295" y="272732"/>
                  <a:pt x="532108" y="272485"/>
                  <a:pt x="532933" y="272278"/>
                </a:cubicBezTo>
                <a:cubicBezTo>
                  <a:pt x="533200" y="271507"/>
                  <a:pt x="531533" y="270059"/>
                  <a:pt x="532381" y="268697"/>
                </a:cubicBezTo>
                <a:cubicBezTo>
                  <a:pt x="536143" y="272259"/>
                  <a:pt x="538220" y="263534"/>
                  <a:pt x="539744" y="259515"/>
                </a:cubicBezTo>
                <a:cubicBezTo>
                  <a:pt x="541782" y="259715"/>
                  <a:pt x="541887" y="261296"/>
                  <a:pt x="544058" y="261420"/>
                </a:cubicBezTo>
                <a:cubicBezTo>
                  <a:pt x="545011" y="259115"/>
                  <a:pt x="542811" y="259010"/>
                  <a:pt x="541068" y="258562"/>
                </a:cubicBezTo>
                <a:cubicBezTo>
                  <a:pt x="541230" y="256419"/>
                  <a:pt x="541687" y="254162"/>
                  <a:pt x="544078" y="254438"/>
                </a:cubicBezTo>
                <a:cubicBezTo>
                  <a:pt x="545744" y="254628"/>
                  <a:pt x="545392" y="251895"/>
                  <a:pt x="547097" y="250313"/>
                </a:cubicBezTo>
                <a:cubicBezTo>
                  <a:pt x="548758" y="251403"/>
                  <a:pt x="550799" y="251748"/>
                  <a:pt x="552726" y="251266"/>
                </a:cubicBezTo>
                <a:cubicBezTo>
                  <a:pt x="553585" y="249028"/>
                  <a:pt x="553585" y="246551"/>
                  <a:pt x="552726" y="244313"/>
                </a:cubicBezTo>
                <a:cubicBezTo>
                  <a:pt x="550612" y="244132"/>
                  <a:pt x="551383" y="248008"/>
                  <a:pt x="549707" y="248437"/>
                </a:cubicBezTo>
                <a:cubicBezTo>
                  <a:pt x="548611" y="248228"/>
                  <a:pt x="549059" y="246913"/>
                  <a:pt x="548964" y="245999"/>
                </a:cubicBezTo>
                <a:cubicBezTo>
                  <a:pt x="547500" y="246706"/>
                  <a:pt x="545823" y="246835"/>
                  <a:pt x="544268" y="246361"/>
                </a:cubicBezTo>
                <a:cubicBezTo>
                  <a:pt x="545649" y="243656"/>
                  <a:pt x="549383" y="244275"/>
                  <a:pt x="551793" y="242998"/>
                </a:cubicBezTo>
                <a:cubicBezTo>
                  <a:pt x="550040" y="240655"/>
                  <a:pt x="552669" y="239560"/>
                  <a:pt x="554803" y="238864"/>
                </a:cubicBezTo>
                <a:cubicBezTo>
                  <a:pt x="554269" y="237598"/>
                  <a:pt x="552412" y="237264"/>
                  <a:pt x="553126" y="235112"/>
                </a:cubicBezTo>
                <a:cubicBezTo>
                  <a:pt x="557546" y="239960"/>
                  <a:pt x="560270" y="232787"/>
                  <a:pt x="562166" y="229682"/>
                </a:cubicBezTo>
                <a:cubicBezTo>
                  <a:pt x="568566" y="229111"/>
                  <a:pt x="567033" y="234150"/>
                  <a:pt x="571691" y="234788"/>
                </a:cubicBezTo>
                <a:cubicBezTo>
                  <a:pt x="572815" y="231340"/>
                  <a:pt x="569395" y="231130"/>
                  <a:pt x="567947" y="229511"/>
                </a:cubicBezTo>
                <a:cubicBezTo>
                  <a:pt x="567528" y="228492"/>
                  <a:pt x="569338" y="225882"/>
                  <a:pt x="568709" y="225006"/>
                </a:cubicBezTo>
                <a:cubicBezTo>
                  <a:pt x="568709" y="224948"/>
                  <a:pt x="567576" y="224853"/>
                  <a:pt x="567585" y="224815"/>
                </a:cubicBezTo>
                <a:cubicBezTo>
                  <a:pt x="567747" y="223863"/>
                  <a:pt x="571195" y="220376"/>
                  <a:pt x="566099" y="219929"/>
                </a:cubicBezTo>
                <a:cubicBezTo>
                  <a:pt x="568185" y="213090"/>
                  <a:pt x="573719" y="211080"/>
                  <a:pt x="578539" y="208127"/>
                </a:cubicBezTo>
                <a:cubicBezTo>
                  <a:pt x="577139" y="203927"/>
                  <a:pt x="579606" y="202736"/>
                  <a:pt x="580254" y="197983"/>
                </a:cubicBezTo>
                <a:cubicBezTo>
                  <a:pt x="583044" y="198650"/>
                  <a:pt x="584064" y="196850"/>
                  <a:pt x="585330" y="195364"/>
                </a:cubicBezTo>
                <a:cubicBezTo>
                  <a:pt x="585156" y="191900"/>
                  <a:pt x="585745" y="188440"/>
                  <a:pt x="587054" y="185229"/>
                </a:cubicBezTo>
                <a:cubicBezTo>
                  <a:pt x="586016" y="183648"/>
                  <a:pt x="584197" y="182629"/>
                  <a:pt x="585759" y="179209"/>
                </a:cubicBezTo>
                <a:cubicBezTo>
                  <a:pt x="587035" y="179609"/>
                  <a:pt x="587807" y="179295"/>
                  <a:pt x="588207" y="178457"/>
                </a:cubicBezTo>
                <a:cubicBezTo>
                  <a:pt x="591293" y="178876"/>
                  <a:pt x="590160" y="180724"/>
                  <a:pt x="592712" y="179228"/>
                </a:cubicBezTo>
                <a:cubicBezTo>
                  <a:pt x="594779" y="179971"/>
                  <a:pt x="594484" y="176857"/>
                  <a:pt x="595570" y="176228"/>
                </a:cubicBezTo>
                <a:cubicBezTo>
                  <a:pt x="596017" y="175961"/>
                  <a:pt x="597475" y="176933"/>
                  <a:pt x="597818" y="176609"/>
                </a:cubicBezTo>
                <a:cubicBezTo>
                  <a:pt x="598160" y="176285"/>
                  <a:pt x="597818" y="174599"/>
                  <a:pt x="598199" y="174352"/>
                </a:cubicBezTo>
                <a:cubicBezTo>
                  <a:pt x="599904" y="173399"/>
                  <a:pt x="599008" y="171713"/>
                  <a:pt x="600475" y="167789"/>
                </a:cubicBezTo>
                <a:cubicBezTo>
                  <a:pt x="600608" y="167436"/>
                  <a:pt x="602856" y="167227"/>
                  <a:pt x="602923" y="167046"/>
                </a:cubicBezTo>
                <a:cubicBezTo>
                  <a:pt x="604066" y="163893"/>
                  <a:pt x="603590" y="160483"/>
                  <a:pt x="604647" y="156902"/>
                </a:cubicBezTo>
                <a:cubicBezTo>
                  <a:pt x="606743" y="157530"/>
                  <a:pt x="606371" y="154682"/>
                  <a:pt x="607505" y="153901"/>
                </a:cubicBezTo>
                <a:cubicBezTo>
                  <a:pt x="608638" y="153120"/>
                  <a:pt x="611191" y="154435"/>
                  <a:pt x="611257" y="152215"/>
                </a:cubicBezTo>
                <a:cubicBezTo>
                  <a:pt x="610953" y="149272"/>
                  <a:pt x="607895" y="153797"/>
                  <a:pt x="605438" y="152396"/>
                </a:cubicBezTo>
                <a:cubicBezTo>
                  <a:pt x="605171" y="149225"/>
                  <a:pt x="608133" y="150606"/>
                  <a:pt x="609390" y="149587"/>
                </a:cubicBezTo>
                <a:cubicBezTo>
                  <a:pt x="610267" y="147310"/>
                  <a:pt x="609124" y="146472"/>
                  <a:pt x="609029" y="144891"/>
                </a:cubicBezTo>
                <a:cubicBezTo>
                  <a:pt x="607460" y="145028"/>
                  <a:pt x="606237" y="146308"/>
                  <a:pt x="606171" y="147882"/>
                </a:cubicBezTo>
                <a:cubicBezTo>
                  <a:pt x="603380" y="147882"/>
                  <a:pt x="604076" y="145415"/>
                  <a:pt x="600732" y="145805"/>
                </a:cubicBezTo>
                <a:cubicBezTo>
                  <a:pt x="599142" y="145891"/>
                  <a:pt x="599323" y="148463"/>
                  <a:pt x="598827" y="150110"/>
                </a:cubicBezTo>
                <a:lnTo>
                  <a:pt x="594322" y="149348"/>
                </a:lnTo>
                <a:cubicBezTo>
                  <a:pt x="594970" y="147939"/>
                  <a:pt x="596598" y="147920"/>
                  <a:pt x="597179" y="146358"/>
                </a:cubicBezTo>
                <a:cubicBezTo>
                  <a:pt x="594028" y="146081"/>
                  <a:pt x="590851" y="146326"/>
                  <a:pt x="587778" y="147082"/>
                </a:cubicBezTo>
                <a:cubicBezTo>
                  <a:pt x="586483" y="146691"/>
                  <a:pt x="586921" y="148615"/>
                  <a:pt x="586273" y="149139"/>
                </a:cubicBezTo>
                <a:cubicBezTo>
                  <a:pt x="585626" y="149663"/>
                  <a:pt x="583140" y="148625"/>
                  <a:pt x="583635" y="151044"/>
                </a:cubicBezTo>
                <a:cubicBezTo>
                  <a:pt x="578225" y="150730"/>
                  <a:pt x="576377" y="150911"/>
                  <a:pt x="573872" y="147062"/>
                </a:cubicBezTo>
                <a:cubicBezTo>
                  <a:pt x="571918" y="148937"/>
                  <a:pt x="569701" y="150515"/>
                  <a:pt x="567290" y="151749"/>
                </a:cubicBezTo>
                <a:lnTo>
                  <a:pt x="561642" y="150796"/>
                </a:lnTo>
                <a:cubicBezTo>
                  <a:pt x="559971" y="151123"/>
                  <a:pt x="558529" y="152168"/>
                  <a:pt x="557698" y="153654"/>
                </a:cubicBezTo>
                <a:cubicBezTo>
                  <a:pt x="554936" y="151825"/>
                  <a:pt x="550688" y="154682"/>
                  <a:pt x="550926" y="152501"/>
                </a:cubicBezTo>
                <a:cubicBezTo>
                  <a:pt x="549631" y="151949"/>
                  <a:pt x="550078" y="154244"/>
                  <a:pt x="549431" y="154568"/>
                </a:cubicBezTo>
                <a:cubicBezTo>
                  <a:pt x="547526" y="155521"/>
                  <a:pt x="542849" y="153930"/>
                  <a:pt x="543020" y="158121"/>
                </a:cubicBezTo>
                <a:cubicBezTo>
                  <a:pt x="539420" y="154159"/>
                  <a:pt x="536353" y="160521"/>
                  <a:pt x="533800" y="164674"/>
                </a:cubicBezTo>
                <a:cubicBezTo>
                  <a:pt x="531285" y="163922"/>
                  <a:pt x="529514" y="164227"/>
                  <a:pt x="528914" y="166160"/>
                </a:cubicBezTo>
                <a:cubicBezTo>
                  <a:pt x="528033" y="165074"/>
                  <a:pt x="527452" y="163778"/>
                  <a:pt x="527228" y="162398"/>
                </a:cubicBezTo>
                <a:cubicBezTo>
                  <a:pt x="524104" y="164503"/>
                  <a:pt x="517350" y="161207"/>
                  <a:pt x="522141" y="165017"/>
                </a:cubicBezTo>
                <a:cubicBezTo>
                  <a:pt x="521018" y="165484"/>
                  <a:pt x="517207" y="168960"/>
                  <a:pt x="517265" y="166503"/>
                </a:cubicBezTo>
                <a:cubicBezTo>
                  <a:pt x="516069" y="167236"/>
                  <a:pt x="515085" y="168266"/>
                  <a:pt x="514407" y="169494"/>
                </a:cubicBezTo>
                <a:cubicBezTo>
                  <a:pt x="512921" y="167475"/>
                  <a:pt x="507854" y="170037"/>
                  <a:pt x="506911" y="165912"/>
                </a:cubicBezTo>
                <a:cubicBezTo>
                  <a:pt x="505149" y="166112"/>
                  <a:pt x="507101" y="167427"/>
                  <a:pt x="506330" y="169284"/>
                </a:cubicBezTo>
                <a:cubicBezTo>
                  <a:pt x="506244" y="171999"/>
                  <a:pt x="511559" y="170865"/>
                  <a:pt x="510073" y="174561"/>
                </a:cubicBezTo>
                <a:cubicBezTo>
                  <a:pt x="509095" y="173032"/>
                  <a:pt x="507063" y="172586"/>
                  <a:pt x="505535" y="173564"/>
                </a:cubicBezTo>
                <a:cubicBezTo>
                  <a:pt x="504732" y="174077"/>
                  <a:pt x="504192" y="174914"/>
                  <a:pt x="504053" y="175857"/>
                </a:cubicBezTo>
                <a:cubicBezTo>
                  <a:pt x="502644" y="175209"/>
                  <a:pt x="502625" y="173571"/>
                  <a:pt x="501053" y="172999"/>
                </a:cubicBezTo>
                <a:cubicBezTo>
                  <a:pt x="497487" y="172721"/>
                  <a:pt x="494370" y="175386"/>
                  <a:pt x="494091" y="178952"/>
                </a:cubicBezTo>
                <a:cubicBezTo>
                  <a:pt x="494066" y="179282"/>
                  <a:pt x="494066" y="179613"/>
                  <a:pt x="494090" y="179943"/>
                </a:cubicBezTo>
                <a:cubicBezTo>
                  <a:pt x="492871" y="181848"/>
                  <a:pt x="492995" y="179057"/>
                  <a:pt x="493347" y="177495"/>
                </a:cubicBezTo>
                <a:cubicBezTo>
                  <a:pt x="490916" y="176860"/>
                  <a:pt x="489595" y="177793"/>
                  <a:pt x="489385" y="180295"/>
                </a:cubicBezTo>
                <a:cubicBezTo>
                  <a:pt x="487823" y="179428"/>
                  <a:pt x="486832" y="178152"/>
                  <a:pt x="485261" y="177276"/>
                </a:cubicBezTo>
                <a:cubicBezTo>
                  <a:pt x="485261" y="177990"/>
                  <a:pt x="486651" y="179695"/>
                  <a:pt x="485813" y="180848"/>
                </a:cubicBezTo>
                <a:cubicBezTo>
                  <a:pt x="485337" y="181505"/>
                  <a:pt x="484403" y="179619"/>
                  <a:pt x="484861" y="179533"/>
                </a:cubicBezTo>
                <a:cubicBezTo>
                  <a:pt x="483994" y="179695"/>
                  <a:pt x="480403" y="184134"/>
                  <a:pt x="478469" y="183086"/>
                </a:cubicBezTo>
                <a:cubicBezTo>
                  <a:pt x="478717" y="181581"/>
                  <a:pt x="478974" y="180076"/>
                  <a:pt x="479231" y="178581"/>
                </a:cubicBezTo>
                <a:cubicBezTo>
                  <a:pt x="476602" y="177628"/>
                  <a:pt x="478984" y="183819"/>
                  <a:pt x="475278" y="181391"/>
                </a:cubicBezTo>
                <a:cubicBezTo>
                  <a:pt x="475421" y="186248"/>
                  <a:pt x="472183" y="186334"/>
                  <a:pt x="471468" y="190020"/>
                </a:cubicBezTo>
                <a:cubicBezTo>
                  <a:pt x="469935" y="189125"/>
                  <a:pt x="465420" y="190344"/>
                  <a:pt x="466030" y="187934"/>
                </a:cubicBezTo>
                <a:cubicBezTo>
                  <a:pt x="464963" y="188496"/>
                  <a:pt x="461601" y="192601"/>
                  <a:pt x="463944" y="193383"/>
                </a:cubicBezTo>
                <a:cubicBezTo>
                  <a:pt x="463506" y="194621"/>
                  <a:pt x="462705" y="193811"/>
                  <a:pt x="462820" y="193192"/>
                </a:cubicBezTo>
                <a:cubicBezTo>
                  <a:pt x="461477" y="193192"/>
                  <a:pt x="460848" y="192601"/>
                  <a:pt x="460753" y="191678"/>
                </a:cubicBezTo>
                <a:cubicBezTo>
                  <a:pt x="459187" y="191827"/>
                  <a:pt x="457969" y="193106"/>
                  <a:pt x="457895" y="194678"/>
                </a:cubicBezTo>
                <a:cubicBezTo>
                  <a:pt x="456267" y="192249"/>
                  <a:pt x="454362" y="194373"/>
                  <a:pt x="453009" y="196164"/>
                </a:cubicBezTo>
                <a:cubicBezTo>
                  <a:pt x="454104" y="199974"/>
                  <a:pt x="458429" y="193678"/>
                  <a:pt x="459772" y="197316"/>
                </a:cubicBezTo>
                <a:cubicBezTo>
                  <a:pt x="458895" y="198878"/>
                  <a:pt x="457619" y="199869"/>
                  <a:pt x="456752" y="201441"/>
                </a:cubicBezTo>
                <a:cubicBezTo>
                  <a:pt x="454257" y="198183"/>
                  <a:pt x="448904" y="203108"/>
                  <a:pt x="450561" y="196907"/>
                </a:cubicBezTo>
                <a:cubicBezTo>
                  <a:pt x="445379" y="197526"/>
                  <a:pt x="443703" y="203079"/>
                  <a:pt x="440760" y="206841"/>
                </a:cubicBezTo>
                <a:cubicBezTo>
                  <a:pt x="438502" y="203517"/>
                  <a:pt x="437960" y="208804"/>
                  <a:pt x="433816" y="206841"/>
                </a:cubicBezTo>
                <a:cubicBezTo>
                  <a:pt x="432454" y="206794"/>
                  <a:pt x="432511" y="208746"/>
                  <a:pt x="432111" y="210032"/>
                </a:cubicBezTo>
                <a:cubicBezTo>
                  <a:pt x="430694" y="209370"/>
                  <a:pt x="429976" y="207768"/>
                  <a:pt x="430425" y="206270"/>
                </a:cubicBezTo>
                <a:cubicBezTo>
                  <a:pt x="429082" y="206270"/>
                  <a:pt x="429130" y="208175"/>
                  <a:pt x="428730" y="209451"/>
                </a:cubicBezTo>
                <a:cubicBezTo>
                  <a:pt x="427844" y="208594"/>
                  <a:pt x="426949" y="207746"/>
                  <a:pt x="426472" y="209070"/>
                </a:cubicBezTo>
                <a:cubicBezTo>
                  <a:pt x="424415" y="207222"/>
                  <a:pt x="426358" y="202546"/>
                  <a:pt x="423120" y="201545"/>
                </a:cubicBezTo>
                <a:cubicBezTo>
                  <a:pt x="420167" y="201326"/>
                  <a:pt x="424339" y="203746"/>
                  <a:pt x="422348" y="206051"/>
                </a:cubicBezTo>
                <a:cubicBezTo>
                  <a:pt x="420885" y="206763"/>
                  <a:pt x="419207" y="206892"/>
                  <a:pt x="417652" y="206413"/>
                </a:cubicBezTo>
                <a:cubicBezTo>
                  <a:pt x="417605" y="208213"/>
                  <a:pt x="421091" y="212413"/>
                  <a:pt x="417652" y="213366"/>
                </a:cubicBezTo>
                <a:cubicBezTo>
                  <a:pt x="418471" y="216414"/>
                  <a:pt x="421462" y="217900"/>
                  <a:pt x="420824" y="222024"/>
                </a:cubicBezTo>
                <a:cubicBezTo>
                  <a:pt x="417014" y="220386"/>
                  <a:pt x="416614" y="223129"/>
                  <a:pt x="419310" y="224082"/>
                </a:cubicBezTo>
                <a:cubicBezTo>
                  <a:pt x="417709" y="226634"/>
                  <a:pt x="414699" y="221024"/>
                  <a:pt x="414223" y="226701"/>
                </a:cubicBezTo>
                <a:cubicBezTo>
                  <a:pt x="413137" y="226482"/>
                  <a:pt x="413585" y="225167"/>
                  <a:pt x="413490" y="224263"/>
                </a:cubicBezTo>
                <a:cubicBezTo>
                  <a:pt x="413166" y="221834"/>
                  <a:pt x="407841" y="222967"/>
                  <a:pt x="409746" y="218976"/>
                </a:cubicBezTo>
                <a:cubicBezTo>
                  <a:pt x="406298" y="217852"/>
                  <a:pt x="406089" y="221272"/>
                  <a:pt x="404470" y="222729"/>
                </a:cubicBezTo>
                <a:cubicBezTo>
                  <a:pt x="401826" y="221341"/>
                  <a:pt x="398559" y="222335"/>
                  <a:pt x="397135" y="224958"/>
                </a:cubicBezTo>
                <a:cubicBezTo>
                  <a:pt x="396278" y="228720"/>
                  <a:pt x="400526" y="226425"/>
                  <a:pt x="401450" y="226863"/>
                </a:cubicBezTo>
                <a:cubicBezTo>
                  <a:pt x="404098" y="228063"/>
                  <a:pt x="404603" y="230292"/>
                  <a:pt x="407641" y="231387"/>
                </a:cubicBezTo>
                <a:cubicBezTo>
                  <a:pt x="405536" y="233759"/>
                  <a:pt x="404898" y="233083"/>
                  <a:pt x="405555" y="236836"/>
                </a:cubicBezTo>
                <a:cubicBezTo>
                  <a:pt x="404679" y="236597"/>
                  <a:pt x="404603" y="235340"/>
                  <a:pt x="403489" y="235321"/>
                </a:cubicBezTo>
                <a:cubicBezTo>
                  <a:pt x="401955" y="235321"/>
                  <a:pt x="402917" y="236721"/>
                  <a:pt x="401984" y="237379"/>
                </a:cubicBezTo>
                <a:cubicBezTo>
                  <a:pt x="400888" y="238160"/>
                  <a:pt x="398307" y="236855"/>
                  <a:pt x="398174" y="239064"/>
                </a:cubicBezTo>
                <a:cubicBezTo>
                  <a:pt x="397221" y="239112"/>
                  <a:pt x="397221" y="238445"/>
                  <a:pt x="397221" y="237750"/>
                </a:cubicBezTo>
                <a:cubicBezTo>
                  <a:pt x="395583" y="238236"/>
                  <a:pt x="394707" y="239798"/>
                  <a:pt x="394202" y="241874"/>
                </a:cubicBezTo>
                <a:cubicBezTo>
                  <a:pt x="390458" y="240293"/>
                  <a:pt x="389087" y="243170"/>
                  <a:pt x="387439" y="240722"/>
                </a:cubicBezTo>
                <a:cubicBezTo>
                  <a:pt x="386172" y="241265"/>
                  <a:pt x="385839" y="243113"/>
                  <a:pt x="383677" y="242408"/>
                </a:cubicBezTo>
                <a:cubicBezTo>
                  <a:pt x="383746" y="244428"/>
                  <a:pt x="382994" y="246391"/>
                  <a:pt x="381591" y="247846"/>
                </a:cubicBezTo>
                <a:cubicBezTo>
                  <a:pt x="379047" y="246894"/>
                  <a:pt x="378733" y="245941"/>
                  <a:pt x="375771" y="248018"/>
                </a:cubicBezTo>
                <a:cubicBezTo>
                  <a:pt x="375056" y="248532"/>
                  <a:pt x="374733" y="247666"/>
                  <a:pt x="374447" y="248970"/>
                </a:cubicBezTo>
                <a:cubicBezTo>
                  <a:pt x="374104" y="250485"/>
                  <a:pt x="371132" y="249837"/>
                  <a:pt x="368437" y="250275"/>
                </a:cubicBezTo>
                <a:cubicBezTo>
                  <a:pt x="368275" y="251371"/>
                  <a:pt x="369665" y="251380"/>
                  <a:pt x="370494" y="251780"/>
                </a:cubicBezTo>
                <a:cubicBezTo>
                  <a:pt x="370199" y="253914"/>
                  <a:pt x="368103" y="252733"/>
                  <a:pt x="366684" y="253466"/>
                </a:cubicBezTo>
                <a:cubicBezTo>
                  <a:pt x="363951" y="255068"/>
                  <a:pt x="361879" y="257591"/>
                  <a:pt x="360836" y="260581"/>
                </a:cubicBezTo>
                <a:cubicBezTo>
                  <a:pt x="357759" y="256229"/>
                  <a:pt x="357626" y="263153"/>
                  <a:pt x="353692" y="261696"/>
                </a:cubicBezTo>
                <a:cubicBezTo>
                  <a:pt x="353882" y="260562"/>
                  <a:pt x="354082" y="259438"/>
                  <a:pt x="354273" y="258305"/>
                </a:cubicBezTo>
                <a:cubicBezTo>
                  <a:pt x="350272" y="256400"/>
                  <a:pt x="351768" y="262229"/>
                  <a:pt x="348053" y="260734"/>
                </a:cubicBezTo>
                <a:cubicBezTo>
                  <a:pt x="349215" y="255971"/>
                  <a:pt x="342243" y="258572"/>
                  <a:pt x="340357" y="258267"/>
                </a:cubicBezTo>
                <a:cubicBezTo>
                  <a:pt x="338995" y="258448"/>
                  <a:pt x="337166" y="259772"/>
                  <a:pt x="338861" y="260334"/>
                </a:cubicBezTo>
                <a:cubicBezTo>
                  <a:pt x="337633" y="261448"/>
                  <a:pt x="335823" y="259105"/>
                  <a:pt x="335832" y="264458"/>
                </a:cubicBezTo>
                <a:cubicBezTo>
                  <a:pt x="332737" y="265611"/>
                  <a:pt x="330946" y="266439"/>
                  <a:pt x="327755" y="264249"/>
                </a:cubicBezTo>
                <a:cubicBezTo>
                  <a:pt x="325364" y="264134"/>
                  <a:pt x="326603" y="269144"/>
                  <a:pt x="324545" y="269497"/>
                </a:cubicBezTo>
                <a:cubicBezTo>
                  <a:pt x="321888" y="269402"/>
                  <a:pt x="323840" y="266030"/>
                  <a:pt x="321688" y="265544"/>
                </a:cubicBezTo>
                <a:cubicBezTo>
                  <a:pt x="318221" y="264382"/>
                  <a:pt x="320326" y="271068"/>
                  <a:pt x="316421" y="269287"/>
                </a:cubicBezTo>
                <a:cubicBezTo>
                  <a:pt x="318408" y="263908"/>
                  <a:pt x="316535" y="261274"/>
                  <a:pt x="310801" y="261382"/>
                </a:cubicBezTo>
                <a:cubicBezTo>
                  <a:pt x="310867" y="263982"/>
                  <a:pt x="315839" y="265296"/>
                  <a:pt x="315487" y="267973"/>
                </a:cubicBezTo>
                <a:cubicBezTo>
                  <a:pt x="315144" y="270497"/>
                  <a:pt x="313458" y="269259"/>
                  <a:pt x="312630" y="270964"/>
                </a:cubicBezTo>
                <a:cubicBezTo>
                  <a:pt x="312715" y="273221"/>
                  <a:pt x="317773" y="271916"/>
                  <a:pt x="315249" y="276050"/>
                </a:cubicBezTo>
                <a:cubicBezTo>
                  <a:pt x="312955" y="274121"/>
                  <a:pt x="310993" y="271830"/>
                  <a:pt x="309439" y="269268"/>
                </a:cubicBezTo>
                <a:cubicBezTo>
                  <a:pt x="308486" y="269325"/>
                  <a:pt x="308124" y="270221"/>
                  <a:pt x="306991" y="270011"/>
                </a:cubicBezTo>
                <a:cubicBezTo>
                  <a:pt x="307485" y="273787"/>
                  <a:pt x="310110" y="276939"/>
                  <a:pt x="313734" y="278107"/>
                </a:cubicBezTo>
                <a:cubicBezTo>
                  <a:pt x="315373" y="277622"/>
                  <a:pt x="316240" y="276060"/>
                  <a:pt x="316744" y="273983"/>
                </a:cubicBezTo>
                <a:cubicBezTo>
                  <a:pt x="319183" y="273907"/>
                  <a:pt x="319602" y="275259"/>
                  <a:pt x="321069" y="275888"/>
                </a:cubicBezTo>
                <a:cubicBezTo>
                  <a:pt x="324564" y="275717"/>
                  <a:pt x="320392" y="273297"/>
                  <a:pt x="321831" y="271383"/>
                </a:cubicBezTo>
                <a:cubicBezTo>
                  <a:pt x="323317" y="272640"/>
                  <a:pt x="326041" y="273021"/>
                  <a:pt x="324450" y="276460"/>
                </a:cubicBezTo>
                <a:cubicBezTo>
                  <a:pt x="324984" y="277726"/>
                  <a:pt x="326841" y="278069"/>
                  <a:pt x="326126" y="280222"/>
                </a:cubicBezTo>
                <a:cubicBezTo>
                  <a:pt x="324955" y="278727"/>
                  <a:pt x="323983" y="278850"/>
                  <a:pt x="323688" y="280974"/>
                </a:cubicBezTo>
                <a:cubicBezTo>
                  <a:pt x="322945" y="279841"/>
                  <a:pt x="320707" y="279774"/>
                  <a:pt x="320688" y="278117"/>
                </a:cubicBezTo>
                <a:cubicBezTo>
                  <a:pt x="316430" y="279069"/>
                  <a:pt x="317830" y="283832"/>
                  <a:pt x="315925" y="285432"/>
                </a:cubicBezTo>
                <a:cubicBezTo>
                  <a:pt x="313068" y="285146"/>
                  <a:pt x="312687" y="283108"/>
                  <a:pt x="311991" y="281289"/>
                </a:cubicBezTo>
                <a:cubicBezTo>
                  <a:pt x="310277" y="282136"/>
                  <a:pt x="309220" y="283918"/>
                  <a:pt x="307838" y="285223"/>
                </a:cubicBezTo>
                <a:cubicBezTo>
                  <a:pt x="305934" y="282365"/>
                  <a:pt x="304524" y="285223"/>
                  <a:pt x="301076" y="284080"/>
                </a:cubicBezTo>
                <a:cubicBezTo>
                  <a:pt x="304333" y="281051"/>
                  <a:pt x="299666" y="277012"/>
                  <a:pt x="298094" y="274297"/>
                </a:cubicBezTo>
                <a:cubicBezTo>
                  <a:pt x="296900" y="275036"/>
                  <a:pt x="295915" y="276068"/>
                  <a:pt x="295237" y="277298"/>
                </a:cubicBezTo>
                <a:cubicBezTo>
                  <a:pt x="294684" y="278603"/>
                  <a:pt x="296961" y="278146"/>
                  <a:pt x="297294" y="278803"/>
                </a:cubicBezTo>
                <a:cubicBezTo>
                  <a:pt x="298094" y="280355"/>
                  <a:pt x="295637" y="283432"/>
                  <a:pt x="298780" y="283699"/>
                </a:cubicBezTo>
                <a:cubicBezTo>
                  <a:pt x="296980" y="284089"/>
                  <a:pt x="298313" y="286127"/>
                  <a:pt x="298399" y="285947"/>
                </a:cubicBezTo>
                <a:cubicBezTo>
                  <a:pt x="296990" y="288652"/>
                  <a:pt x="294837" y="287432"/>
                  <a:pt x="294999" y="292328"/>
                </a:cubicBezTo>
                <a:cubicBezTo>
                  <a:pt x="296275" y="291785"/>
                  <a:pt x="296609" y="289937"/>
                  <a:pt x="298809" y="290652"/>
                </a:cubicBezTo>
                <a:cubicBezTo>
                  <a:pt x="297266" y="295776"/>
                  <a:pt x="299199" y="297710"/>
                  <a:pt x="297094" y="300796"/>
                </a:cubicBezTo>
                <a:cubicBezTo>
                  <a:pt x="293894" y="301072"/>
                  <a:pt x="298799" y="295614"/>
                  <a:pt x="295599" y="295900"/>
                </a:cubicBezTo>
                <a:cubicBezTo>
                  <a:pt x="292437" y="295157"/>
                  <a:pt x="295713" y="303520"/>
                  <a:pt x="291275" y="300958"/>
                </a:cubicBezTo>
                <a:cubicBezTo>
                  <a:pt x="292608" y="302863"/>
                  <a:pt x="291522" y="304682"/>
                  <a:pt x="288417" y="303958"/>
                </a:cubicBezTo>
                <a:cubicBezTo>
                  <a:pt x="289158" y="302076"/>
                  <a:pt x="289096" y="299973"/>
                  <a:pt x="288246" y="298138"/>
                </a:cubicBezTo>
                <a:cubicBezTo>
                  <a:pt x="285845" y="297529"/>
                  <a:pt x="287055" y="302044"/>
                  <a:pt x="286169" y="303577"/>
                </a:cubicBezTo>
                <a:cubicBezTo>
                  <a:pt x="283540" y="303901"/>
                  <a:pt x="284950" y="300986"/>
                  <a:pt x="283169" y="300720"/>
                </a:cubicBezTo>
                <a:cubicBezTo>
                  <a:pt x="281835" y="300539"/>
                  <a:pt x="281264" y="303520"/>
                  <a:pt x="280311" y="303720"/>
                </a:cubicBezTo>
                <a:cubicBezTo>
                  <a:pt x="278406" y="304111"/>
                  <a:pt x="278082" y="301491"/>
                  <a:pt x="275996" y="301815"/>
                </a:cubicBezTo>
                <a:cubicBezTo>
                  <a:pt x="273587" y="302149"/>
                  <a:pt x="274358" y="306959"/>
                  <a:pt x="271663" y="306873"/>
                </a:cubicBezTo>
                <a:cubicBezTo>
                  <a:pt x="269167" y="306997"/>
                  <a:pt x="269758" y="304901"/>
                  <a:pt x="269986" y="303111"/>
                </a:cubicBezTo>
                <a:cubicBezTo>
                  <a:pt x="266529" y="301987"/>
                  <a:pt x="266490" y="305644"/>
                  <a:pt x="263766" y="305539"/>
                </a:cubicBezTo>
                <a:cubicBezTo>
                  <a:pt x="263843" y="306806"/>
                  <a:pt x="265881" y="306682"/>
                  <a:pt x="265671" y="308178"/>
                </a:cubicBezTo>
                <a:cubicBezTo>
                  <a:pt x="265671" y="310083"/>
                  <a:pt x="264281" y="309940"/>
                  <a:pt x="263966" y="311369"/>
                </a:cubicBezTo>
                <a:cubicBezTo>
                  <a:pt x="261109" y="310064"/>
                  <a:pt x="262642" y="305701"/>
                  <a:pt x="260614" y="303844"/>
                </a:cubicBezTo>
                <a:cubicBezTo>
                  <a:pt x="258946" y="304152"/>
                  <a:pt x="257497" y="305175"/>
                  <a:pt x="256651" y="306644"/>
                </a:cubicBezTo>
                <a:cubicBezTo>
                  <a:pt x="254937" y="311512"/>
                  <a:pt x="263176" y="309283"/>
                  <a:pt x="259832" y="315303"/>
                </a:cubicBezTo>
                <a:cubicBezTo>
                  <a:pt x="262519" y="314903"/>
                  <a:pt x="263023" y="311426"/>
                  <a:pt x="266224" y="311750"/>
                </a:cubicBezTo>
                <a:cubicBezTo>
                  <a:pt x="266138" y="309759"/>
                  <a:pt x="267462" y="309778"/>
                  <a:pt x="268862" y="309845"/>
                </a:cubicBezTo>
                <a:cubicBezTo>
                  <a:pt x="268214" y="311254"/>
                  <a:pt x="266576" y="311273"/>
                  <a:pt x="266005" y="312836"/>
                </a:cubicBezTo>
                <a:cubicBezTo>
                  <a:pt x="271596" y="316065"/>
                  <a:pt x="267910" y="306244"/>
                  <a:pt x="273529" y="309473"/>
                </a:cubicBezTo>
                <a:cubicBezTo>
                  <a:pt x="273625" y="311464"/>
                  <a:pt x="272282" y="311454"/>
                  <a:pt x="270901" y="311378"/>
                </a:cubicBezTo>
                <a:cubicBezTo>
                  <a:pt x="272139" y="312569"/>
                  <a:pt x="274311" y="318046"/>
                  <a:pt x="275958" y="315712"/>
                </a:cubicBezTo>
                <a:cubicBezTo>
                  <a:pt x="278816" y="316474"/>
                  <a:pt x="274053" y="317389"/>
                  <a:pt x="275187" y="320217"/>
                </a:cubicBezTo>
                <a:cubicBezTo>
                  <a:pt x="273206" y="320313"/>
                  <a:pt x="273215" y="318979"/>
                  <a:pt x="273282" y="317579"/>
                </a:cubicBezTo>
                <a:cubicBezTo>
                  <a:pt x="271567" y="317046"/>
                  <a:pt x="272463" y="320132"/>
                  <a:pt x="271577" y="320779"/>
                </a:cubicBezTo>
                <a:cubicBezTo>
                  <a:pt x="270520" y="321551"/>
                  <a:pt x="267548" y="319827"/>
                  <a:pt x="266881" y="321132"/>
                </a:cubicBezTo>
                <a:cubicBezTo>
                  <a:pt x="267424" y="322408"/>
                  <a:pt x="269272" y="322742"/>
                  <a:pt x="268567" y="324942"/>
                </a:cubicBezTo>
                <a:lnTo>
                  <a:pt x="265186" y="324370"/>
                </a:lnTo>
                <a:cubicBezTo>
                  <a:pt x="265262" y="326799"/>
                  <a:pt x="263909" y="327228"/>
                  <a:pt x="263281" y="328685"/>
                </a:cubicBezTo>
                <a:cubicBezTo>
                  <a:pt x="263823" y="329952"/>
                  <a:pt x="265681" y="330285"/>
                  <a:pt x="264966" y="332495"/>
                </a:cubicBezTo>
                <a:cubicBezTo>
                  <a:pt x="263820" y="331333"/>
                  <a:pt x="262274" y="330652"/>
                  <a:pt x="260642" y="330590"/>
                </a:cubicBezTo>
                <a:cubicBezTo>
                  <a:pt x="260442" y="332390"/>
                  <a:pt x="259375" y="334800"/>
                  <a:pt x="261004" y="335286"/>
                </a:cubicBezTo>
                <a:cubicBezTo>
                  <a:pt x="258394" y="337772"/>
                  <a:pt x="257242" y="333581"/>
                  <a:pt x="254060" y="335286"/>
                </a:cubicBezTo>
                <a:cubicBezTo>
                  <a:pt x="251946" y="335105"/>
                  <a:pt x="252717" y="338982"/>
                  <a:pt x="251031" y="339410"/>
                </a:cubicBezTo>
                <a:cubicBezTo>
                  <a:pt x="251450" y="342906"/>
                  <a:pt x="253165" y="337086"/>
                  <a:pt x="255737" y="339048"/>
                </a:cubicBezTo>
                <a:cubicBezTo>
                  <a:pt x="255194" y="342477"/>
                  <a:pt x="251308" y="341191"/>
                  <a:pt x="248402" y="341287"/>
                </a:cubicBezTo>
                <a:cubicBezTo>
                  <a:pt x="247717" y="337477"/>
                  <a:pt x="250631" y="338848"/>
                  <a:pt x="251422" y="337153"/>
                </a:cubicBezTo>
                <a:cubicBezTo>
                  <a:pt x="250888" y="333514"/>
                  <a:pt x="248193" y="337943"/>
                  <a:pt x="246726" y="337524"/>
                </a:cubicBezTo>
                <a:cubicBezTo>
                  <a:pt x="246050" y="340306"/>
                  <a:pt x="247850" y="341334"/>
                  <a:pt x="249336" y="342601"/>
                </a:cubicBezTo>
                <a:cubicBezTo>
                  <a:pt x="247926" y="344056"/>
                  <a:pt x="247176" y="346025"/>
                  <a:pt x="247259" y="348050"/>
                </a:cubicBezTo>
                <a:cubicBezTo>
                  <a:pt x="242878" y="348183"/>
                  <a:pt x="243945" y="344449"/>
                  <a:pt x="242383" y="342582"/>
                </a:cubicBezTo>
                <a:cubicBezTo>
                  <a:pt x="239963" y="342792"/>
                  <a:pt x="241211" y="347869"/>
                  <a:pt x="238573" y="344268"/>
                </a:cubicBezTo>
                <a:cubicBezTo>
                  <a:pt x="237754" y="347126"/>
                  <a:pt x="238154" y="349183"/>
                  <a:pt x="241192" y="349345"/>
                </a:cubicBezTo>
                <a:cubicBezTo>
                  <a:pt x="240973" y="350440"/>
                  <a:pt x="239668" y="349983"/>
                  <a:pt x="238744" y="350088"/>
                </a:cubicBezTo>
                <a:cubicBezTo>
                  <a:pt x="238744" y="351431"/>
                  <a:pt x="238154" y="352050"/>
                  <a:pt x="237230" y="352155"/>
                </a:cubicBezTo>
                <a:cubicBezTo>
                  <a:pt x="239135" y="355450"/>
                  <a:pt x="235115" y="358365"/>
                  <a:pt x="237020" y="360232"/>
                </a:cubicBezTo>
                <a:cubicBezTo>
                  <a:pt x="235782" y="361577"/>
                  <a:pt x="233911" y="362146"/>
                  <a:pt x="232134" y="361718"/>
                </a:cubicBezTo>
                <a:cubicBezTo>
                  <a:pt x="233944" y="366385"/>
                  <a:pt x="226876" y="368690"/>
                  <a:pt x="225523" y="373348"/>
                </a:cubicBezTo>
                <a:cubicBezTo>
                  <a:pt x="221713" y="373710"/>
                  <a:pt x="222333" y="370986"/>
                  <a:pt x="220275" y="370138"/>
                </a:cubicBezTo>
                <a:cubicBezTo>
                  <a:pt x="221571" y="371176"/>
                  <a:pt x="221123" y="373729"/>
                  <a:pt x="221761" y="375034"/>
                </a:cubicBezTo>
                <a:cubicBezTo>
                  <a:pt x="222071" y="375912"/>
                  <a:pt x="222888" y="376509"/>
                  <a:pt x="223818" y="376539"/>
                </a:cubicBezTo>
                <a:cubicBezTo>
                  <a:pt x="222870" y="380064"/>
                  <a:pt x="219554" y="382420"/>
                  <a:pt x="215913" y="382159"/>
                </a:cubicBezTo>
                <a:cubicBezTo>
                  <a:pt x="215989" y="384587"/>
                  <a:pt x="214636" y="385016"/>
                  <a:pt x="214008" y="386473"/>
                </a:cubicBezTo>
                <a:cubicBezTo>
                  <a:pt x="213174" y="385552"/>
                  <a:pt x="212046" y="384949"/>
                  <a:pt x="210817" y="384768"/>
                </a:cubicBezTo>
                <a:cubicBezTo>
                  <a:pt x="210474" y="387626"/>
                  <a:pt x="212341" y="388578"/>
                  <a:pt x="209864" y="390407"/>
                </a:cubicBezTo>
                <a:cubicBezTo>
                  <a:pt x="207064" y="390407"/>
                  <a:pt x="207769" y="387931"/>
                  <a:pt x="204426" y="388321"/>
                </a:cubicBezTo>
                <a:cubicBezTo>
                  <a:pt x="201263" y="388055"/>
                  <a:pt x="202940" y="394608"/>
                  <a:pt x="198958" y="393188"/>
                </a:cubicBezTo>
                <a:cubicBezTo>
                  <a:pt x="197491" y="396217"/>
                  <a:pt x="200054" y="396379"/>
                  <a:pt x="199139" y="399018"/>
                </a:cubicBezTo>
                <a:cubicBezTo>
                  <a:pt x="199454" y="401437"/>
                  <a:pt x="204768" y="400304"/>
                  <a:pt x="202873" y="404295"/>
                </a:cubicBezTo>
                <a:cubicBezTo>
                  <a:pt x="200368" y="406038"/>
                  <a:pt x="200015" y="403933"/>
                  <a:pt x="197244" y="403342"/>
                </a:cubicBezTo>
                <a:cubicBezTo>
                  <a:pt x="196120" y="405247"/>
                  <a:pt x="198015" y="407409"/>
                  <a:pt x="197415" y="409171"/>
                </a:cubicBezTo>
                <a:cubicBezTo>
                  <a:pt x="197044" y="410219"/>
                  <a:pt x="194234" y="409124"/>
                  <a:pt x="193843" y="409724"/>
                </a:cubicBezTo>
                <a:cubicBezTo>
                  <a:pt x="193558" y="410143"/>
                  <a:pt x="195034" y="412848"/>
                  <a:pt x="194205" y="414420"/>
                </a:cubicBezTo>
                <a:cubicBezTo>
                  <a:pt x="193796" y="415172"/>
                  <a:pt x="191224" y="415639"/>
                  <a:pt x="190395" y="416096"/>
                </a:cubicBezTo>
                <a:cubicBezTo>
                  <a:pt x="189443" y="418735"/>
                  <a:pt x="192043" y="418896"/>
                  <a:pt x="190567" y="421925"/>
                </a:cubicBezTo>
                <a:cubicBezTo>
                  <a:pt x="189105" y="422639"/>
                  <a:pt x="187425" y="422768"/>
                  <a:pt x="185871" y="422287"/>
                </a:cubicBezTo>
                <a:cubicBezTo>
                  <a:pt x="185242" y="425345"/>
                  <a:pt x="187366" y="424878"/>
                  <a:pt x="185099" y="426802"/>
                </a:cubicBezTo>
                <a:cubicBezTo>
                  <a:pt x="183871" y="424030"/>
                  <a:pt x="182413" y="427336"/>
                  <a:pt x="181537" y="427345"/>
                </a:cubicBezTo>
                <a:cubicBezTo>
                  <a:pt x="180032" y="427345"/>
                  <a:pt x="178946" y="424488"/>
                  <a:pt x="177022" y="426583"/>
                </a:cubicBezTo>
                <a:cubicBezTo>
                  <a:pt x="178179" y="430035"/>
                  <a:pt x="178742" y="433658"/>
                  <a:pt x="178689" y="437299"/>
                </a:cubicBezTo>
                <a:cubicBezTo>
                  <a:pt x="175965" y="435479"/>
                  <a:pt x="173250" y="439956"/>
                  <a:pt x="174374" y="435394"/>
                </a:cubicBezTo>
                <a:cubicBezTo>
                  <a:pt x="172012" y="435346"/>
                  <a:pt x="171640" y="438070"/>
                  <a:pt x="169288" y="438013"/>
                </a:cubicBezTo>
                <a:cubicBezTo>
                  <a:pt x="169574" y="440128"/>
                  <a:pt x="169078" y="442776"/>
                  <a:pt x="170593" y="444033"/>
                </a:cubicBezTo>
                <a:cubicBezTo>
                  <a:pt x="167354" y="446462"/>
                  <a:pt x="163268" y="447681"/>
                  <a:pt x="160239" y="450396"/>
                </a:cubicBezTo>
                <a:cubicBezTo>
                  <a:pt x="158820" y="452615"/>
                  <a:pt x="161620" y="452177"/>
                  <a:pt x="162144" y="453025"/>
                </a:cubicBezTo>
                <a:cubicBezTo>
                  <a:pt x="162868" y="454320"/>
                  <a:pt x="161658" y="456558"/>
                  <a:pt x="163820" y="456835"/>
                </a:cubicBezTo>
                <a:cubicBezTo>
                  <a:pt x="162268" y="460835"/>
                  <a:pt x="157153" y="461483"/>
                  <a:pt x="162487" y="464721"/>
                </a:cubicBezTo>
                <a:cubicBezTo>
                  <a:pt x="159868" y="467217"/>
                  <a:pt x="158677" y="463016"/>
                  <a:pt x="155534" y="464721"/>
                </a:cubicBezTo>
                <a:cubicBezTo>
                  <a:pt x="154267" y="465255"/>
                  <a:pt x="153924" y="467112"/>
                  <a:pt x="151771" y="466398"/>
                </a:cubicBezTo>
                <a:cubicBezTo>
                  <a:pt x="149790" y="469655"/>
                  <a:pt x="154629" y="475694"/>
                  <a:pt x="149114" y="475218"/>
                </a:cubicBezTo>
                <a:cubicBezTo>
                  <a:pt x="147104" y="478628"/>
                  <a:pt x="152610" y="476704"/>
                  <a:pt x="150600" y="480104"/>
                </a:cubicBezTo>
                <a:cubicBezTo>
                  <a:pt x="147742" y="478818"/>
                  <a:pt x="148038" y="482066"/>
                  <a:pt x="146647" y="482914"/>
                </a:cubicBezTo>
                <a:cubicBezTo>
                  <a:pt x="146082" y="482010"/>
                  <a:pt x="145259" y="481297"/>
                  <a:pt x="144285" y="480866"/>
                </a:cubicBezTo>
                <a:cubicBezTo>
                  <a:pt x="141122" y="481914"/>
                  <a:pt x="142856" y="487724"/>
                  <a:pt x="142761" y="489877"/>
                </a:cubicBezTo>
                <a:cubicBezTo>
                  <a:pt x="145352" y="489334"/>
                  <a:pt x="145409" y="485248"/>
                  <a:pt x="147285" y="483685"/>
                </a:cubicBezTo>
                <a:cubicBezTo>
                  <a:pt x="152152" y="483543"/>
                  <a:pt x="152238" y="486781"/>
                  <a:pt x="155924" y="487495"/>
                </a:cubicBezTo>
                <a:cubicBezTo>
                  <a:pt x="155543" y="489743"/>
                  <a:pt x="155159" y="491998"/>
                  <a:pt x="154772" y="494258"/>
                </a:cubicBezTo>
                <a:cubicBezTo>
                  <a:pt x="150790" y="492839"/>
                  <a:pt x="149952" y="495839"/>
                  <a:pt x="149304" y="499126"/>
                </a:cubicBezTo>
                <a:cubicBezTo>
                  <a:pt x="145161" y="497468"/>
                  <a:pt x="144542" y="500783"/>
                  <a:pt x="142913" y="502678"/>
                </a:cubicBezTo>
                <a:cubicBezTo>
                  <a:pt x="142161" y="504517"/>
                  <a:pt x="143418" y="504955"/>
                  <a:pt x="144818" y="505317"/>
                </a:cubicBezTo>
                <a:cubicBezTo>
                  <a:pt x="145933" y="508174"/>
                  <a:pt x="141189" y="509060"/>
                  <a:pt x="144047" y="509822"/>
                </a:cubicBezTo>
                <a:cubicBezTo>
                  <a:pt x="143618" y="511060"/>
                  <a:pt x="142818" y="510251"/>
                  <a:pt x="142923" y="509632"/>
                </a:cubicBezTo>
                <a:cubicBezTo>
                  <a:pt x="139208" y="512041"/>
                  <a:pt x="139665" y="513070"/>
                  <a:pt x="138160" y="516947"/>
                </a:cubicBezTo>
                <a:cubicBezTo>
                  <a:pt x="136255" y="516947"/>
                  <a:pt x="136398" y="515547"/>
                  <a:pt x="134969" y="515242"/>
                </a:cubicBezTo>
                <a:cubicBezTo>
                  <a:pt x="133042" y="516765"/>
                  <a:pt x="130880" y="517965"/>
                  <a:pt x="128568" y="518795"/>
                </a:cubicBezTo>
                <a:cubicBezTo>
                  <a:pt x="128435" y="525119"/>
                  <a:pt x="123977" y="525357"/>
                  <a:pt x="121215" y="527977"/>
                </a:cubicBezTo>
                <a:cubicBezTo>
                  <a:pt x="121034" y="530091"/>
                  <a:pt x="124911" y="529320"/>
                  <a:pt x="125339" y="530996"/>
                </a:cubicBezTo>
                <a:cubicBezTo>
                  <a:pt x="125035" y="533854"/>
                  <a:pt x="124625" y="536502"/>
                  <a:pt x="122130" y="536254"/>
                </a:cubicBezTo>
                <a:cubicBezTo>
                  <a:pt x="123015" y="537940"/>
                  <a:pt x="122482" y="540626"/>
                  <a:pt x="124749" y="541331"/>
                </a:cubicBezTo>
                <a:cubicBezTo>
                  <a:pt x="124244" y="542721"/>
                  <a:pt x="121129" y="542236"/>
                  <a:pt x="121368" y="540759"/>
                </a:cubicBezTo>
                <a:cubicBezTo>
                  <a:pt x="119825" y="540902"/>
                  <a:pt x="119263" y="542445"/>
                  <a:pt x="117605" y="542436"/>
                </a:cubicBezTo>
                <a:cubicBezTo>
                  <a:pt x="120891" y="546246"/>
                  <a:pt x="118910" y="548313"/>
                  <a:pt x="119263" y="553151"/>
                </a:cubicBezTo>
                <a:cubicBezTo>
                  <a:pt x="117024" y="552789"/>
                  <a:pt x="117310" y="556009"/>
                  <a:pt x="114376" y="554637"/>
                </a:cubicBezTo>
                <a:cubicBezTo>
                  <a:pt x="113424" y="557285"/>
                  <a:pt x="116015" y="557495"/>
                  <a:pt x="114548" y="560467"/>
                </a:cubicBezTo>
                <a:cubicBezTo>
                  <a:pt x="112319" y="559638"/>
                  <a:pt x="111890" y="561419"/>
                  <a:pt x="110785" y="562152"/>
                </a:cubicBezTo>
                <a:cubicBezTo>
                  <a:pt x="110509" y="562333"/>
                  <a:pt x="108214" y="564010"/>
                  <a:pt x="108147" y="564057"/>
                </a:cubicBezTo>
                <a:cubicBezTo>
                  <a:pt x="107518" y="564191"/>
                  <a:pt x="104804" y="559981"/>
                  <a:pt x="104565" y="564610"/>
                </a:cubicBezTo>
                <a:cubicBezTo>
                  <a:pt x="101794" y="564010"/>
                  <a:pt x="101441" y="561914"/>
                  <a:pt x="98936" y="563657"/>
                </a:cubicBezTo>
                <a:cubicBezTo>
                  <a:pt x="98460" y="566305"/>
                  <a:pt x="100317" y="567306"/>
                  <a:pt x="98936" y="570611"/>
                </a:cubicBezTo>
                <a:cubicBezTo>
                  <a:pt x="102127" y="572316"/>
                  <a:pt x="101365" y="568439"/>
                  <a:pt x="101956" y="566486"/>
                </a:cubicBezTo>
                <a:cubicBezTo>
                  <a:pt x="105118" y="568687"/>
                  <a:pt x="105556" y="566667"/>
                  <a:pt x="109652" y="568944"/>
                </a:cubicBezTo>
                <a:cubicBezTo>
                  <a:pt x="109080" y="573821"/>
                  <a:pt x="105127" y="572906"/>
                  <a:pt x="106994" y="577773"/>
                </a:cubicBezTo>
                <a:cubicBezTo>
                  <a:pt x="105013" y="577859"/>
                  <a:pt x="105023" y="576535"/>
                  <a:pt x="105089" y="575135"/>
                </a:cubicBezTo>
                <a:cubicBezTo>
                  <a:pt x="100422" y="577202"/>
                  <a:pt x="104480" y="582869"/>
                  <a:pt x="100927" y="586022"/>
                </a:cubicBezTo>
                <a:cubicBezTo>
                  <a:pt x="98155" y="585384"/>
                  <a:pt x="101241" y="582145"/>
                  <a:pt x="101689" y="581507"/>
                </a:cubicBezTo>
                <a:cubicBezTo>
                  <a:pt x="101098" y="578183"/>
                  <a:pt x="97384" y="579297"/>
                  <a:pt x="95126" y="579240"/>
                </a:cubicBezTo>
                <a:cubicBezTo>
                  <a:pt x="97736" y="581345"/>
                  <a:pt x="95126" y="587184"/>
                  <a:pt x="99422" y="588089"/>
                </a:cubicBezTo>
                <a:cubicBezTo>
                  <a:pt x="100003" y="589994"/>
                  <a:pt x="95850" y="589337"/>
                  <a:pt x="95660" y="589765"/>
                </a:cubicBezTo>
                <a:cubicBezTo>
                  <a:pt x="95317" y="590480"/>
                  <a:pt x="99470" y="594757"/>
                  <a:pt x="93574" y="595204"/>
                </a:cubicBezTo>
                <a:cubicBezTo>
                  <a:pt x="92040" y="595328"/>
                  <a:pt x="90373" y="594109"/>
                  <a:pt x="90011" y="595766"/>
                </a:cubicBezTo>
                <a:cubicBezTo>
                  <a:pt x="89716" y="597071"/>
                  <a:pt x="87706" y="596347"/>
                  <a:pt x="86439" y="596319"/>
                </a:cubicBezTo>
                <a:cubicBezTo>
                  <a:pt x="85173" y="596290"/>
                  <a:pt x="85134" y="598224"/>
                  <a:pt x="84734" y="599500"/>
                </a:cubicBezTo>
                <a:cubicBezTo>
                  <a:pt x="82313" y="599538"/>
                  <a:pt x="79908" y="599912"/>
                  <a:pt x="77591" y="600614"/>
                </a:cubicBezTo>
                <a:cubicBezTo>
                  <a:pt x="76448" y="604053"/>
                  <a:pt x="80115" y="604101"/>
                  <a:pt x="80010" y="606815"/>
                </a:cubicBezTo>
                <a:cubicBezTo>
                  <a:pt x="82868" y="606129"/>
                  <a:pt x="84306" y="603558"/>
                  <a:pt x="84773" y="599500"/>
                </a:cubicBezTo>
                <a:cubicBezTo>
                  <a:pt x="89325" y="599576"/>
                  <a:pt x="89335" y="602872"/>
                  <a:pt x="89449" y="606091"/>
                </a:cubicBezTo>
                <a:cubicBezTo>
                  <a:pt x="86592" y="605729"/>
                  <a:pt x="85154" y="607491"/>
                  <a:pt x="83239" y="608520"/>
                </a:cubicBezTo>
                <a:cubicBezTo>
                  <a:pt x="83239" y="609873"/>
                  <a:pt x="85144" y="609816"/>
                  <a:pt x="86420" y="610216"/>
                </a:cubicBezTo>
                <a:cubicBezTo>
                  <a:pt x="85649" y="612787"/>
                  <a:pt x="82706" y="614978"/>
                  <a:pt x="87916" y="615111"/>
                </a:cubicBezTo>
                <a:cubicBezTo>
                  <a:pt x="86906" y="616197"/>
                  <a:pt x="86592" y="617645"/>
                  <a:pt x="85058" y="618102"/>
                </a:cubicBezTo>
                <a:cubicBezTo>
                  <a:pt x="85820" y="617874"/>
                  <a:pt x="84506" y="616778"/>
                  <a:pt x="84106" y="616797"/>
                </a:cubicBezTo>
                <a:cubicBezTo>
                  <a:pt x="84944" y="616797"/>
                  <a:pt x="82401" y="618169"/>
                  <a:pt x="82782" y="617750"/>
                </a:cubicBezTo>
                <a:cubicBezTo>
                  <a:pt x="82153" y="618483"/>
                  <a:pt x="84687" y="620388"/>
                  <a:pt x="84687" y="620388"/>
                </a:cubicBezTo>
                <a:cubicBezTo>
                  <a:pt x="84144" y="621893"/>
                  <a:pt x="83058" y="620331"/>
                  <a:pt x="82248" y="621141"/>
                </a:cubicBezTo>
                <a:cubicBezTo>
                  <a:pt x="81810" y="621569"/>
                  <a:pt x="82315" y="622979"/>
                  <a:pt x="81867" y="623389"/>
                </a:cubicBezTo>
                <a:cubicBezTo>
                  <a:pt x="81420" y="623798"/>
                  <a:pt x="79619" y="623827"/>
                  <a:pt x="79419" y="624132"/>
                </a:cubicBezTo>
                <a:cubicBezTo>
                  <a:pt x="79077" y="624646"/>
                  <a:pt x="79477" y="625970"/>
                  <a:pt x="79038" y="626389"/>
                </a:cubicBezTo>
                <a:cubicBezTo>
                  <a:pt x="77410" y="627951"/>
                  <a:pt x="74276" y="628294"/>
                  <a:pt x="73571" y="631256"/>
                </a:cubicBezTo>
                <a:cubicBezTo>
                  <a:pt x="72714" y="629351"/>
                  <a:pt x="65332" y="631914"/>
                  <a:pt x="66237" y="633485"/>
                </a:cubicBezTo>
                <a:cubicBezTo>
                  <a:pt x="66237" y="633485"/>
                  <a:pt x="68142" y="634295"/>
                  <a:pt x="67189" y="634809"/>
                </a:cubicBezTo>
                <a:cubicBezTo>
                  <a:pt x="65456" y="635762"/>
                  <a:pt x="67037" y="635990"/>
                  <a:pt x="67932" y="637257"/>
                </a:cubicBezTo>
                <a:cubicBezTo>
                  <a:pt x="70209" y="640458"/>
                  <a:pt x="69066" y="640800"/>
                  <a:pt x="65656" y="643820"/>
                </a:cubicBezTo>
                <a:cubicBezTo>
                  <a:pt x="64865" y="645553"/>
                  <a:pt x="69218" y="648316"/>
                  <a:pt x="69980" y="645725"/>
                </a:cubicBezTo>
                <a:cubicBezTo>
                  <a:pt x="71506" y="649055"/>
                  <a:pt x="71284" y="652925"/>
                  <a:pt x="69390" y="656059"/>
                </a:cubicBezTo>
                <a:cubicBezTo>
                  <a:pt x="68028" y="657650"/>
                  <a:pt x="66370" y="656164"/>
                  <a:pt x="67485" y="660374"/>
                </a:cubicBezTo>
                <a:cubicBezTo>
                  <a:pt x="64922" y="661870"/>
                  <a:pt x="66065" y="660031"/>
                  <a:pt x="62970" y="659612"/>
                </a:cubicBezTo>
                <a:cubicBezTo>
                  <a:pt x="64665" y="663813"/>
                  <a:pt x="64408" y="666985"/>
                  <a:pt x="59379" y="667118"/>
                </a:cubicBezTo>
                <a:cubicBezTo>
                  <a:pt x="59560" y="669975"/>
                  <a:pt x="59379" y="673081"/>
                  <a:pt x="62941" y="673519"/>
                </a:cubicBezTo>
                <a:cubicBezTo>
                  <a:pt x="61989" y="674290"/>
                  <a:pt x="60665" y="676300"/>
                  <a:pt x="62360" y="676900"/>
                </a:cubicBezTo>
                <a:cubicBezTo>
                  <a:pt x="61698" y="678317"/>
                  <a:pt x="60094" y="679032"/>
                  <a:pt x="58598" y="678577"/>
                </a:cubicBezTo>
                <a:cubicBezTo>
                  <a:pt x="58598" y="679920"/>
                  <a:pt x="58007" y="680539"/>
                  <a:pt x="57083" y="680634"/>
                </a:cubicBezTo>
                <a:cubicBezTo>
                  <a:pt x="59112" y="684063"/>
                  <a:pt x="54435" y="686092"/>
                  <a:pt x="56874" y="688721"/>
                </a:cubicBezTo>
                <a:cubicBezTo>
                  <a:pt x="56874" y="692283"/>
                  <a:pt x="54073" y="688959"/>
                  <a:pt x="53311" y="689273"/>
                </a:cubicBezTo>
                <a:cubicBezTo>
                  <a:pt x="51606" y="689968"/>
                  <a:pt x="52835" y="691092"/>
                  <a:pt x="51606" y="692464"/>
                </a:cubicBezTo>
                <a:cubicBezTo>
                  <a:pt x="51321" y="692778"/>
                  <a:pt x="49701" y="691797"/>
                  <a:pt x="49349" y="692083"/>
                </a:cubicBezTo>
                <a:cubicBezTo>
                  <a:pt x="48397" y="692883"/>
                  <a:pt x="48673" y="694655"/>
                  <a:pt x="47654" y="695274"/>
                </a:cubicBezTo>
                <a:cubicBezTo>
                  <a:pt x="50978" y="696693"/>
                  <a:pt x="50340" y="692540"/>
                  <a:pt x="53664" y="693969"/>
                </a:cubicBezTo>
                <a:cubicBezTo>
                  <a:pt x="53302" y="696217"/>
                  <a:pt x="56521" y="695874"/>
                  <a:pt x="55150" y="698865"/>
                </a:cubicBezTo>
                <a:cubicBezTo>
                  <a:pt x="52130" y="697388"/>
                  <a:pt x="51968" y="699951"/>
                  <a:pt x="49330" y="699027"/>
                </a:cubicBezTo>
                <a:cubicBezTo>
                  <a:pt x="48501" y="705237"/>
                  <a:pt x="45101" y="705694"/>
                  <a:pt x="46101" y="711238"/>
                </a:cubicBezTo>
                <a:cubicBezTo>
                  <a:pt x="48101" y="711724"/>
                  <a:pt x="48711" y="710285"/>
                  <a:pt x="50797" y="710876"/>
                </a:cubicBezTo>
                <a:cubicBezTo>
                  <a:pt x="51483" y="715562"/>
                  <a:pt x="47215" y="713276"/>
                  <a:pt x="45530" y="714619"/>
                </a:cubicBezTo>
                <a:cubicBezTo>
                  <a:pt x="43862" y="714927"/>
                  <a:pt x="42413" y="715950"/>
                  <a:pt x="41567" y="717420"/>
                </a:cubicBezTo>
                <a:cubicBezTo>
                  <a:pt x="41634" y="718372"/>
                  <a:pt x="42520" y="718743"/>
                  <a:pt x="42320" y="719867"/>
                </a:cubicBezTo>
                <a:cubicBezTo>
                  <a:pt x="43596" y="720525"/>
                  <a:pt x="43215" y="717962"/>
                  <a:pt x="43825" y="717810"/>
                </a:cubicBezTo>
                <a:cubicBezTo>
                  <a:pt x="45777" y="717143"/>
                  <a:pt x="46968" y="721620"/>
                  <a:pt x="48339" y="718572"/>
                </a:cubicBezTo>
                <a:cubicBezTo>
                  <a:pt x="49882" y="719344"/>
                  <a:pt x="48054" y="719524"/>
                  <a:pt x="47958" y="720829"/>
                </a:cubicBezTo>
                <a:cubicBezTo>
                  <a:pt x="47263" y="724687"/>
                  <a:pt x="51083" y="724439"/>
                  <a:pt x="48120" y="726649"/>
                </a:cubicBezTo>
                <a:cubicBezTo>
                  <a:pt x="47254" y="727306"/>
                  <a:pt x="48406" y="729202"/>
                  <a:pt x="48863" y="729097"/>
                </a:cubicBezTo>
                <a:cubicBezTo>
                  <a:pt x="49187" y="730478"/>
                  <a:pt x="46672" y="729383"/>
                  <a:pt x="46425" y="729840"/>
                </a:cubicBezTo>
                <a:cubicBezTo>
                  <a:pt x="43663" y="734993"/>
                  <a:pt x="44806" y="741918"/>
                  <a:pt x="42243" y="747680"/>
                </a:cubicBezTo>
                <a:cubicBezTo>
                  <a:pt x="42167" y="747852"/>
                  <a:pt x="40215" y="747195"/>
                  <a:pt x="39986" y="747299"/>
                </a:cubicBezTo>
                <a:cubicBezTo>
                  <a:pt x="43205" y="755024"/>
                  <a:pt x="42272" y="769788"/>
                  <a:pt x="35395" y="774341"/>
                </a:cubicBezTo>
                <a:cubicBezTo>
                  <a:pt x="34985" y="775617"/>
                  <a:pt x="35300" y="776389"/>
                  <a:pt x="36138" y="776789"/>
                </a:cubicBezTo>
                <a:cubicBezTo>
                  <a:pt x="32995" y="779313"/>
                  <a:pt x="28394" y="775627"/>
                  <a:pt x="26746" y="777513"/>
                </a:cubicBezTo>
                <a:cubicBezTo>
                  <a:pt x="24308" y="776617"/>
                  <a:pt x="26880" y="771379"/>
                  <a:pt x="27889" y="770750"/>
                </a:cubicBezTo>
                <a:cubicBezTo>
                  <a:pt x="27718" y="769388"/>
                  <a:pt x="26384" y="767559"/>
                  <a:pt x="25822" y="769245"/>
                </a:cubicBezTo>
                <a:cubicBezTo>
                  <a:pt x="23222" y="768445"/>
                  <a:pt x="24394" y="764978"/>
                  <a:pt x="20765" y="764911"/>
                </a:cubicBezTo>
                <a:cubicBezTo>
                  <a:pt x="18755" y="768312"/>
                  <a:pt x="24260" y="766388"/>
                  <a:pt x="22250" y="769797"/>
                </a:cubicBezTo>
                <a:cubicBezTo>
                  <a:pt x="24584" y="768054"/>
                  <a:pt x="26194" y="770321"/>
                  <a:pt x="25108" y="773750"/>
                </a:cubicBezTo>
                <a:cubicBezTo>
                  <a:pt x="23260" y="771283"/>
                  <a:pt x="24451" y="769940"/>
                  <a:pt x="20984" y="770731"/>
                </a:cubicBezTo>
                <a:cubicBezTo>
                  <a:pt x="18469" y="771283"/>
                  <a:pt x="19688" y="773893"/>
                  <a:pt x="17602" y="770159"/>
                </a:cubicBezTo>
                <a:cubicBezTo>
                  <a:pt x="16650" y="770217"/>
                  <a:pt x="16288" y="771112"/>
                  <a:pt x="15154" y="770902"/>
                </a:cubicBezTo>
                <a:cubicBezTo>
                  <a:pt x="14783" y="773817"/>
                  <a:pt x="19050" y="773426"/>
                  <a:pt x="20222" y="775246"/>
                </a:cubicBezTo>
                <a:cubicBezTo>
                  <a:pt x="19945" y="777589"/>
                  <a:pt x="17002" y="775541"/>
                  <a:pt x="15326" y="776732"/>
                </a:cubicBezTo>
                <a:cubicBezTo>
                  <a:pt x="15049" y="776922"/>
                  <a:pt x="15250" y="778913"/>
                  <a:pt x="14945" y="778980"/>
                </a:cubicBezTo>
                <a:cubicBezTo>
                  <a:pt x="14183" y="779141"/>
                  <a:pt x="13926" y="777237"/>
                  <a:pt x="12878" y="777475"/>
                </a:cubicBezTo>
                <a:cubicBezTo>
                  <a:pt x="11535" y="777427"/>
                  <a:pt x="11592" y="779380"/>
                  <a:pt x="11182" y="780656"/>
                </a:cubicBezTo>
                <a:cubicBezTo>
                  <a:pt x="9896" y="780256"/>
                  <a:pt x="9125" y="780570"/>
                  <a:pt x="8744" y="781408"/>
                </a:cubicBezTo>
                <a:cubicBezTo>
                  <a:pt x="4686" y="777903"/>
                  <a:pt x="11039" y="775093"/>
                  <a:pt x="13649" y="772969"/>
                </a:cubicBezTo>
                <a:cubicBezTo>
                  <a:pt x="13135" y="772426"/>
                  <a:pt x="12906" y="767207"/>
                  <a:pt x="11744" y="770331"/>
                </a:cubicBezTo>
                <a:cubicBezTo>
                  <a:pt x="9020" y="769378"/>
                  <a:pt x="12421" y="765949"/>
                  <a:pt x="14602" y="767331"/>
                </a:cubicBezTo>
                <a:cubicBezTo>
                  <a:pt x="15059" y="765283"/>
                  <a:pt x="11240" y="766530"/>
                  <a:pt x="10287" y="765425"/>
                </a:cubicBezTo>
                <a:cubicBezTo>
                  <a:pt x="10363" y="765511"/>
                  <a:pt x="12192" y="762720"/>
                  <a:pt x="10868" y="762044"/>
                </a:cubicBezTo>
                <a:cubicBezTo>
                  <a:pt x="7766" y="761816"/>
                  <a:pt x="4752" y="760908"/>
                  <a:pt x="2038" y="759387"/>
                </a:cubicBezTo>
                <a:cubicBezTo>
                  <a:pt x="2269" y="756889"/>
                  <a:pt x="3499" y="754592"/>
                  <a:pt x="5448" y="753014"/>
                </a:cubicBezTo>
                <a:cubicBezTo>
                  <a:pt x="5048" y="749052"/>
                  <a:pt x="3439" y="752062"/>
                  <a:pt x="0" y="750928"/>
                </a:cubicBezTo>
                <a:cubicBezTo>
                  <a:pt x="2191" y="749376"/>
                  <a:pt x="5058" y="748747"/>
                  <a:pt x="5648" y="744928"/>
                </a:cubicBezTo>
                <a:lnTo>
                  <a:pt x="7906" y="745309"/>
                </a:lnTo>
                <a:cubicBezTo>
                  <a:pt x="9373" y="742289"/>
                  <a:pt x="6810" y="742127"/>
                  <a:pt x="7734" y="739489"/>
                </a:cubicBezTo>
                <a:cubicBezTo>
                  <a:pt x="11859" y="737346"/>
                  <a:pt x="10668" y="730640"/>
                  <a:pt x="11154" y="726154"/>
                </a:cubicBezTo>
                <a:cubicBezTo>
                  <a:pt x="11354" y="724249"/>
                  <a:pt x="12649" y="724430"/>
                  <a:pt x="12849" y="722963"/>
                </a:cubicBezTo>
                <a:cubicBezTo>
                  <a:pt x="13230" y="720172"/>
                  <a:pt x="12182" y="717410"/>
                  <a:pt x="13059" y="714886"/>
                </a:cubicBezTo>
                <a:cubicBezTo>
                  <a:pt x="18097" y="714991"/>
                  <a:pt x="18583" y="708704"/>
                  <a:pt x="22479" y="707209"/>
                </a:cubicBezTo>
                <a:cubicBezTo>
                  <a:pt x="21892" y="706116"/>
                  <a:pt x="21701" y="704854"/>
                  <a:pt x="21936" y="703637"/>
                </a:cubicBezTo>
                <a:cubicBezTo>
                  <a:pt x="21252" y="702797"/>
                  <a:pt x="20616" y="701919"/>
                  <a:pt x="20031" y="701008"/>
                </a:cubicBezTo>
                <a:cubicBezTo>
                  <a:pt x="19412" y="700294"/>
                  <a:pt x="18726" y="698922"/>
                  <a:pt x="18126" y="698370"/>
                </a:cubicBezTo>
                <a:cubicBezTo>
                  <a:pt x="16935" y="697207"/>
                  <a:pt x="13783" y="698370"/>
                  <a:pt x="15135" y="695512"/>
                </a:cubicBezTo>
                <a:cubicBezTo>
                  <a:pt x="16488" y="694817"/>
                  <a:pt x="17040" y="697017"/>
                  <a:pt x="17193" y="697026"/>
                </a:cubicBezTo>
                <a:cubicBezTo>
                  <a:pt x="20545" y="697122"/>
                  <a:pt x="18259" y="692797"/>
                  <a:pt x="22469" y="693283"/>
                </a:cubicBezTo>
                <a:lnTo>
                  <a:pt x="23041" y="689892"/>
                </a:lnTo>
                <a:cubicBezTo>
                  <a:pt x="23317" y="688254"/>
                  <a:pt x="20841" y="688987"/>
                  <a:pt x="19850" y="688197"/>
                </a:cubicBezTo>
                <a:cubicBezTo>
                  <a:pt x="18488" y="687111"/>
                  <a:pt x="19183" y="684472"/>
                  <a:pt x="17050" y="684244"/>
                </a:cubicBezTo>
                <a:cubicBezTo>
                  <a:pt x="16745" y="682853"/>
                  <a:pt x="19212" y="683977"/>
                  <a:pt x="19488" y="683491"/>
                </a:cubicBezTo>
                <a:cubicBezTo>
                  <a:pt x="20374" y="681996"/>
                  <a:pt x="15726" y="682129"/>
                  <a:pt x="19126" y="678805"/>
                </a:cubicBezTo>
                <a:cubicBezTo>
                  <a:pt x="18926" y="677043"/>
                  <a:pt x="17612" y="678996"/>
                  <a:pt x="15745" y="678234"/>
                </a:cubicBezTo>
                <a:cubicBezTo>
                  <a:pt x="19441" y="675490"/>
                  <a:pt x="12544" y="674671"/>
                  <a:pt x="14792" y="669956"/>
                </a:cubicBezTo>
                <a:cubicBezTo>
                  <a:pt x="16674" y="670694"/>
                  <a:pt x="18777" y="670632"/>
                  <a:pt x="20612" y="669785"/>
                </a:cubicBezTo>
                <a:cubicBezTo>
                  <a:pt x="20288" y="668699"/>
                  <a:pt x="19964" y="667604"/>
                  <a:pt x="18707" y="667147"/>
                </a:cubicBezTo>
                <a:cubicBezTo>
                  <a:pt x="20679" y="665842"/>
                  <a:pt x="24270" y="663803"/>
                  <a:pt x="25851" y="666042"/>
                </a:cubicBezTo>
                <a:cubicBezTo>
                  <a:pt x="25154" y="663723"/>
                  <a:pt x="24781" y="661319"/>
                  <a:pt x="24746" y="658898"/>
                </a:cubicBezTo>
                <a:cubicBezTo>
                  <a:pt x="26022" y="658288"/>
                  <a:pt x="27699" y="658317"/>
                  <a:pt x="29642" y="657412"/>
                </a:cubicBezTo>
                <a:cubicBezTo>
                  <a:pt x="30089" y="657193"/>
                  <a:pt x="30766" y="655450"/>
                  <a:pt x="31137" y="655345"/>
                </a:cubicBezTo>
                <a:cubicBezTo>
                  <a:pt x="31509" y="655240"/>
                  <a:pt x="33137" y="655993"/>
                  <a:pt x="33395" y="655726"/>
                </a:cubicBezTo>
                <a:cubicBezTo>
                  <a:pt x="34061" y="655069"/>
                  <a:pt x="33395" y="653097"/>
                  <a:pt x="33966" y="652354"/>
                </a:cubicBezTo>
                <a:cubicBezTo>
                  <a:pt x="35347" y="652030"/>
                  <a:pt x="34261" y="654554"/>
                  <a:pt x="34719" y="654793"/>
                </a:cubicBezTo>
                <a:cubicBezTo>
                  <a:pt x="37014" y="656012"/>
                  <a:pt x="37814" y="650725"/>
                  <a:pt x="35671" y="649154"/>
                </a:cubicBezTo>
                <a:cubicBezTo>
                  <a:pt x="32509" y="648639"/>
                  <a:pt x="37833" y="652688"/>
                  <a:pt x="33033" y="651059"/>
                </a:cubicBezTo>
                <a:cubicBezTo>
                  <a:pt x="33137" y="648363"/>
                  <a:pt x="31623" y="646030"/>
                  <a:pt x="34185" y="644296"/>
                </a:cubicBezTo>
                <a:cubicBezTo>
                  <a:pt x="34547" y="642058"/>
                  <a:pt x="31328" y="642391"/>
                  <a:pt x="32699" y="639410"/>
                </a:cubicBezTo>
                <a:cubicBezTo>
                  <a:pt x="31747" y="639038"/>
                  <a:pt x="31556" y="639667"/>
                  <a:pt x="31375" y="640362"/>
                </a:cubicBezTo>
                <a:cubicBezTo>
                  <a:pt x="29804" y="639829"/>
                  <a:pt x="31556" y="636933"/>
                  <a:pt x="29699" y="636600"/>
                </a:cubicBezTo>
                <a:cubicBezTo>
                  <a:pt x="31266" y="633635"/>
                  <a:pt x="33698" y="631216"/>
                  <a:pt x="36671" y="629666"/>
                </a:cubicBezTo>
                <a:cubicBezTo>
                  <a:pt x="36909" y="627484"/>
                  <a:pt x="32671" y="630351"/>
                  <a:pt x="29908" y="628523"/>
                </a:cubicBezTo>
                <a:cubicBezTo>
                  <a:pt x="30956" y="626275"/>
                  <a:pt x="33252" y="625779"/>
                  <a:pt x="33309" y="622141"/>
                </a:cubicBezTo>
                <a:cubicBezTo>
                  <a:pt x="31061" y="622227"/>
                  <a:pt x="32356" y="627284"/>
                  <a:pt x="28223" y="624760"/>
                </a:cubicBezTo>
                <a:cubicBezTo>
                  <a:pt x="31480" y="622170"/>
                  <a:pt x="29928" y="620950"/>
                  <a:pt x="32033" y="616121"/>
                </a:cubicBezTo>
                <a:cubicBezTo>
                  <a:pt x="33610" y="616182"/>
                  <a:pt x="34895" y="617407"/>
                  <a:pt x="35033" y="618979"/>
                </a:cubicBezTo>
                <a:cubicBezTo>
                  <a:pt x="36338" y="619560"/>
                  <a:pt x="39462" y="616378"/>
                  <a:pt x="36728" y="615788"/>
                </a:cubicBezTo>
                <a:cubicBezTo>
                  <a:pt x="38452" y="612502"/>
                  <a:pt x="38167" y="618550"/>
                  <a:pt x="39729" y="618645"/>
                </a:cubicBezTo>
                <a:cubicBezTo>
                  <a:pt x="42139" y="619255"/>
                  <a:pt x="40919" y="614740"/>
                  <a:pt x="41805" y="613206"/>
                </a:cubicBezTo>
                <a:cubicBezTo>
                  <a:pt x="42758" y="613873"/>
                  <a:pt x="43710" y="614540"/>
                  <a:pt x="43710" y="615835"/>
                </a:cubicBezTo>
                <a:cubicBezTo>
                  <a:pt x="48597" y="613873"/>
                  <a:pt x="50378" y="607587"/>
                  <a:pt x="52959" y="602329"/>
                </a:cubicBezTo>
                <a:cubicBezTo>
                  <a:pt x="50959" y="601853"/>
                  <a:pt x="50349" y="603281"/>
                  <a:pt x="48263" y="602700"/>
                </a:cubicBezTo>
                <a:cubicBezTo>
                  <a:pt x="46863" y="602634"/>
                  <a:pt x="46472" y="605406"/>
                  <a:pt x="45406" y="605701"/>
                </a:cubicBezTo>
                <a:cubicBezTo>
                  <a:pt x="43691" y="606177"/>
                  <a:pt x="40919" y="604748"/>
                  <a:pt x="42958" y="606444"/>
                </a:cubicBezTo>
                <a:cubicBezTo>
                  <a:pt x="42958" y="608787"/>
                  <a:pt x="39738" y="605663"/>
                  <a:pt x="39767" y="604739"/>
                </a:cubicBezTo>
                <a:cubicBezTo>
                  <a:pt x="40258" y="603227"/>
                  <a:pt x="39537" y="601587"/>
                  <a:pt x="38090" y="600929"/>
                </a:cubicBezTo>
                <a:cubicBezTo>
                  <a:pt x="39195" y="598767"/>
                  <a:pt x="43482" y="601081"/>
                  <a:pt x="44291" y="598509"/>
                </a:cubicBezTo>
                <a:cubicBezTo>
                  <a:pt x="44644" y="595728"/>
                  <a:pt x="40615" y="597633"/>
                  <a:pt x="40719" y="599062"/>
                </a:cubicBezTo>
                <a:cubicBezTo>
                  <a:pt x="39148" y="599367"/>
                  <a:pt x="41177" y="593347"/>
                  <a:pt x="43739" y="594938"/>
                </a:cubicBezTo>
                <a:cubicBezTo>
                  <a:pt x="42786" y="593099"/>
                  <a:pt x="42996" y="591975"/>
                  <a:pt x="45444" y="591747"/>
                </a:cubicBezTo>
                <a:cubicBezTo>
                  <a:pt x="45606" y="590642"/>
                  <a:pt x="44215" y="590642"/>
                  <a:pt x="43377" y="590232"/>
                </a:cubicBezTo>
                <a:cubicBezTo>
                  <a:pt x="43215" y="587937"/>
                  <a:pt x="49168" y="587479"/>
                  <a:pt x="49206" y="590061"/>
                </a:cubicBezTo>
                <a:cubicBezTo>
                  <a:pt x="50502" y="590651"/>
                  <a:pt x="50073" y="588289"/>
                  <a:pt x="50721" y="588003"/>
                </a:cubicBezTo>
                <a:cubicBezTo>
                  <a:pt x="52330" y="587270"/>
                  <a:pt x="55245" y="589546"/>
                  <a:pt x="56540" y="587832"/>
                </a:cubicBezTo>
                <a:cubicBezTo>
                  <a:pt x="56340" y="585184"/>
                  <a:pt x="54550" y="588899"/>
                  <a:pt x="53350" y="586127"/>
                </a:cubicBezTo>
                <a:cubicBezTo>
                  <a:pt x="54731" y="584160"/>
                  <a:pt x="55150" y="581676"/>
                  <a:pt x="54493" y="579364"/>
                </a:cubicBezTo>
                <a:cubicBezTo>
                  <a:pt x="54759" y="580641"/>
                  <a:pt x="56836" y="580174"/>
                  <a:pt x="57683" y="581069"/>
                </a:cubicBezTo>
                <a:cubicBezTo>
                  <a:pt x="57979" y="581374"/>
                  <a:pt x="58169" y="583355"/>
                  <a:pt x="58436" y="583517"/>
                </a:cubicBezTo>
                <a:cubicBezTo>
                  <a:pt x="59065" y="583898"/>
                  <a:pt x="60093" y="583003"/>
                  <a:pt x="59750" y="582565"/>
                </a:cubicBezTo>
                <a:cubicBezTo>
                  <a:pt x="60636" y="583650"/>
                  <a:pt x="60103" y="585565"/>
                  <a:pt x="61427" y="586317"/>
                </a:cubicBezTo>
                <a:cubicBezTo>
                  <a:pt x="64922" y="586155"/>
                  <a:pt x="60760" y="583736"/>
                  <a:pt x="62189" y="581812"/>
                </a:cubicBezTo>
                <a:cubicBezTo>
                  <a:pt x="63837" y="581326"/>
                  <a:pt x="64703" y="579764"/>
                  <a:pt x="65208" y="577688"/>
                </a:cubicBezTo>
                <a:cubicBezTo>
                  <a:pt x="63970" y="574830"/>
                  <a:pt x="62751" y="575507"/>
                  <a:pt x="59769" y="575602"/>
                </a:cubicBezTo>
                <a:cubicBezTo>
                  <a:pt x="60103" y="571887"/>
                  <a:pt x="62027" y="570411"/>
                  <a:pt x="65237" y="570744"/>
                </a:cubicBezTo>
                <a:cubicBezTo>
                  <a:pt x="64500" y="569549"/>
                  <a:pt x="63466" y="568564"/>
                  <a:pt x="62236" y="567887"/>
                </a:cubicBezTo>
                <a:cubicBezTo>
                  <a:pt x="62646" y="566610"/>
                  <a:pt x="62332" y="565848"/>
                  <a:pt x="61493" y="565448"/>
                </a:cubicBezTo>
                <a:cubicBezTo>
                  <a:pt x="61493" y="562648"/>
                  <a:pt x="63960" y="563343"/>
                  <a:pt x="63579" y="560000"/>
                </a:cubicBezTo>
                <a:cubicBezTo>
                  <a:pt x="65999" y="560619"/>
                  <a:pt x="67323" y="559685"/>
                  <a:pt x="67532" y="557142"/>
                </a:cubicBezTo>
                <a:cubicBezTo>
                  <a:pt x="67532" y="555799"/>
                  <a:pt x="65627" y="555847"/>
                  <a:pt x="64341" y="555447"/>
                </a:cubicBezTo>
                <a:cubicBezTo>
                  <a:pt x="63617" y="553170"/>
                  <a:pt x="68351" y="552256"/>
                  <a:pt x="65103" y="550942"/>
                </a:cubicBezTo>
                <a:cubicBezTo>
                  <a:pt x="65770" y="549427"/>
                  <a:pt x="67104" y="551180"/>
                  <a:pt x="67161" y="552446"/>
                </a:cubicBezTo>
                <a:cubicBezTo>
                  <a:pt x="70971" y="551761"/>
                  <a:pt x="70371" y="544826"/>
                  <a:pt x="75267" y="545712"/>
                </a:cubicBezTo>
                <a:cubicBezTo>
                  <a:pt x="74145" y="544286"/>
                  <a:pt x="74390" y="542220"/>
                  <a:pt x="75817" y="541097"/>
                </a:cubicBezTo>
                <a:cubicBezTo>
                  <a:pt x="76568" y="540507"/>
                  <a:pt x="77538" y="540272"/>
                  <a:pt x="78476" y="540455"/>
                </a:cubicBezTo>
                <a:cubicBezTo>
                  <a:pt x="78953" y="537807"/>
                  <a:pt x="77095" y="536806"/>
                  <a:pt x="78476" y="533501"/>
                </a:cubicBezTo>
                <a:cubicBezTo>
                  <a:pt x="82601" y="536064"/>
                  <a:pt x="79696" y="528739"/>
                  <a:pt x="82620" y="529567"/>
                </a:cubicBezTo>
                <a:cubicBezTo>
                  <a:pt x="79839" y="526920"/>
                  <a:pt x="83048" y="520042"/>
                  <a:pt x="77391" y="519404"/>
                </a:cubicBezTo>
                <a:cubicBezTo>
                  <a:pt x="78701" y="517623"/>
                  <a:pt x="80552" y="516313"/>
                  <a:pt x="82667" y="515670"/>
                </a:cubicBezTo>
                <a:cubicBezTo>
                  <a:pt x="82839" y="514051"/>
                  <a:pt x="83010" y="512441"/>
                  <a:pt x="84363" y="512470"/>
                </a:cubicBezTo>
                <a:cubicBezTo>
                  <a:pt x="89611" y="512470"/>
                  <a:pt x="82115" y="515328"/>
                  <a:pt x="87363" y="515328"/>
                </a:cubicBezTo>
                <a:cubicBezTo>
                  <a:pt x="86487" y="516899"/>
                  <a:pt x="85211" y="517890"/>
                  <a:pt x="84344" y="519452"/>
                </a:cubicBezTo>
                <a:cubicBezTo>
                  <a:pt x="87754" y="520071"/>
                  <a:pt x="87830" y="515975"/>
                  <a:pt x="88868" y="513270"/>
                </a:cubicBezTo>
                <a:cubicBezTo>
                  <a:pt x="90859" y="513175"/>
                  <a:pt x="90849" y="514508"/>
                  <a:pt x="90773" y="515909"/>
                </a:cubicBezTo>
                <a:cubicBezTo>
                  <a:pt x="94440" y="515728"/>
                  <a:pt x="92754" y="513146"/>
                  <a:pt x="92859" y="510460"/>
                </a:cubicBezTo>
                <a:cubicBezTo>
                  <a:pt x="94621" y="511089"/>
                  <a:pt x="94974" y="509727"/>
                  <a:pt x="96422" y="509908"/>
                </a:cubicBezTo>
                <a:cubicBezTo>
                  <a:pt x="96250" y="506403"/>
                  <a:pt x="93840" y="510575"/>
                  <a:pt x="91916" y="509146"/>
                </a:cubicBezTo>
                <a:cubicBezTo>
                  <a:pt x="91621" y="507374"/>
                  <a:pt x="90735" y="506022"/>
                  <a:pt x="90430" y="504250"/>
                </a:cubicBezTo>
                <a:cubicBezTo>
                  <a:pt x="89788" y="504254"/>
                  <a:pt x="89271" y="504777"/>
                  <a:pt x="89275" y="505419"/>
                </a:cubicBezTo>
                <a:cubicBezTo>
                  <a:pt x="89278" y="505908"/>
                  <a:pt x="89587" y="506344"/>
                  <a:pt x="90049" y="506507"/>
                </a:cubicBezTo>
                <a:cubicBezTo>
                  <a:pt x="88354" y="509774"/>
                  <a:pt x="87259" y="504698"/>
                  <a:pt x="85725" y="504602"/>
                </a:cubicBezTo>
                <a:cubicBezTo>
                  <a:pt x="86335" y="503459"/>
                  <a:pt x="87954" y="504174"/>
                  <a:pt x="88363" y="502697"/>
                </a:cubicBezTo>
                <a:cubicBezTo>
                  <a:pt x="89211" y="499840"/>
                  <a:pt x="86554" y="493230"/>
                  <a:pt x="92173" y="494058"/>
                </a:cubicBezTo>
                <a:cubicBezTo>
                  <a:pt x="92250" y="496497"/>
                  <a:pt x="90897" y="496916"/>
                  <a:pt x="90268" y="498373"/>
                </a:cubicBezTo>
                <a:cubicBezTo>
                  <a:pt x="93126" y="502355"/>
                  <a:pt x="97888" y="497897"/>
                  <a:pt x="98346" y="498592"/>
                </a:cubicBezTo>
                <a:cubicBezTo>
                  <a:pt x="98312" y="498971"/>
                  <a:pt x="98248" y="499347"/>
                  <a:pt x="98155" y="499716"/>
                </a:cubicBezTo>
                <a:cubicBezTo>
                  <a:pt x="104584" y="496697"/>
                  <a:pt x="102632" y="487076"/>
                  <a:pt x="108918" y="484152"/>
                </a:cubicBezTo>
                <a:cubicBezTo>
                  <a:pt x="110976" y="483466"/>
                  <a:pt x="106375" y="480514"/>
                  <a:pt x="108737" y="478323"/>
                </a:cubicBezTo>
                <a:cubicBezTo>
                  <a:pt x="109538" y="477589"/>
                  <a:pt x="109490" y="480780"/>
                  <a:pt x="109490" y="480771"/>
                </a:cubicBezTo>
                <a:cubicBezTo>
                  <a:pt x="110774" y="480282"/>
                  <a:pt x="112030" y="479722"/>
                  <a:pt x="113252" y="479094"/>
                </a:cubicBezTo>
                <a:cubicBezTo>
                  <a:pt x="113871" y="477513"/>
                  <a:pt x="110519" y="476656"/>
                  <a:pt x="110633" y="474008"/>
                </a:cubicBezTo>
                <a:cubicBezTo>
                  <a:pt x="110633" y="472741"/>
                  <a:pt x="111785" y="471827"/>
                  <a:pt x="113652" y="469884"/>
                </a:cubicBezTo>
                <a:cubicBezTo>
                  <a:pt x="115300" y="468169"/>
                  <a:pt x="116348" y="465998"/>
                  <a:pt x="120987" y="467655"/>
                </a:cubicBezTo>
                <a:cubicBezTo>
                  <a:pt x="119291" y="464559"/>
                  <a:pt x="121815" y="458473"/>
                  <a:pt x="122158" y="453939"/>
                </a:cubicBezTo>
                <a:cubicBezTo>
                  <a:pt x="126908" y="452166"/>
                  <a:pt x="130013" y="447578"/>
                  <a:pt x="129892" y="442509"/>
                </a:cubicBezTo>
                <a:lnTo>
                  <a:pt x="133274" y="443080"/>
                </a:lnTo>
                <a:cubicBezTo>
                  <a:pt x="131826" y="441461"/>
                  <a:pt x="132245" y="438527"/>
                  <a:pt x="130845" y="436880"/>
                </a:cubicBezTo>
                <a:cubicBezTo>
                  <a:pt x="131513" y="435442"/>
                  <a:pt x="133141" y="434721"/>
                  <a:pt x="134655" y="435194"/>
                </a:cubicBezTo>
                <a:cubicBezTo>
                  <a:pt x="135225" y="432537"/>
                  <a:pt x="135296" y="429799"/>
                  <a:pt x="134864" y="427117"/>
                </a:cubicBezTo>
                <a:cubicBezTo>
                  <a:pt x="134922" y="427021"/>
                  <a:pt x="137112" y="427555"/>
                  <a:pt x="137122" y="427498"/>
                </a:cubicBezTo>
                <a:cubicBezTo>
                  <a:pt x="137227" y="425793"/>
                  <a:pt x="134769" y="425383"/>
                  <a:pt x="135626" y="422611"/>
                </a:cubicBezTo>
                <a:cubicBezTo>
                  <a:pt x="137208" y="422973"/>
                  <a:pt x="138789" y="423335"/>
                  <a:pt x="139189" y="422049"/>
                </a:cubicBezTo>
                <a:cubicBezTo>
                  <a:pt x="141856" y="422154"/>
                  <a:pt x="139894" y="425526"/>
                  <a:pt x="142046" y="426002"/>
                </a:cubicBezTo>
                <a:cubicBezTo>
                  <a:pt x="143818" y="426631"/>
                  <a:pt x="144161" y="425269"/>
                  <a:pt x="145618" y="425450"/>
                </a:cubicBezTo>
                <a:cubicBezTo>
                  <a:pt x="144942" y="423621"/>
                  <a:pt x="142256" y="423211"/>
                  <a:pt x="140360" y="422240"/>
                </a:cubicBezTo>
                <a:cubicBezTo>
                  <a:pt x="144618" y="419011"/>
                  <a:pt x="143218" y="415306"/>
                  <a:pt x="138322" y="413782"/>
                </a:cubicBezTo>
                <a:cubicBezTo>
                  <a:pt x="138846" y="411724"/>
                  <a:pt x="142256" y="413782"/>
                  <a:pt x="143208" y="412296"/>
                </a:cubicBezTo>
                <a:cubicBezTo>
                  <a:pt x="144075" y="408705"/>
                  <a:pt x="142027" y="407190"/>
                  <a:pt x="143608" y="403085"/>
                </a:cubicBezTo>
                <a:cubicBezTo>
                  <a:pt x="144885" y="403495"/>
                  <a:pt x="145656" y="403180"/>
                  <a:pt x="146056" y="402342"/>
                </a:cubicBezTo>
                <a:cubicBezTo>
                  <a:pt x="147961" y="403504"/>
                  <a:pt x="145875" y="404418"/>
                  <a:pt x="145485" y="405723"/>
                </a:cubicBezTo>
                <a:cubicBezTo>
                  <a:pt x="146018" y="406990"/>
                  <a:pt x="147885" y="407333"/>
                  <a:pt x="147171" y="409486"/>
                </a:cubicBezTo>
                <a:cubicBezTo>
                  <a:pt x="149105" y="407997"/>
                  <a:pt x="150929" y="406371"/>
                  <a:pt x="152629" y="404618"/>
                </a:cubicBezTo>
                <a:cubicBezTo>
                  <a:pt x="152630" y="403977"/>
                  <a:pt x="152110" y="403455"/>
                  <a:pt x="151469" y="403454"/>
                </a:cubicBezTo>
                <a:cubicBezTo>
                  <a:pt x="150976" y="403453"/>
                  <a:pt x="150536" y="403763"/>
                  <a:pt x="150371" y="404228"/>
                </a:cubicBezTo>
                <a:cubicBezTo>
                  <a:pt x="146085" y="399894"/>
                  <a:pt x="157839" y="399104"/>
                  <a:pt x="154181" y="395598"/>
                </a:cubicBezTo>
                <a:cubicBezTo>
                  <a:pt x="154334" y="392550"/>
                  <a:pt x="160325" y="397732"/>
                  <a:pt x="159268" y="392988"/>
                </a:cubicBezTo>
                <a:cubicBezTo>
                  <a:pt x="161401" y="392198"/>
                  <a:pt x="161782" y="395722"/>
                  <a:pt x="162258" y="395846"/>
                </a:cubicBezTo>
                <a:cubicBezTo>
                  <a:pt x="164983" y="396360"/>
                  <a:pt x="166364" y="391941"/>
                  <a:pt x="169050" y="390045"/>
                </a:cubicBezTo>
                <a:cubicBezTo>
                  <a:pt x="169507" y="383444"/>
                  <a:pt x="165706" y="379863"/>
                  <a:pt x="167402" y="372376"/>
                </a:cubicBezTo>
                <a:cubicBezTo>
                  <a:pt x="168868" y="371664"/>
                  <a:pt x="170550" y="371534"/>
                  <a:pt x="172107" y="372014"/>
                </a:cubicBezTo>
                <a:cubicBezTo>
                  <a:pt x="173860" y="365537"/>
                  <a:pt x="170307" y="361975"/>
                  <a:pt x="173460" y="357174"/>
                </a:cubicBezTo>
                <a:cubicBezTo>
                  <a:pt x="173631" y="356917"/>
                  <a:pt x="175365" y="357727"/>
                  <a:pt x="175717" y="357555"/>
                </a:cubicBezTo>
                <a:cubicBezTo>
                  <a:pt x="176212" y="355565"/>
                  <a:pt x="174765" y="354946"/>
                  <a:pt x="175355" y="352860"/>
                </a:cubicBezTo>
                <a:cubicBezTo>
                  <a:pt x="177794" y="352441"/>
                  <a:pt x="180413" y="350078"/>
                  <a:pt x="182309" y="352860"/>
                </a:cubicBezTo>
                <a:cubicBezTo>
                  <a:pt x="182623" y="350955"/>
                  <a:pt x="182947" y="349107"/>
                  <a:pt x="183261" y="347221"/>
                </a:cubicBezTo>
                <a:cubicBezTo>
                  <a:pt x="185604" y="347668"/>
                  <a:pt x="186652" y="346516"/>
                  <a:pt x="188157" y="345735"/>
                </a:cubicBezTo>
                <a:cubicBezTo>
                  <a:pt x="189871" y="344849"/>
                  <a:pt x="190919" y="342706"/>
                  <a:pt x="193234" y="343116"/>
                </a:cubicBezTo>
                <a:cubicBezTo>
                  <a:pt x="193291" y="339477"/>
                  <a:pt x="197120" y="341153"/>
                  <a:pt x="196634" y="336743"/>
                </a:cubicBezTo>
                <a:cubicBezTo>
                  <a:pt x="198911" y="337610"/>
                  <a:pt x="199749" y="336477"/>
                  <a:pt x="201330" y="336381"/>
                </a:cubicBezTo>
                <a:cubicBezTo>
                  <a:pt x="202778" y="334591"/>
                  <a:pt x="199587" y="333143"/>
                  <a:pt x="199654" y="332619"/>
                </a:cubicBezTo>
                <a:cubicBezTo>
                  <a:pt x="199720" y="332095"/>
                  <a:pt x="202197" y="330304"/>
                  <a:pt x="202282" y="330714"/>
                </a:cubicBezTo>
                <a:cubicBezTo>
                  <a:pt x="202101" y="329809"/>
                  <a:pt x="198672" y="329323"/>
                  <a:pt x="198168" y="327695"/>
                </a:cubicBezTo>
                <a:cubicBezTo>
                  <a:pt x="198082" y="327418"/>
                  <a:pt x="199863" y="325666"/>
                  <a:pt x="199863" y="324504"/>
                </a:cubicBezTo>
                <a:cubicBezTo>
                  <a:pt x="199863" y="324418"/>
                  <a:pt x="198825" y="324075"/>
                  <a:pt x="198911" y="323189"/>
                </a:cubicBezTo>
                <a:cubicBezTo>
                  <a:pt x="199053" y="321980"/>
                  <a:pt x="201387" y="321284"/>
                  <a:pt x="200997" y="317750"/>
                </a:cubicBezTo>
                <a:cubicBezTo>
                  <a:pt x="202082" y="317960"/>
                  <a:pt x="201635" y="319274"/>
                  <a:pt x="201739" y="320189"/>
                </a:cubicBezTo>
                <a:cubicBezTo>
                  <a:pt x="204502" y="319922"/>
                  <a:pt x="208693" y="320598"/>
                  <a:pt x="209645" y="314579"/>
                </a:cubicBezTo>
                <a:cubicBezTo>
                  <a:pt x="211550" y="316836"/>
                  <a:pt x="211093" y="314712"/>
                  <a:pt x="214160" y="315341"/>
                </a:cubicBezTo>
                <a:cubicBezTo>
                  <a:pt x="215827" y="315674"/>
                  <a:pt x="215036" y="313074"/>
                  <a:pt x="215856" y="312150"/>
                </a:cubicBezTo>
                <a:cubicBezTo>
                  <a:pt x="216122" y="311855"/>
                  <a:pt x="217761" y="312721"/>
                  <a:pt x="218103" y="312531"/>
                </a:cubicBezTo>
                <a:cubicBezTo>
                  <a:pt x="218837" y="312178"/>
                  <a:pt x="218942" y="309616"/>
                  <a:pt x="219808" y="309340"/>
                </a:cubicBezTo>
                <a:cubicBezTo>
                  <a:pt x="221066" y="308321"/>
                  <a:pt x="224018" y="309702"/>
                  <a:pt x="223771" y="306540"/>
                </a:cubicBezTo>
                <a:cubicBezTo>
                  <a:pt x="226562" y="306540"/>
                  <a:pt x="225866" y="309016"/>
                  <a:pt x="229210" y="308626"/>
                </a:cubicBezTo>
                <a:cubicBezTo>
                  <a:pt x="233020" y="308426"/>
                  <a:pt x="229829" y="303282"/>
                  <a:pt x="234096" y="307130"/>
                </a:cubicBezTo>
                <a:cubicBezTo>
                  <a:pt x="235934" y="306463"/>
                  <a:pt x="236344" y="303777"/>
                  <a:pt x="237306" y="301882"/>
                </a:cubicBezTo>
                <a:cubicBezTo>
                  <a:pt x="236571" y="300688"/>
                  <a:pt x="235541" y="299703"/>
                  <a:pt x="234315" y="299024"/>
                </a:cubicBezTo>
                <a:cubicBezTo>
                  <a:pt x="233810" y="297824"/>
                  <a:pt x="235525" y="298310"/>
                  <a:pt x="235629" y="298072"/>
                </a:cubicBezTo>
                <a:cubicBezTo>
                  <a:pt x="236163" y="296872"/>
                  <a:pt x="233810" y="296024"/>
                  <a:pt x="233724" y="295433"/>
                </a:cubicBezTo>
                <a:cubicBezTo>
                  <a:pt x="233830" y="294293"/>
                  <a:pt x="234024" y="293163"/>
                  <a:pt x="234305" y="292052"/>
                </a:cubicBezTo>
                <a:cubicBezTo>
                  <a:pt x="234439" y="290033"/>
                  <a:pt x="233572" y="289452"/>
                  <a:pt x="233934" y="287356"/>
                </a:cubicBezTo>
                <a:cubicBezTo>
                  <a:pt x="233934" y="287613"/>
                  <a:pt x="235115" y="287023"/>
                  <a:pt x="235258" y="286404"/>
                </a:cubicBezTo>
                <a:cubicBezTo>
                  <a:pt x="235753" y="284194"/>
                  <a:pt x="235715" y="282832"/>
                  <a:pt x="238115" y="283413"/>
                </a:cubicBezTo>
                <a:cubicBezTo>
                  <a:pt x="238325" y="281613"/>
                  <a:pt x="239382" y="279203"/>
                  <a:pt x="237754" y="278708"/>
                </a:cubicBezTo>
                <a:cubicBezTo>
                  <a:pt x="238363" y="277241"/>
                  <a:pt x="240725" y="278250"/>
                  <a:pt x="242449" y="278346"/>
                </a:cubicBezTo>
                <a:cubicBezTo>
                  <a:pt x="242907" y="274183"/>
                  <a:pt x="241640" y="273764"/>
                  <a:pt x="243783" y="270459"/>
                </a:cubicBezTo>
                <a:cubicBezTo>
                  <a:pt x="246974" y="271230"/>
                  <a:pt x="249917" y="271640"/>
                  <a:pt x="250003" y="268039"/>
                </a:cubicBezTo>
                <a:cubicBezTo>
                  <a:pt x="251412" y="268678"/>
                  <a:pt x="251431" y="270316"/>
                  <a:pt x="252994" y="270897"/>
                </a:cubicBezTo>
                <a:cubicBezTo>
                  <a:pt x="255508" y="271183"/>
                  <a:pt x="254279" y="266201"/>
                  <a:pt x="255270" y="264334"/>
                </a:cubicBezTo>
                <a:cubicBezTo>
                  <a:pt x="258577" y="265912"/>
                  <a:pt x="261370" y="268391"/>
                  <a:pt x="263328" y="271488"/>
                </a:cubicBezTo>
                <a:cubicBezTo>
                  <a:pt x="264414" y="271164"/>
                  <a:pt x="265509" y="270849"/>
                  <a:pt x="265967" y="269583"/>
                </a:cubicBezTo>
                <a:cubicBezTo>
                  <a:pt x="265157" y="268144"/>
                  <a:pt x="263433" y="269230"/>
                  <a:pt x="261842" y="266563"/>
                </a:cubicBezTo>
                <a:cubicBezTo>
                  <a:pt x="262795" y="260200"/>
                  <a:pt x="261661" y="261467"/>
                  <a:pt x="262614" y="255133"/>
                </a:cubicBezTo>
                <a:cubicBezTo>
                  <a:pt x="263709" y="254544"/>
                  <a:pt x="264973" y="254348"/>
                  <a:pt x="266195" y="254581"/>
                </a:cubicBezTo>
                <a:cubicBezTo>
                  <a:pt x="266814" y="250771"/>
                  <a:pt x="267472" y="247065"/>
                  <a:pt x="271853" y="248580"/>
                </a:cubicBezTo>
                <a:cubicBezTo>
                  <a:pt x="271254" y="247491"/>
                  <a:pt x="271059" y="246226"/>
                  <a:pt x="271301" y="245008"/>
                </a:cubicBezTo>
                <a:cubicBezTo>
                  <a:pt x="274158" y="242570"/>
                  <a:pt x="275206" y="248609"/>
                  <a:pt x="278054" y="246161"/>
                </a:cubicBezTo>
                <a:cubicBezTo>
                  <a:pt x="278301" y="244008"/>
                  <a:pt x="274463" y="244751"/>
                  <a:pt x="275196" y="242208"/>
                </a:cubicBezTo>
                <a:cubicBezTo>
                  <a:pt x="275930" y="238112"/>
                  <a:pt x="279359" y="237817"/>
                  <a:pt x="283855" y="239036"/>
                </a:cubicBezTo>
                <a:cubicBezTo>
                  <a:pt x="285321" y="236007"/>
                  <a:pt x="282769" y="235845"/>
                  <a:pt x="283683" y="233207"/>
                </a:cubicBezTo>
                <a:cubicBezTo>
                  <a:pt x="285147" y="232499"/>
                  <a:pt x="286823" y="232370"/>
                  <a:pt x="288379" y="232845"/>
                </a:cubicBezTo>
                <a:cubicBezTo>
                  <a:pt x="288450" y="230652"/>
                  <a:pt x="289670" y="228658"/>
                  <a:pt x="291589" y="227596"/>
                </a:cubicBezTo>
                <a:cubicBezTo>
                  <a:pt x="292056" y="227349"/>
                  <a:pt x="292827" y="229301"/>
                  <a:pt x="293656" y="229101"/>
                </a:cubicBezTo>
                <a:cubicBezTo>
                  <a:pt x="295666" y="228635"/>
                  <a:pt x="299085" y="223110"/>
                  <a:pt x="302504" y="224806"/>
                </a:cubicBezTo>
                <a:cubicBezTo>
                  <a:pt x="302169" y="222876"/>
                  <a:pt x="302505" y="220889"/>
                  <a:pt x="303457" y="219176"/>
                </a:cubicBezTo>
                <a:cubicBezTo>
                  <a:pt x="303686" y="218871"/>
                  <a:pt x="305362" y="219795"/>
                  <a:pt x="305714" y="219557"/>
                </a:cubicBezTo>
                <a:cubicBezTo>
                  <a:pt x="306067" y="219319"/>
                  <a:pt x="305714" y="217528"/>
                  <a:pt x="306095" y="217300"/>
                </a:cubicBezTo>
                <a:cubicBezTo>
                  <a:pt x="306476" y="217071"/>
                  <a:pt x="308000" y="218005"/>
                  <a:pt x="308343" y="217681"/>
                </a:cubicBezTo>
                <a:cubicBezTo>
                  <a:pt x="308686" y="217357"/>
                  <a:pt x="310505" y="212356"/>
                  <a:pt x="311363" y="213556"/>
                </a:cubicBezTo>
                <a:cubicBezTo>
                  <a:pt x="312315" y="214919"/>
                  <a:pt x="312020" y="214195"/>
                  <a:pt x="312677" y="212604"/>
                </a:cubicBezTo>
                <a:cubicBezTo>
                  <a:pt x="315611" y="213499"/>
                  <a:pt x="315982" y="216204"/>
                  <a:pt x="316240" y="219005"/>
                </a:cubicBezTo>
                <a:cubicBezTo>
                  <a:pt x="315716" y="220729"/>
                  <a:pt x="318745" y="219824"/>
                  <a:pt x="319421" y="220710"/>
                </a:cubicBezTo>
                <a:cubicBezTo>
                  <a:pt x="319735" y="221119"/>
                  <a:pt x="318811" y="222472"/>
                  <a:pt x="319040" y="222958"/>
                </a:cubicBezTo>
                <a:cubicBezTo>
                  <a:pt x="320259" y="225587"/>
                  <a:pt x="323869" y="227349"/>
                  <a:pt x="326174" y="228806"/>
                </a:cubicBezTo>
                <a:cubicBezTo>
                  <a:pt x="326612" y="227501"/>
                  <a:pt x="324564" y="227958"/>
                  <a:pt x="324107" y="227301"/>
                </a:cubicBezTo>
                <a:cubicBezTo>
                  <a:pt x="324336" y="227634"/>
                  <a:pt x="323326" y="223996"/>
                  <a:pt x="323364" y="224853"/>
                </a:cubicBezTo>
                <a:cubicBezTo>
                  <a:pt x="323279" y="223091"/>
                  <a:pt x="328051" y="218462"/>
                  <a:pt x="323574" y="216776"/>
                </a:cubicBezTo>
                <a:cubicBezTo>
                  <a:pt x="324260" y="214480"/>
                  <a:pt x="328574" y="217309"/>
                  <a:pt x="329584" y="215471"/>
                </a:cubicBezTo>
                <a:cubicBezTo>
                  <a:pt x="331260" y="210975"/>
                  <a:pt x="324545" y="212442"/>
                  <a:pt x="326231" y="207946"/>
                </a:cubicBezTo>
                <a:cubicBezTo>
                  <a:pt x="328574" y="206194"/>
                  <a:pt x="329441" y="208994"/>
                  <a:pt x="331670" y="210032"/>
                </a:cubicBezTo>
                <a:cubicBezTo>
                  <a:pt x="331022" y="207721"/>
                  <a:pt x="331441" y="205240"/>
                  <a:pt x="332813" y="203269"/>
                </a:cubicBezTo>
                <a:lnTo>
                  <a:pt x="338452" y="204222"/>
                </a:lnTo>
                <a:cubicBezTo>
                  <a:pt x="341814" y="205108"/>
                  <a:pt x="340709" y="197507"/>
                  <a:pt x="343529" y="201612"/>
                </a:cubicBezTo>
                <a:cubicBezTo>
                  <a:pt x="343853" y="199707"/>
                  <a:pt x="344167" y="197859"/>
                  <a:pt x="344481" y="195973"/>
                </a:cubicBezTo>
                <a:cubicBezTo>
                  <a:pt x="348472" y="197878"/>
                  <a:pt x="348520" y="194221"/>
                  <a:pt x="350691" y="193554"/>
                </a:cubicBezTo>
                <a:cubicBezTo>
                  <a:pt x="353901" y="192973"/>
                  <a:pt x="351644" y="196135"/>
                  <a:pt x="352368" y="197316"/>
                </a:cubicBezTo>
                <a:cubicBezTo>
                  <a:pt x="353092" y="198497"/>
                  <a:pt x="355349" y="198497"/>
                  <a:pt x="355368" y="200174"/>
                </a:cubicBezTo>
                <a:cubicBezTo>
                  <a:pt x="359654" y="200060"/>
                  <a:pt x="355463" y="196707"/>
                  <a:pt x="358578" y="194926"/>
                </a:cubicBezTo>
                <a:cubicBezTo>
                  <a:pt x="358731" y="193830"/>
                  <a:pt x="357349" y="193821"/>
                  <a:pt x="356511" y="193421"/>
                </a:cubicBezTo>
                <a:cubicBezTo>
                  <a:pt x="356711" y="191373"/>
                  <a:pt x="358292" y="191268"/>
                  <a:pt x="358416" y="189106"/>
                </a:cubicBezTo>
                <a:cubicBezTo>
                  <a:pt x="361445" y="189258"/>
                  <a:pt x="360921" y="191963"/>
                  <a:pt x="361036" y="194183"/>
                </a:cubicBezTo>
                <a:cubicBezTo>
                  <a:pt x="364065" y="195192"/>
                  <a:pt x="362798" y="190163"/>
                  <a:pt x="365169" y="190249"/>
                </a:cubicBezTo>
                <a:cubicBezTo>
                  <a:pt x="368027" y="189011"/>
                  <a:pt x="366913" y="193792"/>
                  <a:pt x="367979" y="194202"/>
                </a:cubicBezTo>
                <a:cubicBezTo>
                  <a:pt x="369046" y="194611"/>
                  <a:pt x="371351" y="192240"/>
                  <a:pt x="369494" y="192144"/>
                </a:cubicBezTo>
                <a:cubicBezTo>
                  <a:pt x="369637" y="189087"/>
                  <a:pt x="375628" y="194259"/>
                  <a:pt x="374571" y="189525"/>
                </a:cubicBezTo>
                <a:cubicBezTo>
                  <a:pt x="375990" y="189411"/>
                  <a:pt x="374809" y="191430"/>
                  <a:pt x="375314" y="191973"/>
                </a:cubicBezTo>
                <a:cubicBezTo>
                  <a:pt x="375618" y="192268"/>
                  <a:pt x="378171" y="190325"/>
                  <a:pt x="377571" y="192354"/>
                </a:cubicBezTo>
                <a:cubicBezTo>
                  <a:pt x="380429" y="190735"/>
                  <a:pt x="379266" y="183562"/>
                  <a:pt x="381743" y="181467"/>
                </a:cubicBezTo>
                <a:cubicBezTo>
                  <a:pt x="384115" y="183076"/>
                  <a:pt x="388410" y="183372"/>
                  <a:pt x="390363" y="185277"/>
                </a:cubicBezTo>
                <a:cubicBezTo>
                  <a:pt x="389020" y="187115"/>
                  <a:pt x="386744" y="187610"/>
                  <a:pt x="386972" y="191659"/>
                </a:cubicBezTo>
                <a:cubicBezTo>
                  <a:pt x="390014" y="190445"/>
                  <a:pt x="392219" y="187754"/>
                  <a:pt x="392811" y="184534"/>
                </a:cubicBezTo>
                <a:cubicBezTo>
                  <a:pt x="397926" y="184534"/>
                  <a:pt x="396812" y="188963"/>
                  <a:pt x="399936" y="190373"/>
                </a:cubicBezTo>
                <a:cubicBezTo>
                  <a:pt x="407489" y="190544"/>
                  <a:pt x="407880" y="183972"/>
                  <a:pt x="408061" y="176685"/>
                </a:cubicBezTo>
                <a:cubicBezTo>
                  <a:pt x="403631" y="175733"/>
                  <a:pt x="408127" y="178476"/>
                  <a:pt x="405203" y="179676"/>
                </a:cubicBezTo>
                <a:cubicBezTo>
                  <a:pt x="401707" y="180429"/>
                  <a:pt x="403069" y="176819"/>
                  <a:pt x="402346" y="175723"/>
                </a:cubicBezTo>
                <a:cubicBezTo>
                  <a:pt x="401290" y="174120"/>
                  <a:pt x="399959" y="172717"/>
                  <a:pt x="398412" y="171580"/>
                </a:cubicBezTo>
                <a:cubicBezTo>
                  <a:pt x="398631" y="169103"/>
                  <a:pt x="402498" y="171751"/>
                  <a:pt x="404232" y="171408"/>
                </a:cubicBezTo>
                <a:cubicBezTo>
                  <a:pt x="405536" y="170265"/>
                  <a:pt x="403765" y="167684"/>
                  <a:pt x="403679" y="167836"/>
                </a:cubicBezTo>
                <a:cubicBezTo>
                  <a:pt x="404517" y="166084"/>
                  <a:pt x="407222" y="166884"/>
                  <a:pt x="407641" y="165036"/>
                </a:cubicBezTo>
                <a:cubicBezTo>
                  <a:pt x="408061" y="163188"/>
                  <a:pt x="411547" y="165036"/>
                  <a:pt x="411785" y="161093"/>
                </a:cubicBezTo>
                <a:cubicBezTo>
                  <a:pt x="416547" y="163122"/>
                  <a:pt x="416128" y="157911"/>
                  <a:pt x="420253" y="159054"/>
                </a:cubicBezTo>
                <a:cubicBezTo>
                  <a:pt x="420500" y="157559"/>
                  <a:pt x="420757" y="156054"/>
                  <a:pt x="421015" y="154549"/>
                </a:cubicBezTo>
                <a:cubicBezTo>
                  <a:pt x="424091" y="154206"/>
                  <a:pt x="428492" y="151539"/>
                  <a:pt x="431349" y="155140"/>
                </a:cubicBezTo>
                <a:cubicBezTo>
                  <a:pt x="433854" y="155425"/>
                  <a:pt x="432635" y="150444"/>
                  <a:pt x="433626" y="148577"/>
                </a:cubicBezTo>
                <a:cubicBezTo>
                  <a:pt x="434818" y="147837"/>
                  <a:pt x="435802" y="146803"/>
                  <a:pt x="436483" y="145577"/>
                </a:cubicBezTo>
                <a:cubicBezTo>
                  <a:pt x="438388" y="146139"/>
                  <a:pt x="439731" y="144148"/>
                  <a:pt x="439865" y="146148"/>
                </a:cubicBezTo>
                <a:cubicBezTo>
                  <a:pt x="442665" y="144043"/>
                  <a:pt x="444627" y="140766"/>
                  <a:pt x="449837" y="142043"/>
                </a:cubicBezTo>
                <a:lnTo>
                  <a:pt x="449066" y="146548"/>
                </a:lnTo>
                <a:cubicBezTo>
                  <a:pt x="450790" y="147091"/>
                  <a:pt x="449894" y="144005"/>
                  <a:pt x="450771" y="143367"/>
                </a:cubicBezTo>
                <a:cubicBezTo>
                  <a:pt x="451923" y="142519"/>
                  <a:pt x="454381" y="144034"/>
                  <a:pt x="455466" y="142995"/>
                </a:cubicBezTo>
                <a:cubicBezTo>
                  <a:pt x="456552" y="141957"/>
                  <a:pt x="455676" y="135613"/>
                  <a:pt x="459810" y="137938"/>
                </a:cubicBezTo>
                <a:cubicBezTo>
                  <a:pt x="461210" y="134632"/>
                  <a:pt x="458419" y="134289"/>
                  <a:pt x="459810" y="130984"/>
                </a:cubicBezTo>
                <a:lnTo>
                  <a:pt x="466573" y="132127"/>
                </a:lnTo>
                <a:cubicBezTo>
                  <a:pt x="468982" y="132737"/>
                  <a:pt x="467754" y="128222"/>
                  <a:pt x="468649" y="126688"/>
                </a:cubicBezTo>
                <a:cubicBezTo>
                  <a:pt x="471735" y="124412"/>
                  <a:pt x="471364" y="128955"/>
                  <a:pt x="473907" y="129898"/>
                </a:cubicBezTo>
                <a:cubicBezTo>
                  <a:pt x="473783" y="127670"/>
                  <a:pt x="471049" y="127308"/>
                  <a:pt x="472602" y="123879"/>
                </a:cubicBezTo>
                <a:cubicBezTo>
                  <a:pt x="473945" y="123879"/>
                  <a:pt x="474574" y="124469"/>
                  <a:pt x="474669" y="125393"/>
                </a:cubicBezTo>
                <a:cubicBezTo>
                  <a:pt x="477643" y="123842"/>
                  <a:pt x="480074" y="121424"/>
                  <a:pt x="481641" y="118459"/>
                </a:cubicBezTo>
                <a:cubicBezTo>
                  <a:pt x="482479" y="119374"/>
                  <a:pt x="483605" y="119976"/>
                  <a:pt x="484832" y="120164"/>
                </a:cubicBezTo>
                <a:cubicBezTo>
                  <a:pt x="486527" y="120564"/>
                  <a:pt x="485680" y="117792"/>
                  <a:pt x="486537" y="116973"/>
                </a:cubicBezTo>
                <a:cubicBezTo>
                  <a:pt x="488232" y="115325"/>
                  <a:pt x="492871" y="117059"/>
                  <a:pt x="492928" y="113420"/>
                </a:cubicBezTo>
                <a:cubicBezTo>
                  <a:pt x="494833" y="113420"/>
                  <a:pt x="494690" y="114811"/>
                  <a:pt x="496119" y="115116"/>
                </a:cubicBezTo>
                <a:cubicBezTo>
                  <a:pt x="498634" y="114258"/>
                  <a:pt x="497805" y="111439"/>
                  <a:pt x="499339" y="109867"/>
                </a:cubicBezTo>
                <a:cubicBezTo>
                  <a:pt x="500224" y="108915"/>
                  <a:pt x="502730" y="109810"/>
                  <a:pt x="503091" y="108191"/>
                </a:cubicBezTo>
                <a:cubicBezTo>
                  <a:pt x="503368" y="106962"/>
                  <a:pt x="505625" y="107839"/>
                  <a:pt x="505730" y="106286"/>
                </a:cubicBezTo>
                <a:cubicBezTo>
                  <a:pt x="507218" y="107118"/>
                  <a:pt x="508264" y="108564"/>
                  <a:pt x="508587" y="110239"/>
                </a:cubicBezTo>
                <a:cubicBezTo>
                  <a:pt x="511016" y="109486"/>
                  <a:pt x="513731" y="109115"/>
                  <a:pt x="514979" y="106686"/>
                </a:cubicBezTo>
                <a:cubicBezTo>
                  <a:pt x="519055" y="107753"/>
                  <a:pt x="523246" y="104781"/>
                  <a:pt x="525313" y="107286"/>
                </a:cubicBezTo>
                <a:cubicBezTo>
                  <a:pt x="524056" y="109353"/>
                  <a:pt x="520684" y="110667"/>
                  <a:pt x="519293" y="108581"/>
                </a:cubicBezTo>
                <a:cubicBezTo>
                  <a:pt x="517989" y="114601"/>
                  <a:pt x="525961" y="109629"/>
                  <a:pt x="527552" y="114620"/>
                </a:cubicBezTo>
                <a:cubicBezTo>
                  <a:pt x="530095" y="115401"/>
                  <a:pt x="529352" y="111572"/>
                  <a:pt x="531505" y="111810"/>
                </a:cubicBezTo>
                <a:cubicBezTo>
                  <a:pt x="535134" y="111877"/>
                  <a:pt x="533972" y="115344"/>
                  <a:pt x="536572" y="116144"/>
                </a:cubicBezTo>
                <a:cubicBezTo>
                  <a:pt x="539315" y="115830"/>
                  <a:pt x="538420" y="110382"/>
                  <a:pt x="542963" y="112591"/>
                </a:cubicBezTo>
                <a:cubicBezTo>
                  <a:pt x="542858" y="108381"/>
                  <a:pt x="540020" y="106095"/>
                  <a:pt x="540182" y="101685"/>
                </a:cubicBezTo>
                <a:cubicBezTo>
                  <a:pt x="543392" y="101390"/>
                  <a:pt x="542087" y="104314"/>
                  <a:pt x="544306" y="104705"/>
                </a:cubicBezTo>
                <a:cubicBezTo>
                  <a:pt x="545973" y="104705"/>
                  <a:pt x="545259" y="101409"/>
                  <a:pt x="547164" y="101714"/>
                </a:cubicBezTo>
                <a:cubicBezTo>
                  <a:pt x="544449" y="98609"/>
                  <a:pt x="547840" y="97332"/>
                  <a:pt x="544925" y="94370"/>
                </a:cubicBezTo>
                <a:cubicBezTo>
                  <a:pt x="547421" y="91322"/>
                  <a:pt x="549231" y="93818"/>
                  <a:pt x="553002" y="94580"/>
                </a:cubicBezTo>
                <a:cubicBezTo>
                  <a:pt x="554670" y="94272"/>
                  <a:pt x="556119" y="93249"/>
                  <a:pt x="556965" y="91779"/>
                </a:cubicBezTo>
                <a:cubicBezTo>
                  <a:pt x="555174" y="87579"/>
                  <a:pt x="551526" y="92379"/>
                  <a:pt x="548878" y="91570"/>
                </a:cubicBezTo>
                <a:cubicBezTo>
                  <a:pt x="548573" y="86598"/>
                  <a:pt x="541744" y="92008"/>
                  <a:pt x="542696" y="87036"/>
                </a:cubicBezTo>
                <a:cubicBezTo>
                  <a:pt x="541411" y="86407"/>
                  <a:pt x="541801" y="88865"/>
                  <a:pt x="541182" y="89103"/>
                </a:cubicBezTo>
                <a:cubicBezTo>
                  <a:pt x="539563" y="89712"/>
                  <a:pt x="538324" y="86703"/>
                  <a:pt x="535543" y="88150"/>
                </a:cubicBezTo>
                <a:cubicBezTo>
                  <a:pt x="532190" y="87560"/>
                  <a:pt x="532209" y="84569"/>
                  <a:pt x="529361" y="83616"/>
                </a:cubicBezTo>
                <a:cubicBezTo>
                  <a:pt x="526142" y="84197"/>
                  <a:pt x="523161" y="85121"/>
                  <a:pt x="519770" y="85521"/>
                </a:cubicBezTo>
                <a:cubicBezTo>
                  <a:pt x="517484" y="82759"/>
                  <a:pt x="514131" y="86960"/>
                  <a:pt x="514521" y="82302"/>
                </a:cubicBezTo>
                <a:cubicBezTo>
                  <a:pt x="509572" y="81260"/>
                  <a:pt x="504469" y="81182"/>
                  <a:pt x="499491" y="82073"/>
                </a:cubicBezTo>
                <a:cubicBezTo>
                  <a:pt x="499005" y="79806"/>
                  <a:pt x="496253" y="80721"/>
                  <a:pt x="498929" y="78502"/>
                </a:cubicBezTo>
                <a:cubicBezTo>
                  <a:pt x="496510" y="77882"/>
                  <a:pt x="495186" y="78816"/>
                  <a:pt x="494976" y="81359"/>
                </a:cubicBezTo>
                <a:cubicBezTo>
                  <a:pt x="492290" y="81702"/>
                  <a:pt x="492662" y="78787"/>
                  <a:pt x="490852" y="78340"/>
                </a:cubicBezTo>
                <a:cubicBezTo>
                  <a:pt x="486318" y="77225"/>
                  <a:pt x="481565" y="81083"/>
                  <a:pt x="478469" y="83188"/>
                </a:cubicBezTo>
                <a:cubicBezTo>
                  <a:pt x="477322" y="82032"/>
                  <a:pt x="475781" y="81352"/>
                  <a:pt x="474155" y="81283"/>
                </a:cubicBezTo>
                <a:cubicBezTo>
                  <a:pt x="475526" y="79316"/>
                  <a:pt x="475945" y="76838"/>
                  <a:pt x="475298" y="74530"/>
                </a:cubicBezTo>
                <a:cubicBezTo>
                  <a:pt x="473678" y="75968"/>
                  <a:pt x="470735" y="75558"/>
                  <a:pt x="469087" y="76949"/>
                </a:cubicBezTo>
                <a:cubicBezTo>
                  <a:pt x="467230" y="75568"/>
                  <a:pt x="468992" y="73901"/>
                  <a:pt x="464772" y="75044"/>
                </a:cubicBezTo>
                <a:cubicBezTo>
                  <a:pt x="462610" y="75634"/>
                  <a:pt x="461820" y="77501"/>
                  <a:pt x="459877" y="76530"/>
                </a:cubicBezTo>
                <a:lnTo>
                  <a:pt x="460648" y="72025"/>
                </a:lnTo>
                <a:cubicBezTo>
                  <a:pt x="457791" y="70729"/>
                  <a:pt x="458076" y="73987"/>
                  <a:pt x="456695" y="74834"/>
                </a:cubicBezTo>
                <a:cubicBezTo>
                  <a:pt x="452990" y="72929"/>
                  <a:pt x="442522" y="74025"/>
                  <a:pt x="440369" y="68586"/>
                </a:cubicBezTo>
                <a:cubicBezTo>
                  <a:pt x="434559" y="70653"/>
                  <a:pt x="431883" y="67976"/>
                  <a:pt x="426463" y="68538"/>
                </a:cubicBezTo>
                <a:cubicBezTo>
                  <a:pt x="426891" y="63938"/>
                  <a:pt x="421338" y="68443"/>
                  <a:pt x="421586" y="63081"/>
                </a:cubicBezTo>
                <a:cubicBezTo>
                  <a:pt x="419976" y="64528"/>
                  <a:pt x="417033" y="64109"/>
                  <a:pt x="415385" y="65500"/>
                </a:cubicBezTo>
                <a:cubicBezTo>
                  <a:pt x="412890" y="64290"/>
                  <a:pt x="412994" y="61242"/>
                  <a:pt x="410518" y="60033"/>
                </a:cubicBezTo>
                <a:cubicBezTo>
                  <a:pt x="406089" y="61109"/>
                  <a:pt x="412842" y="62166"/>
                  <a:pt x="410870" y="64738"/>
                </a:cubicBezTo>
                <a:cubicBezTo>
                  <a:pt x="409785" y="65062"/>
                  <a:pt x="408689" y="65386"/>
                  <a:pt x="408242" y="66643"/>
                </a:cubicBezTo>
                <a:cubicBezTo>
                  <a:pt x="407060" y="67681"/>
                  <a:pt x="403374" y="62166"/>
                  <a:pt x="400545" y="64185"/>
                </a:cubicBezTo>
                <a:cubicBezTo>
                  <a:pt x="398345" y="65728"/>
                  <a:pt x="400155" y="62909"/>
                  <a:pt x="396221" y="62280"/>
                </a:cubicBezTo>
                <a:cubicBezTo>
                  <a:pt x="396069" y="63376"/>
                  <a:pt x="397450" y="63385"/>
                  <a:pt x="398288" y="63785"/>
                </a:cubicBezTo>
                <a:cubicBezTo>
                  <a:pt x="396812" y="67872"/>
                  <a:pt x="394678" y="62319"/>
                  <a:pt x="393202" y="66405"/>
                </a:cubicBezTo>
                <a:cubicBezTo>
                  <a:pt x="391297" y="63547"/>
                  <a:pt x="389896" y="66405"/>
                  <a:pt x="386448" y="65252"/>
                </a:cubicBezTo>
                <a:lnTo>
                  <a:pt x="387020" y="61880"/>
                </a:lnTo>
                <a:cubicBezTo>
                  <a:pt x="383877" y="62099"/>
                  <a:pt x="382181" y="64376"/>
                  <a:pt x="379495" y="65233"/>
                </a:cubicBezTo>
                <a:cubicBezTo>
                  <a:pt x="375752" y="66129"/>
                  <a:pt x="373780" y="60842"/>
                  <a:pt x="371608" y="63900"/>
                </a:cubicBezTo>
                <a:cubicBezTo>
                  <a:pt x="368008" y="62814"/>
                  <a:pt x="369608" y="58042"/>
                  <a:pt x="368437" y="55251"/>
                </a:cubicBezTo>
                <a:cubicBezTo>
                  <a:pt x="366282" y="57177"/>
                  <a:pt x="365338" y="60117"/>
                  <a:pt x="365970" y="62938"/>
                </a:cubicBezTo>
                <a:cubicBezTo>
                  <a:pt x="363331" y="61985"/>
                  <a:pt x="363169" y="64585"/>
                  <a:pt x="360150" y="63119"/>
                </a:cubicBezTo>
                <a:cubicBezTo>
                  <a:pt x="360150" y="61052"/>
                  <a:pt x="361598" y="60985"/>
                  <a:pt x="361464" y="62166"/>
                </a:cubicBezTo>
                <a:cubicBezTo>
                  <a:pt x="364693" y="61671"/>
                  <a:pt x="359312" y="59213"/>
                  <a:pt x="359969" y="57280"/>
                </a:cubicBezTo>
                <a:cubicBezTo>
                  <a:pt x="358064" y="58766"/>
                  <a:pt x="353939" y="57175"/>
                  <a:pt x="353568" y="60833"/>
                </a:cubicBezTo>
                <a:cubicBezTo>
                  <a:pt x="351939" y="58375"/>
                  <a:pt x="350053" y="61614"/>
                  <a:pt x="348129" y="58747"/>
                </a:cubicBezTo>
                <a:cubicBezTo>
                  <a:pt x="346300" y="59423"/>
                  <a:pt x="345881" y="62099"/>
                  <a:pt x="344919" y="63995"/>
                </a:cubicBezTo>
                <a:cubicBezTo>
                  <a:pt x="343833" y="63785"/>
                  <a:pt x="344281" y="62471"/>
                  <a:pt x="344176" y="61557"/>
                </a:cubicBezTo>
                <a:cubicBezTo>
                  <a:pt x="340766" y="59547"/>
                  <a:pt x="342700" y="65052"/>
                  <a:pt x="339290" y="63042"/>
                </a:cubicBezTo>
                <a:lnTo>
                  <a:pt x="339671" y="60795"/>
                </a:lnTo>
                <a:cubicBezTo>
                  <a:pt x="336877" y="60325"/>
                  <a:pt x="334007" y="60655"/>
                  <a:pt x="331394" y="61747"/>
                </a:cubicBezTo>
                <a:cubicBezTo>
                  <a:pt x="329889" y="61080"/>
                  <a:pt x="331632" y="59747"/>
                  <a:pt x="332908" y="59680"/>
                </a:cubicBezTo>
                <a:cubicBezTo>
                  <a:pt x="333642" y="57451"/>
                  <a:pt x="329613" y="59356"/>
                  <a:pt x="329336" y="60233"/>
                </a:cubicBezTo>
                <a:cubicBezTo>
                  <a:pt x="327193" y="59185"/>
                  <a:pt x="328270" y="57213"/>
                  <a:pt x="328032" y="54222"/>
                </a:cubicBezTo>
                <a:cubicBezTo>
                  <a:pt x="327974" y="53432"/>
                  <a:pt x="327079" y="53003"/>
                  <a:pt x="327079" y="52898"/>
                </a:cubicBezTo>
                <a:cubicBezTo>
                  <a:pt x="327079" y="52098"/>
                  <a:pt x="328470" y="51879"/>
                  <a:pt x="328574" y="50831"/>
                </a:cubicBezTo>
                <a:cubicBezTo>
                  <a:pt x="328574" y="50584"/>
                  <a:pt x="327174" y="49422"/>
                  <a:pt x="327841" y="48393"/>
                </a:cubicBezTo>
                <a:cubicBezTo>
                  <a:pt x="328022" y="48098"/>
                  <a:pt x="330756" y="49041"/>
                  <a:pt x="330279" y="47650"/>
                </a:cubicBezTo>
                <a:cubicBezTo>
                  <a:pt x="330194" y="45402"/>
                  <a:pt x="326069" y="46012"/>
                  <a:pt x="327660" y="42564"/>
                </a:cubicBezTo>
                <a:lnTo>
                  <a:pt x="324288" y="41992"/>
                </a:lnTo>
                <a:cubicBezTo>
                  <a:pt x="320735" y="44431"/>
                  <a:pt x="322040" y="45602"/>
                  <a:pt x="321821" y="49688"/>
                </a:cubicBezTo>
                <a:cubicBezTo>
                  <a:pt x="320243" y="49631"/>
                  <a:pt x="318955" y="48405"/>
                  <a:pt x="318821" y="46831"/>
                </a:cubicBezTo>
                <a:cubicBezTo>
                  <a:pt x="315335" y="47250"/>
                  <a:pt x="321154" y="48964"/>
                  <a:pt x="319183" y="51536"/>
                </a:cubicBezTo>
                <a:cubicBezTo>
                  <a:pt x="314801" y="51012"/>
                  <a:pt x="313011" y="48679"/>
                  <a:pt x="313382" y="44754"/>
                </a:cubicBezTo>
                <a:cubicBezTo>
                  <a:pt x="314658" y="45154"/>
                  <a:pt x="315430" y="44840"/>
                  <a:pt x="315830" y="44002"/>
                </a:cubicBezTo>
                <a:cubicBezTo>
                  <a:pt x="316421" y="42297"/>
                  <a:pt x="313211" y="43183"/>
                  <a:pt x="312630" y="42307"/>
                </a:cubicBezTo>
                <a:cubicBezTo>
                  <a:pt x="311744" y="40963"/>
                  <a:pt x="316906" y="37925"/>
                  <a:pt x="310953" y="38544"/>
                </a:cubicBezTo>
                <a:cubicBezTo>
                  <a:pt x="312725" y="34467"/>
                  <a:pt x="311906" y="33267"/>
                  <a:pt x="313420" y="30848"/>
                </a:cubicBezTo>
                <a:cubicBezTo>
                  <a:pt x="315706" y="31905"/>
                  <a:pt x="318907" y="35763"/>
                  <a:pt x="320183" y="31991"/>
                </a:cubicBezTo>
                <a:cubicBezTo>
                  <a:pt x="321650" y="32601"/>
                  <a:pt x="320640" y="34972"/>
                  <a:pt x="320535" y="36687"/>
                </a:cubicBezTo>
                <a:cubicBezTo>
                  <a:pt x="323488" y="36182"/>
                  <a:pt x="323917" y="32134"/>
                  <a:pt x="328070" y="33334"/>
                </a:cubicBezTo>
                <a:lnTo>
                  <a:pt x="328841" y="28829"/>
                </a:lnTo>
                <a:cubicBezTo>
                  <a:pt x="333023" y="30543"/>
                  <a:pt x="333308" y="26752"/>
                  <a:pt x="336166" y="26590"/>
                </a:cubicBezTo>
                <a:cubicBezTo>
                  <a:pt x="335547" y="24028"/>
                  <a:pt x="331280" y="27943"/>
                  <a:pt x="328089" y="26381"/>
                </a:cubicBezTo>
                <a:cubicBezTo>
                  <a:pt x="328889" y="25485"/>
                  <a:pt x="332308" y="22018"/>
                  <a:pt x="329603" y="24314"/>
                </a:cubicBezTo>
                <a:cubicBezTo>
                  <a:pt x="326984" y="23142"/>
                  <a:pt x="329975" y="18523"/>
                  <a:pt x="332623" y="20189"/>
                </a:cubicBezTo>
                <a:cubicBezTo>
                  <a:pt x="333727" y="19075"/>
                  <a:pt x="331822" y="17932"/>
                  <a:pt x="331870" y="17742"/>
                </a:cubicBezTo>
                <a:cubicBezTo>
                  <a:pt x="332080" y="16856"/>
                  <a:pt x="334823" y="17037"/>
                  <a:pt x="334509" y="15837"/>
                </a:cubicBezTo>
                <a:cubicBezTo>
                  <a:pt x="334194" y="14636"/>
                  <a:pt x="332908" y="14455"/>
                  <a:pt x="331327" y="14141"/>
                </a:cubicBezTo>
                <a:cubicBezTo>
                  <a:pt x="331546" y="11655"/>
                  <a:pt x="335404" y="14303"/>
                  <a:pt x="337147" y="13960"/>
                </a:cubicBezTo>
                <a:cubicBezTo>
                  <a:pt x="338342" y="13228"/>
                  <a:pt x="339327" y="12197"/>
                  <a:pt x="340004" y="10969"/>
                </a:cubicBezTo>
                <a:cubicBezTo>
                  <a:pt x="344234" y="10874"/>
                  <a:pt x="349720" y="12560"/>
                  <a:pt x="351844" y="9502"/>
                </a:cubicBezTo>
                <a:cubicBezTo>
                  <a:pt x="354835" y="7283"/>
                  <a:pt x="350406" y="12303"/>
                  <a:pt x="350891" y="15132"/>
                </a:cubicBezTo>
                <a:cubicBezTo>
                  <a:pt x="354882" y="13455"/>
                  <a:pt x="355083" y="14522"/>
                  <a:pt x="359159" y="14179"/>
                </a:cubicBezTo>
                <a:cubicBezTo>
                  <a:pt x="362283" y="13465"/>
                  <a:pt x="364046" y="10817"/>
                  <a:pt x="367808" y="11007"/>
                </a:cubicBezTo>
                <a:cubicBezTo>
                  <a:pt x="367141" y="13798"/>
                  <a:pt x="368951" y="14817"/>
                  <a:pt x="370427" y="16094"/>
                </a:cubicBezTo>
                <a:cubicBezTo>
                  <a:pt x="371380" y="16027"/>
                  <a:pt x="371742" y="15141"/>
                  <a:pt x="372866" y="15341"/>
                </a:cubicBezTo>
                <a:cubicBezTo>
                  <a:pt x="374028" y="11884"/>
                  <a:pt x="371513" y="11017"/>
                  <a:pt x="373075" y="7264"/>
                </a:cubicBezTo>
                <a:cubicBezTo>
                  <a:pt x="373932" y="8645"/>
                  <a:pt x="377180" y="8321"/>
                  <a:pt x="375933" y="11217"/>
                </a:cubicBezTo>
                <a:cubicBezTo>
                  <a:pt x="377200" y="10198"/>
                  <a:pt x="380152" y="11579"/>
                  <a:pt x="379895" y="8417"/>
                </a:cubicBezTo>
                <a:cubicBezTo>
                  <a:pt x="380162" y="6740"/>
                  <a:pt x="378533" y="8055"/>
                  <a:pt x="378762" y="8226"/>
                </a:cubicBezTo>
                <a:cubicBezTo>
                  <a:pt x="376586" y="6140"/>
                  <a:pt x="376514" y="2685"/>
                  <a:pt x="378601" y="509"/>
                </a:cubicBezTo>
                <a:cubicBezTo>
                  <a:pt x="378722" y="383"/>
                  <a:pt x="378848" y="263"/>
                  <a:pt x="378981" y="149"/>
                </a:cubicBezTo>
                <a:cubicBezTo>
                  <a:pt x="381533" y="901"/>
                  <a:pt x="381048" y="3587"/>
                  <a:pt x="379343" y="4845"/>
                </a:cubicBezTo>
                <a:cubicBezTo>
                  <a:pt x="382667" y="6273"/>
                  <a:pt x="382029" y="2121"/>
                  <a:pt x="385353" y="3540"/>
                </a:cubicBezTo>
                <a:cubicBezTo>
                  <a:pt x="385201" y="4645"/>
                  <a:pt x="386591" y="4654"/>
                  <a:pt x="387420" y="5054"/>
                </a:cubicBezTo>
                <a:cubicBezTo>
                  <a:pt x="385201" y="9255"/>
                  <a:pt x="391087" y="8483"/>
                  <a:pt x="387591" y="10884"/>
                </a:cubicBezTo>
                <a:cubicBezTo>
                  <a:pt x="393306" y="9226"/>
                  <a:pt x="392992" y="16189"/>
                  <a:pt x="399793" y="14113"/>
                </a:cubicBezTo>
                <a:cubicBezTo>
                  <a:pt x="399720" y="12090"/>
                  <a:pt x="400469" y="10125"/>
                  <a:pt x="401869" y="8664"/>
                </a:cubicBezTo>
                <a:cubicBezTo>
                  <a:pt x="404574" y="11617"/>
                  <a:pt x="406698" y="8807"/>
                  <a:pt x="409575" y="11131"/>
                </a:cubicBezTo>
                <a:cubicBezTo>
                  <a:pt x="412270" y="11048"/>
                  <a:pt x="414966" y="11118"/>
                  <a:pt x="417652" y="11341"/>
                </a:cubicBezTo>
                <a:cubicBezTo>
                  <a:pt x="416995" y="13303"/>
                  <a:pt x="418328" y="13836"/>
                  <a:pt x="418605" y="12655"/>
                </a:cubicBezTo>
                <a:cubicBezTo>
                  <a:pt x="421634" y="13674"/>
                  <a:pt x="418052" y="16208"/>
                  <a:pt x="415966" y="14560"/>
                </a:cubicBezTo>
                <a:cubicBezTo>
                  <a:pt x="416862" y="16237"/>
                  <a:pt x="416357" y="18904"/>
                  <a:pt x="417262" y="20580"/>
                </a:cubicBezTo>
                <a:cubicBezTo>
                  <a:pt x="418625" y="19531"/>
                  <a:pt x="420580" y="19786"/>
                  <a:pt x="421630" y="21149"/>
                </a:cubicBezTo>
                <a:cubicBezTo>
                  <a:pt x="421677" y="21211"/>
                  <a:pt x="421724" y="21276"/>
                  <a:pt x="421767" y="21342"/>
                </a:cubicBezTo>
                <a:cubicBezTo>
                  <a:pt x="422409" y="21338"/>
                  <a:pt x="422926" y="20815"/>
                  <a:pt x="422922" y="20173"/>
                </a:cubicBezTo>
                <a:cubicBezTo>
                  <a:pt x="422920" y="19684"/>
                  <a:pt x="422610" y="19248"/>
                  <a:pt x="422148" y="19085"/>
                </a:cubicBezTo>
                <a:cubicBezTo>
                  <a:pt x="423624" y="16980"/>
                  <a:pt x="426911" y="17389"/>
                  <a:pt x="430416" y="18132"/>
                </a:cubicBezTo>
                <a:cubicBezTo>
                  <a:pt x="429682" y="18675"/>
                  <a:pt x="429558" y="19485"/>
                  <a:pt x="428911" y="20199"/>
                </a:cubicBezTo>
                <a:cubicBezTo>
                  <a:pt x="428151" y="21148"/>
                  <a:pt x="427576" y="22230"/>
                  <a:pt x="427215" y="23390"/>
                </a:cubicBezTo>
                <a:cubicBezTo>
                  <a:pt x="426977" y="23923"/>
                  <a:pt x="425853" y="24485"/>
                  <a:pt x="425891" y="24342"/>
                </a:cubicBezTo>
                <a:cubicBezTo>
                  <a:pt x="425253" y="26924"/>
                  <a:pt x="427711" y="29267"/>
                  <a:pt x="423624" y="30915"/>
                </a:cubicBezTo>
                <a:cubicBezTo>
                  <a:pt x="425380" y="32929"/>
                  <a:pt x="426191" y="35598"/>
                  <a:pt x="425853" y="38249"/>
                </a:cubicBezTo>
                <a:cubicBezTo>
                  <a:pt x="429978" y="39411"/>
                  <a:pt x="432626" y="38468"/>
                  <a:pt x="433378" y="34887"/>
                </a:cubicBezTo>
                <a:cubicBezTo>
                  <a:pt x="437188" y="36001"/>
                  <a:pt x="434330" y="38173"/>
                  <a:pt x="438817" y="36973"/>
                </a:cubicBezTo>
                <a:cubicBezTo>
                  <a:pt x="437236" y="41068"/>
                  <a:pt x="439284" y="42592"/>
                  <a:pt x="438417" y="46174"/>
                </a:cubicBezTo>
                <a:cubicBezTo>
                  <a:pt x="439179" y="46802"/>
                  <a:pt x="440931" y="42564"/>
                  <a:pt x="440322" y="41859"/>
                </a:cubicBezTo>
                <a:cubicBezTo>
                  <a:pt x="439036" y="40382"/>
                  <a:pt x="440407" y="41516"/>
                  <a:pt x="440512" y="40735"/>
                </a:cubicBezTo>
                <a:cubicBezTo>
                  <a:pt x="440646" y="39687"/>
                  <a:pt x="438750" y="34306"/>
                  <a:pt x="441855" y="32848"/>
                </a:cubicBezTo>
                <a:cubicBezTo>
                  <a:pt x="443265" y="32772"/>
                  <a:pt x="442093" y="34753"/>
                  <a:pt x="442598" y="35287"/>
                </a:cubicBezTo>
                <a:cubicBezTo>
                  <a:pt x="443646" y="36458"/>
                  <a:pt x="446494" y="35620"/>
                  <a:pt x="446913" y="37192"/>
                </a:cubicBezTo>
                <a:cubicBezTo>
                  <a:pt x="449066" y="36506"/>
                  <a:pt x="449637" y="33591"/>
                  <a:pt x="451247" y="32134"/>
                </a:cubicBezTo>
                <a:cubicBezTo>
                  <a:pt x="455057" y="33163"/>
                  <a:pt x="457095" y="35839"/>
                  <a:pt x="459515" y="31181"/>
                </a:cubicBezTo>
                <a:cubicBezTo>
                  <a:pt x="460810" y="31591"/>
                  <a:pt x="460124" y="33401"/>
                  <a:pt x="460077" y="34753"/>
                </a:cubicBezTo>
                <a:cubicBezTo>
                  <a:pt x="460077" y="36792"/>
                  <a:pt x="467097" y="41945"/>
                  <a:pt x="467773" y="37220"/>
                </a:cubicBezTo>
                <a:cubicBezTo>
                  <a:pt x="471583" y="36849"/>
                  <a:pt x="468678" y="41202"/>
                  <a:pt x="471707" y="41364"/>
                </a:cubicBezTo>
                <a:cubicBezTo>
                  <a:pt x="474002" y="40287"/>
                  <a:pt x="471840" y="35725"/>
                  <a:pt x="474155" y="40630"/>
                </a:cubicBezTo>
                <a:cubicBezTo>
                  <a:pt x="477393" y="40116"/>
                  <a:pt x="471497" y="38020"/>
                  <a:pt x="473974" y="34801"/>
                </a:cubicBezTo>
                <a:cubicBezTo>
                  <a:pt x="474726" y="35925"/>
                  <a:pt x="476945" y="35991"/>
                  <a:pt x="476974" y="37658"/>
                </a:cubicBezTo>
                <a:cubicBezTo>
                  <a:pt x="476483" y="39173"/>
                  <a:pt x="477209" y="40813"/>
                  <a:pt x="478660" y="41468"/>
                </a:cubicBezTo>
                <a:cubicBezTo>
                  <a:pt x="478250" y="42754"/>
                  <a:pt x="476441" y="42068"/>
                  <a:pt x="475078" y="42011"/>
                </a:cubicBezTo>
                <a:cubicBezTo>
                  <a:pt x="474202" y="44288"/>
                  <a:pt x="475345" y="45135"/>
                  <a:pt x="475440" y="46717"/>
                </a:cubicBezTo>
                <a:cubicBezTo>
                  <a:pt x="476545" y="46869"/>
                  <a:pt x="476555" y="45488"/>
                  <a:pt x="476955" y="44659"/>
                </a:cubicBezTo>
                <a:cubicBezTo>
                  <a:pt x="480603" y="44659"/>
                  <a:pt x="480936" y="47860"/>
                  <a:pt x="483718" y="45802"/>
                </a:cubicBezTo>
                <a:cubicBezTo>
                  <a:pt x="483899" y="43688"/>
                  <a:pt x="480012" y="44459"/>
                  <a:pt x="479593" y="42783"/>
                </a:cubicBezTo>
                <a:cubicBezTo>
                  <a:pt x="481394" y="41592"/>
                  <a:pt x="481498" y="38077"/>
                  <a:pt x="482060" y="35087"/>
                </a:cubicBezTo>
                <a:cubicBezTo>
                  <a:pt x="483475" y="35752"/>
                  <a:pt x="484187" y="37353"/>
                  <a:pt x="483737" y="38849"/>
                </a:cubicBezTo>
                <a:cubicBezTo>
                  <a:pt x="487204" y="38458"/>
                  <a:pt x="482784" y="35763"/>
                  <a:pt x="484689" y="33220"/>
                </a:cubicBezTo>
                <a:cubicBezTo>
                  <a:pt x="488994" y="35544"/>
                  <a:pt x="488671" y="31372"/>
                  <a:pt x="491842" y="32105"/>
                </a:cubicBezTo>
                <a:lnTo>
                  <a:pt x="490890" y="37744"/>
                </a:lnTo>
                <a:cubicBezTo>
                  <a:pt x="488499" y="36696"/>
                  <a:pt x="488918" y="39649"/>
                  <a:pt x="487128" y="39420"/>
                </a:cubicBezTo>
                <a:cubicBezTo>
                  <a:pt x="487128" y="42116"/>
                  <a:pt x="490137" y="39716"/>
                  <a:pt x="491642" y="40182"/>
                </a:cubicBezTo>
                <a:cubicBezTo>
                  <a:pt x="491557" y="40182"/>
                  <a:pt x="491642" y="42087"/>
                  <a:pt x="492595" y="41506"/>
                </a:cubicBezTo>
                <a:cubicBezTo>
                  <a:pt x="495024" y="40744"/>
                  <a:pt x="497729" y="40373"/>
                  <a:pt x="498986" y="37954"/>
                </a:cubicBezTo>
                <a:cubicBezTo>
                  <a:pt x="500646" y="39046"/>
                  <a:pt x="502689" y="39392"/>
                  <a:pt x="504615" y="38906"/>
                </a:cubicBezTo>
                <a:cubicBezTo>
                  <a:pt x="505209" y="39997"/>
                  <a:pt x="505407" y="41258"/>
                  <a:pt x="505177" y="42478"/>
                </a:cubicBezTo>
                <a:cubicBezTo>
                  <a:pt x="507883" y="42630"/>
                  <a:pt x="506711" y="37611"/>
                  <a:pt x="504806" y="37782"/>
                </a:cubicBezTo>
                <a:cubicBezTo>
                  <a:pt x="504873" y="35982"/>
                  <a:pt x="507483" y="37849"/>
                  <a:pt x="508387" y="37230"/>
                </a:cubicBezTo>
                <a:cubicBezTo>
                  <a:pt x="509464" y="36487"/>
                  <a:pt x="508787" y="33096"/>
                  <a:pt x="510292" y="32915"/>
                </a:cubicBezTo>
                <a:cubicBezTo>
                  <a:pt x="511164" y="34005"/>
                  <a:pt x="511742" y="35300"/>
                  <a:pt x="511969" y="36677"/>
                </a:cubicBezTo>
                <a:cubicBezTo>
                  <a:pt x="515636" y="36496"/>
                  <a:pt x="513950" y="33915"/>
                  <a:pt x="514045" y="31229"/>
                </a:cubicBezTo>
                <a:cubicBezTo>
                  <a:pt x="515836" y="33705"/>
                  <a:pt x="516903" y="31839"/>
                  <a:pt x="519684" y="32181"/>
                </a:cubicBezTo>
                <a:cubicBezTo>
                  <a:pt x="521341" y="33315"/>
                  <a:pt x="518493" y="37649"/>
                  <a:pt x="522303" y="37258"/>
                </a:cubicBezTo>
                <a:cubicBezTo>
                  <a:pt x="521970" y="40325"/>
                  <a:pt x="520313" y="38716"/>
                  <a:pt x="521541" y="41764"/>
                </a:cubicBezTo>
                <a:cubicBezTo>
                  <a:pt x="522703" y="44621"/>
                  <a:pt x="523103" y="42983"/>
                  <a:pt x="525656" y="44783"/>
                </a:cubicBezTo>
                <a:cubicBezTo>
                  <a:pt x="525932" y="44974"/>
                  <a:pt x="525008" y="46840"/>
                  <a:pt x="525275" y="47040"/>
                </a:cubicBezTo>
                <a:cubicBezTo>
                  <a:pt x="526380" y="47831"/>
                  <a:pt x="526228" y="46088"/>
                  <a:pt x="526599" y="46088"/>
                </a:cubicBezTo>
                <a:cubicBezTo>
                  <a:pt x="528180" y="45945"/>
                  <a:pt x="529076" y="51574"/>
                  <a:pt x="529971" y="46659"/>
                </a:cubicBezTo>
                <a:cubicBezTo>
                  <a:pt x="533648" y="48012"/>
                  <a:pt x="535210" y="50879"/>
                  <a:pt x="540858" y="50822"/>
                </a:cubicBezTo>
                <a:cubicBezTo>
                  <a:pt x="540003" y="48583"/>
                  <a:pt x="540003" y="46108"/>
                  <a:pt x="540858" y="43869"/>
                </a:cubicBezTo>
                <a:cubicBezTo>
                  <a:pt x="543763" y="45650"/>
                  <a:pt x="546887" y="46726"/>
                  <a:pt x="547078" y="41449"/>
                </a:cubicBezTo>
                <a:cubicBezTo>
                  <a:pt x="550288" y="41144"/>
                  <a:pt x="548983" y="44069"/>
                  <a:pt x="551193" y="44469"/>
                </a:cubicBezTo>
                <a:cubicBezTo>
                  <a:pt x="554165" y="45621"/>
                  <a:pt x="552841" y="41525"/>
                  <a:pt x="554212" y="40335"/>
                </a:cubicBezTo>
                <a:cubicBezTo>
                  <a:pt x="554593" y="40021"/>
                  <a:pt x="556022" y="40944"/>
                  <a:pt x="556470" y="40725"/>
                </a:cubicBezTo>
                <a:cubicBezTo>
                  <a:pt x="558737" y="39640"/>
                  <a:pt x="560280" y="35963"/>
                  <a:pt x="562127" y="34725"/>
                </a:cubicBezTo>
                <a:cubicBezTo>
                  <a:pt x="564680" y="35887"/>
                  <a:pt x="560765" y="41630"/>
                  <a:pt x="563080" y="42992"/>
                </a:cubicBezTo>
                <a:cubicBezTo>
                  <a:pt x="567157" y="44735"/>
                  <a:pt x="563566" y="39525"/>
                  <a:pt x="564985" y="38677"/>
                </a:cubicBezTo>
                <a:cubicBezTo>
                  <a:pt x="565261" y="38516"/>
                  <a:pt x="567957" y="44764"/>
                  <a:pt x="568376" y="39249"/>
                </a:cubicBezTo>
                <a:cubicBezTo>
                  <a:pt x="570776" y="40954"/>
                  <a:pt x="571433" y="39525"/>
                  <a:pt x="573624" y="42468"/>
                </a:cubicBezTo>
                <a:cubicBezTo>
                  <a:pt x="571195" y="45012"/>
                  <a:pt x="574243" y="46631"/>
                  <a:pt x="571538" y="47907"/>
                </a:cubicBezTo>
                <a:cubicBezTo>
                  <a:pt x="571748" y="49660"/>
                  <a:pt x="573053" y="47707"/>
                  <a:pt x="574920" y="48479"/>
                </a:cubicBezTo>
                <a:cubicBezTo>
                  <a:pt x="573967" y="50793"/>
                  <a:pt x="576158" y="50898"/>
                  <a:pt x="577920" y="51336"/>
                </a:cubicBezTo>
                <a:cubicBezTo>
                  <a:pt x="577606" y="53241"/>
                  <a:pt x="577282" y="55089"/>
                  <a:pt x="576967" y="56975"/>
                </a:cubicBezTo>
                <a:cubicBezTo>
                  <a:pt x="582454" y="59690"/>
                  <a:pt x="577329" y="53708"/>
                  <a:pt x="579977" y="52851"/>
                </a:cubicBezTo>
                <a:cubicBezTo>
                  <a:pt x="581587" y="52327"/>
                  <a:pt x="580101" y="56070"/>
                  <a:pt x="580530" y="56413"/>
                </a:cubicBezTo>
                <a:cubicBezTo>
                  <a:pt x="582492" y="58004"/>
                  <a:pt x="582930" y="54794"/>
                  <a:pt x="584492" y="53613"/>
                </a:cubicBezTo>
                <a:cubicBezTo>
                  <a:pt x="585302" y="52994"/>
                  <a:pt x="587550" y="54127"/>
                  <a:pt x="587121" y="51708"/>
                </a:cubicBezTo>
                <a:cubicBezTo>
                  <a:pt x="589607" y="51927"/>
                  <a:pt x="590560" y="53241"/>
                  <a:pt x="589931" y="55670"/>
                </a:cubicBezTo>
                <a:cubicBezTo>
                  <a:pt x="593541" y="54908"/>
                  <a:pt x="596475" y="57451"/>
                  <a:pt x="599523" y="53765"/>
                </a:cubicBezTo>
                <a:cubicBezTo>
                  <a:pt x="601580" y="54613"/>
                  <a:pt x="601942" y="56680"/>
                  <a:pt x="604771" y="56975"/>
                </a:cubicBezTo>
                <a:cubicBezTo>
                  <a:pt x="603599" y="58621"/>
                  <a:pt x="601315" y="59005"/>
                  <a:pt x="599670" y="57833"/>
                </a:cubicBezTo>
                <a:cubicBezTo>
                  <a:pt x="599397" y="57639"/>
                  <a:pt x="599152" y="57407"/>
                  <a:pt x="598942" y="57146"/>
                </a:cubicBezTo>
                <a:cubicBezTo>
                  <a:pt x="598479" y="58646"/>
                  <a:pt x="599201" y="60256"/>
                  <a:pt x="600627" y="60909"/>
                </a:cubicBezTo>
                <a:cubicBezTo>
                  <a:pt x="603152" y="59194"/>
                  <a:pt x="601866" y="59004"/>
                  <a:pt x="605333" y="60547"/>
                </a:cubicBezTo>
                <a:cubicBezTo>
                  <a:pt x="606903" y="60405"/>
                  <a:pt x="608125" y="59122"/>
                  <a:pt x="608190" y="57547"/>
                </a:cubicBezTo>
                <a:cubicBezTo>
                  <a:pt x="612572" y="58585"/>
                  <a:pt x="615744" y="59890"/>
                  <a:pt x="616058" y="65833"/>
                </a:cubicBezTo>
                <a:cubicBezTo>
                  <a:pt x="618173" y="66662"/>
                  <a:pt x="618582" y="60985"/>
                  <a:pt x="615515" y="62271"/>
                </a:cubicBezTo>
                <a:cubicBezTo>
                  <a:pt x="618487" y="57213"/>
                  <a:pt x="618439" y="65205"/>
                  <a:pt x="621887" y="65671"/>
                </a:cubicBezTo>
                <a:cubicBezTo>
                  <a:pt x="622840" y="61680"/>
                  <a:pt x="619201" y="60966"/>
                  <a:pt x="619839" y="57204"/>
                </a:cubicBezTo>
                <a:cubicBezTo>
                  <a:pt x="622697" y="57042"/>
                  <a:pt x="621421" y="59594"/>
                  <a:pt x="625278" y="59290"/>
                </a:cubicBezTo>
                <a:cubicBezTo>
                  <a:pt x="627059" y="59156"/>
                  <a:pt x="626897" y="58575"/>
                  <a:pt x="630927" y="60242"/>
                </a:cubicBezTo>
                <a:cubicBezTo>
                  <a:pt x="632601" y="61256"/>
                  <a:pt x="634442" y="61962"/>
                  <a:pt x="636365" y="62328"/>
                </a:cubicBezTo>
                <a:cubicBezTo>
                  <a:pt x="638594" y="63061"/>
                  <a:pt x="636689" y="59032"/>
                  <a:pt x="635803" y="58756"/>
                </a:cubicBezTo>
                <a:cubicBezTo>
                  <a:pt x="637527" y="55470"/>
                  <a:pt x="638661" y="60528"/>
                  <a:pt x="638813" y="61614"/>
                </a:cubicBezTo>
                <a:cubicBezTo>
                  <a:pt x="640966" y="60956"/>
                  <a:pt x="642709" y="58604"/>
                  <a:pt x="644643" y="61442"/>
                </a:cubicBezTo>
                <a:cubicBezTo>
                  <a:pt x="646395" y="61233"/>
                  <a:pt x="644433" y="59928"/>
                  <a:pt x="645214" y="58061"/>
                </a:cubicBezTo>
                <a:cubicBezTo>
                  <a:pt x="646166" y="59347"/>
                  <a:pt x="647919" y="59013"/>
                  <a:pt x="649719" y="58823"/>
                </a:cubicBezTo>
                <a:cubicBezTo>
                  <a:pt x="651520" y="58632"/>
                  <a:pt x="653777" y="58461"/>
                  <a:pt x="654606" y="57337"/>
                </a:cubicBezTo>
                <a:cubicBezTo>
                  <a:pt x="657158" y="58099"/>
                  <a:pt x="656692" y="60785"/>
                  <a:pt x="654968" y="62042"/>
                </a:cubicBezTo>
                <a:cubicBezTo>
                  <a:pt x="659330" y="63538"/>
                  <a:pt x="658921" y="58299"/>
                  <a:pt x="659730" y="54718"/>
                </a:cubicBezTo>
                <a:cubicBezTo>
                  <a:pt x="659730" y="55251"/>
                  <a:pt x="661711" y="55842"/>
                  <a:pt x="661787" y="56232"/>
                </a:cubicBezTo>
                <a:cubicBezTo>
                  <a:pt x="662121" y="57966"/>
                  <a:pt x="660397" y="57766"/>
                  <a:pt x="660283" y="58289"/>
                </a:cubicBezTo>
                <a:cubicBezTo>
                  <a:pt x="659616" y="61271"/>
                  <a:pt x="661549" y="61414"/>
                  <a:pt x="658197" y="63738"/>
                </a:cubicBezTo>
                <a:cubicBezTo>
                  <a:pt x="657368" y="64824"/>
                  <a:pt x="660264" y="64862"/>
                  <a:pt x="660264" y="65243"/>
                </a:cubicBezTo>
                <a:cubicBezTo>
                  <a:pt x="660264" y="66624"/>
                  <a:pt x="657939" y="66490"/>
                  <a:pt x="657625" y="67148"/>
                </a:cubicBezTo>
                <a:cubicBezTo>
                  <a:pt x="656720" y="68938"/>
                  <a:pt x="658911" y="69910"/>
                  <a:pt x="657987" y="71844"/>
                </a:cubicBezTo>
                <a:cubicBezTo>
                  <a:pt x="656339" y="72720"/>
                  <a:pt x="653434" y="69939"/>
                  <a:pt x="653663" y="69939"/>
                </a:cubicBezTo>
                <a:cubicBezTo>
                  <a:pt x="652082" y="70081"/>
                  <a:pt x="650634" y="74149"/>
                  <a:pt x="651605" y="68424"/>
                </a:cubicBezTo>
                <a:cubicBezTo>
                  <a:pt x="647976" y="69157"/>
                  <a:pt x="651358" y="73691"/>
                  <a:pt x="650462" y="75187"/>
                </a:cubicBezTo>
                <a:cubicBezTo>
                  <a:pt x="650300" y="75454"/>
                  <a:pt x="647510" y="74558"/>
                  <a:pt x="648014" y="75930"/>
                </a:cubicBezTo>
                <a:cubicBezTo>
                  <a:pt x="648100" y="77520"/>
                  <a:pt x="650681" y="77339"/>
                  <a:pt x="652329" y="77835"/>
                </a:cubicBezTo>
                <a:lnTo>
                  <a:pt x="651948" y="80092"/>
                </a:lnTo>
                <a:cubicBezTo>
                  <a:pt x="653434" y="81997"/>
                  <a:pt x="655387" y="83597"/>
                  <a:pt x="655501" y="86493"/>
                </a:cubicBezTo>
                <a:cubicBezTo>
                  <a:pt x="657558" y="86493"/>
                  <a:pt x="654891" y="84664"/>
                  <a:pt x="656073" y="83112"/>
                </a:cubicBezTo>
                <a:cubicBezTo>
                  <a:pt x="656654" y="82340"/>
                  <a:pt x="657330" y="84493"/>
                  <a:pt x="657025" y="84436"/>
                </a:cubicBezTo>
                <a:cubicBezTo>
                  <a:pt x="658158" y="84636"/>
                  <a:pt x="658730" y="81473"/>
                  <a:pt x="660778" y="82750"/>
                </a:cubicBezTo>
                <a:cubicBezTo>
                  <a:pt x="660159" y="84521"/>
                  <a:pt x="661511" y="84874"/>
                  <a:pt x="661330" y="86322"/>
                </a:cubicBezTo>
                <a:cubicBezTo>
                  <a:pt x="663235" y="87017"/>
                  <a:pt x="663807" y="83664"/>
                  <a:pt x="662845" y="84255"/>
                </a:cubicBezTo>
                <a:cubicBezTo>
                  <a:pt x="666274" y="82150"/>
                  <a:pt x="668874" y="85655"/>
                  <a:pt x="670379" y="80902"/>
                </a:cubicBezTo>
                <a:cubicBezTo>
                  <a:pt x="673856" y="82178"/>
                  <a:pt x="674189" y="79378"/>
                  <a:pt x="676008" y="81854"/>
                </a:cubicBezTo>
                <a:cubicBezTo>
                  <a:pt x="674903" y="84026"/>
                  <a:pt x="670608" y="81702"/>
                  <a:pt x="669798" y="84283"/>
                </a:cubicBezTo>
                <a:cubicBezTo>
                  <a:pt x="670598" y="85721"/>
                  <a:pt x="672560" y="84474"/>
                  <a:pt x="672598" y="88236"/>
                </a:cubicBezTo>
                <a:cubicBezTo>
                  <a:pt x="676475" y="86798"/>
                  <a:pt x="673122" y="88674"/>
                  <a:pt x="674284" y="91998"/>
                </a:cubicBezTo>
                <a:cubicBezTo>
                  <a:pt x="678237" y="91608"/>
                  <a:pt x="675237" y="89998"/>
                  <a:pt x="676370" y="86550"/>
                </a:cubicBezTo>
                <a:cubicBezTo>
                  <a:pt x="680942" y="91189"/>
                  <a:pt x="676875" y="96637"/>
                  <a:pt x="672951" y="99885"/>
                </a:cubicBezTo>
                <a:cubicBezTo>
                  <a:pt x="673903" y="104648"/>
                  <a:pt x="677523" y="106553"/>
                  <a:pt x="674408" y="111725"/>
                </a:cubicBezTo>
                <a:cubicBezTo>
                  <a:pt x="675694" y="111191"/>
                  <a:pt x="676018" y="109334"/>
                  <a:pt x="678218" y="110048"/>
                </a:cubicBezTo>
                <a:cubicBezTo>
                  <a:pt x="678418" y="111953"/>
                  <a:pt x="676580" y="111801"/>
                  <a:pt x="676513" y="113239"/>
                </a:cubicBezTo>
                <a:cubicBezTo>
                  <a:pt x="676113" y="114363"/>
                  <a:pt x="679009" y="114754"/>
                  <a:pt x="677847" y="116887"/>
                </a:cubicBezTo>
                <a:close/>
                <a:moveTo>
                  <a:pt x="321974" y="41440"/>
                </a:moveTo>
                <a:cubicBezTo>
                  <a:pt x="326736" y="37554"/>
                  <a:pt x="318802" y="38163"/>
                  <a:pt x="321974" y="41440"/>
                </a:cubicBezTo>
                <a:close/>
                <a:moveTo>
                  <a:pt x="343881" y="15008"/>
                </a:moveTo>
                <a:cubicBezTo>
                  <a:pt x="343700" y="15684"/>
                  <a:pt x="343491" y="16313"/>
                  <a:pt x="342567" y="15960"/>
                </a:cubicBezTo>
                <a:lnTo>
                  <a:pt x="342186" y="18218"/>
                </a:lnTo>
                <a:cubicBezTo>
                  <a:pt x="344624" y="20418"/>
                  <a:pt x="346110" y="14932"/>
                  <a:pt x="343843" y="15008"/>
                </a:cubicBezTo>
                <a:close/>
                <a:moveTo>
                  <a:pt x="360588" y="25962"/>
                </a:moveTo>
                <a:cubicBezTo>
                  <a:pt x="360455" y="26705"/>
                  <a:pt x="360331" y="27457"/>
                  <a:pt x="360207" y="28210"/>
                </a:cubicBezTo>
                <a:cubicBezTo>
                  <a:pt x="357205" y="28803"/>
                  <a:pt x="354485" y="30382"/>
                  <a:pt x="352482" y="32696"/>
                </a:cubicBezTo>
                <a:cubicBezTo>
                  <a:pt x="352711" y="30543"/>
                  <a:pt x="348891" y="31277"/>
                  <a:pt x="349625" y="28743"/>
                </a:cubicBezTo>
                <a:cubicBezTo>
                  <a:pt x="347348" y="29467"/>
                  <a:pt x="346434" y="24733"/>
                  <a:pt x="345119" y="27981"/>
                </a:cubicBezTo>
                <a:cubicBezTo>
                  <a:pt x="346700" y="30153"/>
                  <a:pt x="349768" y="31286"/>
                  <a:pt x="351111" y="33629"/>
                </a:cubicBezTo>
                <a:cubicBezTo>
                  <a:pt x="354700" y="33022"/>
                  <a:pt x="358107" y="31619"/>
                  <a:pt x="361083" y="29524"/>
                </a:cubicBezTo>
                <a:cubicBezTo>
                  <a:pt x="357511" y="29276"/>
                  <a:pt x="364512" y="26762"/>
                  <a:pt x="360550" y="25962"/>
                </a:cubicBezTo>
                <a:close/>
                <a:moveTo>
                  <a:pt x="403060" y="21571"/>
                </a:moveTo>
                <a:cubicBezTo>
                  <a:pt x="403003" y="22266"/>
                  <a:pt x="403003" y="22933"/>
                  <a:pt x="404012" y="22885"/>
                </a:cubicBezTo>
                <a:cubicBezTo>
                  <a:pt x="403765" y="20094"/>
                  <a:pt x="403393" y="17389"/>
                  <a:pt x="400460" y="16484"/>
                </a:cubicBezTo>
                <a:cubicBezTo>
                  <a:pt x="398793" y="19942"/>
                  <a:pt x="403860" y="18665"/>
                  <a:pt x="403022" y="21571"/>
                </a:cubicBezTo>
                <a:close/>
                <a:moveTo>
                  <a:pt x="395745" y="16808"/>
                </a:moveTo>
                <a:lnTo>
                  <a:pt x="398002" y="17199"/>
                </a:lnTo>
                <a:lnTo>
                  <a:pt x="398383" y="14941"/>
                </a:lnTo>
                <a:lnTo>
                  <a:pt x="396126" y="14560"/>
                </a:lnTo>
                <a:close/>
                <a:moveTo>
                  <a:pt x="394983" y="21323"/>
                </a:moveTo>
                <a:cubicBezTo>
                  <a:pt x="393706" y="20751"/>
                  <a:pt x="393154" y="14875"/>
                  <a:pt x="390858" y="18304"/>
                </a:cubicBezTo>
                <a:cubicBezTo>
                  <a:pt x="392030" y="18561"/>
                  <a:pt x="391497" y="19894"/>
                  <a:pt x="389534" y="19256"/>
                </a:cubicBezTo>
                <a:cubicBezTo>
                  <a:pt x="388068" y="23733"/>
                  <a:pt x="393525" y="23666"/>
                  <a:pt x="394945" y="21361"/>
                </a:cubicBezTo>
                <a:close/>
                <a:moveTo>
                  <a:pt x="383553" y="20532"/>
                </a:moveTo>
                <a:cubicBezTo>
                  <a:pt x="383779" y="21912"/>
                  <a:pt x="384359" y="23208"/>
                  <a:pt x="385239" y="24295"/>
                </a:cubicBezTo>
                <a:cubicBezTo>
                  <a:pt x="385591" y="22856"/>
                  <a:pt x="384448" y="17827"/>
                  <a:pt x="383477" y="20570"/>
                </a:cubicBezTo>
                <a:close/>
                <a:moveTo>
                  <a:pt x="378495" y="16198"/>
                </a:moveTo>
                <a:cubicBezTo>
                  <a:pt x="377542" y="19837"/>
                  <a:pt x="381476" y="20332"/>
                  <a:pt x="381495" y="19056"/>
                </a:cubicBezTo>
                <a:cubicBezTo>
                  <a:pt x="381457" y="18551"/>
                  <a:pt x="378647" y="16865"/>
                  <a:pt x="378419" y="16237"/>
                </a:cubicBezTo>
                <a:close/>
                <a:moveTo>
                  <a:pt x="379800" y="22218"/>
                </a:moveTo>
                <a:lnTo>
                  <a:pt x="379228" y="25590"/>
                </a:lnTo>
                <a:cubicBezTo>
                  <a:pt x="381219" y="26085"/>
                  <a:pt x="382086" y="24923"/>
                  <a:pt x="382086" y="22599"/>
                </a:cubicBezTo>
                <a:close/>
                <a:moveTo>
                  <a:pt x="381248" y="41011"/>
                </a:moveTo>
                <a:lnTo>
                  <a:pt x="378990" y="40630"/>
                </a:lnTo>
                <a:lnTo>
                  <a:pt x="378600" y="42878"/>
                </a:lnTo>
                <a:lnTo>
                  <a:pt x="380857" y="43269"/>
                </a:lnTo>
                <a:close/>
                <a:moveTo>
                  <a:pt x="400574" y="50088"/>
                </a:moveTo>
                <a:cubicBezTo>
                  <a:pt x="399063" y="49615"/>
                  <a:pt x="397435" y="50331"/>
                  <a:pt x="396764" y="51765"/>
                </a:cubicBezTo>
                <a:cubicBezTo>
                  <a:pt x="398244" y="52202"/>
                  <a:pt x="399824" y="51511"/>
                  <a:pt x="400507" y="50127"/>
                </a:cubicBezTo>
                <a:close/>
                <a:moveTo>
                  <a:pt x="407156" y="45402"/>
                </a:moveTo>
                <a:cubicBezTo>
                  <a:pt x="402965" y="43221"/>
                  <a:pt x="403708" y="47993"/>
                  <a:pt x="401888" y="49145"/>
                </a:cubicBezTo>
                <a:lnTo>
                  <a:pt x="406394" y="49917"/>
                </a:lnTo>
                <a:cubicBezTo>
                  <a:pt x="406575" y="48431"/>
                  <a:pt x="406832" y="46945"/>
                  <a:pt x="407079" y="45440"/>
                </a:cubicBezTo>
                <a:close/>
                <a:moveTo>
                  <a:pt x="406270" y="30162"/>
                </a:moveTo>
                <a:cubicBezTo>
                  <a:pt x="406270" y="30162"/>
                  <a:pt x="408041" y="29476"/>
                  <a:pt x="407775" y="28105"/>
                </a:cubicBezTo>
                <a:cubicBezTo>
                  <a:pt x="407699" y="27714"/>
                  <a:pt x="405736" y="27152"/>
                  <a:pt x="405717" y="26590"/>
                </a:cubicBezTo>
                <a:cubicBezTo>
                  <a:pt x="404612" y="28829"/>
                  <a:pt x="402441" y="27305"/>
                  <a:pt x="400822" y="28086"/>
                </a:cubicBezTo>
                <a:cubicBezTo>
                  <a:pt x="400174" y="28390"/>
                  <a:pt x="400622" y="30715"/>
                  <a:pt x="399307" y="30143"/>
                </a:cubicBezTo>
                <a:cubicBezTo>
                  <a:pt x="398621" y="25695"/>
                  <a:pt x="393916" y="27047"/>
                  <a:pt x="392001" y="25428"/>
                </a:cubicBezTo>
                <a:cubicBezTo>
                  <a:pt x="391173" y="27990"/>
                  <a:pt x="390020" y="30086"/>
                  <a:pt x="387658" y="30486"/>
                </a:cubicBezTo>
                <a:cubicBezTo>
                  <a:pt x="385991" y="26876"/>
                  <a:pt x="380571" y="29686"/>
                  <a:pt x="377523" y="28771"/>
                </a:cubicBezTo>
                <a:cubicBezTo>
                  <a:pt x="375823" y="30523"/>
                  <a:pt x="373995" y="32147"/>
                  <a:pt x="372056" y="33629"/>
                </a:cubicBezTo>
                <a:cubicBezTo>
                  <a:pt x="372132" y="31924"/>
                  <a:pt x="369503" y="32143"/>
                  <a:pt x="367741" y="31724"/>
                </a:cubicBezTo>
                <a:cubicBezTo>
                  <a:pt x="366893" y="34639"/>
                  <a:pt x="369646" y="35029"/>
                  <a:pt x="371675" y="35868"/>
                </a:cubicBezTo>
                <a:cubicBezTo>
                  <a:pt x="371225" y="37364"/>
                  <a:pt x="371937" y="38964"/>
                  <a:pt x="373351" y="39630"/>
                </a:cubicBezTo>
                <a:cubicBezTo>
                  <a:pt x="374297" y="37514"/>
                  <a:pt x="376318" y="36080"/>
                  <a:pt x="378628" y="35887"/>
                </a:cubicBezTo>
                <a:cubicBezTo>
                  <a:pt x="379505" y="36020"/>
                  <a:pt x="380067" y="37487"/>
                  <a:pt x="380686" y="37401"/>
                </a:cubicBezTo>
                <a:cubicBezTo>
                  <a:pt x="381038" y="37354"/>
                  <a:pt x="381343" y="35496"/>
                  <a:pt x="382200" y="35334"/>
                </a:cubicBezTo>
                <a:cubicBezTo>
                  <a:pt x="383238" y="35115"/>
                  <a:pt x="384524" y="36049"/>
                  <a:pt x="385582" y="35906"/>
                </a:cubicBezTo>
                <a:cubicBezTo>
                  <a:pt x="385182" y="39830"/>
                  <a:pt x="388096" y="41392"/>
                  <a:pt x="391382" y="42688"/>
                </a:cubicBezTo>
                <a:cubicBezTo>
                  <a:pt x="390430" y="35772"/>
                  <a:pt x="397002" y="39439"/>
                  <a:pt x="401164" y="39716"/>
                </a:cubicBezTo>
                <a:cubicBezTo>
                  <a:pt x="402993" y="36953"/>
                  <a:pt x="400126" y="32715"/>
                  <a:pt x="402307" y="32953"/>
                </a:cubicBezTo>
                <a:cubicBezTo>
                  <a:pt x="403784" y="34858"/>
                  <a:pt x="404689" y="37211"/>
                  <a:pt x="407175" y="38420"/>
                </a:cubicBezTo>
                <a:cubicBezTo>
                  <a:pt x="409175" y="34591"/>
                  <a:pt x="406498" y="32591"/>
                  <a:pt x="406222" y="30219"/>
                </a:cubicBezTo>
                <a:close/>
                <a:moveTo>
                  <a:pt x="416404" y="31886"/>
                </a:moveTo>
                <a:cubicBezTo>
                  <a:pt x="416804" y="35353"/>
                  <a:pt x="419491" y="30934"/>
                  <a:pt x="422043" y="32839"/>
                </a:cubicBezTo>
                <a:cubicBezTo>
                  <a:pt x="422148" y="30667"/>
                  <a:pt x="423739" y="30572"/>
                  <a:pt x="423948" y="28524"/>
                </a:cubicBezTo>
                <a:cubicBezTo>
                  <a:pt x="420738" y="29972"/>
                  <a:pt x="420224" y="26562"/>
                  <a:pt x="418128" y="28695"/>
                </a:cubicBezTo>
                <a:cubicBezTo>
                  <a:pt x="418733" y="28910"/>
                  <a:pt x="419050" y="29573"/>
                  <a:pt x="418836" y="30178"/>
                </a:cubicBezTo>
                <a:cubicBezTo>
                  <a:pt x="418671" y="30643"/>
                  <a:pt x="418231" y="30954"/>
                  <a:pt x="417738" y="30953"/>
                </a:cubicBezTo>
                <a:cubicBezTo>
                  <a:pt x="418338" y="28543"/>
                  <a:pt x="413833" y="29762"/>
                  <a:pt x="412290" y="28867"/>
                </a:cubicBezTo>
                <a:cubicBezTo>
                  <a:pt x="412128" y="27809"/>
                  <a:pt x="411004" y="22761"/>
                  <a:pt x="409289" y="26009"/>
                </a:cubicBezTo>
                <a:cubicBezTo>
                  <a:pt x="410575" y="26428"/>
                  <a:pt x="410242" y="28000"/>
                  <a:pt x="409842" y="29581"/>
                </a:cubicBezTo>
                <a:cubicBezTo>
                  <a:pt x="415919" y="28571"/>
                  <a:pt x="410385" y="35810"/>
                  <a:pt x="414528" y="36172"/>
                </a:cubicBezTo>
                <a:cubicBezTo>
                  <a:pt x="417462" y="35229"/>
                  <a:pt x="412985" y="32515"/>
                  <a:pt x="416328" y="31943"/>
                </a:cubicBezTo>
                <a:close/>
                <a:moveTo>
                  <a:pt x="425587" y="39239"/>
                </a:moveTo>
                <a:cubicBezTo>
                  <a:pt x="423577" y="38906"/>
                  <a:pt x="419557" y="35096"/>
                  <a:pt x="417700" y="37896"/>
                </a:cubicBezTo>
                <a:cubicBezTo>
                  <a:pt x="420853" y="39420"/>
                  <a:pt x="415795" y="40487"/>
                  <a:pt x="416747" y="43535"/>
                </a:cubicBezTo>
                <a:cubicBezTo>
                  <a:pt x="421510" y="45821"/>
                  <a:pt x="422281" y="38925"/>
                  <a:pt x="425015" y="42583"/>
                </a:cubicBezTo>
                <a:close/>
                <a:moveTo>
                  <a:pt x="429720" y="42259"/>
                </a:moveTo>
                <a:cubicBezTo>
                  <a:pt x="433130" y="43383"/>
                  <a:pt x="434483" y="39944"/>
                  <a:pt x="431425" y="39068"/>
                </a:cubicBezTo>
                <a:cubicBezTo>
                  <a:pt x="431232" y="40326"/>
                  <a:pt x="430601" y="41477"/>
                  <a:pt x="429644" y="42316"/>
                </a:cubicBezTo>
                <a:close/>
                <a:moveTo>
                  <a:pt x="434045" y="44164"/>
                </a:moveTo>
                <a:lnTo>
                  <a:pt x="431787" y="43773"/>
                </a:lnTo>
                <a:lnTo>
                  <a:pt x="431406" y="46031"/>
                </a:lnTo>
                <a:lnTo>
                  <a:pt x="433664" y="46412"/>
                </a:lnTo>
                <a:close/>
                <a:moveTo>
                  <a:pt x="451685" y="49469"/>
                </a:moveTo>
                <a:lnTo>
                  <a:pt x="448304" y="48898"/>
                </a:lnTo>
                <a:cubicBezTo>
                  <a:pt x="447551" y="51412"/>
                  <a:pt x="447846" y="53184"/>
                  <a:pt x="449799" y="53794"/>
                </a:cubicBezTo>
                <a:cubicBezTo>
                  <a:pt x="450333" y="52374"/>
                  <a:pt x="451685" y="51955"/>
                  <a:pt x="451609" y="49517"/>
                </a:cubicBezTo>
                <a:close/>
                <a:moveTo>
                  <a:pt x="455105" y="36134"/>
                </a:moveTo>
                <a:cubicBezTo>
                  <a:pt x="455514" y="37144"/>
                  <a:pt x="452076" y="37449"/>
                  <a:pt x="452476" y="38039"/>
                </a:cubicBezTo>
                <a:cubicBezTo>
                  <a:pt x="453123" y="39078"/>
                  <a:pt x="458553" y="38763"/>
                  <a:pt x="455028" y="36191"/>
                </a:cubicBezTo>
                <a:close/>
                <a:moveTo>
                  <a:pt x="465582" y="49469"/>
                </a:moveTo>
                <a:cubicBezTo>
                  <a:pt x="466449" y="47907"/>
                  <a:pt x="467725" y="46917"/>
                  <a:pt x="468601" y="45345"/>
                </a:cubicBezTo>
                <a:cubicBezTo>
                  <a:pt x="466354" y="44631"/>
                  <a:pt x="466906" y="41926"/>
                  <a:pt x="464658" y="41202"/>
                </a:cubicBezTo>
                <a:cubicBezTo>
                  <a:pt x="465963" y="45526"/>
                  <a:pt x="463448" y="43850"/>
                  <a:pt x="462391" y="47774"/>
                </a:cubicBezTo>
                <a:cubicBezTo>
                  <a:pt x="463604" y="47997"/>
                  <a:pt x="464706" y="48624"/>
                  <a:pt x="465515" y="49555"/>
                </a:cubicBezTo>
                <a:close/>
                <a:moveTo>
                  <a:pt x="468944" y="57004"/>
                </a:moveTo>
                <a:lnTo>
                  <a:pt x="466687" y="56623"/>
                </a:lnTo>
                <a:lnTo>
                  <a:pt x="466306" y="58880"/>
                </a:lnTo>
                <a:lnTo>
                  <a:pt x="468563" y="59261"/>
                </a:lnTo>
                <a:close/>
                <a:moveTo>
                  <a:pt x="503301" y="66310"/>
                </a:moveTo>
                <a:cubicBezTo>
                  <a:pt x="502510" y="67995"/>
                  <a:pt x="499586" y="66671"/>
                  <a:pt x="500282" y="70434"/>
                </a:cubicBezTo>
                <a:cubicBezTo>
                  <a:pt x="502863" y="72186"/>
                  <a:pt x="505854" y="67567"/>
                  <a:pt x="503234" y="66395"/>
                </a:cubicBezTo>
                <a:close/>
                <a:moveTo>
                  <a:pt x="512778" y="37735"/>
                </a:moveTo>
                <a:cubicBezTo>
                  <a:pt x="512416" y="40382"/>
                  <a:pt x="509816" y="49641"/>
                  <a:pt x="513731" y="46012"/>
                </a:cubicBezTo>
                <a:cubicBezTo>
                  <a:pt x="511797" y="44354"/>
                  <a:pt x="515960" y="40363"/>
                  <a:pt x="512712" y="37858"/>
                </a:cubicBezTo>
                <a:close/>
                <a:moveTo>
                  <a:pt x="543906" y="59251"/>
                </a:moveTo>
                <a:cubicBezTo>
                  <a:pt x="543973" y="64128"/>
                  <a:pt x="539439" y="59509"/>
                  <a:pt x="539210" y="59613"/>
                </a:cubicBezTo>
                <a:cubicBezTo>
                  <a:pt x="538353" y="59994"/>
                  <a:pt x="538039" y="63195"/>
                  <a:pt x="537305" y="63928"/>
                </a:cubicBezTo>
                <a:cubicBezTo>
                  <a:pt x="536010" y="65181"/>
                  <a:pt x="534192" y="65733"/>
                  <a:pt x="532419" y="65414"/>
                </a:cubicBezTo>
                <a:cubicBezTo>
                  <a:pt x="532019" y="69005"/>
                  <a:pt x="532067" y="72272"/>
                  <a:pt x="535772" y="72939"/>
                </a:cubicBezTo>
                <a:cubicBezTo>
                  <a:pt x="537210" y="69615"/>
                  <a:pt x="533057" y="70253"/>
                  <a:pt x="534486" y="66929"/>
                </a:cubicBezTo>
                <a:cubicBezTo>
                  <a:pt x="536829" y="66929"/>
                  <a:pt x="537867" y="65176"/>
                  <a:pt x="539563" y="64309"/>
                </a:cubicBezTo>
                <a:cubicBezTo>
                  <a:pt x="542906" y="63919"/>
                  <a:pt x="542211" y="66395"/>
                  <a:pt x="545011" y="66395"/>
                </a:cubicBezTo>
                <a:cubicBezTo>
                  <a:pt x="546671" y="64403"/>
                  <a:pt x="546402" y="61441"/>
                  <a:pt x="544409" y="59782"/>
                </a:cubicBezTo>
                <a:cubicBezTo>
                  <a:pt x="544229" y="59632"/>
                  <a:pt x="544039" y="59496"/>
                  <a:pt x="543839" y="59375"/>
                </a:cubicBezTo>
                <a:close/>
                <a:moveTo>
                  <a:pt x="547888" y="49488"/>
                </a:moveTo>
                <a:cubicBezTo>
                  <a:pt x="545649" y="49603"/>
                  <a:pt x="542963" y="49069"/>
                  <a:pt x="542801" y="52108"/>
                </a:cubicBezTo>
                <a:cubicBezTo>
                  <a:pt x="544030" y="52284"/>
                  <a:pt x="545159" y="52883"/>
                  <a:pt x="545992" y="53803"/>
                </a:cubicBezTo>
                <a:cubicBezTo>
                  <a:pt x="546030" y="51755"/>
                  <a:pt x="547611" y="51660"/>
                  <a:pt x="547821" y="49612"/>
                </a:cubicBezTo>
                <a:close/>
                <a:moveTo>
                  <a:pt x="51454" y="597243"/>
                </a:moveTo>
                <a:cubicBezTo>
                  <a:pt x="50787" y="597062"/>
                  <a:pt x="50159" y="596843"/>
                  <a:pt x="50502" y="595919"/>
                </a:cubicBezTo>
                <a:lnTo>
                  <a:pt x="48244" y="595538"/>
                </a:lnTo>
                <a:cubicBezTo>
                  <a:pt x="46053" y="598024"/>
                  <a:pt x="51530" y="599500"/>
                  <a:pt x="51454" y="597243"/>
                </a:cubicBezTo>
                <a:close/>
                <a:moveTo>
                  <a:pt x="9658" y="754767"/>
                </a:moveTo>
                <a:cubicBezTo>
                  <a:pt x="8915" y="757291"/>
                  <a:pt x="9211" y="759053"/>
                  <a:pt x="11154" y="759663"/>
                </a:cubicBezTo>
                <a:cubicBezTo>
                  <a:pt x="11887" y="757148"/>
                  <a:pt x="11592" y="755377"/>
                  <a:pt x="9658" y="754767"/>
                </a:cubicBezTo>
                <a:close/>
                <a:moveTo>
                  <a:pt x="20355" y="760063"/>
                </a:moveTo>
                <a:cubicBezTo>
                  <a:pt x="19149" y="759610"/>
                  <a:pt x="17796" y="759820"/>
                  <a:pt x="16783" y="760615"/>
                </a:cubicBezTo>
                <a:cubicBezTo>
                  <a:pt x="16002" y="760968"/>
                  <a:pt x="15021" y="762187"/>
                  <a:pt x="14145" y="762520"/>
                </a:cubicBezTo>
                <a:cubicBezTo>
                  <a:pt x="16650" y="766026"/>
                  <a:pt x="18555" y="761596"/>
                  <a:pt x="20355" y="760063"/>
                </a:cubicBezTo>
                <a:close/>
                <a:moveTo>
                  <a:pt x="26813" y="674214"/>
                </a:moveTo>
                <a:cubicBezTo>
                  <a:pt x="25317" y="673947"/>
                  <a:pt x="26108" y="672061"/>
                  <a:pt x="24908" y="671566"/>
                </a:cubicBezTo>
                <a:cubicBezTo>
                  <a:pt x="25098" y="673909"/>
                  <a:pt x="18240" y="673100"/>
                  <a:pt x="21888" y="675700"/>
                </a:cubicBezTo>
                <a:cubicBezTo>
                  <a:pt x="21631" y="672500"/>
                  <a:pt x="27127" y="677405"/>
                  <a:pt x="26813" y="674224"/>
                </a:cubicBezTo>
                <a:close/>
                <a:moveTo>
                  <a:pt x="26175" y="691492"/>
                </a:moveTo>
                <a:cubicBezTo>
                  <a:pt x="26108" y="692674"/>
                  <a:pt x="20926" y="692950"/>
                  <a:pt x="24470" y="694683"/>
                </a:cubicBezTo>
                <a:cubicBezTo>
                  <a:pt x="24165" y="692959"/>
                  <a:pt x="29347" y="692683"/>
                  <a:pt x="26175" y="691492"/>
                </a:cubicBezTo>
                <a:close/>
                <a:moveTo>
                  <a:pt x="27889" y="681348"/>
                </a:moveTo>
                <a:cubicBezTo>
                  <a:pt x="27436" y="682848"/>
                  <a:pt x="28154" y="684452"/>
                  <a:pt x="29575" y="685111"/>
                </a:cubicBezTo>
                <a:cubicBezTo>
                  <a:pt x="29785" y="683320"/>
                  <a:pt x="30413" y="681234"/>
                  <a:pt x="27908" y="681348"/>
                </a:cubicBezTo>
                <a:close/>
                <a:moveTo>
                  <a:pt x="40072" y="637076"/>
                </a:moveTo>
                <a:cubicBezTo>
                  <a:pt x="39472" y="639934"/>
                  <a:pt x="35042" y="637448"/>
                  <a:pt x="35728" y="642143"/>
                </a:cubicBezTo>
                <a:cubicBezTo>
                  <a:pt x="38633" y="643267"/>
                  <a:pt x="42253" y="638438"/>
                  <a:pt x="40072" y="637076"/>
                </a:cubicBezTo>
                <a:close/>
                <a:moveTo>
                  <a:pt x="44929" y="710943"/>
                </a:moveTo>
                <a:cubicBezTo>
                  <a:pt x="44139" y="708009"/>
                  <a:pt x="38786" y="711714"/>
                  <a:pt x="41167" y="712619"/>
                </a:cubicBezTo>
                <a:cubicBezTo>
                  <a:pt x="41491" y="710723"/>
                  <a:pt x="44396" y="712486"/>
                  <a:pt x="44929" y="710904"/>
                </a:cubicBezTo>
                <a:close/>
                <a:moveTo>
                  <a:pt x="57998" y="674900"/>
                </a:moveTo>
                <a:cubicBezTo>
                  <a:pt x="54559" y="673785"/>
                  <a:pt x="52797" y="675024"/>
                  <a:pt x="52730" y="678643"/>
                </a:cubicBezTo>
                <a:cubicBezTo>
                  <a:pt x="56378" y="680015"/>
                  <a:pt x="57169" y="677414"/>
                  <a:pt x="57998" y="674862"/>
                </a:cubicBezTo>
                <a:close/>
                <a:moveTo>
                  <a:pt x="58579" y="603120"/>
                </a:moveTo>
                <a:cubicBezTo>
                  <a:pt x="57331" y="601405"/>
                  <a:pt x="54635" y="600919"/>
                  <a:pt x="53883" y="603481"/>
                </a:cubicBezTo>
                <a:cubicBezTo>
                  <a:pt x="55607" y="603539"/>
                  <a:pt x="57969" y="604548"/>
                  <a:pt x="58560" y="603081"/>
                </a:cubicBezTo>
                <a:close/>
                <a:moveTo>
                  <a:pt x="65780" y="649554"/>
                </a:moveTo>
                <a:cubicBezTo>
                  <a:pt x="68828" y="649706"/>
                  <a:pt x="63646" y="655688"/>
                  <a:pt x="68399" y="654640"/>
                </a:cubicBezTo>
                <a:cubicBezTo>
                  <a:pt x="68790" y="652545"/>
                  <a:pt x="67237" y="646982"/>
                  <a:pt x="65780" y="649516"/>
                </a:cubicBezTo>
                <a:close/>
                <a:moveTo>
                  <a:pt x="96965" y="520366"/>
                </a:moveTo>
                <a:cubicBezTo>
                  <a:pt x="95736" y="520183"/>
                  <a:pt x="94609" y="519580"/>
                  <a:pt x="93774" y="518661"/>
                </a:cubicBezTo>
                <a:cubicBezTo>
                  <a:pt x="95450" y="522662"/>
                  <a:pt x="88716" y="521433"/>
                  <a:pt x="91869" y="522976"/>
                </a:cubicBezTo>
                <a:cubicBezTo>
                  <a:pt x="93689" y="522351"/>
                  <a:pt x="95407" y="521459"/>
                  <a:pt x="96965" y="520328"/>
                </a:cubicBezTo>
                <a:close/>
                <a:moveTo>
                  <a:pt x="124587" y="514651"/>
                </a:moveTo>
                <a:cubicBezTo>
                  <a:pt x="122492" y="512965"/>
                  <a:pt x="118920" y="515509"/>
                  <a:pt x="121958" y="516556"/>
                </a:cubicBezTo>
                <a:cubicBezTo>
                  <a:pt x="122234" y="514966"/>
                  <a:pt x="124120" y="515756"/>
                  <a:pt x="124606" y="514585"/>
                </a:cubicBezTo>
                <a:close/>
                <a:moveTo>
                  <a:pt x="136827" y="442528"/>
                </a:moveTo>
                <a:lnTo>
                  <a:pt x="134579" y="442147"/>
                </a:lnTo>
                <a:lnTo>
                  <a:pt x="134198" y="444404"/>
                </a:lnTo>
                <a:lnTo>
                  <a:pt x="136436" y="444785"/>
                </a:lnTo>
                <a:close/>
                <a:moveTo>
                  <a:pt x="141170" y="498916"/>
                </a:moveTo>
                <a:cubicBezTo>
                  <a:pt x="140494" y="498735"/>
                  <a:pt x="139865" y="498516"/>
                  <a:pt x="140218" y="497592"/>
                </a:cubicBezTo>
                <a:lnTo>
                  <a:pt x="137960" y="497211"/>
                </a:lnTo>
                <a:cubicBezTo>
                  <a:pt x="135779" y="499621"/>
                  <a:pt x="141265" y="501107"/>
                  <a:pt x="141189" y="498849"/>
                </a:cubicBezTo>
                <a:close/>
                <a:moveTo>
                  <a:pt x="144370" y="432241"/>
                </a:moveTo>
                <a:cubicBezTo>
                  <a:pt x="142284" y="431003"/>
                  <a:pt x="142561" y="433622"/>
                  <a:pt x="141732" y="434146"/>
                </a:cubicBezTo>
                <a:cubicBezTo>
                  <a:pt x="140903" y="434670"/>
                  <a:pt x="139351" y="433546"/>
                  <a:pt x="139284" y="434898"/>
                </a:cubicBezTo>
                <a:cubicBezTo>
                  <a:pt x="140512" y="435084"/>
                  <a:pt x="141641" y="435682"/>
                  <a:pt x="142484" y="436594"/>
                </a:cubicBezTo>
                <a:cubicBezTo>
                  <a:pt x="143113" y="435003"/>
                  <a:pt x="144466" y="434584"/>
                  <a:pt x="144389" y="432146"/>
                </a:cubicBezTo>
                <a:close/>
                <a:moveTo>
                  <a:pt x="178146" y="383483"/>
                </a:moveTo>
                <a:cubicBezTo>
                  <a:pt x="178232" y="383483"/>
                  <a:pt x="176803" y="387178"/>
                  <a:pt x="176451" y="386673"/>
                </a:cubicBezTo>
                <a:cubicBezTo>
                  <a:pt x="178708" y="389750"/>
                  <a:pt x="180013" y="383378"/>
                  <a:pt x="178165" y="383387"/>
                </a:cubicBezTo>
                <a:close/>
                <a:moveTo>
                  <a:pt x="190414" y="365852"/>
                </a:moveTo>
                <a:cubicBezTo>
                  <a:pt x="189862" y="364661"/>
                  <a:pt x="190843" y="361223"/>
                  <a:pt x="187614" y="361908"/>
                </a:cubicBezTo>
                <a:cubicBezTo>
                  <a:pt x="184309" y="365537"/>
                  <a:pt x="185099" y="367481"/>
                  <a:pt x="185890" y="372043"/>
                </a:cubicBezTo>
                <a:cubicBezTo>
                  <a:pt x="190957" y="373777"/>
                  <a:pt x="188185" y="368004"/>
                  <a:pt x="190033" y="368109"/>
                </a:cubicBezTo>
                <a:cubicBezTo>
                  <a:pt x="191519" y="368376"/>
                  <a:pt x="190729" y="370262"/>
                  <a:pt x="191938" y="370748"/>
                </a:cubicBezTo>
                <a:cubicBezTo>
                  <a:pt x="193738" y="368033"/>
                  <a:pt x="191157" y="367328"/>
                  <a:pt x="190433" y="365756"/>
                </a:cubicBezTo>
                <a:close/>
                <a:moveTo>
                  <a:pt x="195177" y="399132"/>
                </a:moveTo>
                <a:cubicBezTo>
                  <a:pt x="194043" y="398942"/>
                  <a:pt x="193996" y="397989"/>
                  <a:pt x="193110" y="397627"/>
                </a:cubicBezTo>
                <a:cubicBezTo>
                  <a:pt x="192919" y="399408"/>
                  <a:pt x="192300" y="401504"/>
                  <a:pt x="194796" y="401389"/>
                </a:cubicBezTo>
                <a:cubicBezTo>
                  <a:pt x="194967" y="400542"/>
                  <a:pt x="195091" y="399789"/>
                  <a:pt x="195224" y="399037"/>
                </a:cubicBezTo>
                <a:close/>
                <a:moveTo>
                  <a:pt x="198844" y="363813"/>
                </a:moveTo>
                <a:cubicBezTo>
                  <a:pt x="199244" y="362975"/>
                  <a:pt x="200015" y="362661"/>
                  <a:pt x="201292" y="363070"/>
                </a:cubicBezTo>
                <a:lnTo>
                  <a:pt x="201673" y="360823"/>
                </a:lnTo>
                <a:cubicBezTo>
                  <a:pt x="200446" y="360635"/>
                  <a:pt x="199320" y="360033"/>
                  <a:pt x="198482" y="359118"/>
                </a:cubicBezTo>
                <a:cubicBezTo>
                  <a:pt x="198434" y="360737"/>
                  <a:pt x="197434" y="363109"/>
                  <a:pt x="198892" y="363709"/>
                </a:cubicBezTo>
                <a:close/>
                <a:moveTo>
                  <a:pt x="203359" y="364585"/>
                </a:moveTo>
                <a:cubicBezTo>
                  <a:pt x="202694" y="366025"/>
                  <a:pt x="201059" y="366744"/>
                  <a:pt x="199549" y="366261"/>
                </a:cubicBezTo>
                <a:lnTo>
                  <a:pt x="198977" y="369643"/>
                </a:lnTo>
                <a:cubicBezTo>
                  <a:pt x="202692" y="372072"/>
                  <a:pt x="200311" y="365928"/>
                  <a:pt x="202940" y="366833"/>
                </a:cubicBezTo>
                <a:cubicBezTo>
                  <a:pt x="202940" y="368176"/>
                  <a:pt x="204511" y="368357"/>
                  <a:pt x="206121" y="368528"/>
                </a:cubicBezTo>
                <a:cubicBezTo>
                  <a:pt x="207502" y="365537"/>
                  <a:pt x="204245" y="365861"/>
                  <a:pt x="203406" y="364490"/>
                </a:cubicBezTo>
                <a:close/>
                <a:moveTo>
                  <a:pt x="209074" y="344678"/>
                </a:moveTo>
                <a:cubicBezTo>
                  <a:pt x="207931" y="344487"/>
                  <a:pt x="207883" y="343535"/>
                  <a:pt x="207007" y="343173"/>
                </a:cubicBezTo>
                <a:cubicBezTo>
                  <a:pt x="206816" y="344963"/>
                  <a:pt x="206188" y="347049"/>
                  <a:pt x="208693" y="346935"/>
                </a:cubicBezTo>
                <a:close/>
                <a:moveTo>
                  <a:pt x="210645" y="321760"/>
                </a:moveTo>
                <a:cubicBezTo>
                  <a:pt x="208636" y="320198"/>
                  <a:pt x="210217" y="326018"/>
                  <a:pt x="211198" y="325332"/>
                </a:cubicBezTo>
                <a:cubicBezTo>
                  <a:pt x="212179" y="324647"/>
                  <a:pt x="210960" y="321884"/>
                  <a:pt x="210674" y="321665"/>
                </a:cubicBezTo>
                <a:close/>
                <a:moveTo>
                  <a:pt x="225266" y="331200"/>
                </a:moveTo>
                <a:cubicBezTo>
                  <a:pt x="221961" y="329800"/>
                  <a:pt x="220961" y="331647"/>
                  <a:pt x="218323" y="331200"/>
                </a:cubicBezTo>
                <a:cubicBezTo>
                  <a:pt x="218042" y="332091"/>
                  <a:pt x="218337" y="333063"/>
                  <a:pt x="219065" y="333648"/>
                </a:cubicBezTo>
                <a:cubicBezTo>
                  <a:pt x="219742" y="334410"/>
                  <a:pt x="217675" y="334724"/>
                  <a:pt x="217741" y="334600"/>
                </a:cubicBezTo>
                <a:cubicBezTo>
                  <a:pt x="217922" y="334229"/>
                  <a:pt x="217370" y="332695"/>
                  <a:pt x="216789" y="333276"/>
                </a:cubicBezTo>
                <a:cubicBezTo>
                  <a:pt x="215400" y="334906"/>
                  <a:pt x="215596" y="337353"/>
                  <a:pt x="217225" y="338742"/>
                </a:cubicBezTo>
                <a:cubicBezTo>
                  <a:pt x="217486" y="338964"/>
                  <a:pt x="217775" y="339150"/>
                  <a:pt x="218084" y="339296"/>
                </a:cubicBezTo>
                <a:cubicBezTo>
                  <a:pt x="219265" y="336877"/>
                  <a:pt x="222428" y="334219"/>
                  <a:pt x="224295" y="336867"/>
                </a:cubicBezTo>
                <a:cubicBezTo>
                  <a:pt x="224695" y="333914"/>
                  <a:pt x="222828" y="332886"/>
                  <a:pt x="225295" y="331105"/>
                </a:cubicBezTo>
                <a:close/>
                <a:moveTo>
                  <a:pt x="239535" y="295252"/>
                </a:moveTo>
                <a:cubicBezTo>
                  <a:pt x="240487" y="291623"/>
                  <a:pt x="239116" y="289604"/>
                  <a:pt x="235982" y="288852"/>
                </a:cubicBezTo>
                <a:cubicBezTo>
                  <a:pt x="235725" y="290357"/>
                  <a:pt x="235477" y="291862"/>
                  <a:pt x="235220" y="293357"/>
                </a:cubicBezTo>
                <a:cubicBezTo>
                  <a:pt x="236847" y="293419"/>
                  <a:pt x="238389" y="294096"/>
                  <a:pt x="239535" y="295252"/>
                </a:cubicBezTo>
                <a:close/>
                <a:moveTo>
                  <a:pt x="244040" y="296014"/>
                </a:moveTo>
                <a:cubicBezTo>
                  <a:pt x="241630" y="295557"/>
                  <a:pt x="235849" y="297329"/>
                  <a:pt x="238763" y="299758"/>
                </a:cubicBezTo>
                <a:cubicBezTo>
                  <a:pt x="239535" y="297176"/>
                  <a:pt x="242640" y="297834"/>
                  <a:pt x="244002" y="296014"/>
                </a:cubicBezTo>
                <a:close/>
                <a:moveTo>
                  <a:pt x="253565" y="315064"/>
                </a:moveTo>
                <a:cubicBezTo>
                  <a:pt x="253115" y="316561"/>
                  <a:pt x="253827" y="318161"/>
                  <a:pt x="255241" y="318827"/>
                </a:cubicBezTo>
                <a:cubicBezTo>
                  <a:pt x="255403" y="317036"/>
                  <a:pt x="256032" y="314903"/>
                  <a:pt x="253536" y="315026"/>
                </a:cubicBezTo>
                <a:close/>
                <a:moveTo>
                  <a:pt x="257585" y="291395"/>
                </a:moveTo>
                <a:cubicBezTo>
                  <a:pt x="254803" y="290757"/>
                  <a:pt x="252146" y="290261"/>
                  <a:pt x="251555" y="292700"/>
                </a:cubicBezTo>
                <a:cubicBezTo>
                  <a:pt x="254298" y="293300"/>
                  <a:pt x="256956" y="293795"/>
                  <a:pt x="257556" y="291319"/>
                </a:cubicBezTo>
                <a:close/>
                <a:moveTo>
                  <a:pt x="290570" y="254095"/>
                </a:moveTo>
                <a:cubicBezTo>
                  <a:pt x="290087" y="255651"/>
                  <a:pt x="290212" y="257333"/>
                  <a:pt x="290922" y="258800"/>
                </a:cubicBezTo>
                <a:cubicBezTo>
                  <a:pt x="294075" y="259515"/>
                  <a:pt x="294294" y="256086"/>
                  <a:pt x="296199" y="255057"/>
                </a:cubicBezTo>
                <a:close/>
                <a:moveTo>
                  <a:pt x="292646" y="248656"/>
                </a:moveTo>
                <a:cubicBezTo>
                  <a:pt x="292951" y="247227"/>
                  <a:pt x="294361" y="247342"/>
                  <a:pt x="294351" y="245465"/>
                </a:cubicBezTo>
                <a:cubicBezTo>
                  <a:pt x="291846" y="243208"/>
                  <a:pt x="290360" y="248694"/>
                  <a:pt x="292618" y="248618"/>
                </a:cubicBezTo>
                <a:close/>
                <a:moveTo>
                  <a:pt x="293599" y="236074"/>
                </a:moveTo>
                <a:cubicBezTo>
                  <a:pt x="295951" y="234102"/>
                  <a:pt x="293132" y="233721"/>
                  <a:pt x="295504" y="231749"/>
                </a:cubicBezTo>
                <a:lnTo>
                  <a:pt x="289874" y="230797"/>
                </a:lnTo>
                <a:cubicBezTo>
                  <a:pt x="288731" y="234169"/>
                  <a:pt x="292151" y="234416"/>
                  <a:pt x="293599" y="236074"/>
                </a:cubicBezTo>
                <a:close/>
                <a:moveTo>
                  <a:pt x="286045" y="246380"/>
                </a:moveTo>
                <a:cubicBezTo>
                  <a:pt x="287179" y="246561"/>
                  <a:pt x="287236" y="247523"/>
                  <a:pt x="288112" y="247885"/>
                </a:cubicBezTo>
                <a:cubicBezTo>
                  <a:pt x="288303" y="246761"/>
                  <a:pt x="289246" y="246704"/>
                  <a:pt x="289627" y="245827"/>
                </a:cubicBezTo>
                <a:cubicBezTo>
                  <a:pt x="288493" y="245646"/>
                  <a:pt x="288436" y="244694"/>
                  <a:pt x="287560" y="244322"/>
                </a:cubicBezTo>
                <a:cubicBezTo>
                  <a:pt x="287369" y="245418"/>
                  <a:pt x="286426" y="245465"/>
                  <a:pt x="286045" y="246342"/>
                </a:cubicBezTo>
                <a:close/>
                <a:moveTo>
                  <a:pt x="272272" y="266068"/>
                </a:moveTo>
                <a:cubicBezTo>
                  <a:pt x="271823" y="267566"/>
                  <a:pt x="272541" y="269168"/>
                  <a:pt x="273958" y="269830"/>
                </a:cubicBezTo>
                <a:cubicBezTo>
                  <a:pt x="274149" y="268011"/>
                  <a:pt x="274777" y="265915"/>
                  <a:pt x="272272" y="266030"/>
                </a:cubicBezTo>
                <a:close/>
                <a:moveTo>
                  <a:pt x="292751" y="268382"/>
                </a:moveTo>
                <a:cubicBezTo>
                  <a:pt x="290151" y="264572"/>
                  <a:pt x="285055" y="262610"/>
                  <a:pt x="284178" y="257648"/>
                </a:cubicBezTo>
                <a:cubicBezTo>
                  <a:pt x="280368" y="257295"/>
                  <a:pt x="280368" y="255743"/>
                  <a:pt x="278930" y="254438"/>
                </a:cubicBezTo>
                <a:cubicBezTo>
                  <a:pt x="276073" y="251818"/>
                  <a:pt x="275654" y="252952"/>
                  <a:pt x="277435" y="249551"/>
                </a:cubicBezTo>
                <a:cubicBezTo>
                  <a:pt x="272225" y="249504"/>
                  <a:pt x="275082" y="252771"/>
                  <a:pt x="273844" y="257057"/>
                </a:cubicBezTo>
                <a:cubicBezTo>
                  <a:pt x="272139" y="258676"/>
                  <a:pt x="268576" y="258305"/>
                  <a:pt x="267633" y="259477"/>
                </a:cubicBezTo>
                <a:cubicBezTo>
                  <a:pt x="267138" y="260096"/>
                  <a:pt x="267700" y="262410"/>
                  <a:pt x="267062" y="262858"/>
                </a:cubicBezTo>
                <a:cubicBezTo>
                  <a:pt x="266186" y="263487"/>
                  <a:pt x="263528" y="261610"/>
                  <a:pt x="263490" y="263410"/>
                </a:cubicBezTo>
                <a:cubicBezTo>
                  <a:pt x="265862" y="265525"/>
                  <a:pt x="265186" y="266154"/>
                  <a:pt x="268938" y="265496"/>
                </a:cubicBezTo>
                <a:cubicBezTo>
                  <a:pt x="270615" y="265068"/>
                  <a:pt x="269834" y="261191"/>
                  <a:pt x="271948" y="261372"/>
                </a:cubicBezTo>
                <a:cubicBezTo>
                  <a:pt x="270320" y="265506"/>
                  <a:pt x="277044" y="263706"/>
                  <a:pt x="279463" y="264963"/>
                </a:cubicBezTo>
                <a:cubicBezTo>
                  <a:pt x="280206" y="267401"/>
                  <a:pt x="280587" y="270106"/>
                  <a:pt x="283007" y="271364"/>
                </a:cubicBezTo>
                <a:cubicBezTo>
                  <a:pt x="283826" y="268802"/>
                  <a:pt x="284988" y="266706"/>
                  <a:pt x="287350" y="266306"/>
                </a:cubicBezTo>
                <a:cubicBezTo>
                  <a:pt x="284988" y="269411"/>
                  <a:pt x="292637" y="270221"/>
                  <a:pt x="292751" y="268344"/>
                </a:cubicBezTo>
                <a:close/>
                <a:moveTo>
                  <a:pt x="295408" y="259562"/>
                </a:moveTo>
                <a:cubicBezTo>
                  <a:pt x="295208" y="266668"/>
                  <a:pt x="292779" y="258362"/>
                  <a:pt x="291598" y="261248"/>
                </a:cubicBezTo>
                <a:cubicBezTo>
                  <a:pt x="293284" y="262029"/>
                  <a:pt x="291951" y="264953"/>
                  <a:pt x="295723" y="264258"/>
                </a:cubicBezTo>
                <a:cubicBezTo>
                  <a:pt x="296170" y="262744"/>
                  <a:pt x="297332" y="256076"/>
                  <a:pt x="295408" y="259524"/>
                </a:cubicBezTo>
                <a:close/>
                <a:moveTo>
                  <a:pt x="297933" y="230987"/>
                </a:moveTo>
                <a:cubicBezTo>
                  <a:pt x="299723" y="231178"/>
                  <a:pt x="301809" y="231797"/>
                  <a:pt x="301695" y="229301"/>
                </a:cubicBezTo>
                <a:lnTo>
                  <a:pt x="299447" y="228920"/>
                </a:lnTo>
                <a:cubicBezTo>
                  <a:pt x="299256" y="230035"/>
                  <a:pt x="298304" y="230092"/>
                  <a:pt x="297933" y="230968"/>
                </a:cubicBezTo>
                <a:close/>
                <a:moveTo>
                  <a:pt x="297704" y="246018"/>
                </a:moveTo>
                <a:cubicBezTo>
                  <a:pt x="297249" y="247514"/>
                  <a:pt x="297963" y="249118"/>
                  <a:pt x="299380" y="249780"/>
                </a:cubicBezTo>
                <a:cubicBezTo>
                  <a:pt x="299542" y="247980"/>
                  <a:pt x="300190" y="245884"/>
                  <a:pt x="297704" y="245999"/>
                </a:cubicBezTo>
                <a:close/>
                <a:moveTo>
                  <a:pt x="302171" y="260686"/>
                </a:moveTo>
                <a:cubicBezTo>
                  <a:pt x="304076" y="258143"/>
                  <a:pt x="299657" y="255457"/>
                  <a:pt x="303124" y="255057"/>
                </a:cubicBezTo>
                <a:cubicBezTo>
                  <a:pt x="304619" y="255324"/>
                  <a:pt x="303819" y="257210"/>
                  <a:pt x="305029" y="257695"/>
                </a:cubicBezTo>
                <a:cubicBezTo>
                  <a:pt x="307391" y="256105"/>
                  <a:pt x="305438" y="253200"/>
                  <a:pt x="302409" y="252609"/>
                </a:cubicBezTo>
                <a:cubicBezTo>
                  <a:pt x="302019" y="253447"/>
                  <a:pt x="301247" y="253762"/>
                  <a:pt x="299971" y="253352"/>
                </a:cubicBezTo>
                <a:cubicBezTo>
                  <a:pt x="299048" y="256009"/>
                  <a:pt x="299936" y="258959"/>
                  <a:pt x="302171" y="260667"/>
                </a:cubicBezTo>
                <a:close/>
                <a:moveTo>
                  <a:pt x="307210" y="271983"/>
                </a:moveTo>
                <a:cubicBezTo>
                  <a:pt x="305171" y="271897"/>
                  <a:pt x="301752" y="269887"/>
                  <a:pt x="302324" y="273469"/>
                </a:cubicBezTo>
                <a:cubicBezTo>
                  <a:pt x="304105" y="273892"/>
                  <a:pt x="305975" y="273316"/>
                  <a:pt x="307210" y="271964"/>
                </a:cubicBezTo>
                <a:close/>
                <a:moveTo>
                  <a:pt x="307210" y="278927"/>
                </a:moveTo>
                <a:cubicBezTo>
                  <a:pt x="306457" y="281441"/>
                  <a:pt x="306762" y="283213"/>
                  <a:pt x="308696" y="283822"/>
                </a:cubicBezTo>
                <a:cubicBezTo>
                  <a:pt x="309108" y="282036"/>
                  <a:pt x="308521" y="280167"/>
                  <a:pt x="307162" y="278936"/>
                </a:cubicBezTo>
                <a:close/>
                <a:moveTo>
                  <a:pt x="316392" y="224844"/>
                </a:moveTo>
                <a:cubicBezTo>
                  <a:pt x="316392" y="223482"/>
                  <a:pt x="317125" y="221672"/>
                  <a:pt x="315839" y="221272"/>
                </a:cubicBezTo>
                <a:cubicBezTo>
                  <a:pt x="315659" y="221948"/>
                  <a:pt x="315439" y="222577"/>
                  <a:pt x="314516" y="222224"/>
                </a:cubicBezTo>
                <a:cubicBezTo>
                  <a:pt x="314620" y="221596"/>
                  <a:pt x="313820" y="220786"/>
                  <a:pt x="313392" y="222034"/>
                </a:cubicBezTo>
                <a:cubicBezTo>
                  <a:pt x="314925" y="222539"/>
                  <a:pt x="314954" y="224167"/>
                  <a:pt x="316373" y="224825"/>
                </a:cubicBezTo>
                <a:close/>
                <a:moveTo>
                  <a:pt x="318735" y="258857"/>
                </a:moveTo>
                <a:cubicBezTo>
                  <a:pt x="319165" y="257078"/>
                  <a:pt x="318592" y="255205"/>
                  <a:pt x="317240" y="253971"/>
                </a:cubicBezTo>
                <a:cubicBezTo>
                  <a:pt x="316039" y="254851"/>
                  <a:pt x="315779" y="256538"/>
                  <a:pt x="316659" y="257738"/>
                </a:cubicBezTo>
                <a:cubicBezTo>
                  <a:pt x="317143" y="258398"/>
                  <a:pt x="317899" y="258803"/>
                  <a:pt x="318716" y="258838"/>
                </a:cubicBezTo>
                <a:close/>
                <a:moveTo>
                  <a:pt x="334080" y="216252"/>
                </a:moveTo>
                <a:cubicBezTo>
                  <a:pt x="335032" y="219319"/>
                  <a:pt x="329022" y="219024"/>
                  <a:pt x="332175" y="220567"/>
                </a:cubicBezTo>
                <a:cubicBezTo>
                  <a:pt x="332356" y="219891"/>
                  <a:pt x="332565" y="219262"/>
                  <a:pt x="333489" y="219614"/>
                </a:cubicBezTo>
                <a:cubicBezTo>
                  <a:pt x="333185" y="222472"/>
                  <a:pt x="337252" y="220567"/>
                  <a:pt x="337995" y="220376"/>
                </a:cubicBezTo>
                <a:cubicBezTo>
                  <a:pt x="339033" y="222281"/>
                  <a:pt x="338614" y="225225"/>
                  <a:pt x="340424" y="226577"/>
                </a:cubicBezTo>
                <a:cubicBezTo>
                  <a:pt x="342574" y="223673"/>
                  <a:pt x="341964" y="219575"/>
                  <a:pt x="339059" y="217425"/>
                </a:cubicBezTo>
                <a:cubicBezTo>
                  <a:pt x="337625" y="216363"/>
                  <a:pt x="335819" y="215932"/>
                  <a:pt x="334061" y="216233"/>
                </a:cubicBezTo>
                <a:close/>
                <a:moveTo>
                  <a:pt x="352282" y="225129"/>
                </a:moveTo>
                <a:lnTo>
                  <a:pt x="352882" y="221786"/>
                </a:lnTo>
                <a:cubicBezTo>
                  <a:pt x="354006" y="221967"/>
                  <a:pt x="354063" y="222920"/>
                  <a:pt x="354940" y="223291"/>
                </a:cubicBezTo>
                <a:cubicBezTo>
                  <a:pt x="355054" y="220672"/>
                  <a:pt x="355892" y="219100"/>
                  <a:pt x="357959" y="219167"/>
                </a:cubicBezTo>
                <a:cubicBezTo>
                  <a:pt x="358073" y="221396"/>
                  <a:pt x="359864" y="222405"/>
                  <a:pt x="359254" y="225177"/>
                </a:cubicBezTo>
                <a:cubicBezTo>
                  <a:pt x="367827" y="224853"/>
                  <a:pt x="360502" y="219310"/>
                  <a:pt x="360597" y="217290"/>
                </a:cubicBezTo>
                <a:cubicBezTo>
                  <a:pt x="360502" y="219138"/>
                  <a:pt x="366855" y="213556"/>
                  <a:pt x="362293" y="214109"/>
                </a:cubicBezTo>
                <a:cubicBezTo>
                  <a:pt x="361731" y="216576"/>
                  <a:pt x="357435" y="213776"/>
                  <a:pt x="355349" y="214109"/>
                </a:cubicBezTo>
                <a:cubicBezTo>
                  <a:pt x="355302" y="218309"/>
                  <a:pt x="349758" y="221958"/>
                  <a:pt x="352263" y="225110"/>
                </a:cubicBezTo>
                <a:close/>
                <a:moveTo>
                  <a:pt x="346853" y="216100"/>
                </a:moveTo>
                <a:cubicBezTo>
                  <a:pt x="350301" y="217690"/>
                  <a:pt x="350663" y="214966"/>
                  <a:pt x="351930" y="213480"/>
                </a:cubicBezTo>
                <a:cubicBezTo>
                  <a:pt x="350377" y="212937"/>
                  <a:pt x="350349" y="211309"/>
                  <a:pt x="348929" y="210623"/>
                </a:cubicBezTo>
                <a:cubicBezTo>
                  <a:pt x="347522" y="212080"/>
                  <a:pt x="346766" y="214046"/>
                  <a:pt x="346834" y="216071"/>
                </a:cubicBezTo>
                <a:close/>
                <a:moveTo>
                  <a:pt x="350177" y="237531"/>
                </a:moveTo>
                <a:cubicBezTo>
                  <a:pt x="348615" y="236988"/>
                  <a:pt x="348586" y="235350"/>
                  <a:pt x="347177" y="234673"/>
                </a:cubicBezTo>
                <a:cubicBezTo>
                  <a:pt x="345500" y="238493"/>
                  <a:pt x="348901" y="241093"/>
                  <a:pt x="350158" y="237512"/>
                </a:cubicBezTo>
                <a:close/>
                <a:moveTo>
                  <a:pt x="358750" y="248266"/>
                </a:moveTo>
                <a:cubicBezTo>
                  <a:pt x="358169" y="243179"/>
                  <a:pt x="355530" y="245722"/>
                  <a:pt x="351425" y="243503"/>
                </a:cubicBezTo>
                <a:cubicBezTo>
                  <a:pt x="351260" y="245542"/>
                  <a:pt x="349472" y="247063"/>
                  <a:pt x="347433" y="246898"/>
                </a:cubicBezTo>
                <a:cubicBezTo>
                  <a:pt x="346610" y="246831"/>
                  <a:pt x="345832" y="246491"/>
                  <a:pt x="345224" y="245932"/>
                </a:cubicBezTo>
                <a:cubicBezTo>
                  <a:pt x="344100" y="249380"/>
                  <a:pt x="347520" y="249590"/>
                  <a:pt x="348967" y="251209"/>
                </a:cubicBezTo>
                <a:cubicBezTo>
                  <a:pt x="349682" y="247180"/>
                  <a:pt x="349225" y="247170"/>
                  <a:pt x="351987" y="247084"/>
                </a:cubicBezTo>
                <a:cubicBezTo>
                  <a:pt x="350339" y="247084"/>
                  <a:pt x="354759" y="253123"/>
                  <a:pt x="355178" y="248780"/>
                </a:cubicBezTo>
                <a:cubicBezTo>
                  <a:pt x="353949" y="248323"/>
                  <a:pt x="353635" y="247227"/>
                  <a:pt x="353273" y="246142"/>
                </a:cubicBezTo>
                <a:cubicBezTo>
                  <a:pt x="355316" y="246059"/>
                  <a:pt x="357304" y="246821"/>
                  <a:pt x="358769" y="248247"/>
                </a:cubicBezTo>
                <a:close/>
                <a:moveTo>
                  <a:pt x="366522" y="222920"/>
                </a:moveTo>
                <a:cubicBezTo>
                  <a:pt x="362531" y="225034"/>
                  <a:pt x="365998" y="228997"/>
                  <a:pt x="362712" y="231549"/>
                </a:cubicBezTo>
                <a:cubicBezTo>
                  <a:pt x="362493" y="230156"/>
                  <a:pt x="361916" y="228842"/>
                  <a:pt x="361036" y="227739"/>
                </a:cubicBezTo>
                <a:cubicBezTo>
                  <a:pt x="361807" y="232549"/>
                  <a:pt x="358340" y="231387"/>
                  <a:pt x="356692" y="232807"/>
                </a:cubicBezTo>
                <a:cubicBezTo>
                  <a:pt x="360207" y="233273"/>
                  <a:pt x="359312" y="236893"/>
                  <a:pt x="364198" y="236397"/>
                </a:cubicBezTo>
                <a:cubicBezTo>
                  <a:pt x="364817" y="234311"/>
                  <a:pt x="363360" y="233692"/>
                  <a:pt x="363836" y="231692"/>
                </a:cubicBezTo>
                <a:cubicBezTo>
                  <a:pt x="366351" y="231978"/>
                  <a:pt x="365131" y="226996"/>
                  <a:pt x="366112" y="225129"/>
                </a:cubicBezTo>
                <a:cubicBezTo>
                  <a:pt x="366754" y="225112"/>
                  <a:pt x="367260" y="224578"/>
                  <a:pt x="367243" y="223937"/>
                </a:cubicBezTo>
                <a:cubicBezTo>
                  <a:pt x="367231" y="223484"/>
                  <a:pt x="366957" y="223080"/>
                  <a:pt x="366541" y="222901"/>
                </a:cubicBezTo>
                <a:close/>
                <a:moveTo>
                  <a:pt x="380810" y="227682"/>
                </a:moveTo>
                <a:cubicBezTo>
                  <a:pt x="382400" y="225110"/>
                  <a:pt x="381600" y="225339"/>
                  <a:pt x="383086" y="221110"/>
                </a:cubicBezTo>
                <a:cubicBezTo>
                  <a:pt x="378857" y="219462"/>
                  <a:pt x="375037" y="227101"/>
                  <a:pt x="380810" y="227644"/>
                </a:cubicBezTo>
                <a:close/>
                <a:moveTo>
                  <a:pt x="383591" y="238579"/>
                </a:moveTo>
                <a:cubicBezTo>
                  <a:pt x="381133" y="235855"/>
                  <a:pt x="378000" y="230130"/>
                  <a:pt x="374771" y="235931"/>
                </a:cubicBezTo>
                <a:cubicBezTo>
                  <a:pt x="378276" y="234350"/>
                  <a:pt x="379752" y="239341"/>
                  <a:pt x="378905" y="238950"/>
                </a:cubicBezTo>
                <a:cubicBezTo>
                  <a:pt x="380352" y="239569"/>
                  <a:pt x="383181" y="239579"/>
                  <a:pt x="383591" y="238541"/>
                </a:cubicBezTo>
                <a:close/>
                <a:moveTo>
                  <a:pt x="385801" y="191430"/>
                </a:moveTo>
                <a:lnTo>
                  <a:pt x="386182" y="189172"/>
                </a:lnTo>
                <a:lnTo>
                  <a:pt x="383934" y="188791"/>
                </a:lnTo>
                <a:lnTo>
                  <a:pt x="383543" y="191039"/>
                </a:lnTo>
                <a:close/>
                <a:moveTo>
                  <a:pt x="386258" y="229759"/>
                </a:moveTo>
                <a:cubicBezTo>
                  <a:pt x="384781" y="232787"/>
                  <a:pt x="387344" y="232949"/>
                  <a:pt x="386429" y="235588"/>
                </a:cubicBezTo>
                <a:cubicBezTo>
                  <a:pt x="393249" y="237921"/>
                  <a:pt x="391992" y="229282"/>
                  <a:pt x="386220" y="229720"/>
                </a:cubicBezTo>
                <a:close/>
                <a:moveTo>
                  <a:pt x="391354" y="220234"/>
                </a:moveTo>
                <a:cubicBezTo>
                  <a:pt x="388934" y="219598"/>
                  <a:pt x="387617" y="220532"/>
                  <a:pt x="387401" y="223034"/>
                </a:cubicBezTo>
                <a:cubicBezTo>
                  <a:pt x="390306" y="224253"/>
                  <a:pt x="390030" y="221005"/>
                  <a:pt x="391354" y="220157"/>
                </a:cubicBezTo>
                <a:close/>
                <a:moveTo>
                  <a:pt x="391897" y="230711"/>
                </a:moveTo>
                <a:cubicBezTo>
                  <a:pt x="391097" y="234369"/>
                  <a:pt x="395888" y="232006"/>
                  <a:pt x="397145" y="233930"/>
                </a:cubicBezTo>
                <a:lnTo>
                  <a:pt x="398097" y="228292"/>
                </a:lnTo>
                <a:cubicBezTo>
                  <a:pt x="393754" y="227701"/>
                  <a:pt x="392420" y="228234"/>
                  <a:pt x="391935" y="230673"/>
                </a:cubicBezTo>
                <a:close/>
                <a:moveTo>
                  <a:pt x="395859" y="220957"/>
                </a:moveTo>
                <a:cubicBezTo>
                  <a:pt x="395411" y="221586"/>
                  <a:pt x="392325" y="224825"/>
                  <a:pt x="395097" y="225463"/>
                </a:cubicBezTo>
                <a:cubicBezTo>
                  <a:pt x="396421" y="223605"/>
                  <a:pt x="399459" y="222577"/>
                  <a:pt x="395859" y="220919"/>
                </a:cubicBezTo>
                <a:close/>
                <a:moveTo>
                  <a:pt x="404365" y="205013"/>
                </a:moveTo>
                <a:cubicBezTo>
                  <a:pt x="401336" y="203536"/>
                  <a:pt x="401174" y="206108"/>
                  <a:pt x="398536" y="205184"/>
                </a:cubicBezTo>
                <a:cubicBezTo>
                  <a:pt x="398355" y="209108"/>
                  <a:pt x="401336" y="207089"/>
                  <a:pt x="398707" y="211004"/>
                </a:cubicBezTo>
                <a:cubicBezTo>
                  <a:pt x="402908" y="211575"/>
                  <a:pt x="401822" y="209851"/>
                  <a:pt x="401726" y="206879"/>
                </a:cubicBezTo>
                <a:cubicBezTo>
                  <a:pt x="403127" y="206946"/>
                  <a:pt x="404460" y="206956"/>
                  <a:pt x="404365" y="204974"/>
                </a:cubicBezTo>
                <a:close/>
                <a:moveTo>
                  <a:pt x="410385" y="203717"/>
                </a:moveTo>
                <a:cubicBezTo>
                  <a:pt x="408899" y="203450"/>
                  <a:pt x="409689" y="201565"/>
                  <a:pt x="408480" y="201079"/>
                </a:cubicBezTo>
                <a:cubicBezTo>
                  <a:pt x="407870" y="202536"/>
                  <a:pt x="406517" y="202984"/>
                  <a:pt x="406575" y="205394"/>
                </a:cubicBezTo>
                <a:lnTo>
                  <a:pt x="408823" y="205775"/>
                </a:lnTo>
                <a:cubicBezTo>
                  <a:pt x="409080" y="204641"/>
                  <a:pt x="410032" y="204555"/>
                  <a:pt x="410385" y="203689"/>
                </a:cubicBezTo>
                <a:close/>
                <a:moveTo>
                  <a:pt x="410385" y="217624"/>
                </a:moveTo>
                <a:cubicBezTo>
                  <a:pt x="412661" y="217624"/>
                  <a:pt x="412366" y="219529"/>
                  <a:pt x="413375" y="220481"/>
                </a:cubicBezTo>
                <a:cubicBezTo>
                  <a:pt x="414719" y="218252"/>
                  <a:pt x="411280" y="214852"/>
                  <a:pt x="410347" y="217586"/>
                </a:cubicBezTo>
                <a:close/>
                <a:moveTo>
                  <a:pt x="416614" y="208242"/>
                </a:moveTo>
                <a:cubicBezTo>
                  <a:pt x="415383" y="208065"/>
                  <a:pt x="414254" y="207461"/>
                  <a:pt x="413423" y="206537"/>
                </a:cubicBezTo>
                <a:cubicBezTo>
                  <a:pt x="414528" y="210127"/>
                  <a:pt x="411432" y="210508"/>
                  <a:pt x="414709" y="212556"/>
                </a:cubicBezTo>
                <a:cubicBezTo>
                  <a:pt x="415195" y="211232"/>
                  <a:pt x="416090" y="212080"/>
                  <a:pt x="416966" y="212937"/>
                </a:cubicBezTo>
                <a:cubicBezTo>
                  <a:pt x="417547" y="210813"/>
                  <a:pt x="416090" y="210204"/>
                  <a:pt x="416576" y="208203"/>
                </a:cubicBezTo>
                <a:close/>
                <a:moveTo>
                  <a:pt x="415890" y="198840"/>
                </a:moveTo>
                <a:cubicBezTo>
                  <a:pt x="416576" y="198898"/>
                  <a:pt x="417243" y="198898"/>
                  <a:pt x="417195" y="197888"/>
                </a:cubicBezTo>
                <a:cubicBezTo>
                  <a:pt x="414099" y="195573"/>
                  <a:pt x="413242" y="203212"/>
                  <a:pt x="415119" y="203336"/>
                </a:cubicBezTo>
                <a:cubicBezTo>
                  <a:pt x="415719" y="201622"/>
                  <a:pt x="417719" y="202965"/>
                  <a:pt x="418500" y="203908"/>
                </a:cubicBezTo>
                <a:cubicBezTo>
                  <a:pt x="420062" y="200431"/>
                  <a:pt x="415938" y="201050"/>
                  <a:pt x="415852" y="198802"/>
                </a:cubicBezTo>
                <a:close/>
                <a:moveTo>
                  <a:pt x="489737" y="132537"/>
                </a:moveTo>
                <a:cubicBezTo>
                  <a:pt x="494624" y="130727"/>
                  <a:pt x="494500" y="135709"/>
                  <a:pt x="496862" y="138385"/>
                </a:cubicBezTo>
                <a:cubicBezTo>
                  <a:pt x="497586" y="136147"/>
                  <a:pt x="500291" y="136690"/>
                  <a:pt x="501005" y="134451"/>
                </a:cubicBezTo>
                <a:cubicBezTo>
                  <a:pt x="499824" y="133966"/>
                  <a:pt x="498615" y="132137"/>
                  <a:pt x="500263" y="132003"/>
                </a:cubicBezTo>
                <a:cubicBezTo>
                  <a:pt x="502539" y="132003"/>
                  <a:pt x="502244" y="133908"/>
                  <a:pt x="503263" y="134861"/>
                </a:cubicBezTo>
                <a:cubicBezTo>
                  <a:pt x="504339" y="132080"/>
                  <a:pt x="505425" y="131165"/>
                  <a:pt x="503091" y="129032"/>
                </a:cubicBezTo>
                <a:cubicBezTo>
                  <a:pt x="502901" y="131318"/>
                  <a:pt x="499796" y="128746"/>
                  <a:pt x="498386" y="129394"/>
                </a:cubicBezTo>
                <a:cubicBezTo>
                  <a:pt x="497738" y="129698"/>
                  <a:pt x="498177" y="132042"/>
                  <a:pt x="496881" y="131461"/>
                </a:cubicBezTo>
                <a:cubicBezTo>
                  <a:pt x="495129" y="131051"/>
                  <a:pt x="496481" y="128441"/>
                  <a:pt x="493881" y="128603"/>
                </a:cubicBezTo>
                <a:cubicBezTo>
                  <a:pt x="492385" y="128365"/>
                  <a:pt x="492519" y="130403"/>
                  <a:pt x="491242" y="130508"/>
                </a:cubicBezTo>
                <a:cubicBezTo>
                  <a:pt x="490290" y="130537"/>
                  <a:pt x="489737" y="131165"/>
                  <a:pt x="489699" y="132499"/>
                </a:cubicBezTo>
                <a:close/>
                <a:moveTo>
                  <a:pt x="457086" y="181486"/>
                </a:moveTo>
                <a:cubicBezTo>
                  <a:pt x="456648" y="180533"/>
                  <a:pt x="455343" y="181352"/>
                  <a:pt x="455028" y="179981"/>
                </a:cubicBezTo>
                <a:cubicBezTo>
                  <a:pt x="455143" y="180476"/>
                  <a:pt x="457800" y="177047"/>
                  <a:pt x="454276" y="177533"/>
                </a:cubicBezTo>
                <a:cubicBezTo>
                  <a:pt x="451914" y="178362"/>
                  <a:pt x="453866" y="186334"/>
                  <a:pt x="449189" y="187058"/>
                </a:cubicBezTo>
                <a:cubicBezTo>
                  <a:pt x="449047" y="185484"/>
                  <a:pt x="447759" y="184261"/>
                  <a:pt x="446180" y="184200"/>
                </a:cubicBezTo>
                <a:cubicBezTo>
                  <a:pt x="445703" y="191278"/>
                  <a:pt x="452085" y="185801"/>
                  <a:pt x="456133" y="187058"/>
                </a:cubicBezTo>
                <a:cubicBezTo>
                  <a:pt x="455676" y="185534"/>
                  <a:pt x="457657" y="182896"/>
                  <a:pt x="457048" y="181448"/>
                </a:cubicBezTo>
                <a:close/>
                <a:moveTo>
                  <a:pt x="473278" y="181905"/>
                </a:moveTo>
                <a:cubicBezTo>
                  <a:pt x="470421" y="181314"/>
                  <a:pt x="472907" y="176885"/>
                  <a:pt x="468220" y="177571"/>
                </a:cubicBezTo>
                <a:cubicBezTo>
                  <a:pt x="468544" y="174037"/>
                  <a:pt x="464810" y="173380"/>
                  <a:pt x="462210" y="171913"/>
                </a:cubicBezTo>
                <a:cubicBezTo>
                  <a:pt x="460943" y="174599"/>
                  <a:pt x="460305" y="176361"/>
                  <a:pt x="462210" y="178876"/>
                </a:cubicBezTo>
                <a:cubicBezTo>
                  <a:pt x="463534" y="176066"/>
                  <a:pt x="466201" y="179505"/>
                  <a:pt x="466725" y="179638"/>
                </a:cubicBezTo>
                <a:cubicBezTo>
                  <a:pt x="466658" y="179638"/>
                  <a:pt x="469154" y="177733"/>
                  <a:pt x="468982" y="180019"/>
                </a:cubicBezTo>
                <a:cubicBezTo>
                  <a:pt x="468030" y="180124"/>
                  <a:pt x="467506" y="180733"/>
                  <a:pt x="467468" y="182076"/>
                </a:cubicBezTo>
                <a:cubicBezTo>
                  <a:pt x="465830" y="179628"/>
                  <a:pt x="463953" y="182867"/>
                  <a:pt x="462020" y="180000"/>
                </a:cubicBezTo>
                <a:cubicBezTo>
                  <a:pt x="460134" y="185220"/>
                  <a:pt x="473069" y="186458"/>
                  <a:pt x="473212" y="181867"/>
                </a:cubicBezTo>
                <a:close/>
                <a:moveTo>
                  <a:pt x="485089" y="166541"/>
                </a:moveTo>
                <a:cubicBezTo>
                  <a:pt x="486042" y="169589"/>
                  <a:pt x="480993" y="170665"/>
                  <a:pt x="484137" y="172180"/>
                </a:cubicBezTo>
                <a:cubicBezTo>
                  <a:pt x="485280" y="170018"/>
                  <a:pt x="488842" y="167979"/>
                  <a:pt x="485089" y="166541"/>
                </a:cubicBezTo>
                <a:close/>
                <a:moveTo>
                  <a:pt x="493900" y="176152"/>
                </a:moveTo>
                <a:cubicBezTo>
                  <a:pt x="497948" y="171304"/>
                  <a:pt x="490661" y="172799"/>
                  <a:pt x="493900" y="176152"/>
                </a:cubicBezTo>
                <a:close/>
                <a:moveTo>
                  <a:pt x="495100" y="148529"/>
                </a:moveTo>
                <a:cubicBezTo>
                  <a:pt x="493538" y="147653"/>
                  <a:pt x="492547" y="146377"/>
                  <a:pt x="490976" y="145500"/>
                </a:cubicBezTo>
                <a:cubicBezTo>
                  <a:pt x="490566" y="146805"/>
                  <a:pt x="490633" y="148739"/>
                  <a:pt x="489280" y="148701"/>
                </a:cubicBezTo>
                <a:cubicBezTo>
                  <a:pt x="487023" y="146996"/>
                  <a:pt x="486120" y="144032"/>
                  <a:pt x="487042" y="141357"/>
                </a:cubicBezTo>
                <a:cubicBezTo>
                  <a:pt x="484937" y="139395"/>
                  <a:pt x="483813" y="142376"/>
                  <a:pt x="482155" y="142852"/>
                </a:cubicBezTo>
                <a:cubicBezTo>
                  <a:pt x="480241" y="143276"/>
                  <a:pt x="478263" y="143334"/>
                  <a:pt x="476326" y="143024"/>
                </a:cubicBezTo>
                <a:cubicBezTo>
                  <a:pt x="475507" y="142833"/>
                  <a:pt x="475374" y="141709"/>
                  <a:pt x="475374" y="141709"/>
                </a:cubicBezTo>
                <a:cubicBezTo>
                  <a:pt x="473783" y="141214"/>
                  <a:pt x="470611" y="143719"/>
                  <a:pt x="470868" y="140938"/>
                </a:cubicBezTo>
                <a:cubicBezTo>
                  <a:pt x="472145" y="140881"/>
                  <a:pt x="473888" y="139538"/>
                  <a:pt x="472373" y="138871"/>
                </a:cubicBezTo>
                <a:cubicBezTo>
                  <a:pt x="470097" y="140290"/>
                  <a:pt x="469430" y="142948"/>
                  <a:pt x="466906" y="143748"/>
                </a:cubicBezTo>
                <a:cubicBezTo>
                  <a:pt x="467201" y="143662"/>
                  <a:pt x="466087" y="141843"/>
                  <a:pt x="465782" y="143557"/>
                </a:cubicBezTo>
                <a:cubicBezTo>
                  <a:pt x="466620" y="143948"/>
                  <a:pt x="466935" y="144719"/>
                  <a:pt x="466525" y="146005"/>
                </a:cubicBezTo>
                <a:cubicBezTo>
                  <a:pt x="462934" y="143233"/>
                  <a:pt x="462715" y="146224"/>
                  <a:pt x="459381" y="147110"/>
                </a:cubicBezTo>
                <a:cubicBezTo>
                  <a:pt x="458038" y="147110"/>
                  <a:pt x="456219" y="146367"/>
                  <a:pt x="455819" y="147663"/>
                </a:cubicBezTo>
                <a:cubicBezTo>
                  <a:pt x="456648" y="148063"/>
                  <a:pt x="458029" y="148072"/>
                  <a:pt x="457876" y="149167"/>
                </a:cubicBezTo>
                <a:cubicBezTo>
                  <a:pt x="457724" y="150263"/>
                  <a:pt x="456743" y="150358"/>
                  <a:pt x="456362" y="151234"/>
                </a:cubicBezTo>
                <a:cubicBezTo>
                  <a:pt x="459305" y="152577"/>
                  <a:pt x="459019" y="149329"/>
                  <a:pt x="461258" y="149749"/>
                </a:cubicBezTo>
                <a:cubicBezTo>
                  <a:pt x="462363" y="151273"/>
                  <a:pt x="465020" y="151654"/>
                  <a:pt x="467830" y="152015"/>
                </a:cubicBezTo>
                <a:cubicBezTo>
                  <a:pt x="468220" y="150720"/>
                  <a:pt x="468173" y="148786"/>
                  <a:pt x="469525" y="148825"/>
                </a:cubicBezTo>
                <a:cubicBezTo>
                  <a:pt x="469525" y="150815"/>
                  <a:pt x="473183" y="148386"/>
                  <a:pt x="473659" y="151844"/>
                </a:cubicBezTo>
                <a:cubicBezTo>
                  <a:pt x="472164" y="151606"/>
                  <a:pt x="472288" y="153644"/>
                  <a:pt x="471021" y="153749"/>
                </a:cubicBezTo>
                <a:cubicBezTo>
                  <a:pt x="469878" y="153559"/>
                  <a:pt x="469821" y="152606"/>
                  <a:pt x="468954" y="152235"/>
                </a:cubicBezTo>
                <a:cubicBezTo>
                  <a:pt x="467554" y="153520"/>
                  <a:pt x="467154" y="156206"/>
                  <a:pt x="465744" y="157483"/>
                </a:cubicBezTo>
                <a:cubicBezTo>
                  <a:pt x="470945" y="157759"/>
                  <a:pt x="469973" y="153673"/>
                  <a:pt x="471764" y="156197"/>
                </a:cubicBezTo>
                <a:cubicBezTo>
                  <a:pt x="472802" y="158138"/>
                  <a:pt x="474811" y="159363"/>
                  <a:pt x="477012" y="159397"/>
                </a:cubicBezTo>
                <a:cubicBezTo>
                  <a:pt x="476559" y="160897"/>
                  <a:pt x="477277" y="162501"/>
                  <a:pt x="478698" y="163160"/>
                </a:cubicBezTo>
                <a:cubicBezTo>
                  <a:pt x="480603" y="160588"/>
                  <a:pt x="478698" y="159540"/>
                  <a:pt x="480603" y="158845"/>
                </a:cubicBezTo>
                <a:cubicBezTo>
                  <a:pt x="482060" y="159464"/>
                  <a:pt x="482508" y="160817"/>
                  <a:pt x="484908" y="160750"/>
                </a:cubicBezTo>
                <a:cubicBezTo>
                  <a:pt x="485470" y="159216"/>
                  <a:pt x="487604" y="159883"/>
                  <a:pt x="488671" y="159073"/>
                </a:cubicBezTo>
                <a:cubicBezTo>
                  <a:pt x="489071" y="157769"/>
                  <a:pt x="489023" y="155835"/>
                  <a:pt x="490376" y="155883"/>
                </a:cubicBezTo>
                <a:cubicBezTo>
                  <a:pt x="493528" y="156626"/>
                  <a:pt x="493719" y="152073"/>
                  <a:pt x="496195" y="155711"/>
                </a:cubicBezTo>
                <a:cubicBezTo>
                  <a:pt x="497662" y="151692"/>
                  <a:pt x="490757" y="151558"/>
                  <a:pt x="495100" y="148491"/>
                </a:cubicBezTo>
                <a:close/>
                <a:moveTo>
                  <a:pt x="501634" y="164722"/>
                </a:moveTo>
                <a:cubicBezTo>
                  <a:pt x="502244" y="163398"/>
                  <a:pt x="503539" y="163912"/>
                  <a:pt x="504263" y="162817"/>
                </a:cubicBezTo>
                <a:cubicBezTo>
                  <a:pt x="497967" y="161864"/>
                  <a:pt x="499110" y="165065"/>
                  <a:pt x="497491" y="168618"/>
                </a:cubicBezTo>
                <a:cubicBezTo>
                  <a:pt x="499777" y="169675"/>
                  <a:pt x="502968" y="173542"/>
                  <a:pt x="504244" y="169770"/>
                </a:cubicBezTo>
                <a:cubicBezTo>
                  <a:pt x="502587" y="168932"/>
                  <a:pt x="500834" y="166398"/>
                  <a:pt x="501634" y="164636"/>
                </a:cubicBezTo>
                <a:close/>
                <a:moveTo>
                  <a:pt x="505625" y="148005"/>
                </a:moveTo>
                <a:cubicBezTo>
                  <a:pt x="503063" y="152692"/>
                  <a:pt x="499072" y="144996"/>
                  <a:pt x="496414" y="147605"/>
                </a:cubicBezTo>
                <a:cubicBezTo>
                  <a:pt x="499481" y="149958"/>
                  <a:pt x="501548" y="154101"/>
                  <a:pt x="505987" y="152711"/>
                </a:cubicBezTo>
                <a:cubicBezTo>
                  <a:pt x="506082" y="150939"/>
                  <a:pt x="507101" y="148567"/>
                  <a:pt x="505625" y="147948"/>
                </a:cubicBezTo>
                <a:close/>
                <a:moveTo>
                  <a:pt x="509435" y="125469"/>
                </a:moveTo>
                <a:cubicBezTo>
                  <a:pt x="508121" y="123400"/>
                  <a:pt x="506480" y="121557"/>
                  <a:pt x="504577" y="120011"/>
                </a:cubicBezTo>
                <a:lnTo>
                  <a:pt x="503806" y="124517"/>
                </a:lnTo>
                <a:cubicBezTo>
                  <a:pt x="504396" y="125231"/>
                  <a:pt x="508721" y="128003"/>
                  <a:pt x="509445" y="125412"/>
                </a:cubicBezTo>
                <a:close/>
                <a:moveTo>
                  <a:pt x="514055" y="152920"/>
                </a:moveTo>
                <a:cubicBezTo>
                  <a:pt x="511140" y="152073"/>
                  <a:pt x="510750" y="154825"/>
                  <a:pt x="509921" y="156854"/>
                </a:cubicBezTo>
                <a:cubicBezTo>
                  <a:pt x="512978" y="157235"/>
                  <a:pt x="515760" y="155111"/>
                  <a:pt x="514064" y="152863"/>
                </a:cubicBezTo>
                <a:close/>
                <a:moveTo>
                  <a:pt x="517417" y="160445"/>
                </a:moveTo>
                <a:cubicBezTo>
                  <a:pt x="519160" y="160836"/>
                  <a:pt x="518760" y="157302"/>
                  <a:pt x="517617" y="159321"/>
                </a:cubicBezTo>
                <a:cubicBezTo>
                  <a:pt x="515179" y="159940"/>
                  <a:pt x="517274" y="164341"/>
                  <a:pt x="518360" y="161769"/>
                </a:cubicBezTo>
                <a:cubicBezTo>
                  <a:pt x="517665" y="161531"/>
                  <a:pt x="517055" y="161312"/>
                  <a:pt x="517427" y="160388"/>
                </a:cubicBezTo>
                <a:close/>
                <a:moveTo>
                  <a:pt x="526152" y="129470"/>
                </a:moveTo>
                <a:cubicBezTo>
                  <a:pt x="522389" y="129822"/>
                  <a:pt x="522970" y="127098"/>
                  <a:pt x="520903" y="126260"/>
                </a:cubicBezTo>
                <a:cubicBezTo>
                  <a:pt x="520251" y="127687"/>
                  <a:pt x="518638" y="128405"/>
                  <a:pt x="517141" y="127936"/>
                </a:cubicBezTo>
                <a:cubicBezTo>
                  <a:pt x="518484" y="124012"/>
                  <a:pt x="514388" y="123945"/>
                  <a:pt x="510950" y="123412"/>
                </a:cubicBezTo>
                <a:cubicBezTo>
                  <a:pt x="510321" y="127822"/>
                  <a:pt x="515150" y="128365"/>
                  <a:pt x="519198" y="129451"/>
                </a:cubicBezTo>
                <a:cubicBezTo>
                  <a:pt x="519429" y="130829"/>
                  <a:pt x="520009" y="132124"/>
                  <a:pt x="520884" y="133213"/>
                </a:cubicBezTo>
                <a:cubicBezTo>
                  <a:pt x="520932" y="129498"/>
                  <a:pt x="526552" y="133689"/>
                  <a:pt x="526161" y="129394"/>
                </a:cubicBezTo>
                <a:close/>
                <a:moveTo>
                  <a:pt x="544592" y="123317"/>
                </a:moveTo>
                <a:cubicBezTo>
                  <a:pt x="547697" y="125641"/>
                  <a:pt x="548545" y="117992"/>
                  <a:pt x="546668" y="117878"/>
                </a:cubicBezTo>
                <a:cubicBezTo>
                  <a:pt x="547068" y="121164"/>
                  <a:pt x="544592" y="120469"/>
                  <a:pt x="544601" y="123259"/>
                </a:cubicBezTo>
                <a:close/>
                <a:moveTo>
                  <a:pt x="541934" y="132146"/>
                </a:moveTo>
                <a:cubicBezTo>
                  <a:pt x="541573" y="132213"/>
                  <a:pt x="543030" y="133642"/>
                  <a:pt x="543992" y="133651"/>
                </a:cubicBezTo>
                <a:cubicBezTo>
                  <a:pt x="544382" y="133651"/>
                  <a:pt x="545163" y="131832"/>
                  <a:pt x="546430" y="132908"/>
                </a:cubicBezTo>
                <a:cubicBezTo>
                  <a:pt x="547040" y="130476"/>
                  <a:pt x="546641" y="127900"/>
                  <a:pt x="545325" y="125765"/>
                </a:cubicBezTo>
                <a:cubicBezTo>
                  <a:pt x="544544" y="127612"/>
                  <a:pt x="543916" y="125279"/>
                  <a:pt x="541953" y="125193"/>
                </a:cubicBezTo>
                <a:cubicBezTo>
                  <a:pt x="540465" y="127531"/>
                  <a:pt x="538545" y="129564"/>
                  <a:pt x="536296" y="131184"/>
                </a:cubicBezTo>
                <a:cubicBezTo>
                  <a:pt x="534610" y="130403"/>
                  <a:pt x="535934" y="127479"/>
                  <a:pt x="532171" y="128174"/>
                </a:cubicBezTo>
                <a:cubicBezTo>
                  <a:pt x="529819" y="131432"/>
                  <a:pt x="532400" y="135118"/>
                  <a:pt x="528771" y="134547"/>
                </a:cubicBezTo>
                <a:cubicBezTo>
                  <a:pt x="529371" y="137090"/>
                  <a:pt x="527666" y="141281"/>
                  <a:pt x="532324" y="140947"/>
                </a:cubicBezTo>
                <a:cubicBezTo>
                  <a:pt x="533457" y="138366"/>
                  <a:pt x="532324" y="132537"/>
                  <a:pt x="534981" y="132127"/>
                </a:cubicBezTo>
                <a:cubicBezTo>
                  <a:pt x="536734" y="132527"/>
                  <a:pt x="535372" y="135147"/>
                  <a:pt x="537972" y="134985"/>
                </a:cubicBezTo>
                <a:cubicBezTo>
                  <a:pt x="539896" y="134061"/>
                  <a:pt x="540525" y="132356"/>
                  <a:pt x="541944" y="132089"/>
                </a:cubicBezTo>
                <a:close/>
                <a:moveTo>
                  <a:pt x="546240" y="134051"/>
                </a:moveTo>
                <a:cubicBezTo>
                  <a:pt x="545868" y="139471"/>
                  <a:pt x="544487" y="135956"/>
                  <a:pt x="542677" y="134613"/>
                </a:cubicBezTo>
                <a:cubicBezTo>
                  <a:pt x="543630" y="137661"/>
                  <a:pt x="538572" y="138719"/>
                  <a:pt x="541725" y="140243"/>
                </a:cubicBezTo>
                <a:cubicBezTo>
                  <a:pt x="543563" y="138442"/>
                  <a:pt x="551088" y="136709"/>
                  <a:pt x="546240" y="133975"/>
                </a:cubicBezTo>
                <a:close/>
                <a:moveTo>
                  <a:pt x="552326" y="111906"/>
                </a:moveTo>
                <a:cubicBezTo>
                  <a:pt x="553593" y="115763"/>
                  <a:pt x="547354" y="115792"/>
                  <a:pt x="550240" y="117344"/>
                </a:cubicBezTo>
                <a:cubicBezTo>
                  <a:pt x="550659" y="116059"/>
                  <a:pt x="552240" y="116392"/>
                  <a:pt x="553812" y="116792"/>
                </a:cubicBezTo>
                <a:cubicBezTo>
                  <a:pt x="554574" y="114201"/>
                  <a:pt x="554269" y="112430"/>
                  <a:pt x="552336" y="111829"/>
                </a:cubicBezTo>
                <a:close/>
                <a:moveTo>
                  <a:pt x="559460" y="49345"/>
                </a:moveTo>
                <a:cubicBezTo>
                  <a:pt x="557975" y="49079"/>
                  <a:pt x="558765" y="47193"/>
                  <a:pt x="557555" y="46707"/>
                </a:cubicBezTo>
                <a:cubicBezTo>
                  <a:pt x="557155" y="47545"/>
                  <a:pt x="556384" y="47860"/>
                  <a:pt x="555108" y="47460"/>
                </a:cubicBezTo>
                <a:cubicBezTo>
                  <a:pt x="553964" y="51508"/>
                  <a:pt x="557936" y="51422"/>
                  <a:pt x="559470" y="49269"/>
                </a:cubicBezTo>
                <a:close/>
                <a:moveTo>
                  <a:pt x="558270" y="70015"/>
                </a:moveTo>
                <a:cubicBezTo>
                  <a:pt x="559118" y="67948"/>
                  <a:pt x="561832" y="68519"/>
                  <a:pt x="561480" y="64766"/>
                </a:cubicBezTo>
                <a:cubicBezTo>
                  <a:pt x="558822" y="64871"/>
                  <a:pt x="555346" y="66024"/>
                  <a:pt x="553593" y="63423"/>
                </a:cubicBezTo>
                <a:cubicBezTo>
                  <a:pt x="553193" y="64719"/>
                  <a:pt x="553241" y="66652"/>
                  <a:pt x="551898" y="66614"/>
                </a:cubicBezTo>
                <a:cubicBezTo>
                  <a:pt x="552374" y="71377"/>
                  <a:pt x="555708" y="71853"/>
                  <a:pt x="552431" y="77139"/>
                </a:cubicBezTo>
                <a:cubicBezTo>
                  <a:pt x="557584" y="79197"/>
                  <a:pt x="557670" y="74149"/>
                  <a:pt x="558279" y="69939"/>
                </a:cubicBezTo>
                <a:close/>
                <a:moveTo>
                  <a:pt x="563385" y="121897"/>
                </a:moveTo>
                <a:cubicBezTo>
                  <a:pt x="562070" y="120507"/>
                  <a:pt x="560299" y="119459"/>
                  <a:pt x="559441" y="117745"/>
                </a:cubicBezTo>
                <a:cubicBezTo>
                  <a:pt x="562099" y="118183"/>
                  <a:pt x="559556" y="114601"/>
                  <a:pt x="557536" y="115106"/>
                </a:cubicBezTo>
                <a:cubicBezTo>
                  <a:pt x="558287" y="117804"/>
                  <a:pt x="557794" y="120695"/>
                  <a:pt x="556193" y="122993"/>
                </a:cubicBezTo>
                <a:cubicBezTo>
                  <a:pt x="558650" y="123589"/>
                  <a:pt x="561244" y="123167"/>
                  <a:pt x="563385" y="121821"/>
                </a:cubicBezTo>
                <a:close/>
                <a:moveTo>
                  <a:pt x="571129" y="42049"/>
                </a:moveTo>
                <a:cubicBezTo>
                  <a:pt x="568271" y="39716"/>
                  <a:pt x="567195" y="46393"/>
                  <a:pt x="569224" y="46374"/>
                </a:cubicBezTo>
                <a:cubicBezTo>
                  <a:pt x="569274" y="44715"/>
                  <a:pt x="569959" y="43140"/>
                  <a:pt x="571138" y="41973"/>
                </a:cubicBezTo>
                <a:close/>
                <a:moveTo>
                  <a:pt x="592274" y="74625"/>
                </a:moveTo>
                <a:cubicBezTo>
                  <a:pt x="594055" y="74815"/>
                  <a:pt x="596151" y="75434"/>
                  <a:pt x="596027" y="72939"/>
                </a:cubicBezTo>
                <a:lnTo>
                  <a:pt x="593779" y="72558"/>
                </a:lnTo>
                <a:cubicBezTo>
                  <a:pt x="593598" y="73615"/>
                  <a:pt x="592646" y="73672"/>
                  <a:pt x="592284" y="74549"/>
                </a:cubicBezTo>
                <a:close/>
                <a:moveTo>
                  <a:pt x="584873" y="97713"/>
                </a:moveTo>
                <a:cubicBezTo>
                  <a:pt x="584959" y="95675"/>
                  <a:pt x="586969" y="92265"/>
                  <a:pt x="583387" y="92827"/>
                </a:cubicBezTo>
                <a:cubicBezTo>
                  <a:pt x="582644" y="95266"/>
                  <a:pt x="582949" y="97009"/>
                  <a:pt x="584883" y="97637"/>
                </a:cubicBezTo>
                <a:close/>
                <a:moveTo>
                  <a:pt x="572767" y="128117"/>
                </a:moveTo>
                <a:lnTo>
                  <a:pt x="575015" y="128498"/>
                </a:lnTo>
                <a:cubicBezTo>
                  <a:pt x="575148" y="127755"/>
                  <a:pt x="575272" y="127003"/>
                  <a:pt x="575405" y="126250"/>
                </a:cubicBezTo>
                <a:lnTo>
                  <a:pt x="573148" y="125869"/>
                </a:lnTo>
                <a:cubicBezTo>
                  <a:pt x="573024" y="126536"/>
                  <a:pt x="572910" y="127289"/>
                  <a:pt x="572776" y="128041"/>
                </a:cubicBezTo>
                <a:close/>
                <a:moveTo>
                  <a:pt x="574224" y="139966"/>
                </a:moveTo>
                <a:cubicBezTo>
                  <a:pt x="571005" y="135899"/>
                  <a:pt x="570109" y="143548"/>
                  <a:pt x="574224" y="139966"/>
                </a:cubicBezTo>
                <a:close/>
                <a:moveTo>
                  <a:pt x="578034" y="131327"/>
                </a:moveTo>
                <a:cubicBezTo>
                  <a:pt x="573100" y="130708"/>
                  <a:pt x="575643" y="132937"/>
                  <a:pt x="574815" y="136585"/>
                </a:cubicBezTo>
                <a:cubicBezTo>
                  <a:pt x="579311" y="137442"/>
                  <a:pt x="578282" y="134156"/>
                  <a:pt x="578025" y="131299"/>
                </a:cubicBezTo>
                <a:close/>
                <a:moveTo>
                  <a:pt x="594455" y="102724"/>
                </a:moveTo>
                <a:cubicBezTo>
                  <a:pt x="591598" y="102419"/>
                  <a:pt x="591255" y="100361"/>
                  <a:pt x="589198" y="99504"/>
                </a:cubicBezTo>
                <a:cubicBezTo>
                  <a:pt x="589521" y="103590"/>
                  <a:pt x="586807" y="103076"/>
                  <a:pt x="585435" y="101190"/>
                </a:cubicBezTo>
                <a:cubicBezTo>
                  <a:pt x="583997" y="103095"/>
                  <a:pt x="588178" y="105524"/>
                  <a:pt x="584673" y="105695"/>
                </a:cubicBezTo>
                <a:cubicBezTo>
                  <a:pt x="583721" y="102733"/>
                  <a:pt x="580673" y="101266"/>
                  <a:pt x="577548" y="99857"/>
                </a:cubicBezTo>
                <a:cubicBezTo>
                  <a:pt x="576929" y="101943"/>
                  <a:pt x="578396" y="102552"/>
                  <a:pt x="577901" y="104552"/>
                </a:cubicBezTo>
                <a:cubicBezTo>
                  <a:pt x="579558" y="105029"/>
                  <a:pt x="582139" y="104857"/>
                  <a:pt x="582225" y="106457"/>
                </a:cubicBezTo>
                <a:cubicBezTo>
                  <a:pt x="580141" y="108984"/>
                  <a:pt x="578484" y="111835"/>
                  <a:pt x="577320" y="114897"/>
                </a:cubicBezTo>
                <a:cubicBezTo>
                  <a:pt x="580320" y="116392"/>
                  <a:pt x="581330" y="119316"/>
                  <a:pt x="585759" y="119802"/>
                </a:cubicBezTo>
                <a:cubicBezTo>
                  <a:pt x="586159" y="118973"/>
                  <a:pt x="586169" y="117583"/>
                  <a:pt x="587264" y="117745"/>
                </a:cubicBezTo>
                <a:cubicBezTo>
                  <a:pt x="588187" y="115075"/>
                  <a:pt x="587287" y="112115"/>
                  <a:pt x="585035" y="110410"/>
                </a:cubicBezTo>
                <a:cubicBezTo>
                  <a:pt x="583349" y="110829"/>
                  <a:pt x="584130" y="114716"/>
                  <a:pt x="582016" y="114535"/>
                </a:cubicBezTo>
                <a:cubicBezTo>
                  <a:pt x="582206" y="113401"/>
                  <a:pt x="581330" y="113039"/>
                  <a:pt x="581273" y="112087"/>
                </a:cubicBezTo>
                <a:cubicBezTo>
                  <a:pt x="583178" y="110515"/>
                  <a:pt x="583635" y="107038"/>
                  <a:pt x="585607" y="107029"/>
                </a:cubicBezTo>
                <a:cubicBezTo>
                  <a:pt x="585692" y="107029"/>
                  <a:pt x="586350" y="109239"/>
                  <a:pt x="587664" y="108534"/>
                </a:cubicBezTo>
                <a:cubicBezTo>
                  <a:pt x="588521" y="108077"/>
                  <a:pt x="587664" y="104657"/>
                  <a:pt x="589369" y="105343"/>
                </a:cubicBezTo>
                <a:cubicBezTo>
                  <a:pt x="589845" y="107248"/>
                  <a:pt x="588664" y="110782"/>
                  <a:pt x="592369" y="108200"/>
                </a:cubicBezTo>
                <a:cubicBezTo>
                  <a:pt x="587864" y="105867"/>
                  <a:pt x="593865" y="105743"/>
                  <a:pt x="594455" y="102724"/>
                </a:cubicBezTo>
                <a:close/>
                <a:moveTo>
                  <a:pt x="606838" y="97866"/>
                </a:moveTo>
                <a:cubicBezTo>
                  <a:pt x="602723" y="96475"/>
                  <a:pt x="590293" y="89627"/>
                  <a:pt x="592922" y="97866"/>
                </a:cubicBezTo>
                <a:cubicBezTo>
                  <a:pt x="595084" y="98580"/>
                  <a:pt x="595417" y="96723"/>
                  <a:pt x="596732" y="96189"/>
                </a:cubicBezTo>
                <a:cubicBezTo>
                  <a:pt x="596541" y="97980"/>
                  <a:pt x="595913" y="100066"/>
                  <a:pt x="598408" y="99952"/>
                </a:cubicBezTo>
                <a:cubicBezTo>
                  <a:pt x="599180" y="98047"/>
                  <a:pt x="597218" y="96780"/>
                  <a:pt x="598989" y="96570"/>
                </a:cubicBezTo>
                <a:cubicBezTo>
                  <a:pt x="604190" y="96504"/>
                  <a:pt x="597294" y="105029"/>
                  <a:pt x="602151" y="105229"/>
                </a:cubicBezTo>
                <a:cubicBezTo>
                  <a:pt x="604628" y="103438"/>
                  <a:pt x="601828" y="103066"/>
                  <a:pt x="603104" y="99590"/>
                </a:cubicBezTo>
                <a:cubicBezTo>
                  <a:pt x="604487" y="99355"/>
                  <a:pt x="605785" y="98767"/>
                  <a:pt x="606876" y="97885"/>
                </a:cubicBezTo>
                <a:close/>
                <a:moveTo>
                  <a:pt x="487289" y="379025"/>
                </a:moveTo>
                <a:cubicBezTo>
                  <a:pt x="487509" y="380225"/>
                  <a:pt x="486337" y="379653"/>
                  <a:pt x="485975" y="379977"/>
                </a:cubicBezTo>
                <a:cubicBezTo>
                  <a:pt x="483822" y="381635"/>
                  <a:pt x="486127" y="384816"/>
                  <a:pt x="487651" y="383787"/>
                </a:cubicBezTo>
                <a:cubicBezTo>
                  <a:pt x="488528" y="383102"/>
                  <a:pt x="488137" y="378806"/>
                  <a:pt x="487289" y="379025"/>
                </a:cubicBezTo>
                <a:close/>
                <a:moveTo>
                  <a:pt x="491185" y="397046"/>
                </a:moveTo>
                <a:cubicBezTo>
                  <a:pt x="487756" y="395055"/>
                  <a:pt x="488899" y="402952"/>
                  <a:pt x="491738" y="400628"/>
                </a:cubicBezTo>
                <a:cubicBezTo>
                  <a:pt x="492776" y="399799"/>
                  <a:pt x="491595" y="397313"/>
                  <a:pt x="491185" y="397046"/>
                </a:cubicBezTo>
                <a:close/>
                <a:moveTo>
                  <a:pt x="511121" y="388845"/>
                </a:moveTo>
                <a:cubicBezTo>
                  <a:pt x="510950" y="389521"/>
                  <a:pt x="510730" y="390150"/>
                  <a:pt x="509807" y="389798"/>
                </a:cubicBezTo>
                <a:cubicBezTo>
                  <a:pt x="509683" y="390550"/>
                  <a:pt x="509559" y="391293"/>
                  <a:pt x="509426" y="392045"/>
                </a:cubicBezTo>
                <a:cubicBezTo>
                  <a:pt x="512226" y="392674"/>
                  <a:pt x="512588" y="394798"/>
                  <a:pt x="514121" y="391684"/>
                </a:cubicBezTo>
                <a:cubicBezTo>
                  <a:pt x="511854" y="391655"/>
                  <a:pt x="512150" y="389798"/>
                  <a:pt x="511121" y="388874"/>
                </a:cubicBezTo>
                <a:close/>
                <a:moveTo>
                  <a:pt x="520303" y="334753"/>
                </a:moveTo>
                <a:cubicBezTo>
                  <a:pt x="517084" y="331790"/>
                  <a:pt x="513969" y="335010"/>
                  <a:pt x="512026" y="335705"/>
                </a:cubicBezTo>
                <a:cubicBezTo>
                  <a:pt x="512521" y="335534"/>
                  <a:pt x="510473" y="333800"/>
                  <a:pt x="510721" y="336658"/>
                </a:cubicBezTo>
                <a:cubicBezTo>
                  <a:pt x="510473" y="338153"/>
                  <a:pt x="512521" y="338020"/>
                  <a:pt x="512626" y="339296"/>
                </a:cubicBezTo>
                <a:cubicBezTo>
                  <a:pt x="515760" y="338629"/>
                  <a:pt x="519313" y="338496"/>
                  <a:pt x="520303" y="334781"/>
                </a:cubicBezTo>
                <a:close/>
                <a:moveTo>
                  <a:pt x="535486" y="347764"/>
                </a:moveTo>
                <a:cubicBezTo>
                  <a:pt x="534762" y="345478"/>
                  <a:pt x="539506" y="344563"/>
                  <a:pt x="536258" y="343249"/>
                </a:cubicBezTo>
                <a:cubicBezTo>
                  <a:pt x="535810" y="343916"/>
                  <a:pt x="532714" y="347145"/>
                  <a:pt x="535486" y="347792"/>
                </a:cubicBezTo>
                <a:close/>
                <a:moveTo>
                  <a:pt x="530247" y="337601"/>
                </a:moveTo>
                <a:cubicBezTo>
                  <a:pt x="530123" y="338353"/>
                  <a:pt x="530000" y="339096"/>
                  <a:pt x="529866" y="339848"/>
                </a:cubicBezTo>
                <a:cubicBezTo>
                  <a:pt x="525904" y="338896"/>
                  <a:pt x="522989" y="339467"/>
                  <a:pt x="521408" y="341896"/>
                </a:cubicBezTo>
                <a:cubicBezTo>
                  <a:pt x="522265" y="343801"/>
                  <a:pt x="523970" y="342001"/>
                  <a:pt x="524789" y="342468"/>
                </a:cubicBezTo>
                <a:cubicBezTo>
                  <a:pt x="525609" y="342935"/>
                  <a:pt x="525409" y="345802"/>
                  <a:pt x="527790" y="345325"/>
                </a:cubicBezTo>
                <a:cubicBezTo>
                  <a:pt x="530247" y="342544"/>
                  <a:pt x="535762" y="340782"/>
                  <a:pt x="530247" y="337629"/>
                </a:cubicBezTo>
                <a:close/>
                <a:moveTo>
                  <a:pt x="553964" y="259305"/>
                </a:moveTo>
                <a:cubicBezTo>
                  <a:pt x="551374" y="258505"/>
                  <a:pt x="554203" y="253857"/>
                  <a:pt x="550231" y="254038"/>
                </a:cubicBezTo>
                <a:cubicBezTo>
                  <a:pt x="548545" y="258172"/>
                  <a:pt x="546973" y="262172"/>
                  <a:pt x="550755" y="264515"/>
                </a:cubicBezTo>
                <a:cubicBezTo>
                  <a:pt x="551069" y="261791"/>
                  <a:pt x="553126" y="261401"/>
                  <a:pt x="553964" y="259334"/>
                </a:cubicBezTo>
                <a:close/>
                <a:moveTo>
                  <a:pt x="561480" y="255981"/>
                </a:moveTo>
                <a:cubicBezTo>
                  <a:pt x="558622" y="253638"/>
                  <a:pt x="557536" y="260315"/>
                  <a:pt x="559575" y="260296"/>
                </a:cubicBezTo>
                <a:cubicBezTo>
                  <a:pt x="560222" y="258829"/>
                  <a:pt x="561575" y="258419"/>
                  <a:pt x="561480" y="255981"/>
                </a:cubicBezTo>
                <a:close/>
                <a:moveTo>
                  <a:pt x="567509" y="247723"/>
                </a:moveTo>
                <a:lnTo>
                  <a:pt x="565261" y="247342"/>
                </a:lnTo>
                <a:lnTo>
                  <a:pt x="564880" y="249599"/>
                </a:lnTo>
                <a:lnTo>
                  <a:pt x="567128" y="249980"/>
                </a:lnTo>
                <a:close/>
                <a:moveTo>
                  <a:pt x="581882" y="224644"/>
                </a:moveTo>
                <a:cubicBezTo>
                  <a:pt x="578425" y="223043"/>
                  <a:pt x="579025" y="227177"/>
                  <a:pt x="576805" y="227263"/>
                </a:cubicBezTo>
                <a:cubicBezTo>
                  <a:pt x="576853" y="226568"/>
                  <a:pt x="576863" y="225901"/>
                  <a:pt x="575853" y="225949"/>
                </a:cubicBezTo>
                <a:cubicBezTo>
                  <a:pt x="575758" y="227663"/>
                  <a:pt x="574739" y="230035"/>
                  <a:pt x="576215" y="230644"/>
                </a:cubicBezTo>
                <a:cubicBezTo>
                  <a:pt x="577444" y="227720"/>
                  <a:pt x="581416" y="228644"/>
                  <a:pt x="581882" y="224644"/>
                </a:cubicBezTo>
                <a:close/>
                <a:moveTo>
                  <a:pt x="609905" y="216652"/>
                </a:moveTo>
                <a:cubicBezTo>
                  <a:pt x="609705" y="216262"/>
                  <a:pt x="608000" y="216566"/>
                  <a:pt x="607657" y="216271"/>
                </a:cubicBezTo>
                <a:cubicBezTo>
                  <a:pt x="607505" y="216138"/>
                  <a:pt x="607104" y="214366"/>
                  <a:pt x="606523" y="216071"/>
                </a:cubicBezTo>
                <a:cubicBezTo>
                  <a:pt x="606628" y="215776"/>
                  <a:pt x="608276" y="218710"/>
                  <a:pt x="608428" y="218710"/>
                </a:cubicBezTo>
                <a:cubicBezTo>
                  <a:pt x="608858" y="217984"/>
                  <a:pt x="609351" y="217298"/>
                  <a:pt x="609905" y="216662"/>
                </a:cubicBezTo>
                <a:close/>
                <a:moveTo>
                  <a:pt x="660387" y="103486"/>
                </a:moveTo>
                <a:cubicBezTo>
                  <a:pt x="662454" y="101337"/>
                  <a:pt x="664726" y="99394"/>
                  <a:pt x="667169" y="97685"/>
                </a:cubicBezTo>
                <a:cubicBezTo>
                  <a:pt x="664283" y="97866"/>
                  <a:pt x="657463" y="99704"/>
                  <a:pt x="660406" y="103495"/>
                </a:cubicBezTo>
                <a:close/>
                <a:moveTo>
                  <a:pt x="662292" y="92218"/>
                </a:moveTo>
                <a:lnTo>
                  <a:pt x="657787" y="91456"/>
                </a:lnTo>
                <a:cubicBezTo>
                  <a:pt x="656949" y="95104"/>
                  <a:pt x="662340" y="96799"/>
                  <a:pt x="662321" y="92246"/>
                </a:cubicBezTo>
                <a:close/>
                <a:moveTo>
                  <a:pt x="650862" y="91427"/>
                </a:moveTo>
                <a:lnTo>
                  <a:pt x="653120" y="91817"/>
                </a:lnTo>
                <a:cubicBezTo>
                  <a:pt x="653434" y="90389"/>
                  <a:pt x="654834" y="90503"/>
                  <a:pt x="654825" y="88627"/>
                </a:cubicBezTo>
                <a:lnTo>
                  <a:pt x="651434" y="88055"/>
                </a:lnTo>
                <a:close/>
                <a:moveTo>
                  <a:pt x="650653" y="99514"/>
                </a:moveTo>
                <a:cubicBezTo>
                  <a:pt x="651311" y="98067"/>
                  <a:pt x="652949" y="97342"/>
                  <a:pt x="654463" y="97828"/>
                </a:cubicBezTo>
                <a:cubicBezTo>
                  <a:pt x="654384" y="95807"/>
                  <a:pt x="655134" y="93842"/>
                  <a:pt x="656539" y="92389"/>
                </a:cubicBezTo>
                <a:cubicBezTo>
                  <a:pt x="655806" y="92389"/>
                  <a:pt x="655015" y="91932"/>
                  <a:pt x="654291" y="92008"/>
                </a:cubicBezTo>
                <a:cubicBezTo>
                  <a:pt x="652739" y="92151"/>
                  <a:pt x="653625" y="92913"/>
                  <a:pt x="652777" y="94065"/>
                </a:cubicBezTo>
                <a:cubicBezTo>
                  <a:pt x="652177" y="94885"/>
                  <a:pt x="651615" y="93818"/>
                  <a:pt x="652586" y="95199"/>
                </a:cubicBezTo>
                <a:cubicBezTo>
                  <a:pt x="652977" y="95751"/>
                  <a:pt x="650129" y="96694"/>
                  <a:pt x="649948" y="97104"/>
                </a:cubicBezTo>
                <a:cubicBezTo>
                  <a:pt x="649557" y="97780"/>
                  <a:pt x="649910" y="99476"/>
                  <a:pt x="650643" y="99523"/>
                </a:cubicBezTo>
                <a:close/>
                <a:moveTo>
                  <a:pt x="648157" y="66624"/>
                </a:moveTo>
                <a:cubicBezTo>
                  <a:pt x="652196" y="61776"/>
                  <a:pt x="644928" y="63271"/>
                  <a:pt x="648157" y="66624"/>
                </a:cubicBezTo>
                <a:close/>
                <a:moveTo>
                  <a:pt x="647481" y="104724"/>
                </a:moveTo>
                <a:cubicBezTo>
                  <a:pt x="647176" y="106153"/>
                  <a:pt x="645776" y="106038"/>
                  <a:pt x="645776" y="107915"/>
                </a:cubicBezTo>
                <a:cubicBezTo>
                  <a:pt x="648681" y="108277"/>
                  <a:pt x="650072" y="106515"/>
                  <a:pt x="651996" y="105486"/>
                </a:cubicBezTo>
                <a:cubicBezTo>
                  <a:pt x="649748" y="104438"/>
                  <a:pt x="649243" y="102152"/>
                  <a:pt x="645614" y="102085"/>
                </a:cubicBezTo>
                <a:cubicBezTo>
                  <a:pt x="643909" y="106934"/>
                  <a:pt x="647957" y="101609"/>
                  <a:pt x="647433" y="104771"/>
                </a:cubicBezTo>
                <a:close/>
                <a:moveTo>
                  <a:pt x="645204" y="111296"/>
                </a:moveTo>
                <a:cubicBezTo>
                  <a:pt x="645500" y="112068"/>
                  <a:pt x="649214" y="111353"/>
                  <a:pt x="648395" y="113001"/>
                </a:cubicBezTo>
                <a:cubicBezTo>
                  <a:pt x="647700" y="112944"/>
                  <a:pt x="647043" y="112934"/>
                  <a:pt x="647081" y="113954"/>
                </a:cubicBezTo>
                <a:cubicBezTo>
                  <a:pt x="650205" y="115859"/>
                  <a:pt x="652729" y="110029"/>
                  <a:pt x="650291" y="108705"/>
                </a:cubicBezTo>
                <a:cubicBezTo>
                  <a:pt x="650234" y="111982"/>
                  <a:pt x="644414" y="109324"/>
                  <a:pt x="645157" y="111344"/>
                </a:cubicBezTo>
                <a:close/>
                <a:moveTo>
                  <a:pt x="631384" y="83445"/>
                </a:moveTo>
                <a:cubicBezTo>
                  <a:pt x="635270" y="82664"/>
                  <a:pt x="631622" y="87255"/>
                  <a:pt x="635508" y="86464"/>
                </a:cubicBezTo>
                <a:cubicBezTo>
                  <a:pt x="636232" y="84302"/>
                  <a:pt x="634365" y="83969"/>
                  <a:pt x="633832" y="82702"/>
                </a:cubicBezTo>
                <a:cubicBezTo>
                  <a:pt x="634917" y="79921"/>
                  <a:pt x="635994" y="79006"/>
                  <a:pt x="633660" y="76873"/>
                </a:cubicBezTo>
                <a:cubicBezTo>
                  <a:pt x="633742" y="79292"/>
                  <a:pt x="632912" y="81655"/>
                  <a:pt x="631336" y="83493"/>
                </a:cubicBezTo>
                <a:close/>
                <a:moveTo>
                  <a:pt x="617392" y="97361"/>
                </a:moveTo>
                <a:lnTo>
                  <a:pt x="617782" y="95104"/>
                </a:lnTo>
                <a:cubicBezTo>
                  <a:pt x="617668" y="94151"/>
                  <a:pt x="618115" y="92875"/>
                  <a:pt x="617030" y="92656"/>
                </a:cubicBezTo>
                <a:cubicBezTo>
                  <a:pt x="616944" y="94370"/>
                  <a:pt x="615925" y="96751"/>
                  <a:pt x="617392" y="97361"/>
                </a:cubicBezTo>
                <a:close/>
                <a:moveTo>
                  <a:pt x="613248" y="101295"/>
                </a:moveTo>
                <a:cubicBezTo>
                  <a:pt x="613172" y="103981"/>
                  <a:pt x="613581" y="106343"/>
                  <a:pt x="615677" y="107505"/>
                </a:cubicBezTo>
                <a:cubicBezTo>
                  <a:pt x="615934" y="106000"/>
                  <a:pt x="616182" y="104495"/>
                  <a:pt x="616439" y="102990"/>
                </a:cubicBezTo>
                <a:cubicBezTo>
                  <a:pt x="615213" y="102805"/>
                  <a:pt x="614088" y="102206"/>
                  <a:pt x="613248" y="101295"/>
                </a:cubicBezTo>
                <a:close/>
                <a:moveTo>
                  <a:pt x="611343" y="119516"/>
                </a:moveTo>
                <a:cubicBezTo>
                  <a:pt x="609171" y="119402"/>
                  <a:pt x="609076" y="117821"/>
                  <a:pt x="607028" y="117611"/>
                </a:cubicBezTo>
                <a:cubicBezTo>
                  <a:pt x="606924" y="119011"/>
                  <a:pt x="606914" y="120335"/>
                  <a:pt x="608933" y="120250"/>
                </a:cubicBezTo>
                <a:cubicBezTo>
                  <a:pt x="608829" y="121650"/>
                  <a:pt x="608819" y="122974"/>
                  <a:pt x="610838" y="122878"/>
                </a:cubicBezTo>
                <a:close/>
                <a:moveTo>
                  <a:pt x="612800" y="199755"/>
                </a:moveTo>
                <a:cubicBezTo>
                  <a:pt x="612924" y="199002"/>
                  <a:pt x="613058" y="198250"/>
                  <a:pt x="613181" y="197497"/>
                </a:cubicBezTo>
                <a:cubicBezTo>
                  <a:pt x="614515" y="191382"/>
                  <a:pt x="609562" y="199440"/>
                  <a:pt x="612772" y="199755"/>
                </a:cubicBezTo>
                <a:close/>
                <a:moveTo>
                  <a:pt x="613572" y="126850"/>
                </a:moveTo>
                <a:cubicBezTo>
                  <a:pt x="612229" y="130060"/>
                  <a:pt x="611276" y="132175"/>
                  <a:pt x="612429" y="133604"/>
                </a:cubicBezTo>
                <a:cubicBezTo>
                  <a:pt x="614514" y="132575"/>
                  <a:pt x="615371" y="130051"/>
                  <a:pt x="614342" y="127966"/>
                </a:cubicBezTo>
                <a:cubicBezTo>
                  <a:pt x="614139" y="127552"/>
                  <a:pt x="613869" y="127176"/>
                  <a:pt x="613543" y="126850"/>
                </a:cubicBezTo>
                <a:close/>
                <a:moveTo>
                  <a:pt x="615867" y="113325"/>
                </a:moveTo>
                <a:cubicBezTo>
                  <a:pt x="616153" y="112763"/>
                  <a:pt x="619677" y="112306"/>
                  <a:pt x="617372" y="111258"/>
                </a:cubicBezTo>
                <a:cubicBezTo>
                  <a:pt x="617201" y="111934"/>
                  <a:pt x="616982" y="112563"/>
                  <a:pt x="616058" y="112210"/>
                </a:cubicBezTo>
                <a:cubicBezTo>
                  <a:pt x="615840" y="110816"/>
                  <a:pt x="615262" y="109503"/>
                  <a:pt x="614382" y="108400"/>
                </a:cubicBezTo>
                <a:cubicBezTo>
                  <a:pt x="615086" y="113582"/>
                  <a:pt x="609619" y="110058"/>
                  <a:pt x="609857" y="114592"/>
                </a:cubicBezTo>
                <a:cubicBezTo>
                  <a:pt x="612648" y="114592"/>
                  <a:pt x="611953" y="117068"/>
                  <a:pt x="615296" y="116678"/>
                </a:cubicBezTo>
                <a:cubicBezTo>
                  <a:pt x="617172" y="115773"/>
                  <a:pt x="615382" y="114239"/>
                  <a:pt x="615839" y="113325"/>
                </a:cubicBezTo>
                <a:close/>
                <a:moveTo>
                  <a:pt x="621468" y="189630"/>
                </a:moveTo>
                <a:cubicBezTo>
                  <a:pt x="621659" y="188953"/>
                  <a:pt x="621868" y="188325"/>
                  <a:pt x="622802" y="188677"/>
                </a:cubicBezTo>
                <a:cubicBezTo>
                  <a:pt x="622618" y="189908"/>
                  <a:pt x="622011" y="191036"/>
                  <a:pt x="621087" y="191868"/>
                </a:cubicBezTo>
                <a:cubicBezTo>
                  <a:pt x="623345" y="192916"/>
                  <a:pt x="623830" y="195211"/>
                  <a:pt x="627469" y="195268"/>
                </a:cubicBezTo>
                <a:cubicBezTo>
                  <a:pt x="628079" y="193802"/>
                  <a:pt x="629441" y="193363"/>
                  <a:pt x="629374" y="190954"/>
                </a:cubicBezTo>
                <a:cubicBezTo>
                  <a:pt x="628231" y="190049"/>
                  <a:pt x="626278" y="191830"/>
                  <a:pt x="625802" y="191506"/>
                </a:cubicBezTo>
                <a:cubicBezTo>
                  <a:pt x="625107" y="191030"/>
                  <a:pt x="625802" y="188401"/>
                  <a:pt x="625250" y="187934"/>
                </a:cubicBezTo>
                <a:cubicBezTo>
                  <a:pt x="623392" y="186315"/>
                  <a:pt x="618896" y="185934"/>
                  <a:pt x="621487" y="189630"/>
                </a:cubicBezTo>
                <a:close/>
                <a:moveTo>
                  <a:pt x="632584" y="117316"/>
                </a:moveTo>
                <a:cubicBezTo>
                  <a:pt x="632651" y="116087"/>
                  <a:pt x="633679" y="113973"/>
                  <a:pt x="633355" y="112811"/>
                </a:cubicBezTo>
                <a:cubicBezTo>
                  <a:pt x="633174" y="112220"/>
                  <a:pt x="630603" y="112553"/>
                  <a:pt x="631288" y="111296"/>
                </a:cubicBezTo>
                <a:cubicBezTo>
                  <a:pt x="633032" y="112125"/>
                  <a:pt x="634146" y="105476"/>
                  <a:pt x="632241" y="105667"/>
                </a:cubicBezTo>
                <a:cubicBezTo>
                  <a:pt x="630993" y="108391"/>
                  <a:pt x="629193" y="100961"/>
                  <a:pt x="627536" y="106029"/>
                </a:cubicBezTo>
                <a:cubicBezTo>
                  <a:pt x="629603" y="106553"/>
                  <a:pt x="627593" y="109963"/>
                  <a:pt x="629031" y="110915"/>
                </a:cubicBezTo>
                <a:cubicBezTo>
                  <a:pt x="626040" y="110420"/>
                  <a:pt x="622668" y="109401"/>
                  <a:pt x="620954" y="110706"/>
                </a:cubicBezTo>
                <a:cubicBezTo>
                  <a:pt x="620773" y="106600"/>
                  <a:pt x="624764" y="106162"/>
                  <a:pt x="626040" y="108096"/>
                </a:cubicBezTo>
                <a:cubicBezTo>
                  <a:pt x="627298" y="105238"/>
                  <a:pt x="624326" y="106419"/>
                  <a:pt x="623040" y="105238"/>
                </a:cubicBezTo>
                <a:cubicBezTo>
                  <a:pt x="622373" y="104648"/>
                  <a:pt x="622564" y="102724"/>
                  <a:pt x="621135" y="102600"/>
                </a:cubicBezTo>
                <a:cubicBezTo>
                  <a:pt x="620249" y="104667"/>
                  <a:pt x="623792" y="108039"/>
                  <a:pt x="619230" y="106915"/>
                </a:cubicBezTo>
                <a:cubicBezTo>
                  <a:pt x="617811" y="110248"/>
                  <a:pt x="621963" y="109610"/>
                  <a:pt x="620535" y="112934"/>
                </a:cubicBezTo>
                <a:cubicBezTo>
                  <a:pt x="620182" y="118707"/>
                  <a:pt x="614410" y="121412"/>
                  <a:pt x="618049" y="127584"/>
                </a:cubicBezTo>
                <a:cubicBezTo>
                  <a:pt x="620106" y="127231"/>
                  <a:pt x="618858" y="122221"/>
                  <a:pt x="621259" y="122336"/>
                </a:cubicBezTo>
                <a:cubicBezTo>
                  <a:pt x="621259" y="123736"/>
                  <a:pt x="622392" y="123240"/>
                  <a:pt x="623516" y="122717"/>
                </a:cubicBezTo>
                <a:cubicBezTo>
                  <a:pt x="623328" y="123943"/>
                  <a:pt x="622726" y="125069"/>
                  <a:pt x="621811" y="125907"/>
                </a:cubicBezTo>
                <a:cubicBezTo>
                  <a:pt x="625764" y="125336"/>
                  <a:pt x="625621" y="126908"/>
                  <a:pt x="629888" y="126117"/>
                </a:cubicBezTo>
                <a:cubicBezTo>
                  <a:pt x="630326" y="124726"/>
                  <a:pt x="630250" y="121535"/>
                  <a:pt x="631793" y="121793"/>
                </a:cubicBezTo>
                <a:cubicBezTo>
                  <a:pt x="634165" y="122231"/>
                  <a:pt x="632479" y="118668"/>
                  <a:pt x="632555" y="117316"/>
                </a:cubicBezTo>
                <a:close/>
                <a:moveTo>
                  <a:pt x="641633" y="97961"/>
                </a:moveTo>
                <a:cubicBezTo>
                  <a:pt x="640075" y="97481"/>
                  <a:pt x="638393" y="97611"/>
                  <a:pt x="636927" y="98323"/>
                </a:cubicBezTo>
                <a:cubicBezTo>
                  <a:pt x="636823" y="97371"/>
                  <a:pt x="637280" y="96094"/>
                  <a:pt x="636194" y="95885"/>
                </a:cubicBezTo>
                <a:cubicBezTo>
                  <a:pt x="635641" y="97437"/>
                  <a:pt x="634003" y="97466"/>
                  <a:pt x="633336" y="98875"/>
                </a:cubicBezTo>
                <a:cubicBezTo>
                  <a:pt x="637108" y="98133"/>
                  <a:pt x="638108" y="100333"/>
                  <a:pt x="641633" y="97961"/>
                </a:cubicBezTo>
                <a:close/>
                <a:moveTo>
                  <a:pt x="646843" y="115106"/>
                </a:moveTo>
                <a:cubicBezTo>
                  <a:pt x="644242" y="114306"/>
                  <a:pt x="645414" y="110839"/>
                  <a:pt x="641785" y="110772"/>
                </a:cubicBezTo>
                <a:cubicBezTo>
                  <a:pt x="639937" y="114982"/>
                  <a:pt x="645004" y="119354"/>
                  <a:pt x="646843" y="115106"/>
                </a:cubicBezTo>
                <a:close/>
                <a:moveTo>
                  <a:pt x="653691" y="149891"/>
                </a:moveTo>
                <a:cubicBezTo>
                  <a:pt x="653053" y="152663"/>
                  <a:pt x="649824" y="149568"/>
                  <a:pt x="649186" y="149120"/>
                </a:cubicBezTo>
                <a:cubicBezTo>
                  <a:pt x="648395" y="151692"/>
                  <a:pt x="645957" y="153568"/>
                  <a:pt x="649357" y="154949"/>
                </a:cubicBezTo>
                <a:cubicBezTo>
                  <a:pt x="649643" y="152425"/>
                  <a:pt x="657196" y="153139"/>
                  <a:pt x="653691" y="149891"/>
                </a:cubicBezTo>
                <a:close/>
                <a:moveTo>
                  <a:pt x="651634" y="148386"/>
                </a:moveTo>
                <a:cubicBezTo>
                  <a:pt x="655358" y="141538"/>
                  <a:pt x="648091" y="144681"/>
                  <a:pt x="651634" y="148386"/>
                </a:cubicBezTo>
                <a:close/>
                <a:moveTo>
                  <a:pt x="654863" y="136175"/>
                </a:moveTo>
                <a:cubicBezTo>
                  <a:pt x="652777" y="135566"/>
                  <a:pt x="652158" y="137023"/>
                  <a:pt x="650167" y="136537"/>
                </a:cubicBezTo>
                <a:cubicBezTo>
                  <a:pt x="653186" y="134280"/>
                  <a:pt x="648910" y="131603"/>
                  <a:pt x="645290" y="131070"/>
                </a:cubicBezTo>
                <a:cubicBezTo>
                  <a:pt x="644157" y="134880"/>
                  <a:pt x="648091" y="135032"/>
                  <a:pt x="648843" y="137471"/>
                </a:cubicBezTo>
                <a:cubicBezTo>
                  <a:pt x="650224" y="139547"/>
                  <a:pt x="654987" y="140214"/>
                  <a:pt x="654825" y="136175"/>
                </a:cubicBezTo>
                <a:close/>
                <a:moveTo>
                  <a:pt x="655434" y="132794"/>
                </a:moveTo>
                <a:cubicBezTo>
                  <a:pt x="652643" y="132175"/>
                  <a:pt x="652262" y="130041"/>
                  <a:pt x="650739" y="133156"/>
                </a:cubicBezTo>
                <a:cubicBezTo>
                  <a:pt x="651967" y="134880"/>
                  <a:pt x="654015" y="134423"/>
                  <a:pt x="655434" y="132794"/>
                </a:cubicBezTo>
                <a:close/>
                <a:moveTo>
                  <a:pt x="662607" y="124736"/>
                </a:moveTo>
                <a:cubicBezTo>
                  <a:pt x="662026" y="122917"/>
                  <a:pt x="659530" y="124241"/>
                  <a:pt x="657901" y="125098"/>
                </a:cubicBezTo>
                <a:cubicBezTo>
                  <a:pt x="657387" y="125374"/>
                  <a:pt x="656149" y="124412"/>
                  <a:pt x="655644" y="124717"/>
                </a:cubicBezTo>
                <a:cubicBezTo>
                  <a:pt x="655310" y="124917"/>
                  <a:pt x="655644" y="127517"/>
                  <a:pt x="656387" y="127155"/>
                </a:cubicBezTo>
                <a:cubicBezTo>
                  <a:pt x="657292" y="124707"/>
                  <a:pt x="662540" y="128374"/>
                  <a:pt x="662607" y="124736"/>
                </a:cubicBezTo>
                <a:close/>
                <a:moveTo>
                  <a:pt x="667703" y="115211"/>
                </a:moveTo>
                <a:cubicBezTo>
                  <a:pt x="667112" y="118592"/>
                  <a:pt x="665369" y="109934"/>
                  <a:pt x="663188" y="114449"/>
                </a:cubicBezTo>
                <a:cubicBezTo>
                  <a:pt x="667169" y="115249"/>
                  <a:pt x="660168" y="117764"/>
                  <a:pt x="663750" y="118021"/>
                </a:cubicBezTo>
                <a:cubicBezTo>
                  <a:pt x="664064" y="116354"/>
                  <a:pt x="671122" y="117468"/>
                  <a:pt x="667703" y="115163"/>
                </a:cubicBezTo>
                <a:close/>
                <a:moveTo>
                  <a:pt x="670560" y="91398"/>
                </a:moveTo>
                <a:cubicBezTo>
                  <a:pt x="666702" y="85731"/>
                  <a:pt x="669207" y="95208"/>
                  <a:pt x="666055" y="90627"/>
                </a:cubicBezTo>
                <a:cubicBezTo>
                  <a:pt x="664559" y="94675"/>
                  <a:pt x="669522" y="94113"/>
                  <a:pt x="670922" y="96094"/>
                </a:cubicBezTo>
                <a:cubicBezTo>
                  <a:pt x="671450" y="94513"/>
                  <a:pt x="671330" y="92787"/>
                  <a:pt x="670589" y="91294"/>
                </a:cubicBezTo>
                <a:close/>
                <a:moveTo>
                  <a:pt x="660816" y="80473"/>
                </a:moveTo>
                <a:lnTo>
                  <a:pt x="660435" y="82721"/>
                </a:lnTo>
                <a:cubicBezTo>
                  <a:pt x="661080" y="82834"/>
                  <a:pt x="661693" y="82404"/>
                  <a:pt x="661807" y="81759"/>
                </a:cubicBezTo>
                <a:cubicBezTo>
                  <a:pt x="661920" y="81114"/>
                  <a:pt x="661488" y="80501"/>
                  <a:pt x="660845" y="80387"/>
                </a:cubicBezTo>
                <a:close/>
                <a:moveTo>
                  <a:pt x="50940" y="586717"/>
                </a:moveTo>
                <a:cubicBezTo>
                  <a:pt x="51216" y="583317"/>
                  <a:pt x="56340" y="581955"/>
                  <a:pt x="52083" y="579955"/>
                </a:cubicBezTo>
                <a:cubicBezTo>
                  <a:pt x="49063" y="580983"/>
                  <a:pt x="53531" y="583698"/>
                  <a:pt x="50178" y="584270"/>
                </a:cubicBezTo>
                <a:cubicBezTo>
                  <a:pt x="50178" y="582926"/>
                  <a:pt x="48606" y="582746"/>
                  <a:pt x="46977" y="582565"/>
                </a:cubicBezTo>
                <a:cubicBezTo>
                  <a:pt x="46177" y="585479"/>
                  <a:pt x="48854" y="585870"/>
                  <a:pt x="50940" y="586717"/>
                </a:cubicBezTo>
                <a:close/>
                <a:moveTo>
                  <a:pt x="676008" y="100342"/>
                </a:moveTo>
                <a:cubicBezTo>
                  <a:pt x="675832" y="101571"/>
                  <a:pt x="675233" y="102700"/>
                  <a:pt x="674313" y="103533"/>
                </a:cubicBezTo>
                <a:cubicBezTo>
                  <a:pt x="677085" y="104190"/>
                  <a:pt x="678123" y="102362"/>
                  <a:pt x="680333" y="102238"/>
                </a:cubicBezTo>
                <a:cubicBezTo>
                  <a:pt x="680218" y="102857"/>
                  <a:pt x="681028" y="103676"/>
                  <a:pt x="681457" y="102428"/>
                </a:cubicBezTo>
                <a:cubicBezTo>
                  <a:pt x="680133" y="101962"/>
                  <a:pt x="680971" y="101057"/>
                  <a:pt x="681838" y="100180"/>
                </a:cubicBezTo>
                <a:cubicBezTo>
                  <a:pt x="679199" y="99256"/>
                  <a:pt x="679037" y="101819"/>
                  <a:pt x="676008" y="100342"/>
                </a:cubicBezTo>
                <a:close/>
                <a:moveTo>
                  <a:pt x="637280" y="171446"/>
                </a:moveTo>
                <a:cubicBezTo>
                  <a:pt x="638394" y="174304"/>
                  <a:pt x="633660" y="175199"/>
                  <a:pt x="636518" y="175961"/>
                </a:cubicBezTo>
                <a:cubicBezTo>
                  <a:pt x="636699" y="175276"/>
                  <a:pt x="636908" y="174647"/>
                  <a:pt x="637832" y="175009"/>
                </a:cubicBezTo>
                <a:cubicBezTo>
                  <a:pt x="637737" y="176723"/>
                  <a:pt x="636727" y="179095"/>
                  <a:pt x="638194" y="179705"/>
                </a:cubicBezTo>
                <a:cubicBezTo>
                  <a:pt x="638556" y="178352"/>
                  <a:pt x="638994" y="177095"/>
                  <a:pt x="640842" y="177800"/>
                </a:cubicBezTo>
                <a:cubicBezTo>
                  <a:pt x="641956" y="174075"/>
                  <a:pt x="641585" y="171370"/>
                  <a:pt x="637280" y="171446"/>
                </a:cubicBezTo>
                <a:close/>
                <a:moveTo>
                  <a:pt x="654082" y="79235"/>
                </a:moveTo>
                <a:cubicBezTo>
                  <a:pt x="654158" y="78063"/>
                  <a:pt x="659330" y="77778"/>
                  <a:pt x="655787" y="76044"/>
                </a:cubicBezTo>
                <a:cubicBezTo>
                  <a:pt x="656120" y="77778"/>
                  <a:pt x="650929" y="78054"/>
                  <a:pt x="654082" y="79235"/>
                </a:cubicBezTo>
                <a:close/>
                <a:moveTo>
                  <a:pt x="469363" y="402647"/>
                </a:moveTo>
                <a:cubicBezTo>
                  <a:pt x="467154" y="407200"/>
                  <a:pt x="472602" y="406304"/>
                  <a:pt x="472926" y="409048"/>
                </a:cubicBezTo>
                <a:cubicBezTo>
                  <a:pt x="470828" y="410076"/>
                  <a:pt x="469963" y="412610"/>
                  <a:pt x="470991" y="414707"/>
                </a:cubicBezTo>
                <a:cubicBezTo>
                  <a:pt x="471191" y="415114"/>
                  <a:pt x="471455" y="415486"/>
                  <a:pt x="471773" y="415810"/>
                </a:cubicBezTo>
                <a:cubicBezTo>
                  <a:pt x="472240" y="414496"/>
                  <a:pt x="473135" y="415334"/>
                  <a:pt x="474031" y="416201"/>
                </a:cubicBezTo>
                <a:cubicBezTo>
                  <a:pt x="473574" y="410905"/>
                  <a:pt x="474859" y="404380"/>
                  <a:pt x="469363" y="402647"/>
                </a:cubicBezTo>
                <a:close/>
                <a:moveTo>
                  <a:pt x="483251" y="149958"/>
                </a:moveTo>
                <a:cubicBezTo>
                  <a:pt x="480936" y="147101"/>
                  <a:pt x="482441" y="147558"/>
                  <a:pt x="479879" y="149377"/>
                </a:cubicBezTo>
                <a:cubicBezTo>
                  <a:pt x="478844" y="150163"/>
                  <a:pt x="477368" y="149960"/>
                  <a:pt x="476582" y="148926"/>
                </a:cubicBezTo>
                <a:cubicBezTo>
                  <a:pt x="476553" y="148887"/>
                  <a:pt x="476524" y="148847"/>
                  <a:pt x="476498" y="148806"/>
                </a:cubicBezTo>
                <a:cubicBezTo>
                  <a:pt x="477222" y="151092"/>
                  <a:pt x="472478" y="152006"/>
                  <a:pt x="475736" y="153311"/>
                </a:cubicBezTo>
                <a:cubicBezTo>
                  <a:pt x="476469" y="149006"/>
                  <a:pt x="478460" y="152692"/>
                  <a:pt x="480431" y="152958"/>
                </a:cubicBezTo>
                <a:cubicBezTo>
                  <a:pt x="480098" y="152911"/>
                  <a:pt x="481336" y="152063"/>
                  <a:pt x="481755" y="152006"/>
                </a:cubicBezTo>
                <a:cubicBezTo>
                  <a:pt x="482832" y="151873"/>
                  <a:pt x="484041" y="152654"/>
                  <a:pt x="485127" y="152587"/>
                </a:cubicBezTo>
                <a:cubicBezTo>
                  <a:pt x="486232" y="150425"/>
                  <a:pt x="484003" y="150872"/>
                  <a:pt x="483251" y="149958"/>
                </a:cubicBezTo>
                <a:close/>
                <a:moveTo>
                  <a:pt x="470992" y="30791"/>
                </a:moveTo>
                <a:cubicBezTo>
                  <a:pt x="472669" y="28952"/>
                  <a:pt x="471526" y="33544"/>
                  <a:pt x="475498" y="31553"/>
                </a:cubicBezTo>
                <a:cubicBezTo>
                  <a:pt x="473478" y="34410"/>
                  <a:pt x="479308" y="36172"/>
                  <a:pt x="476241" y="33991"/>
                </a:cubicBezTo>
                <a:cubicBezTo>
                  <a:pt x="475059" y="30086"/>
                  <a:pt x="477469" y="27628"/>
                  <a:pt x="481898" y="28000"/>
                </a:cubicBezTo>
                <a:cubicBezTo>
                  <a:pt x="480870" y="23285"/>
                  <a:pt x="485223" y="26162"/>
                  <a:pt x="486042" y="24066"/>
                </a:cubicBezTo>
                <a:cubicBezTo>
                  <a:pt x="484556" y="23799"/>
                  <a:pt x="485346" y="21913"/>
                  <a:pt x="484137" y="21428"/>
                </a:cubicBezTo>
                <a:cubicBezTo>
                  <a:pt x="482577" y="22543"/>
                  <a:pt x="480864" y="23425"/>
                  <a:pt x="479050" y="24047"/>
                </a:cubicBezTo>
                <a:cubicBezTo>
                  <a:pt x="479917" y="22475"/>
                  <a:pt x="481203" y="21485"/>
                  <a:pt x="482070" y="19923"/>
                </a:cubicBezTo>
                <a:cubicBezTo>
                  <a:pt x="479620" y="20971"/>
                  <a:pt x="476775" y="19985"/>
                  <a:pt x="475498" y="17646"/>
                </a:cubicBezTo>
                <a:cubicBezTo>
                  <a:pt x="474688" y="21618"/>
                  <a:pt x="473173" y="24600"/>
                  <a:pt x="469649" y="24771"/>
                </a:cubicBezTo>
                <a:cubicBezTo>
                  <a:pt x="468852" y="26866"/>
                  <a:pt x="469381" y="29233"/>
                  <a:pt x="470992" y="30791"/>
                </a:cubicBezTo>
                <a:close/>
                <a:moveTo>
                  <a:pt x="467839" y="15179"/>
                </a:moveTo>
                <a:cubicBezTo>
                  <a:pt x="466049" y="15617"/>
                  <a:pt x="465506" y="16132"/>
                  <a:pt x="466335" y="17246"/>
                </a:cubicBezTo>
                <a:cubicBezTo>
                  <a:pt x="468687" y="20561"/>
                  <a:pt x="463010" y="21713"/>
                  <a:pt x="466506" y="23066"/>
                </a:cubicBezTo>
                <a:cubicBezTo>
                  <a:pt x="468211" y="21628"/>
                  <a:pt x="471688" y="20466"/>
                  <a:pt x="469706" y="17818"/>
                </a:cubicBezTo>
                <a:cubicBezTo>
                  <a:pt x="471068" y="17818"/>
                  <a:pt x="472878" y="18551"/>
                  <a:pt x="473288" y="17265"/>
                </a:cubicBezTo>
                <a:cubicBezTo>
                  <a:pt x="471504" y="15954"/>
                  <a:pt x="470188" y="14104"/>
                  <a:pt x="469535" y="11988"/>
                </a:cubicBezTo>
                <a:cubicBezTo>
                  <a:pt x="470173" y="12103"/>
                  <a:pt x="470973" y="11293"/>
                  <a:pt x="469725" y="10864"/>
                </a:cubicBezTo>
                <a:cubicBezTo>
                  <a:pt x="469030" y="13131"/>
                  <a:pt x="464696" y="10283"/>
                  <a:pt x="464649" y="13484"/>
                </a:cubicBezTo>
                <a:cubicBezTo>
                  <a:pt x="465973" y="13874"/>
                  <a:pt x="467916" y="13836"/>
                  <a:pt x="467868" y="15179"/>
                </a:cubicBezTo>
                <a:close/>
                <a:moveTo>
                  <a:pt x="462124" y="35077"/>
                </a:moveTo>
                <a:cubicBezTo>
                  <a:pt x="466887" y="37468"/>
                  <a:pt x="464620" y="26505"/>
                  <a:pt x="462896" y="30572"/>
                </a:cubicBezTo>
                <a:cubicBezTo>
                  <a:pt x="465792" y="31334"/>
                  <a:pt x="461067" y="32239"/>
                  <a:pt x="462172" y="35096"/>
                </a:cubicBezTo>
                <a:close/>
                <a:moveTo>
                  <a:pt x="449847" y="12122"/>
                </a:moveTo>
                <a:cubicBezTo>
                  <a:pt x="452390" y="13922"/>
                  <a:pt x="446808" y="15989"/>
                  <a:pt x="450009" y="17942"/>
                </a:cubicBezTo>
                <a:cubicBezTo>
                  <a:pt x="451797" y="15300"/>
                  <a:pt x="452354" y="12013"/>
                  <a:pt x="451533" y="8931"/>
                </a:cubicBezTo>
                <a:cubicBezTo>
                  <a:pt x="447570" y="10922"/>
                  <a:pt x="448675" y="6331"/>
                  <a:pt x="447037" y="8169"/>
                </a:cubicBezTo>
                <a:cubicBezTo>
                  <a:pt x="446227" y="10703"/>
                  <a:pt x="450037" y="9969"/>
                  <a:pt x="449847" y="12122"/>
                </a:cubicBezTo>
                <a:close/>
                <a:moveTo>
                  <a:pt x="444570" y="15865"/>
                </a:moveTo>
                <a:cubicBezTo>
                  <a:pt x="441227" y="16437"/>
                  <a:pt x="445694" y="19151"/>
                  <a:pt x="442665" y="20180"/>
                </a:cubicBezTo>
                <a:cubicBezTo>
                  <a:pt x="444751" y="20799"/>
                  <a:pt x="445370" y="19332"/>
                  <a:pt x="447361" y="19818"/>
                </a:cubicBezTo>
                <a:cubicBezTo>
                  <a:pt x="447980" y="17732"/>
                  <a:pt x="446513" y="17113"/>
                  <a:pt x="447008" y="15122"/>
                </a:cubicBezTo>
                <a:cubicBezTo>
                  <a:pt x="443474" y="15856"/>
                  <a:pt x="443732" y="9007"/>
                  <a:pt x="441750" y="11912"/>
                </a:cubicBezTo>
                <a:cubicBezTo>
                  <a:pt x="442722" y="13189"/>
                  <a:pt x="443665" y="14522"/>
                  <a:pt x="444570" y="15865"/>
                </a:cubicBezTo>
                <a:close/>
                <a:moveTo>
                  <a:pt x="335985" y="266373"/>
                </a:moveTo>
                <a:cubicBezTo>
                  <a:pt x="336642" y="270754"/>
                  <a:pt x="331784" y="268135"/>
                  <a:pt x="333346" y="268278"/>
                </a:cubicBezTo>
                <a:cubicBezTo>
                  <a:pt x="330241" y="268078"/>
                  <a:pt x="326393" y="269106"/>
                  <a:pt x="327689" y="274269"/>
                </a:cubicBezTo>
                <a:cubicBezTo>
                  <a:pt x="328755" y="275583"/>
                  <a:pt x="330975" y="272469"/>
                  <a:pt x="332775" y="271659"/>
                </a:cubicBezTo>
                <a:cubicBezTo>
                  <a:pt x="334051" y="271087"/>
                  <a:pt x="333261" y="270326"/>
                  <a:pt x="334289" y="269592"/>
                </a:cubicBezTo>
                <a:cubicBezTo>
                  <a:pt x="334566" y="269402"/>
                  <a:pt x="336375" y="270240"/>
                  <a:pt x="336547" y="269983"/>
                </a:cubicBezTo>
                <a:cubicBezTo>
                  <a:pt x="337147" y="268973"/>
                  <a:pt x="336823" y="266554"/>
                  <a:pt x="335975" y="266411"/>
                </a:cubicBezTo>
                <a:close/>
                <a:moveTo>
                  <a:pt x="358750" y="63871"/>
                </a:moveTo>
                <a:cubicBezTo>
                  <a:pt x="360293" y="61299"/>
                  <a:pt x="354320" y="59280"/>
                  <a:pt x="354625" y="60852"/>
                </a:cubicBezTo>
                <a:cubicBezTo>
                  <a:pt x="356854" y="61280"/>
                  <a:pt x="355530" y="64204"/>
                  <a:pt x="358740" y="63909"/>
                </a:cubicBezTo>
                <a:close/>
                <a:moveTo>
                  <a:pt x="363436" y="2063"/>
                </a:moveTo>
                <a:cubicBezTo>
                  <a:pt x="364569" y="2263"/>
                  <a:pt x="364941" y="1378"/>
                  <a:pt x="365884" y="1320"/>
                </a:cubicBezTo>
                <a:cubicBezTo>
                  <a:pt x="365779" y="2711"/>
                  <a:pt x="365770" y="4045"/>
                  <a:pt x="367789" y="3949"/>
                </a:cubicBezTo>
                <a:lnTo>
                  <a:pt x="368370" y="568"/>
                </a:lnTo>
                <a:cubicBezTo>
                  <a:pt x="364855" y="-1918"/>
                  <a:pt x="360778" y="4721"/>
                  <a:pt x="363426" y="2101"/>
                </a:cubicBezTo>
                <a:close/>
                <a:moveTo>
                  <a:pt x="337118" y="6874"/>
                </a:moveTo>
                <a:cubicBezTo>
                  <a:pt x="337014" y="8264"/>
                  <a:pt x="337004" y="9598"/>
                  <a:pt x="339023" y="9502"/>
                </a:cubicBezTo>
                <a:cubicBezTo>
                  <a:pt x="341443" y="7874"/>
                  <a:pt x="339328" y="5969"/>
                  <a:pt x="337537" y="4616"/>
                </a:cubicBezTo>
                <a:cubicBezTo>
                  <a:pt x="337442" y="7274"/>
                  <a:pt x="334070" y="5311"/>
                  <a:pt x="333575" y="7426"/>
                </a:cubicBezTo>
                <a:cubicBezTo>
                  <a:pt x="335737" y="10141"/>
                  <a:pt x="334832" y="7388"/>
                  <a:pt x="337109" y="6912"/>
                </a:cubicBezTo>
                <a:close/>
                <a:moveTo>
                  <a:pt x="180280" y="432441"/>
                </a:moveTo>
                <a:cubicBezTo>
                  <a:pt x="182309" y="433775"/>
                  <a:pt x="182185" y="430946"/>
                  <a:pt x="182918" y="430536"/>
                </a:cubicBezTo>
                <a:cubicBezTo>
                  <a:pt x="183337" y="430317"/>
                  <a:pt x="184823" y="431231"/>
                  <a:pt x="185166" y="430917"/>
                </a:cubicBezTo>
                <a:cubicBezTo>
                  <a:pt x="186118" y="429964"/>
                  <a:pt x="186528" y="427488"/>
                  <a:pt x="185737" y="427526"/>
                </a:cubicBezTo>
                <a:cubicBezTo>
                  <a:pt x="184537" y="430060"/>
                  <a:pt x="181489" y="429955"/>
                  <a:pt x="180280" y="432441"/>
                </a:cubicBezTo>
                <a:close/>
                <a:moveTo>
                  <a:pt x="439360" y="12655"/>
                </a:moveTo>
                <a:cubicBezTo>
                  <a:pt x="439255" y="14055"/>
                  <a:pt x="439236" y="15379"/>
                  <a:pt x="441265" y="15294"/>
                </a:cubicBezTo>
                <a:cubicBezTo>
                  <a:pt x="440200" y="11891"/>
                  <a:pt x="440413" y="8216"/>
                  <a:pt x="441865" y="4959"/>
                </a:cubicBezTo>
                <a:cubicBezTo>
                  <a:pt x="438160" y="2530"/>
                  <a:pt x="440531" y="8674"/>
                  <a:pt x="437912" y="7769"/>
                </a:cubicBezTo>
                <a:cubicBezTo>
                  <a:pt x="437817" y="6816"/>
                  <a:pt x="437188" y="6302"/>
                  <a:pt x="435845" y="6254"/>
                </a:cubicBezTo>
                <a:cubicBezTo>
                  <a:pt x="435845" y="9045"/>
                  <a:pt x="433378" y="8359"/>
                  <a:pt x="433769" y="11693"/>
                </a:cubicBezTo>
                <a:cubicBezTo>
                  <a:pt x="436464" y="12293"/>
                  <a:pt x="436817" y="14408"/>
                  <a:pt x="439322" y="12655"/>
                </a:cubicBezTo>
                <a:close/>
              </a:path>
            </a:pathLst>
          </a:custGeom>
          <a:solidFill>
            <a:schemeClr val="accent6"/>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FF6209E0-599D-A29F-7740-1961D89FCDAD}"/>
              </a:ext>
            </a:extLst>
          </p:cNvPr>
          <p:cNvSpPr>
            <a:spLocks noChangeAspect="1"/>
          </p:cNvSpPr>
          <p:nvPr/>
        </p:nvSpPr>
        <p:spPr>
          <a:xfrm rot="11280209">
            <a:off x="4158009" y="5569928"/>
            <a:ext cx="590293" cy="502948"/>
          </a:xfrm>
          <a:custGeom>
            <a:avLst/>
            <a:gdLst>
              <a:gd name="connsiteX0" fmla="*/ 681704 w 682417"/>
              <a:gd name="connsiteY0" fmla="*/ 80445 h 798267"/>
              <a:gd name="connsiteX1" fmla="*/ 677580 w 682417"/>
              <a:gd name="connsiteY1" fmla="*/ 77425 h 798267"/>
              <a:gd name="connsiteX2" fmla="*/ 681704 w 682417"/>
              <a:gd name="connsiteY2" fmla="*/ 80445 h 798267"/>
              <a:gd name="connsiteX3" fmla="*/ 630488 w 682417"/>
              <a:gd name="connsiteY3" fmla="*/ 184210 h 798267"/>
              <a:gd name="connsiteX4" fmla="*/ 635946 w 682417"/>
              <a:gd name="connsiteY4" fmla="*/ 179343 h 798267"/>
              <a:gd name="connsiteX5" fmla="*/ 630488 w 682417"/>
              <a:gd name="connsiteY5" fmla="*/ 184210 h 798267"/>
              <a:gd name="connsiteX6" fmla="*/ 627859 w 682417"/>
              <a:gd name="connsiteY6" fmla="*/ 117678 h 798267"/>
              <a:gd name="connsiteX7" fmla="*/ 628221 w 682417"/>
              <a:gd name="connsiteY7" fmla="*/ 122383 h 798267"/>
              <a:gd name="connsiteX8" fmla="*/ 627859 w 682417"/>
              <a:gd name="connsiteY8" fmla="*/ 117678 h 798267"/>
              <a:gd name="connsiteX9" fmla="*/ 577253 w 682417"/>
              <a:gd name="connsiteY9" fmla="*/ 265601 h 798267"/>
              <a:gd name="connsiteX10" fmla="*/ 579301 w 682417"/>
              <a:gd name="connsiteY10" fmla="*/ 274059 h 798267"/>
              <a:gd name="connsiteX11" fmla="*/ 577253 w 682417"/>
              <a:gd name="connsiteY11" fmla="*/ 265601 h 798267"/>
              <a:gd name="connsiteX12" fmla="*/ 610753 w 682417"/>
              <a:gd name="connsiteY12" fmla="*/ 54489 h 798267"/>
              <a:gd name="connsiteX13" fmla="*/ 606992 w 682417"/>
              <a:gd name="connsiteY13" fmla="*/ 53866 h 798267"/>
              <a:gd name="connsiteX14" fmla="*/ 605866 w 682417"/>
              <a:gd name="connsiteY14" fmla="*/ 55975 h 798267"/>
              <a:gd name="connsiteX15" fmla="*/ 610753 w 682417"/>
              <a:gd name="connsiteY15" fmla="*/ 54499 h 798267"/>
              <a:gd name="connsiteX16" fmla="*/ 564032 w 682417"/>
              <a:gd name="connsiteY16" fmla="*/ 288871 h 798267"/>
              <a:gd name="connsiteX17" fmla="*/ 567414 w 682417"/>
              <a:gd name="connsiteY17" fmla="*/ 289442 h 798267"/>
              <a:gd name="connsiteX18" fmla="*/ 564032 w 682417"/>
              <a:gd name="connsiteY18" fmla="*/ 288871 h 798267"/>
              <a:gd name="connsiteX19" fmla="*/ 561956 w 682417"/>
              <a:gd name="connsiteY19" fmla="*/ 294309 h 798267"/>
              <a:gd name="connsiteX20" fmla="*/ 562127 w 682417"/>
              <a:gd name="connsiteY20" fmla="*/ 300139 h 798267"/>
              <a:gd name="connsiteX21" fmla="*/ 564985 w 682417"/>
              <a:gd name="connsiteY21" fmla="*/ 297138 h 798267"/>
              <a:gd name="connsiteX22" fmla="*/ 561956 w 682417"/>
              <a:gd name="connsiteY22" fmla="*/ 294309 h 798267"/>
              <a:gd name="connsiteX23" fmla="*/ 538144 w 682417"/>
              <a:gd name="connsiteY23" fmla="*/ 352869 h 798267"/>
              <a:gd name="connsiteX24" fmla="*/ 537381 w 682417"/>
              <a:gd name="connsiteY24" fmla="*/ 357374 h 798267"/>
              <a:gd name="connsiteX25" fmla="*/ 538096 w 682417"/>
              <a:gd name="connsiteY25" fmla="*/ 352869 h 798267"/>
              <a:gd name="connsiteX26" fmla="*/ 514179 w 682417"/>
              <a:gd name="connsiteY26" fmla="*/ 323294 h 798267"/>
              <a:gd name="connsiteX27" fmla="*/ 510997 w 682417"/>
              <a:gd name="connsiteY27" fmla="*/ 321599 h 798267"/>
              <a:gd name="connsiteX28" fmla="*/ 510616 w 682417"/>
              <a:gd name="connsiteY28" fmla="*/ 323846 h 798267"/>
              <a:gd name="connsiteX29" fmla="*/ 514131 w 682417"/>
              <a:gd name="connsiteY29" fmla="*/ 323294 h 798267"/>
              <a:gd name="connsiteX30" fmla="*/ 539267 w 682417"/>
              <a:gd name="connsiteY30" fmla="*/ 100323 h 798267"/>
              <a:gd name="connsiteX31" fmla="*/ 535134 w 682417"/>
              <a:gd name="connsiteY31" fmla="*/ 97304 h 798267"/>
              <a:gd name="connsiteX32" fmla="*/ 539220 w 682417"/>
              <a:gd name="connsiteY32" fmla="*/ 100323 h 798267"/>
              <a:gd name="connsiteX33" fmla="*/ 532286 w 682417"/>
              <a:gd name="connsiteY33" fmla="*/ 107257 h 798267"/>
              <a:gd name="connsiteX34" fmla="*/ 536096 w 682417"/>
              <a:gd name="connsiteY34" fmla="*/ 105572 h 798267"/>
              <a:gd name="connsiteX35" fmla="*/ 532895 w 682417"/>
              <a:gd name="connsiteY35" fmla="*/ 103876 h 798267"/>
              <a:gd name="connsiteX36" fmla="*/ 489423 w 682417"/>
              <a:gd name="connsiteY36" fmla="*/ 366633 h 798267"/>
              <a:gd name="connsiteX37" fmla="*/ 487166 w 682417"/>
              <a:gd name="connsiteY37" fmla="*/ 366252 h 798267"/>
              <a:gd name="connsiteX38" fmla="*/ 486785 w 682417"/>
              <a:gd name="connsiteY38" fmla="*/ 368500 h 798267"/>
              <a:gd name="connsiteX39" fmla="*/ 489042 w 682417"/>
              <a:gd name="connsiteY39" fmla="*/ 368881 h 798267"/>
              <a:gd name="connsiteX40" fmla="*/ 501082 w 682417"/>
              <a:gd name="connsiteY40" fmla="*/ 31286 h 798267"/>
              <a:gd name="connsiteX41" fmla="*/ 498081 w 682417"/>
              <a:gd name="connsiteY41" fmla="*/ 28429 h 798267"/>
              <a:gd name="connsiteX42" fmla="*/ 501082 w 682417"/>
              <a:gd name="connsiteY42" fmla="*/ 31286 h 798267"/>
              <a:gd name="connsiteX43" fmla="*/ 494348 w 682417"/>
              <a:gd name="connsiteY43" fmla="*/ 23190 h 798267"/>
              <a:gd name="connsiteX44" fmla="*/ 497338 w 682417"/>
              <a:gd name="connsiteY44" fmla="*/ 26047 h 798267"/>
              <a:gd name="connsiteX45" fmla="*/ 491528 w 682417"/>
              <a:gd name="connsiteY45" fmla="*/ 19275 h 798267"/>
              <a:gd name="connsiteX46" fmla="*/ 493024 w 682417"/>
              <a:gd name="connsiteY46" fmla="*/ 24161 h 798267"/>
              <a:gd name="connsiteX47" fmla="*/ 494348 w 682417"/>
              <a:gd name="connsiteY47" fmla="*/ 23152 h 798267"/>
              <a:gd name="connsiteX48" fmla="*/ 485851 w 682417"/>
              <a:gd name="connsiteY48" fmla="*/ 32181 h 798267"/>
              <a:gd name="connsiteX49" fmla="*/ 486623 w 682417"/>
              <a:gd name="connsiteY49" fmla="*/ 27676 h 798267"/>
              <a:gd name="connsiteX50" fmla="*/ 485851 w 682417"/>
              <a:gd name="connsiteY50" fmla="*/ 32143 h 798267"/>
              <a:gd name="connsiteX51" fmla="*/ 430263 w 682417"/>
              <a:gd name="connsiteY51" fmla="*/ 216328 h 798267"/>
              <a:gd name="connsiteX52" fmla="*/ 434578 w 682417"/>
              <a:gd name="connsiteY52" fmla="*/ 218233 h 798267"/>
              <a:gd name="connsiteX53" fmla="*/ 435150 w 682417"/>
              <a:gd name="connsiteY53" fmla="*/ 214852 h 798267"/>
              <a:gd name="connsiteX54" fmla="*/ 430263 w 682417"/>
              <a:gd name="connsiteY54" fmla="*/ 216328 h 798267"/>
              <a:gd name="connsiteX55" fmla="*/ 430092 w 682417"/>
              <a:gd name="connsiteY55" fmla="*/ 210499 h 798267"/>
              <a:gd name="connsiteX56" fmla="*/ 430092 w 682417"/>
              <a:gd name="connsiteY56" fmla="*/ 210499 h 798267"/>
              <a:gd name="connsiteX57" fmla="*/ 456705 w 682417"/>
              <a:gd name="connsiteY57" fmla="*/ 26047 h 798267"/>
              <a:gd name="connsiteX58" fmla="*/ 461810 w 682417"/>
              <a:gd name="connsiteY58" fmla="*/ 16522 h 798267"/>
              <a:gd name="connsiteX59" fmla="*/ 458810 w 682417"/>
              <a:gd name="connsiteY59" fmla="*/ 13665 h 798267"/>
              <a:gd name="connsiteX60" fmla="*/ 455057 w 682417"/>
              <a:gd name="connsiteY60" fmla="*/ 15341 h 798267"/>
              <a:gd name="connsiteX61" fmla="*/ 453371 w 682417"/>
              <a:gd name="connsiteY61" fmla="*/ 11579 h 798267"/>
              <a:gd name="connsiteX62" fmla="*/ 456705 w 682417"/>
              <a:gd name="connsiteY62" fmla="*/ 26047 h 798267"/>
              <a:gd name="connsiteX63" fmla="*/ 426882 w 682417"/>
              <a:gd name="connsiteY63" fmla="*/ 215747 h 798267"/>
              <a:gd name="connsiteX64" fmla="*/ 424815 w 682417"/>
              <a:gd name="connsiteY64" fmla="*/ 214242 h 798267"/>
              <a:gd name="connsiteX65" fmla="*/ 422205 w 682417"/>
              <a:gd name="connsiteY65" fmla="*/ 209156 h 798267"/>
              <a:gd name="connsiteX66" fmla="*/ 421062 w 682417"/>
              <a:gd name="connsiteY66" fmla="*/ 215919 h 798267"/>
              <a:gd name="connsiteX67" fmla="*/ 427434 w 682417"/>
              <a:gd name="connsiteY67" fmla="*/ 219319 h 798267"/>
              <a:gd name="connsiteX68" fmla="*/ 426882 w 682417"/>
              <a:gd name="connsiteY68" fmla="*/ 215747 h 798267"/>
              <a:gd name="connsiteX69" fmla="*/ 445837 w 682417"/>
              <a:gd name="connsiteY69" fmla="*/ 28829 h 798267"/>
              <a:gd name="connsiteX70" fmla="*/ 447551 w 682417"/>
              <a:gd name="connsiteY70" fmla="*/ 25647 h 798267"/>
              <a:gd name="connsiteX71" fmla="*/ 445837 w 682417"/>
              <a:gd name="connsiteY71" fmla="*/ 28829 h 798267"/>
              <a:gd name="connsiteX72" fmla="*/ 404812 w 682417"/>
              <a:gd name="connsiteY72" fmla="*/ 181857 h 798267"/>
              <a:gd name="connsiteX73" fmla="*/ 396345 w 682417"/>
              <a:gd name="connsiteY73" fmla="*/ 183905 h 798267"/>
              <a:gd name="connsiteX74" fmla="*/ 400279 w 682417"/>
              <a:gd name="connsiteY74" fmla="*/ 188049 h 798267"/>
              <a:gd name="connsiteX75" fmla="*/ 404812 w 682417"/>
              <a:gd name="connsiteY75" fmla="*/ 181857 h 798267"/>
              <a:gd name="connsiteX76" fmla="*/ 420910 w 682417"/>
              <a:gd name="connsiteY76" fmla="*/ 11855 h 798267"/>
              <a:gd name="connsiteX77" fmla="*/ 417157 w 682417"/>
              <a:gd name="connsiteY77" fmla="*/ 6578 h 798267"/>
              <a:gd name="connsiteX78" fmla="*/ 420910 w 682417"/>
              <a:gd name="connsiteY78" fmla="*/ 11855 h 798267"/>
              <a:gd name="connsiteX79" fmla="*/ 388125 w 682417"/>
              <a:gd name="connsiteY79" fmla="*/ 34144 h 798267"/>
              <a:gd name="connsiteX80" fmla="*/ 389801 w 682417"/>
              <a:gd name="connsiteY80" fmla="*/ 37906 h 798267"/>
              <a:gd name="connsiteX81" fmla="*/ 388125 w 682417"/>
              <a:gd name="connsiteY81" fmla="*/ 34144 h 798267"/>
              <a:gd name="connsiteX82" fmla="*/ 337833 w 682417"/>
              <a:gd name="connsiteY82" fmla="*/ 269078 h 798267"/>
              <a:gd name="connsiteX83" fmla="*/ 341786 w 682417"/>
              <a:gd name="connsiteY83" fmla="*/ 266220 h 798267"/>
              <a:gd name="connsiteX84" fmla="*/ 337852 w 682417"/>
              <a:gd name="connsiteY84" fmla="*/ 269049 h 798267"/>
              <a:gd name="connsiteX85" fmla="*/ 334289 w 682417"/>
              <a:gd name="connsiteY85" fmla="*/ 9902 h 798267"/>
              <a:gd name="connsiteX86" fmla="*/ 332032 w 682417"/>
              <a:gd name="connsiteY86" fmla="*/ 9521 h 798267"/>
              <a:gd name="connsiteX87" fmla="*/ 331651 w 682417"/>
              <a:gd name="connsiteY87" fmla="*/ 11779 h 798267"/>
              <a:gd name="connsiteX88" fmla="*/ 333899 w 682417"/>
              <a:gd name="connsiteY88" fmla="*/ 12160 h 798267"/>
              <a:gd name="connsiteX89" fmla="*/ 334289 w 682417"/>
              <a:gd name="connsiteY89" fmla="*/ 9902 h 798267"/>
              <a:gd name="connsiteX90" fmla="*/ 322945 w 682417"/>
              <a:gd name="connsiteY90" fmla="*/ 28857 h 798267"/>
              <a:gd name="connsiteX91" fmla="*/ 327650 w 682417"/>
              <a:gd name="connsiteY91" fmla="*/ 28486 h 798267"/>
              <a:gd name="connsiteX92" fmla="*/ 328412 w 682417"/>
              <a:gd name="connsiteY92" fmla="*/ 23980 h 798267"/>
              <a:gd name="connsiteX93" fmla="*/ 319192 w 682417"/>
              <a:gd name="connsiteY93" fmla="*/ 30534 h 798267"/>
              <a:gd name="connsiteX94" fmla="*/ 322945 w 682417"/>
              <a:gd name="connsiteY94" fmla="*/ 28857 h 798267"/>
              <a:gd name="connsiteX95" fmla="*/ 318364 w 682417"/>
              <a:gd name="connsiteY95" fmla="*/ 55899 h 798267"/>
              <a:gd name="connsiteX96" fmla="*/ 315363 w 682417"/>
              <a:gd name="connsiteY96" fmla="*/ 53041 h 798267"/>
              <a:gd name="connsiteX97" fmla="*/ 318364 w 682417"/>
              <a:gd name="connsiteY97" fmla="*/ 55899 h 798267"/>
              <a:gd name="connsiteX98" fmla="*/ 278120 w 682417"/>
              <a:gd name="connsiteY98" fmla="*/ 258934 h 798267"/>
              <a:gd name="connsiteX99" fmla="*/ 280740 w 682417"/>
              <a:gd name="connsiteY99" fmla="*/ 264010 h 798267"/>
              <a:gd name="connsiteX100" fmla="*/ 278120 w 682417"/>
              <a:gd name="connsiteY100" fmla="*/ 258934 h 798267"/>
              <a:gd name="connsiteX101" fmla="*/ 316382 w 682417"/>
              <a:gd name="connsiteY101" fmla="*/ 26600 h 798267"/>
              <a:gd name="connsiteX102" fmla="*/ 316744 w 682417"/>
              <a:gd name="connsiteY102" fmla="*/ 31296 h 798267"/>
              <a:gd name="connsiteX103" fmla="*/ 316382 w 682417"/>
              <a:gd name="connsiteY103" fmla="*/ 26581 h 798267"/>
              <a:gd name="connsiteX104" fmla="*/ 312572 w 682417"/>
              <a:gd name="connsiteY104" fmla="*/ 49136 h 798267"/>
              <a:gd name="connsiteX105" fmla="*/ 308762 w 682417"/>
              <a:gd name="connsiteY105" fmla="*/ 50812 h 798267"/>
              <a:gd name="connsiteX106" fmla="*/ 312553 w 682417"/>
              <a:gd name="connsiteY106" fmla="*/ 49117 h 798267"/>
              <a:gd name="connsiteX107" fmla="*/ 243288 w 682417"/>
              <a:gd name="connsiteY107" fmla="*/ 348069 h 798267"/>
              <a:gd name="connsiteX108" fmla="*/ 242907 w 682417"/>
              <a:gd name="connsiteY108" fmla="*/ 350316 h 798267"/>
              <a:gd name="connsiteX109" fmla="*/ 243859 w 682417"/>
              <a:gd name="connsiteY109" fmla="*/ 351640 h 798267"/>
              <a:gd name="connsiteX110" fmla="*/ 245183 w 682417"/>
              <a:gd name="connsiteY110" fmla="*/ 350688 h 798267"/>
              <a:gd name="connsiteX111" fmla="*/ 245916 w 682417"/>
              <a:gd name="connsiteY111" fmla="*/ 353136 h 798267"/>
              <a:gd name="connsiteX112" fmla="*/ 243288 w 682417"/>
              <a:gd name="connsiteY112" fmla="*/ 348069 h 798267"/>
              <a:gd name="connsiteX113" fmla="*/ 230476 w 682417"/>
              <a:gd name="connsiteY113" fmla="*/ 293719 h 798267"/>
              <a:gd name="connsiteX114" fmla="*/ 230476 w 682417"/>
              <a:gd name="connsiteY114" fmla="*/ 293719 h 798267"/>
              <a:gd name="connsiteX115" fmla="*/ 153857 w 682417"/>
              <a:gd name="connsiteY115" fmla="*/ 472008 h 798267"/>
              <a:gd name="connsiteX116" fmla="*/ 160620 w 682417"/>
              <a:gd name="connsiteY116" fmla="*/ 473160 h 798267"/>
              <a:gd name="connsiteX117" fmla="*/ 161573 w 682417"/>
              <a:gd name="connsiteY117" fmla="*/ 467522 h 798267"/>
              <a:gd name="connsiteX118" fmla="*/ 153857 w 682417"/>
              <a:gd name="connsiteY118" fmla="*/ 472008 h 798267"/>
              <a:gd name="connsiteX119" fmla="*/ 154010 w 682417"/>
              <a:gd name="connsiteY119" fmla="*/ 484790 h 798267"/>
              <a:gd name="connsiteX120" fmla="*/ 160220 w 682417"/>
              <a:gd name="connsiteY120" fmla="*/ 482362 h 798267"/>
              <a:gd name="connsiteX121" fmla="*/ 154010 w 682417"/>
              <a:gd name="connsiteY121" fmla="*/ 484790 h 798267"/>
              <a:gd name="connsiteX122" fmla="*/ 163335 w 682417"/>
              <a:gd name="connsiteY122" fmla="*/ 388978 h 798267"/>
              <a:gd name="connsiteX123" fmla="*/ 167478 w 682417"/>
              <a:gd name="connsiteY123" fmla="*/ 385054 h 798267"/>
              <a:gd name="connsiteX124" fmla="*/ 163335 w 682417"/>
              <a:gd name="connsiteY124" fmla="*/ 388978 h 798267"/>
              <a:gd name="connsiteX125" fmla="*/ 163935 w 682417"/>
              <a:gd name="connsiteY125" fmla="*/ 378653 h 798267"/>
              <a:gd name="connsiteX126" fmla="*/ 163935 w 682417"/>
              <a:gd name="connsiteY126" fmla="*/ 378653 h 798267"/>
              <a:gd name="connsiteX127" fmla="*/ 128521 w 682417"/>
              <a:gd name="connsiteY127" fmla="*/ 525681 h 798267"/>
              <a:gd name="connsiteX128" fmla="*/ 131521 w 682417"/>
              <a:gd name="connsiteY128" fmla="*/ 528539 h 798267"/>
              <a:gd name="connsiteX129" fmla="*/ 128521 w 682417"/>
              <a:gd name="connsiteY129" fmla="*/ 525681 h 798267"/>
              <a:gd name="connsiteX130" fmla="*/ 135607 w 682417"/>
              <a:gd name="connsiteY130" fmla="*/ 415582 h 798267"/>
              <a:gd name="connsiteX131" fmla="*/ 140475 w 682417"/>
              <a:gd name="connsiteY131" fmla="*/ 421049 h 798267"/>
              <a:gd name="connsiteX132" fmla="*/ 135607 w 682417"/>
              <a:gd name="connsiteY132" fmla="*/ 415582 h 798267"/>
              <a:gd name="connsiteX133" fmla="*/ 125378 w 682417"/>
              <a:gd name="connsiteY133" fmla="*/ 441671 h 798267"/>
              <a:gd name="connsiteX134" fmla="*/ 129188 w 682417"/>
              <a:gd name="connsiteY134" fmla="*/ 439994 h 798267"/>
              <a:gd name="connsiteX135" fmla="*/ 128435 w 682417"/>
              <a:gd name="connsiteY135" fmla="*/ 437546 h 798267"/>
              <a:gd name="connsiteX136" fmla="*/ 125378 w 682417"/>
              <a:gd name="connsiteY136" fmla="*/ 441671 h 798267"/>
              <a:gd name="connsiteX137" fmla="*/ 105156 w 682417"/>
              <a:gd name="connsiteY137" fmla="*/ 485771 h 798267"/>
              <a:gd name="connsiteX138" fmla="*/ 102537 w 682417"/>
              <a:gd name="connsiteY138" fmla="*/ 480695 h 798267"/>
              <a:gd name="connsiteX139" fmla="*/ 105156 w 682417"/>
              <a:gd name="connsiteY139" fmla="*/ 485771 h 798267"/>
              <a:gd name="connsiteX140" fmla="*/ 103070 w 682417"/>
              <a:gd name="connsiteY140" fmla="*/ 491220 h 798267"/>
              <a:gd name="connsiteX141" fmla="*/ 102899 w 682417"/>
              <a:gd name="connsiteY141" fmla="*/ 485390 h 798267"/>
              <a:gd name="connsiteX142" fmla="*/ 99708 w 682417"/>
              <a:gd name="connsiteY142" fmla="*/ 483695 h 798267"/>
              <a:gd name="connsiteX143" fmla="*/ 97431 w 682417"/>
              <a:gd name="connsiteY143" fmla="*/ 490267 h 798267"/>
              <a:gd name="connsiteX144" fmla="*/ 103070 w 682417"/>
              <a:gd name="connsiteY144" fmla="*/ 491220 h 798267"/>
              <a:gd name="connsiteX145" fmla="*/ 37014 w 682417"/>
              <a:gd name="connsiteY145" fmla="*/ 784914 h 798267"/>
              <a:gd name="connsiteX146" fmla="*/ 30794 w 682417"/>
              <a:gd name="connsiteY146" fmla="*/ 787343 h 798267"/>
              <a:gd name="connsiteX147" fmla="*/ 23851 w 682417"/>
              <a:gd name="connsiteY147" fmla="*/ 787343 h 798267"/>
              <a:gd name="connsiteX148" fmla="*/ 26460 w 682417"/>
              <a:gd name="connsiteY148" fmla="*/ 792419 h 798267"/>
              <a:gd name="connsiteX149" fmla="*/ 29318 w 682417"/>
              <a:gd name="connsiteY149" fmla="*/ 789419 h 798267"/>
              <a:gd name="connsiteX150" fmla="*/ 33614 w 682417"/>
              <a:gd name="connsiteY150" fmla="*/ 798268 h 798267"/>
              <a:gd name="connsiteX151" fmla="*/ 33442 w 682417"/>
              <a:gd name="connsiteY151" fmla="*/ 792438 h 798267"/>
              <a:gd name="connsiteX152" fmla="*/ 34957 w 682417"/>
              <a:gd name="connsiteY152" fmla="*/ 790381 h 798267"/>
              <a:gd name="connsiteX153" fmla="*/ 37586 w 682417"/>
              <a:gd name="connsiteY153" fmla="*/ 788476 h 798267"/>
              <a:gd name="connsiteX154" fmla="*/ 37014 w 682417"/>
              <a:gd name="connsiteY154" fmla="*/ 784914 h 798267"/>
              <a:gd name="connsiteX155" fmla="*/ 29127 w 682417"/>
              <a:gd name="connsiteY155" fmla="*/ 783580 h 798267"/>
              <a:gd name="connsiteX156" fmla="*/ 36452 w 682417"/>
              <a:gd name="connsiteY156" fmla="*/ 781342 h 798267"/>
              <a:gd name="connsiteX157" fmla="*/ 37776 w 682417"/>
              <a:gd name="connsiteY157" fmla="*/ 780389 h 798267"/>
              <a:gd name="connsiteX158" fmla="*/ 29127 w 682417"/>
              <a:gd name="connsiteY158" fmla="*/ 783580 h 798267"/>
              <a:gd name="connsiteX159" fmla="*/ 27061 w 682417"/>
              <a:gd name="connsiteY159" fmla="*/ 782066 h 798267"/>
              <a:gd name="connsiteX160" fmla="*/ 24422 w 682417"/>
              <a:gd name="connsiteY160" fmla="*/ 783971 h 798267"/>
              <a:gd name="connsiteX161" fmla="*/ 27061 w 682417"/>
              <a:gd name="connsiteY161" fmla="*/ 782066 h 798267"/>
              <a:gd name="connsiteX162" fmla="*/ 678799 w 682417"/>
              <a:gd name="connsiteY162" fmla="*/ 111296 h 798267"/>
              <a:gd name="connsiteX163" fmla="*/ 679752 w 682417"/>
              <a:gd name="connsiteY163" fmla="*/ 112620 h 798267"/>
              <a:gd name="connsiteX164" fmla="*/ 679561 w 682417"/>
              <a:gd name="connsiteY164" fmla="*/ 113744 h 798267"/>
              <a:gd name="connsiteX165" fmla="*/ 678799 w 682417"/>
              <a:gd name="connsiteY165" fmla="*/ 111296 h 798267"/>
              <a:gd name="connsiteX166" fmla="*/ 677847 w 682417"/>
              <a:gd name="connsiteY166" fmla="*/ 116935 h 798267"/>
              <a:gd name="connsiteX167" fmla="*/ 676142 w 682417"/>
              <a:gd name="connsiteY167" fmla="*/ 120126 h 798267"/>
              <a:gd name="connsiteX168" fmla="*/ 669569 w 682417"/>
              <a:gd name="connsiteY168" fmla="*/ 117849 h 798267"/>
              <a:gd name="connsiteX169" fmla="*/ 664293 w 682417"/>
              <a:gd name="connsiteY169" fmla="*/ 121593 h 798267"/>
              <a:gd name="connsiteX170" fmla="*/ 663531 w 682417"/>
              <a:gd name="connsiteY170" fmla="*/ 126098 h 798267"/>
              <a:gd name="connsiteX171" fmla="*/ 668045 w 682417"/>
              <a:gd name="connsiteY171" fmla="*/ 126869 h 798267"/>
              <a:gd name="connsiteX172" fmla="*/ 666702 w 682417"/>
              <a:gd name="connsiteY172" fmla="*/ 134756 h 798267"/>
              <a:gd name="connsiteX173" fmla="*/ 659940 w 682417"/>
              <a:gd name="connsiteY173" fmla="*/ 133604 h 798267"/>
              <a:gd name="connsiteX174" fmla="*/ 661045 w 682417"/>
              <a:gd name="connsiteY174" fmla="*/ 140747 h 798267"/>
              <a:gd name="connsiteX175" fmla="*/ 663683 w 682417"/>
              <a:gd name="connsiteY175" fmla="*/ 138842 h 798267"/>
              <a:gd name="connsiteX176" fmla="*/ 658406 w 682417"/>
              <a:gd name="connsiteY176" fmla="*/ 142586 h 798267"/>
              <a:gd name="connsiteX177" fmla="*/ 661406 w 682417"/>
              <a:gd name="connsiteY177" fmla="*/ 145443 h 798267"/>
              <a:gd name="connsiteX178" fmla="*/ 658778 w 682417"/>
              <a:gd name="connsiteY178" fmla="*/ 147348 h 798267"/>
              <a:gd name="connsiteX179" fmla="*/ 656139 w 682417"/>
              <a:gd name="connsiteY179" fmla="*/ 149253 h 798267"/>
              <a:gd name="connsiteX180" fmla="*/ 659321 w 682417"/>
              <a:gd name="connsiteY180" fmla="*/ 150949 h 798267"/>
              <a:gd name="connsiteX181" fmla="*/ 660073 w 682417"/>
              <a:gd name="connsiteY181" fmla="*/ 153397 h 798267"/>
              <a:gd name="connsiteX182" fmla="*/ 654806 w 682417"/>
              <a:gd name="connsiteY182" fmla="*/ 157140 h 798267"/>
              <a:gd name="connsiteX183" fmla="*/ 654053 w 682417"/>
              <a:gd name="connsiteY183" fmla="*/ 154692 h 798267"/>
              <a:gd name="connsiteX184" fmla="*/ 645595 w 682417"/>
              <a:gd name="connsiteY184" fmla="*/ 156740 h 798267"/>
              <a:gd name="connsiteX185" fmla="*/ 644071 w 682417"/>
              <a:gd name="connsiteY185" fmla="*/ 165751 h 798267"/>
              <a:gd name="connsiteX186" fmla="*/ 639366 w 682417"/>
              <a:gd name="connsiteY186" fmla="*/ 166112 h 798267"/>
              <a:gd name="connsiteX187" fmla="*/ 639728 w 682417"/>
              <a:gd name="connsiteY187" fmla="*/ 170808 h 798267"/>
              <a:gd name="connsiteX188" fmla="*/ 636175 w 682417"/>
              <a:gd name="connsiteY188" fmla="*/ 164417 h 798267"/>
              <a:gd name="connsiteX189" fmla="*/ 631117 w 682417"/>
              <a:gd name="connsiteY189" fmla="*/ 160074 h 798267"/>
              <a:gd name="connsiteX190" fmla="*/ 636556 w 682417"/>
              <a:gd name="connsiteY190" fmla="*/ 162160 h 798267"/>
              <a:gd name="connsiteX191" fmla="*/ 639194 w 682417"/>
              <a:gd name="connsiteY191" fmla="*/ 160255 h 798267"/>
              <a:gd name="connsiteX192" fmla="*/ 635813 w 682417"/>
              <a:gd name="connsiteY192" fmla="*/ 159683 h 798267"/>
              <a:gd name="connsiteX193" fmla="*/ 635260 w 682417"/>
              <a:gd name="connsiteY193" fmla="*/ 156111 h 798267"/>
              <a:gd name="connsiteX194" fmla="*/ 633946 w 682417"/>
              <a:gd name="connsiteY194" fmla="*/ 157064 h 798267"/>
              <a:gd name="connsiteX195" fmla="*/ 629431 w 682417"/>
              <a:gd name="connsiteY195" fmla="*/ 156302 h 798267"/>
              <a:gd name="connsiteX196" fmla="*/ 624145 w 682417"/>
              <a:gd name="connsiteY196" fmla="*/ 166998 h 798267"/>
              <a:gd name="connsiteX197" fmla="*/ 623192 w 682417"/>
              <a:gd name="connsiteY197" fmla="*/ 172637 h 798267"/>
              <a:gd name="connsiteX198" fmla="*/ 628079 w 682417"/>
              <a:gd name="connsiteY198" fmla="*/ 171142 h 798267"/>
              <a:gd name="connsiteX199" fmla="*/ 628821 w 682417"/>
              <a:gd name="connsiteY199" fmla="*/ 173590 h 798267"/>
              <a:gd name="connsiteX200" fmla="*/ 634641 w 682417"/>
              <a:gd name="connsiteY200" fmla="*/ 173418 h 798267"/>
              <a:gd name="connsiteX201" fmla="*/ 630698 w 682417"/>
              <a:gd name="connsiteY201" fmla="*/ 176276 h 798267"/>
              <a:gd name="connsiteX202" fmla="*/ 625993 w 682417"/>
              <a:gd name="connsiteY202" fmla="*/ 176638 h 798267"/>
              <a:gd name="connsiteX203" fmla="*/ 626545 w 682417"/>
              <a:gd name="connsiteY203" fmla="*/ 180209 h 798267"/>
              <a:gd name="connsiteX204" fmla="*/ 627097 w 682417"/>
              <a:gd name="connsiteY204" fmla="*/ 183772 h 798267"/>
              <a:gd name="connsiteX205" fmla="*/ 630098 w 682417"/>
              <a:gd name="connsiteY205" fmla="*/ 186629 h 798267"/>
              <a:gd name="connsiteX206" fmla="*/ 633289 w 682417"/>
              <a:gd name="connsiteY206" fmla="*/ 188325 h 798267"/>
              <a:gd name="connsiteX207" fmla="*/ 637242 w 682417"/>
              <a:gd name="connsiteY207" fmla="*/ 185515 h 798267"/>
              <a:gd name="connsiteX208" fmla="*/ 635337 w 682417"/>
              <a:gd name="connsiteY208" fmla="*/ 189830 h 798267"/>
              <a:gd name="connsiteX209" fmla="*/ 629707 w 682417"/>
              <a:gd name="connsiteY209" fmla="*/ 188877 h 798267"/>
              <a:gd name="connsiteX210" fmla="*/ 632127 w 682417"/>
              <a:gd name="connsiteY210" fmla="*/ 195088 h 798267"/>
              <a:gd name="connsiteX211" fmla="*/ 628564 w 682417"/>
              <a:gd name="connsiteY211" fmla="*/ 195640 h 798267"/>
              <a:gd name="connsiteX212" fmla="*/ 623097 w 682417"/>
              <a:gd name="connsiteY212" fmla="*/ 200507 h 798267"/>
              <a:gd name="connsiteX213" fmla="*/ 619906 w 682417"/>
              <a:gd name="connsiteY213" fmla="*/ 198812 h 798267"/>
              <a:gd name="connsiteX214" fmla="*/ 619506 w 682417"/>
              <a:gd name="connsiteY214" fmla="*/ 208013 h 798267"/>
              <a:gd name="connsiteX215" fmla="*/ 616887 w 682417"/>
              <a:gd name="connsiteY215" fmla="*/ 202936 h 798267"/>
              <a:gd name="connsiteX216" fmla="*/ 617058 w 682417"/>
              <a:gd name="connsiteY216" fmla="*/ 208765 h 798267"/>
              <a:gd name="connsiteX217" fmla="*/ 613677 w 682417"/>
              <a:gd name="connsiteY217" fmla="*/ 208184 h 798267"/>
              <a:gd name="connsiteX218" fmla="*/ 616677 w 682417"/>
              <a:gd name="connsiteY218" fmla="*/ 211042 h 798267"/>
              <a:gd name="connsiteX219" fmla="*/ 612724 w 682417"/>
              <a:gd name="connsiteY219" fmla="*/ 213852 h 798267"/>
              <a:gd name="connsiteX220" fmla="*/ 611381 w 682417"/>
              <a:gd name="connsiteY220" fmla="*/ 221738 h 798267"/>
              <a:gd name="connsiteX221" fmla="*/ 605752 w 682417"/>
              <a:gd name="connsiteY221" fmla="*/ 220786 h 798267"/>
              <a:gd name="connsiteX222" fmla="*/ 603114 w 682417"/>
              <a:gd name="connsiteY222" fmla="*/ 222691 h 798267"/>
              <a:gd name="connsiteX223" fmla="*/ 593503 w 682417"/>
              <a:gd name="connsiteY223" fmla="*/ 231492 h 798267"/>
              <a:gd name="connsiteX224" fmla="*/ 586750 w 682417"/>
              <a:gd name="connsiteY224" fmla="*/ 230349 h 798267"/>
              <a:gd name="connsiteX225" fmla="*/ 590864 w 682417"/>
              <a:gd name="connsiteY225" fmla="*/ 233368 h 798267"/>
              <a:gd name="connsiteX226" fmla="*/ 595751 w 682417"/>
              <a:gd name="connsiteY226" fmla="*/ 231873 h 798267"/>
              <a:gd name="connsiteX227" fmla="*/ 595922 w 682417"/>
              <a:gd name="connsiteY227" fmla="*/ 237702 h 798267"/>
              <a:gd name="connsiteX228" fmla="*/ 595179 w 682417"/>
              <a:gd name="connsiteY228" fmla="*/ 235254 h 798267"/>
              <a:gd name="connsiteX229" fmla="*/ 593674 w 682417"/>
              <a:gd name="connsiteY229" fmla="*/ 237321 h 798267"/>
              <a:gd name="connsiteX230" fmla="*/ 587845 w 682417"/>
              <a:gd name="connsiteY230" fmla="*/ 237493 h 798267"/>
              <a:gd name="connsiteX231" fmla="*/ 588407 w 682417"/>
              <a:gd name="connsiteY231" fmla="*/ 241065 h 798267"/>
              <a:gd name="connsiteX232" fmla="*/ 595351 w 682417"/>
              <a:gd name="connsiteY232" fmla="*/ 241065 h 798267"/>
              <a:gd name="connsiteX233" fmla="*/ 592493 w 682417"/>
              <a:gd name="connsiteY233" fmla="*/ 244065 h 798267"/>
              <a:gd name="connsiteX234" fmla="*/ 587407 w 682417"/>
              <a:gd name="connsiteY234" fmla="*/ 246675 h 798267"/>
              <a:gd name="connsiteX235" fmla="*/ 588540 w 682417"/>
              <a:gd name="connsiteY235" fmla="*/ 246865 h 798267"/>
              <a:gd name="connsiteX236" fmla="*/ 587588 w 682417"/>
              <a:gd name="connsiteY236" fmla="*/ 252504 h 798267"/>
              <a:gd name="connsiteX237" fmla="*/ 580615 w 682417"/>
              <a:gd name="connsiteY237" fmla="*/ 259438 h 798267"/>
              <a:gd name="connsiteX238" fmla="*/ 577425 w 682417"/>
              <a:gd name="connsiteY238" fmla="*/ 257733 h 798267"/>
              <a:gd name="connsiteX239" fmla="*/ 573472 w 682417"/>
              <a:gd name="connsiteY239" fmla="*/ 260543 h 798267"/>
              <a:gd name="connsiteX240" fmla="*/ 574958 w 682417"/>
              <a:gd name="connsiteY240" fmla="*/ 265439 h 798267"/>
              <a:gd name="connsiteX241" fmla="*/ 573624 w 682417"/>
              <a:gd name="connsiteY241" fmla="*/ 273316 h 798267"/>
              <a:gd name="connsiteX242" fmla="*/ 577005 w 682417"/>
              <a:gd name="connsiteY242" fmla="*/ 273897 h 798267"/>
              <a:gd name="connsiteX243" fmla="*/ 575100 w 682417"/>
              <a:gd name="connsiteY243" fmla="*/ 278212 h 798267"/>
              <a:gd name="connsiteX244" fmla="*/ 573396 w 682417"/>
              <a:gd name="connsiteY244" fmla="*/ 281403 h 798267"/>
              <a:gd name="connsiteX245" fmla="*/ 570538 w 682417"/>
              <a:gd name="connsiteY245" fmla="*/ 277450 h 798267"/>
              <a:gd name="connsiteX246" fmla="*/ 568633 w 682417"/>
              <a:gd name="connsiteY246" fmla="*/ 281765 h 798267"/>
              <a:gd name="connsiteX247" fmla="*/ 571633 w 682417"/>
              <a:gd name="connsiteY247" fmla="*/ 284623 h 798267"/>
              <a:gd name="connsiteX248" fmla="*/ 564299 w 682417"/>
              <a:gd name="connsiteY248" fmla="*/ 286851 h 798267"/>
              <a:gd name="connsiteX249" fmla="*/ 562813 w 682417"/>
              <a:gd name="connsiteY249" fmla="*/ 281965 h 798267"/>
              <a:gd name="connsiteX250" fmla="*/ 558298 w 682417"/>
              <a:gd name="connsiteY250" fmla="*/ 281194 h 798267"/>
              <a:gd name="connsiteX251" fmla="*/ 557727 w 682417"/>
              <a:gd name="connsiteY251" fmla="*/ 284575 h 798267"/>
              <a:gd name="connsiteX252" fmla="*/ 554355 w 682417"/>
              <a:gd name="connsiteY252" fmla="*/ 284003 h 798267"/>
              <a:gd name="connsiteX253" fmla="*/ 555098 w 682417"/>
              <a:gd name="connsiteY253" fmla="*/ 286451 h 798267"/>
              <a:gd name="connsiteX254" fmla="*/ 562242 w 682417"/>
              <a:gd name="connsiteY254" fmla="*/ 285346 h 798267"/>
              <a:gd name="connsiteX255" fmla="*/ 560537 w 682417"/>
              <a:gd name="connsiteY255" fmla="*/ 288528 h 798267"/>
              <a:gd name="connsiteX256" fmla="*/ 558089 w 682417"/>
              <a:gd name="connsiteY256" fmla="*/ 289280 h 798267"/>
              <a:gd name="connsiteX257" fmla="*/ 556031 w 682417"/>
              <a:gd name="connsiteY257" fmla="*/ 287766 h 798267"/>
              <a:gd name="connsiteX258" fmla="*/ 550202 w 682417"/>
              <a:gd name="connsiteY258" fmla="*/ 287937 h 798267"/>
              <a:gd name="connsiteX259" fmla="*/ 558641 w 682417"/>
              <a:gd name="connsiteY259" fmla="*/ 292843 h 798267"/>
              <a:gd name="connsiteX260" fmla="*/ 558260 w 682417"/>
              <a:gd name="connsiteY260" fmla="*/ 295100 h 798267"/>
              <a:gd name="connsiteX261" fmla="*/ 560165 w 682417"/>
              <a:gd name="connsiteY261" fmla="*/ 297738 h 798267"/>
              <a:gd name="connsiteX262" fmla="*/ 559403 w 682417"/>
              <a:gd name="connsiteY262" fmla="*/ 302244 h 798267"/>
              <a:gd name="connsiteX263" fmla="*/ 553383 w 682417"/>
              <a:gd name="connsiteY263" fmla="*/ 303549 h 798267"/>
              <a:gd name="connsiteX264" fmla="*/ 549812 w 682417"/>
              <a:gd name="connsiteY264" fmla="*/ 304101 h 798267"/>
              <a:gd name="connsiteX265" fmla="*/ 550174 w 682417"/>
              <a:gd name="connsiteY265" fmla="*/ 308797 h 798267"/>
              <a:gd name="connsiteX266" fmla="*/ 546964 w 682417"/>
              <a:gd name="connsiteY266" fmla="*/ 314055 h 798267"/>
              <a:gd name="connsiteX267" fmla="*/ 553164 w 682417"/>
              <a:gd name="connsiteY267" fmla="*/ 311626 h 798267"/>
              <a:gd name="connsiteX268" fmla="*/ 547516 w 682417"/>
              <a:gd name="connsiteY268" fmla="*/ 317617 h 798267"/>
              <a:gd name="connsiteX269" fmla="*/ 547516 w 682417"/>
              <a:gd name="connsiteY269" fmla="*/ 324570 h 798267"/>
              <a:gd name="connsiteX270" fmla="*/ 539439 w 682417"/>
              <a:gd name="connsiteY270" fmla="*/ 324361 h 798267"/>
              <a:gd name="connsiteX271" fmla="*/ 542049 w 682417"/>
              <a:gd name="connsiteY271" fmla="*/ 329438 h 798267"/>
              <a:gd name="connsiteX272" fmla="*/ 547878 w 682417"/>
              <a:gd name="connsiteY272" fmla="*/ 329266 h 798267"/>
              <a:gd name="connsiteX273" fmla="*/ 545430 w 682417"/>
              <a:gd name="connsiteY273" fmla="*/ 330019 h 798267"/>
              <a:gd name="connsiteX274" fmla="*/ 542411 w 682417"/>
              <a:gd name="connsiteY274" fmla="*/ 334143 h 798267"/>
              <a:gd name="connsiteX275" fmla="*/ 539410 w 682417"/>
              <a:gd name="connsiteY275" fmla="*/ 331285 h 798267"/>
              <a:gd name="connsiteX276" fmla="*/ 532438 w 682417"/>
              <a:gd name="connsiteY276" fmla="*/ 338220 h 798267"/>
              <a:gd name="connsiteX277" fmla="*/ 534124 w 682417"/>
              <a:gd name="connsiteY277" fmla="*/ 342030 h 798267"/>
              <a:gd name="connsiteX278" fmla="*/ 536572 w 682417"/>
              <a:gd name="connsiteY278" fmla="*/ 341287 h 798267"/>
              <a:gd name="connsiteX279" fmla="*/ 538477 w 682417"/>
              <a:gd name="connsiteY279" fmla="*/ 343925 h 798267"/>
              <a:gd name="connsiteX280" fmla="*/ 539782 w 682417"/>
              <a:gd name="connsiteY280" fmla="*/ 342973 h 798267"/>
              <a:gd name="connsiteX281" fmla="*/ 543163 w 682417"/>
              <a:gd name="connsiteY281" fmla="*/ 343544 h 798267"/>
              <a:gd name="connsiteX282" fmla="*/ 540525 w 682417"/>
              <a:gd name="connsiteY282" fmla="*/ 345449 h 798267"/>
              <a:gd name="connsiteX283" fmla="*/ 536762 w 682417"/>
              <a:gd name="connsiteY283" fmla="*/ 347126 h 798267"/>
              <a:gd name="connsiteX284" fmla="*/ 536000 w 682417"/>
              <a:gd name="connsiteY284" fmla="*/ 351631 h 798267"/>
              <a:gd name="connsiteX285" fmla="*/ 535229 w 682417"/>
              <a:gd name="connsiteY285" fmla="*/ 356146 h 798267"/>
              <a:gd name="connsiteX286" fmla="*/ 529962 w 682417"/>
              <a:gd name="connsiteY286" fmla="*/ 359889 h 798267"/>
              <a:gd name="connsiteX287" fmla="*/ 525199 w 682417"/>
              <a:gd name="connsiteY287" fmla="*/ 367204 h 798267"/>
              <a:gd name="connsiteX288" fmla="*/ 521084 w 682417"/>
              <a:gd name="connsiteY288" fmla="*/ 364185 h 798267"/>
              <a:gd name="connsiteX289" fmla="*/ 520684 w 682417"/>
              <a:gd name="connsiteY289" fmla="*/ 373386 h 798267"/>
              <a:gd name="connsiteX290" fmla="*/ 515045 w 682417"/>
              <a:gd name="connsiteY290" fmla="*/ 372434 h 798267"/>
              <a:gd name="connsiteX291" fmla="*/ 517665 w 682417"/>
              <a:gd name="connsiteY291" fmla="*/ 377510 h 798267"/>
              <a:gd name="connsiteX292" fmla="*/ 513702 w 682417"/>
              <a:gd name="connsiteY292" fmla="*/ 380368 h 798267"/>
              <a:gd name="connsiteX293" fmla="*/ 513131 w 682417"/>
              <a:gd name="connsiteY293" fmla="*/ 383749 h 798267"/>
              <a:gd name="connsiteX294" fmla="*/ 519894 w 682417"/>
              <a:gd name="connsiteY294" fmla="*/ 384902 h 798267"/>
              <a:gd name="connsiteX295" fmla="*/ 515007 w 682417"/>
              <a:gd name="connsiteY295" fmla="*/ 386388 h 798267"/>
              <a:gd name="connsiteX296" fmla="*/ 517627 w 682417"/>
              <a:gd name="connsiteY296" fmla="*/ 391474 h 798267"/>
              <a:gd name="connsiteX297" fmla="*/ 514598 w 682417"/>
              <a:gd name="connsiteY297" fmla="*/ 395598 h 798267"/>
              <a:gd name="connsiteX298" fmla="*/ 514217 w 682417"/>
              <a:gd name="connsiteY298" fmla="*/ 397846 h 798267"/>
              <a:gd name="connsiteX299" fmla="*/ 510645 w 682417"/>
              <a:gd name="connsiteY299" fmla="*/ 398399 h 798267"/>
              <a:gd name="connsiteX300" fmla="*/ 507082 w 682417"/>
              <a:gd name="connsiteY300" fmla="*/ 398951 h 798267"/>
              <a:gd name="connsiteX301" fmla="*/ 506520 w 682417"/>
              <a:gd name="connsiteY301" fmla="*/ 395379 h 798267"/>
              <a:gd name="connsiteX302" fmla="*/ 503663 w 682417"/>
              <a:gd name="connsiteY302" fmla="*/ 391426 h 798267"/>
              <a:gd name="connsiteX303" fmla="*/ 501758 w 682417"/>
              <a:gd name="connsiteY303" fmla="*/ 395741 h 798267"/>
              <a:gd name="connsiteX304" fmla="*/ 503663 w 682417"/>
              <a:gd name="connsiteY304" fmla="*/ 398380 h 798267"/>
              <a:gd name="connsiteX305" fmla="*/ 501968 w 682417"/>
              <a:gd name="connsiteY305" fmla="*/ 401570 h 798267"/>
              <a:gd name="connsiteX306" fmla="*/ 502139 w 682417"/>
              <a:gd name="connsiteY306" fmla="*/ 407400 h 798267"/>
              <a:gd name="connsiteX307" fmla="*/ 493509 w 682417"/>
              <a:gd name="connsiteY307" fmla="*/ 403590 h 798267"/>
              <a:gd name="connsiteX308" fmla="*/ 498567 w 682417"/>
              <a:gd name="connsiteY308" fmla="*/ 407924 h 798267"/>
              <a:gd name="connsiteX309" fmla="*/ 496853 w 682417"/>
              <a:gd name="connsiteY309" fmla="*/ 418068 h 798267"/>
              <a:gd name="connsiteX310" fmla="*/ 487251 w 682417"/>
              <a:gd name="connsiteY310" fmla="*/ 419973 h 798267"/>
              <a:gd name="connsiteX311" fmla="*/ 490842 w 682417"/>
              <a:gd name="connsiteY311" fmla="*/ 412467 h 798267"/>
              <a:gd name="connsiteX312" fmla="*/ 488594 w 682417"/>
              <a:gd name="connsiteY312" fmla="*/ 412077 h 798267"/>
              <a:gd name="connsiteX313" fmla="*/ 488404 w 682417"/>
              <a:gd name="connsiteY313" fmla="*/ 413210 h 798267"/>
              <a:gd name="connsiteX314" fmla="*/ 484451 w 682417"/>
              <a:gd name="connsiteY314" fmla="*/ 416010 h 798267"/>
              <a:gd name="connsiteX315" fmla="*/ 480641 w 682417"/>
              <a:gd name="connsiteY315" fmla="*/ 417696 h 798267"/>
              <a:gd name="connsiteX316" fmla="*/ 479336 w 682417"/>
              <a:gd name="connsiteY316" fmla="*/ 411677 h 798267"/>
              <a:gd name="connsiteX317" fmla="*/ 483680 w 682417"/>
              <a:gd name="connsiteY317" fmla="*/ 406619 h 798267"/>
              <a:gd name="connsiteX318" fmla="*/ 478050 w 682417"/>
              <a:gd name="connsiteY318" fmla="*/ 405666 h 798267"/>
              <a:gd name="connsiteX319" fmla="*/ 476364 w 682417"/>
              <a:gd name="connsiteY319" fmla="*/ 401856 h 798267"/>
              <a:gd name="connsiteX320" fmla="*/ 479384 w 682417"/>
              <a:gd name="connsiteY320" fmla="*/ 397741 h 798267"/>
              <a:gd name="connsiteX321" fmla="*/ 480698 w 682417"/>
              <a:gd name="connsiteY321" fmla="*/ 396789 h 798267"/>
              <a:gd name="connsiteX322" fmla="*/ 480146 w 682417"/>
              <a:gd name="connsiteY322" fmla="*/ 393217 h 798267"/>
              <a:gd name="connsiteX323" fmla="*/ 483156 w 682417"/>
              <a:gd name="connsiteY323" fmla="*/ 389093 h 798267"/>
              <a:gd name="connsiteX324" fmla="*/ 480298 w 682417"/>
              <a:gd name="connsiteY324" fmla="*/ 392093 h 798267"/>
              <a:gd name="connsiteX325" fmla="*/ 478393 w 682417"/>
              <a:gd name="connsiteY325" fmla="*/ 389455 h 798267"/>
              <a:gd name="connsiteX326" fmla="*/ 473688 w 682417"/>
              <a:gd name="connsiteY326" fmla="*/ 389817 h 798267"/>
              <a:gd name="connsiteX327" fmla="*/ 476326 w 682417"/>
              <a:gd name="connsiteY327" fmla="*/ 387912 h 798267"/>
              <a:gd name="connsiteX328" fmla="*/ 477469 w 682417"/>
              <a:gd name="connsiteY328" fmla="*/ 381149 h 798267"/>
              <a:gd name="connsiteX329" fmla="*/ 484803 w 682417"/>
              <a:gd name="connsiteY329" fmla="*/ 378910 h 798267"/>
              <a:gd name="connsiteX330" fmla="*/ 487251 w 682417"/>
              <a:gd name="connsiteY330" fmla="*/ 378168 h 798267"/>
              <a:gd name="connsiteX331" fmla="*/ 486299 w 682417"/>
              <a:gd name="connsiteY331" fmla="*/ 376844 h 798267"/>
              <a:gd name="connsiteX332" fmla="*/ 493271 w 682417"/>
              <a:gd name="connsiteY332" fmla="*/ 369919 h 798267"/>
              <a:gd name="connsiteX333" fmla="*/ 492142 w 682417"/>
              <a:gd name="connsiteY333" fmla="*/ 368744 h 798267"/>
              <a:gd name="connsiteX334" fmla="*/ 491023 w 682417"/>
              <a:gd name="connsiteY334" fmla="*/ 369538 h 798267"/>
              <a:gd name="connsiteX335" fmla="*/ 491404 w 682417"/>
              <a:gd name="connsiteY335" fmla="*/ 367280 h 798267"/>
              <a:gd name="connsiteX336" fmla="*/ 490452 w 682417"/>
              <a:gd name="connsiteY336" fmla="*/ 365966 h 798267"/>
              <a:gd name="connsiteX337" fmla="*/ 493862 w 682417"/>
              <a:gd name="connsiteY337" fmla="*/ 359584 h 798267"/>
              <a:gd name="connsiteX338" fmla="*/ 493690 w 682417"/>
              <a:gd name="connsiteY338" fmla="*/ 353764 h 798267"/>
              <a:gd name="connsiteX339" fmla="*/ 495595 w 682417"/>
              <a:gd name="connsiteY339" fmla="*/ 349440 h 798267"/>
              <a:gd name="connsiteX340" fmla="*/ 498805 w 682417"/>
              <a:gd name="connsiteY340" fmla="*/ 344192 h 798267"/>
              <a:gd name="connsiteX341" fmla="*/ 506139 w 682417"/>
              <a:gd name="connsiteY341" fmla="*/ 341954 h 798267"/>
              <a:gd name="connsiteX342" fmla="*/ 503282 w 682417"/>
              <a:gd name="connsiteY342" fmla="*/ 338001 h 798267"/>
              <a:gd name="connsiteX343" fmla="*/ 505558 w 682417"/>
              <a:gd name="connsiteY343" fmla="*/ 331438 h 798267"/>
              <a:gd name="connsiteX344" fmla="*/ 508940 w 682417"/>
              <a:gd name="connsiteY344" fmla="*/ 332009 h 798267"/>
              <a:gd name="connsiteX345" fmla="*/ 509711 w 682417"/>
              <a:gd name="connsiteY345" fmla="*/ 327504 h 798267"/>
              <a:gd name="connsiteX346" fmla="*/ 515722 w 682417"/>
              <a:gd name="connsiteY346" fmla="*/ 326199 h 798267"/>
              <a:gd name="connsiteX347" fmla="*/ 516674 w 682417"/>
              <a:gd name="connsiteY347" fmla="*/ 320570 h 798267"/>
              <a:gd name="connsiteX348" fmla="*/ 520636 w 682417"/>
              <a:gd name="connsiteY348" fmla="*/ 317712 h 798267"/>
              <a:gd name="connsiteX349" fmla="*/ 528161 w 682417"/>
              <a:gd name="connsiteY349" fmla="*/ 314350 h 798267"/>
              <a:gd name="connsiteX350" fmla="*/ 525523 w 682417"/>
              <a:gd name="connsiteY350" fmla="*/ 316255 h 798267"/>
              <a:gd name="connsiteX351" fmla="*/ 519522 w 682417"/>
              <a:gd name="connsiteY351" fmla="*/ 310607 h 798267"/>
              <a:gd name="connsiteX352" fmla="*/ 515407 w 682417"/>
              <a:gd name="connsiteY352" fmla="*/ 307587 h 798267"/>
              <a:gd name="connsiteX353" fmla="*/ 513912 w 682417"/>
              <a:gd name="connsiteY353" fmla="*/ 302701 h 798267"/>
              <a:gd name="connsiteX354" fmla="*/ 520694 w 682417"/>
              <a:gd name="connsiteY354" fmla="*/ 296891 h 798267"/>
              <a:gd name="connsiteX355" fmla="*/ 529152 w 682417"/>
              <a:gd name="connsiteY355" fmla="*/ 294852 h 798267"/>
              <a:gd name="connsiteX356" fmla="*/ 520713 w 682417"/>
              <a:gd name="connsiteY356" fmla="*/ 289937 h 798267"/>
              <a:gd name="connsiteX357" fmla="*/ 528980 w 682417"/>
              <a:gd name="connsiteY357" fmla="*/ 288985 h 798267"/>
              <a:gd name="connsiteX358" fmla="*/ 526923 w 682417"/>
              <a:gd name="connsiteY358" fmla="*/ 287470 h 798267"/>
              <a:gd name="connsiteX359" fmla="*/ 528619 w 682417"/>
              <a:gd name="connsiteY359" fmla="*/ 284289 h 798267"/>
              <a:gd name="connsiteX360" fmla="*/ 526713 w 682417"/>
              <a:gd name="connsiteY360" fmla="*/ 281651 h 798267"/>
              <a:gd name="connsiteX361" fmla="*/ 527285 w 682417"/>
              <a:gd name="connsiteY361" fmla="*/ 278269 h 798267"/>
              <a:gd name="connsiteX362" fmla="*/ 530495 w 682417"/>
              <a:gd name="connsiteY362" fmla="*/ 273021 h 798267"/>
              <a:gd name="connsiteX363" fmla="*/ 532933 w 682417"/>
              <a:gd name="connsiteY363" fmla="*/ 272278 h 798267"/>
              <a:gd name="connsiteX364" fmla="*/ 532381 w 682417"/>
              <a:gd name="connsiteY364" fmla="*/ 268697 h 798267"/>
              <a:gd name="connsiteX365" fmla="*/ 539744 w 682417"/>
              <a:gd name="connsiteY365" fmla="*/ 259515 h 798267"/>
              <a:gd name="connsiteX366" fmla="*/ 544058 w 682417"/>
              <a:gd name="connsiteY366" fmla="*/ 261420 h 798267"/>
              <a:gd name="connsiteX367" fmla="*/ 541068 w 682417"/>
              <a:gd name="connsiteY367" fmla="*/ 258562 h 798267"/>
              <a:gd name="connsiteX368" fmla="*/ 544078 w 682417"/>
              <a:gd name="connsiteY368" fmla="*/ 254438 h 798267"/>
              <a:gd name="connsiteX369" fmla="*/ 547097 w 682417"/>
              <a:gd name="connsiteY369" fmla="*/ 250313 h 798267"/>
              <a:gd name="connsiteX370" fmla="*/ 552726 w 682417"/>
              <a:gd name="connsiteY370" fmla="*/ 251266 h 798267"/>
              <a:gd name="connsiteX371" fmla="*/ 552726 w 682417"/>
              <a:gd name="connsiteY371" fmla="*/ 244313 h 798267"/>
              <a:gd name="connsiteX372" fmla="*/ 549707 w 682417"/>
              <a:gd name="connsiteY372" fmla="*/ 248437 h 798267"/>
              <a:gd name="connsiteX373" fmla="*/ 548964 w 682417"/>
              <a:gd name="connsiteY373" fmla="*/ 245999 h 798267"/>
              <a:gd name="connsiteX374" fmla="*/ 544268 w 682417"/>
              <a:gd name="connsiteY374" fmla="*/ 246361 h 798267"/>
              <a:gd name="connsiteX375" fmla="*/ 551793 w 682417"/>
              <a:gd name="connsiteY375" fmla="*/ 242998 h 798267"/>
              <a:gd name="connsiteX376" fmla="*/ 554803 w 682417"/>
              <a:gd name="connsiteY376" fmla="*/ 238864 h 798267"/>
              <a:gd name="connsiteX377" fmla="*/ 553126 w 682417"/>
              <a:gd name="connsiteY377" fmla="*/ 235112 h 798267"/>
              <a:gd name="connsiteX378" fmla="*/ 562166 w 682417"/>
              <a:gd name="connsiteY378" fmla="*/ 229682 h 798267"/>
              <a:gd name="connsiteX379" fmla="*/ 571691 w 682417"/>
              <a:gd name="connsiteY379" fmla="*/ 234788 h 798267"/>
              <a:gd name="connsiteX380" fmla="*/ 567947 w 682417"/>
              <a:gd name="connsiteY380" fmla="*/ 229511 h 798267"/>
              <a:gd name="connsiteX381" fmla="*/ 568709 w 682417"/>
              <a:gd name="connsiteY381" fmla="*/ 225006 h 798267"/>
              <a:gd name="connsiteX382" fmla="*/ 567585 w 682417"/>
              <a:gd name="connsiteY382" fmla="*/ 224815 h 798267"/>
              <a:gd name="connsiteX383" fmla="*/ 566099 w 682417"/>
              <a:gd name="connsiteY383" fmla="*/ 219929 h 798267"/>
              <a:gd name="connsiteX384" fmla="*/ 578539 w 682417"/>
              <a:gd name="connsiteY384" fmla="*/ 208127 h 798267"/>
              <a:gd name="connsiteX385" fmla="*/ 580254 w 682417"/>
              <a:gd name="connsiteY385" fmla="*/ 197983 h 798267"/>
              <a:gd name="connsiteX386" fmla="*/ 585330 w 682417"/>
              <a:gd name="connsiteY386" fmla="*/ 195364 h 798267"/>
              <a:gd name="connsiteX387" fmla="*/ 587054 w 682417"/>
              <a:gd name="connsiteY387" fmla="*/ 185229 h 798267"/>
              <a:gd name="connsiteX388" fmla="*/ 585759 w 682417"/>
              <a:gd name="connsiteY388" fmla="*/ 179209 h 798267"/>
              <a:gd name="connsiteX389" fmla="*/ 588207 w 682417"/>
              <a:gd name="connsiteY389" fmla="*/ 178457 h 798267"/>
              <a:gd name="connsiteX390" fmla="*/ 592712 w 682417"/>
              <a:gd name="connsiteY390" fmla="*/ 179228 h 798267"/>
              <a:gd name="connsiteX391" fmla="*/ 595570 w 682417"/>
              <a:gd name="connsiteY391" fmla="*/ 176228 h 798267"/>
              <a:gd name="connsiteX392" fmla="*/ 597818 w 682417"/>
              <a:gd name="connsiteY392" fmla="*/ 176609 h 798267"/>
              <a:gd name="connsiteX393" fmla="*/ 598199 w 682417"/>
              <a:gd name="connsiteY393" fmla="*/ 174352 h 798267"/>
              <a:gd name="connsiteX394" fmla="*/ 600475 w 682417"/>
              <a:gd name="connsiteY394" fmla="*/ 167789 h 798267"/>
              <a:gd name="connsiteX395" fmla="*/ 602923 w 682417"/>
              <a:gd name="connsiteY395" fmla="*/ 167046 h 798267"/>
              <a:gd name="connsiteX396" fmla="*/ 604647 w 682417"/>
              <a:gd name="connsiteY396" fmla="*/ 156902 h 798267"/>
              <a:gd name="connsiteX397" fmla="*/ 607505 w 682417"/>
              <a:gd name="connsiteY397" fmla="*/ 153901 h 798267"/>
              <a:gd name="connsiteX398" fmla="*/ 611257 w 682417"/>
              <a:gd name="connsiteY398" fmla="*/ 152215 h 798267"/>
              <a:gd name="connsiteX399" fmla="*/ 605438 w 682417"/>
              <a:gd name="connsiteY399" fmla="*/ 152396 h 798267"/>
              <a:gd name="connsiteX400" fmla="*/ 609390 w 682417"/>
              <a:gd name="connsiteY400" fmla="*/ 149587 h 798267"/>
              <a:gd name="connsiteX401" fmla="*/ 609029 w 682417"/>
              <a:gd name="connsiteY401" fmla="*/ 144891 h 798267"/>
              <a:gd name="connsiteX402" fmla="*/ 606171 w 682417"/>
              <a:gd name="connsiteY402" fmla="*/ 147882 h 798267"/>
              <a:gd name="connsiteX403" fmla="*/ 600732 w 682417"/>
              <a:gd name="connsiteY403" fmla="*/ 145805 h 798267"/>
              <a:gd name="connsiteX404" fmla="*/ 598827 w 682417"/>
              <a:gd name="connsiteY404" fmla="*/ 150110 h 798267"/>
              <a:gd name="connsiteX405" fmla="*/ 594322 w 682417"/>
              <a:gd name="connsiteY405" fmla="*/ 149348 h 798267"/>
              <a:gd name="connsiteX406" fmla="*/ 597179 w 682417"/>
              <a:gd name="connsiteY406" fmla="*/ 146358 h 798267"/>
              <a:gd name="connsiteX407" fmla="*/ 587778 w 682417"/>
              <a:gd name="connsiteY407" fmla="*/ 147082 h 798267"/>
              <a:gd name="connsiteX408" fmla="*/ 586273 w 682417"/>
              <a:gd name="connsiteY408" fmla="*/ 149139 h 798267"/>
              <a:gd name="connsiteX409" fmla="*/ 583635 w 682417"/>
              <a:gd name="connsiteY409" fmla="*/ 151044 h 798267"/>
              <a:gd name="connsiteX410" fmla="*/ 573872 w 682417"/>
              <a:gd name="connsiteY410" fmla="*/ 147062 h 798267"/>
              <a:gd name="connsiteX411" fmla="*/ 567290 w 682417"/>
              <a:gd name="connsiteY411" fmla="*/ 151749 h 798267"/>
              <a:gd name="connsiteX412" fmla="*/ 561642 w 682417"/>
              <a:gd name="connsiteY412" fmla="*/ 150796 h 798267"/>
              <a:gd name="connsiteX413" fmla="*/ 557698 w 682417"/>
              <a:gd name="connsiteY413" fmla="*/ 153654 h 798267"/>
              <a:gd name="connsiteX414" fmla="*/ 550926 w 682417"/>
              <a:gd name="connsiteY414" fmla="*/ 152501 h 798267"/>
              <a:gd name="connsiteX415" fmla="*/ 549431 w 682417"/>
              <a:gd name="connsiteY415" fmla="*/ 154568 h 798267"/>
              <a:gd name="connsiteX416" fmla="*/ 543020 w 682417"/>
              <a:gd name="connsiteY416" fmla="*/ 158121 h 798267"/>
              <a:gd name="connsiteX417" fmla="*/ 533800 w 682417"/>
              <a:gd name="connsiteY417" fmla="*/ 164674 h 798267"/>
              <a:gd name="connsiteX418" fmla="*/ 528914 w 682417"/>
              <a:gd name="connsiteY418" fmla="*/ 166160 h 798267"/>
              <a:gd name="connsiteX419" fmla="*/ 527228 w 682417"/>
              <a:gd name="connsiteY419" fmla="*/ 162398 h 798267"/>
              <a:gd name="connsiteX420" fmla="*/ 522141 w 682417"/>
              <a:gd name="connsiteY420" fmla="*/ 165017 h 798267"/>
              <a:gd name="connsiteX421" fmla="*/ 517265 w 682417"/>
              <a:gd name="connsiteY421" fmla="*/ 166503 h 798267"/>
              <a:gd name="connsiteX422" fmla="*/ 514407 w 682417"/>
              <a:gd name="connsiteY422" fmla="*/ 169494 h 798267"/>
              <a:gd name="connsiteX423" fmla="*/ 506911 w 682417"/>
              <a:gd name="connsiteY423" fmla="*/ 165912 h 798267"/>
              <a:gd name="connsiteX424" fmla="*/ 506330 w 682417"/>
              <a:gd name="connsiteY424" fmla="*/ 169284 h 798267"/>
              <a:gd name="connsiteX425" fmla="*/ 510073 w 682417"/>
              <a:gd name="connsiteY425" fmla="*/ 174561 h 798267"/>
              <a:gd name="connsiteX426" fmla="*/ 505535 w 682417"/>
              <a:gd name="connsiteY426" fmla="*/ 173564 h 798267"/>
              <a:gd name="connsiteX427" fmla="*/ 504053 w 682417"/>
              <a:gd name="connsiteY427" fmla="*/ 175857 h 798267"/>
              <a:gd name="connsiteX428" fmla="*/ 501053 w 682417"/>
              <a:gd name="connsiteY428" fmla="*/ 172999 h 798267"/>
              <a:gd name="connsiteX429" fmla="*/ 494091 w 682417"/>
              <a:gd name="connsiteY429" fmla="*/ 178952 h 798267"/>
              <a:gd name="connsiteX430" fmla="*/ 494090 w 682417"/>
              <a:gd name="connsiteY430" fmla="*/ 179943 h 798267"/>
              <a:gd name="connsiteX431" fmla="*/ 493347 w 682417"/>
              <a:gd name="connsiteY431" fmla="*/ 177495 h 798267"/>
              <a:gd name="connsiteX432" fmla="*/ 489385 w 682417"/>
              <a:gd name="connsiteY432" fmla="*/ 180295 h 798267"/>
              <a:gd name="connsiteX433" fmla="*/ 485261 w 682417"/>
              <a:gd name="connsiteY433" fmla="*/ 177276 h 798267"/>
              <a:gd name="connsiteX434" fmla="*/ 485813 w 682417"/>
              <a:gd name="connsiteY434" fmla="*/ 180848 h 798267"/>
              <a:gd name="connsiteX435" fmla="*/ 484861 w 682417"/>
              <a:gd name="connsiteY435" fmla="*/ 179533 h 798267"/>
              <a:gd name="connsiteX436" fmla="*/ 478469 w 682417"/>
              <a:gd name="connsiteY436" fmla="*/ 183086 h 798267"/>
              <a:gd name="connsiteX437" fmla="*/ 479231 w 682417"/>
              <a:gd name="connsiteY437" fmla="*/ 178581 h 798267"/>
              <a:gd name="connsiteX438" fmla="*/ 475278 w 682417"/>
              <a:gd name="connsiteY438" fmla="*/ 181391 h 798267"/>
              <a:gd name="connsiteX439" fmla="*/ 471468 w 682417"/>
              <a:gd name="connsiteY439" fmla="*/ 190020 h 798267"/>
              <a:gd name="connsiteX440" fmla="*/ 466030 w 682417"/>
              <a:gd name="connsiteY440" fmla="*/ 187934 h 798267"/>
              <a:gd name="connsiteX441" fmla="*/ 463944 w 682417"/>
              <a:gd name="connsiteY441" fmla="*/ 193383 h 798267"/>
              <a:gd name="connsiteX442" fmla="*/ 462820 w 682417"/>
              <a:gd name="connsiteY442" fmla="*/ 193192 h 798267"/>
              <a:gd name="connsiteX443" fmla="*/ 460753 w 682417"/>
              <a:gd name="connsiteY443" fmla="*/ 191678 h 798267"/>
              <a:gd name="connsiteX444" fmla="*/ 457895 w 682417"/>
              <a:gd name="connsiteY444" fmla="*/ 194678 h 798267"/>
              <a:gd name="connsiteX445" fmla="*/ 453009 w 682417"/>
              <a:gd name="connsiteY445" fmla="*/ 196164 h 798267"/>
              <a:gd name="connsiteX446" fmla="*/ 459772 w 682417"/>
              <a:gd name="connsiteY446" fmla="*/ 197316 h 798267"/>
              <a:gd name="connsiteX447" fmla="*/ 456752 w 682417"/>
              <a:gd name="connsiteY447" fmla="*/ 201441 h 798267"/>
              <a:gd name="connsiteX448" fmla="*/ 450561 w 682417"/>
              <a:gd name="connsiteY448" fmla="*/ 196907 h 798267"/>
              <a:gd name="connsiteX449" fmla="*/ 440760 w 682417"/>
              <a:gd name="connsiteY449" fmla="*/ 206841 h 798267"/>
              <a:gd name="connsiteX450" fmla="*/ 433816 w 682417"/>
              <a:gd name="connsiteY450" fmla="*/ 206841 h 798267"/>
              <a:gd name="connsiteX451" fmla="*/ 432111 w 682417"/>
              <a:gd name="connsiteY451" fmla="*/ 210032 h 798267"/>
              <a:gd name="connsiteX452" fmla="*/ 430425 w 682417"/>
              <a:gd name="connsiteY452" fmla="*/ 206270 h 798267"/>
              <a:gd name="connsiteX453" fmla="*/ 428730 w 682417"/>
              <a:gd name="connsiteY453" fmla="*/ 209451 h 798267"/>
              <a:gd name="connsiteX454" fmla="*/ 426472 w 682417"/>
              <a:gd name="connsiteY454" fmla="*/ 209070 h 798267"/>
              <a:gd name="connsiteX455" fmla="*/ 423120 w 682417"/>
              <a:gd name="connsiteY455" fmla="*/ 201545 h 798267"/>
              <a:gd name="connsiteX456" fmla="*/ 422348 w 682417"/>
              <a:gd name="connsiteY456" fmla="*/ 206051 h 798267"/>
              <a:gd name="connsiteX457" fmla="*/ 417652 w 682417"/>
              <a:gd name="connsiteY457" fmla="*/ 206413 h 798267"/>
              <a:gd name="connsiteX458" fmla="*/ 417652 w 682417"/>
              <a:gd name="connsiteY458" fmla="*/ 213366 h 798267"/>
              <a:gd name="connsiteX459" fmla="*/ 420824 w 682417"/>
              <a:gd name="connsiteY459" fmla="*/ 222024 h 798267"/>
              <a:gd name="connsiteX460" fmla="*/ 419310 w 682417"/>
              <a:gd name="connsiteY460" fmla="*/ 224082 h 798267"/>
              <a:gd name="connsiteX461" fmla="*/ 414223 w 682417"/>
              <a:gd name="connsiteY461" fmla="*/ 226701 h 798267"/>
              <a:gd name="connsiteX462" fmla="*/ 413490 w 682417"/>
              <a:gd name="connsiteY462" fmla="*/ 224263 h 798267"/>
              <a:gd name="connsiteX463" fmla="*/ 409746 w 682417"/>
              <a:gd name="connsiteY463" fmla="*/ 218976 h 798267"/>
              <a:gd name="connsiteX464" fmla="*/ 404470 w 682417"/>
              <a:gd name="connsiteY464" fmla="*/ 222729 h 798267"/>
              <a:gd name="connsiteX465" fmla="*/ 397135 w 682417"/>
              <a:gd name="connsiteY465" fmla="*/ 224958 h 798267"/>
              <a:gd name="connsiteX466" fmla="*/ 401450 w 682417"/>
              <a:gd name="connsiteY466" fmla="*/ 226863 h 798267"/>
              <a:gd name="connsiteX467" fmla="*/ 407641 w 682417"/>
              <a:gd name="connsiteY467" fmla="*/ 231387 h 798267"/>
              <a:gd name="connsiteX468" fmla="*/ 405555 w 682417"/>
              <a:gd name="connsiteY468" fmla="*/ 236836 h 798267"/>
              <a:gd name="connsiteX469" fmla="*/ 403489 w 682417"/>
              <a:gd name="connsiteY469" fmla="*/ 235321 h 798267"/>
              <a:gd name="connsiteX470" fmla="*/ 401984 w 682417"/>
              <a:gd name="connsiteY470" fmla="*/ 237379 h 798267"/>
              <a:gd name="connsiteX471" fmla="*/ 398174 w 682417"/>
              <a:gd name="connsiteY471" fmla="*/ 239064 h 798267"/>
              <a:gd name="connsiteX472" fmla="*/ 397221 w 682417"/>
              <a:gd name="connsiteY472" fmla="*/ 237750 h 798267"/>
              <a:gd name="connsiteX473" fmla="*/ 394202 w 682417"/>
              <a:gd name="connsiteY473" fmla="*/ 241874 h 798267"/>
              <a:gd name="connsiteX474" fmla="*/ 387439 w 682417"/>
              <a:gd name="connsiteY474" fmla="*/ 240722 h 798267"/>
              <a:gd name="connsiteX475" fmla="*/ 383677 w 682417"/>
              <a:gd name="connsiteY475" fmla="*/ 242408 h 798267"/>
              <a:gd name="connsiteX476" fmla="*/ 381591 w 682417"/>
              <a:gd name="connsiteY476" fmla="*/ 247846 h 798267"/>
              <a:gd name="connsiteX477" fmla="*/ 375771 w 682417"/>
              <a:gd name="connsiteY477" fmla="*/ 248018 h 798267"/>
              <a:gd name="connsiteX478" fmla="*/ 374447 w 682417"/>
              <a:gd name="connsiteY478" fmla="*/ 248970 h 798267"/>
              <a:gd name="connsiteX479" fmla="*/ 368437 w 682417"/>
              <a:gd name="connsiteY479" fmla="*/ 250275 h 798267"/>
              <a:gd name="connsiteX480" fmla="*/ 370494 w 682417"/>
              <a:gd name="connsiteY480" fmla="*/ 251780 h 798267"/>
              <a:gd name="connsiteX481" fmla="*/ 366684 w 682417"/>
              <a:gd name="connsiteY481" fmla="*/ 253466 h 798267"/>
              <a:gd name="connsiteX482" fmla="*/ 360836 w 682417"/>
              <a:gd name="connsiteY482" fmla="*/ 260581 h 798267"/>
              <a:gd name="connsiteX483" fmla="*/ 353692 w 682417"/>
              <a:gd name="connsiteY483" fmla="*/ 261696 h 798267"/>
              <a:gd name="connsiteX484" fmla="*/ 354273 w 682417"/>
              <a:gd name="connsiteY484" fmla="*/ 258305 h 798267"/>
              <a:gd name="connsiteX485" fmla="*/ 348053 w 682417"/>
              <a:gd name="connsiteY485" fmla="*/ 260734 h 798267"/>
              <a:gd name="connsiteX486" fmla="*/ 340357 w 682417"/>
              <a:gd name="connsiteY486" fmla="*/ 258267 h 798267"/>
              <a:gd name="connsiteX487" fmla="*/ 338861 w 682417"/>
              <a:gd name="connsiteY487" fmla="*/ 260334 h 798267"/>
              <a:gd name="connsiteX488" fmla="*/ 335832 w 682417"/>
              <a:gd name="connsiteY488" fmla="*/ 264458 h 798267"/>
              <a:gd name="connsiteX489" fmla="*/ 327755 w 682417"/>
              <a:gd name="connsiteY489" fmla="*/ 264249 h 798267"/>
              <a:gd name="connsiteX490" fmla="*/ 324545 w 682417"/>
              <a:gd name="connsiteY490" fmla="*/ 269497 h 798267"/>
              <a:gd name="connsiteX491" fmla="*/ 321688 w 682417"/>
              <a:gd name="connsiteY491" fmla="*/ 265544 h 798267"/>
              <a:gd name="connsiteX492" fmla="*/ 316421 w 682417"/>
              <a:gd name="connsiteY492" fmla="*/ 269287 h 798267"/>
              <a:gd name="connsiteX493" fmla="*/ 310801 w 682417"/>
              <a:gd name="connsiteY493" fmla="*/ 261382 h 798267"/>
              <a:gd name="connsiteX494" fmla="*/ 315487 w 682417"/>
              <a:gd name="connsiteY494" fmla="*/ 267973 h 798267"/>
              <a:gd name="connsiteX495" fmla="*/ 312630 w 682417"/>
              <a:gd name="connsiteY495" fmla="*/ 270964 h 798267"/>
              <a:gd name="connsiteX496" fmla="*/ 315249 w 682417"/>
              <a:gd name="connsiteY496" fmla="*/ 276050 h 798267"/>
              <a:gd name="connsiteX497" fmla="*/ 309439 w 682417"/>
              <a:gd name="connsiteY497" fmla="*/ 269268 h 798267"/>
              <a:gd name="connsiteX498" fmla="*/ 306991 w 682417"/>
              <a:gd name="connsiteY498" fmla="*/ 270011 h 798267"/>
              <a:gd name="connsiteX499" fmla="*/ 313734 w 682417"/>
              <a:gd name="connsiteY499" fmla="*/ 278107 h 798267"/>
              <a:gd name="connsiteX500" fmla="*/ 316744 w 682417"/>
              <a:gd name="connsiteY500" fmla="*/ 273983 h 798267"/>
              <a:gd name="connsiteX501" fmla="*/ 321069 w 682417"/>
              <a:gd name="connsiteY501" fmla="*/ 275888 h 798267"/>
              <a:gd name="connsiteX502" fmla="*/ 321831 w 682417"/>
              <a:gd name="connsiteY502" fmla="*/ 271383 h 798267"/>
              <a:gd name="connsiteX503" fmla="*/ 324450 w 682417"/>
              <a:gd name="connsiteY503" fmla="*/ 276460 h 798267"/>
              <a:gd name="connsiteX504" fmla="*/ 326126 w 682417"/>
              <a:gd name="connsiteY504" fmla="*/ 280222 h 798267"/>
              <a:gd name="connsiteX505" fmla="*/ 323688 w 682417"/>
              <a:gd name="connsiteY505" fmla="*/ 280974 h 798267"/>
              <a:gd name="connsiteX506" fmla="*/ 320688 w 682417"/>
              <a:gd name="connsiteY506" fmla="*/ 278117 h 798267"/>
              <a:gd name="connsiteX507" fmla="*/ 315925 w 682417"/>
              <a:gd name="connsiteY507" fmla="*/ 285432 h 798267"/>
              <a:gd name="connsiteX508" fmla="*/ 311991 w 682417"/>
              <a:gd name="connsiteY508" fmla="*/ 281289 h 798267"/>
              <a:gd name="connsiteX509" fmla="*/ 307838 w 682417"/>
              <a:gd name="connsiteY509" fmla="*/ 285223 h 798267"/>
              <a:gd name="connsiteX510" fmla="*/ 301076 w 682417"/>
              <a:gd name="connsiteY510" fmla="*/ 284080 h 798267"/>
              <a:gd name="connsiteX511" fmla="*/ 298094 w 682417"/>
              <a:gd name="connsiteY511" fmla="*/ 274297 h 798267"/>
              <a:gd name="connsiteX512" fmla="*/ 295237 w 682417"/>
              <a:gd name="connsiteY512" fmla="*/ 277298 h 798267"/>
              <a:gd name="connsiteX513" fmla="*/ 297294 w 682417"/>
              <a:gd name="connsiteY513" fmla="*/ 278803 h 798267"/>
              <a:gd name="connsiteX514" fmla="*/ 298780 w 682417"/>
              <a:gd name="connsiteY514" fmla="*/ 283699 h 798267"/>
              <a:gd name="connsiteX515" fmla="*/ 298399 w 682417"/>
              <a:gd name="connsiteY515" fmla="*/ 285947 h 798267"/>
              <a:gd name="connsiteX516" fmla="*/ 294999 w 682417"/>
              <a:gd name="connsiteY516" fmla="*/ 292328 h 798267"/>
              <a:gd name="connsiteX517" fmla="*/ 298809 w 682417"/>
              <a:gd name="connsiteY517" fmla="*/ 290652 h 798267"/>
              <a:gd name="connsiteX518" fmla="*/ 297094 w 682417"/>
              <a:gd name="connsiteY518" fmla="*/ 300796 h 798267"/>
              <a:gd name="connsiteX519" fmla="*/ 295599 w 682417"/>
              <a:gd name="connsiteY519" fmla="*/ 295900 h 798267"/>
              <a:gd name="connsiteX520" fmla="*/ 291275 w 682417"/>
              <a:gd name="connsiteY520" fmla="*/ 300958 h 798267"/>
              <a:gd name="connsiteX521" fmla="*/ 288417 w 682417"/>
              <a:gd name="connsiteY521" fmla="*/ 303958 h 798267"/>
              <a:gd name="connsiteX522" fmla="*/ 288246 w 682417"/>
              <a:gd name="connsiteY522" fmla="*/ 298138 h 798267"/>
              <a:gd name="connsiteX523" fmla="*/ 286169 w 682417"/>
              <a:gd name="connsiteY523" fmla="*/ 303577 h 798267"/>
              <a:gd name="connsiteX524" fmla="*/ 283169 w 682417"/>
              <a:gd name="connsiteY524" fmla="*/ 300720 h 798267"/>
              <a:gd name="connsiteX525" fmla="*/ 280311 w 682417"/>
              <a:gd name="connsiteY525" fmla="*/ 303720 h 798267"/>
              <a:gd name="connsiteX526" fmla="*/ 275996 w 682417"/>
              <a:gd name="connsiteY526" fmla="*/ 301815 h 798267"/>
              <a:gd name="connsiteX527" fmla="*/ 271663 w 682417"/>
              <a:gd name="connsiteY527" fmla="*/ 306873 h 798267"/>
              <a:gd name="connsiteX528" fmla="*/ 269986 w 682417"/>
              <a:gd name="connsiteY528" fmla="*/ 303111 h 798267"/>
              <a:gd name="connsiteX529" fmla="*/ 263766 w 682417"/>
              <a:gd name="connsiteY529" fmla="*/ 305539 h 798267"/>
              <a:gd name="connsiteX530" fmla="*/ 265671 w 682417"/>
              <a:gd name="connsiteY530" fmla="*/ 308178 h 798267"/>
              <a:gd name="connsiteX531" fmla="*/ 263966 w 682417"/>
              <a:gd name="connsiteY531" fmla="*/ 311369 h 798267"/>
              <a:gd name="connsiteX532" fmla="*/ 260614 w 682417"/>
              <a:gd name="connsiteY532" fmla="*/ 303844 h 798267"/>
              <a:gd name="connsiteX533" fmla="*/ 256651 w 682417"/>
              <a:gd name="connsiteY533" fmla="*/ 306644 h 798267"/>
              <a:gd name="connsiteX534" fmla="*/ 259832 w 682417"/>
              <a:gd name="connsiteY534" fmla="*/ 315303 h 798267"/>
              <a:gd name="connsiteX535" fmla="*/ 266224 w 682417"/>
              <a:gd name="connsiteY535" fmla="*/ 311750 h 798267"/>
              <a:gd name="connsiteX536" fmla="*/ 268862 w 682417"/>
              <a:gd name="connsiteY536" fmla="*/ 309845 h 798267"/>
              <a:gd name="connsiteX537" fmla="*/ 266005 w 682417"/>
              <a:gd name="connsiteY537" fmla="*/ 312836 h 798267"/>
              <a:gd name="connsiteX538" fmla="*/ 273529 w 682417"/>
              <a:gd name="connsiteY538" fmla="*/ 309473 h 798267"/>
              <a:gd name="connsiteX539" fmla="*/ 270901 w 682417"/>
              <a:gd name="connsiteY539" fmla="*/ 311378 h 798267"/>
              <a:gd name="connsiteX540" fmla="*/ 275958 w 682417"/>
              <a:gd name="connsiteY540" fmla="*/ 315712 h 798267"/>
              <a:gd name="connsiteX541" fmla="*/ 275187 w 682417"/>
              <a:gd name="connsiteY541" fmla="*/ 320217 h 798267"/>
              <a:gd name="connsiteX542" fmla="*/ 273282 w 682417"/>
              <a:gd name="connsiteY542" fmla="*/ 317579 h 798267"/>
              <a:gd name="connsiteX543" fmla="*/ 271577 w 682417"/>
              <a:gd name="connsiteY543" fmla="*/ 320779 h 798267"/>
              <a:gd name="connsiteX544" fmla="*/ 266881 w 682417"/>
              <a:gd name="connsiteY544" fmla="*/ 321132 h 798267"/>
              <a:gd name="connsiteX545" fmla="*/ 268567 w 682417"/>
              <a:gd name="connsiteY545" fmla="*/ 324942 h 798267"/>
              <a:gd name="connsiteX546" fmla="*/ 265186 w 682417"/>
              <a:gd name="connsiteY546" fmla="*/ 324370 h 798267"/>
              <a:gd name="connsiteX547" fmla="*/ 263281 w 682417"/>
              <a:gd name="connsiteY547" fmla="*/ 328685 h 798267"/>
              <a:gd name="connsiteX548" fmla="*/ 264966 w 682417"/>
              <a:gd name="connsiteY548" fmla="*/ 332495 h 798267"/>
              <a:gd name="connsiteX549" fmla="*/ 260642 w 682417"/>
              <a:gd name="connsiteY549" fmla="*/ 330590 h 798267"/>
              <a:gd name="connsiteX550" fmla="*/ 261004 w 682417"/>
              <a:gd name="connsiteY550" fmla="*/ 335286 h 798267"/>
              <a:gd name="connsiteX551" fmla="*/ 254060 w 682417"/>
              <a:gd name="connsiteY551" fmla="*/ 335286 h 798267"/>
              <a:gd name="connsiteX552" fmla="*/ 251031 w 682417"/>
              <a:gd name="connsiteY552" fmla="*/ 339410 h 798267"/>
              <a:gd name="connsiteX553" fmla="*/ 255737 w 682417"/>
              <a:gd name="connsiteY553" fmla="*/ 339048 h 798267"/>
              <a:gd name="connsiteX554" fmla="*/ 248402 w 682417"/>
              <a:gd name="connsiteY554" fmla="*/ 341287 h 798267"/>
              <a:gd name="connsiteX555" fmla="*/ 251422 w 682417"/>
              <a:gd name="connsiteY555" fmla="*/ 337153 h 798267"/>
              <a:gd name="connsiteX556" fmla="*/ 246726 w 682417"/>
              <a:gd name="connsiteY556" fmla="*/ 337524 h 798267"/>
              <a:gd name="connsiteX557" fmla="*/ 249336 w 682417"/>
              <a:gd name="connsiteY557" fmla="*/ 342601 h 798267"/>
              <a:gd name="connsiteX558" fmla="*/ 247259 w 682417"/>
              <a:gd name="connsiteY558" fmla="*/ 348050 h 798267"/>
              <a:gd name="connsiteX559" fmla="*/ 242383 w 682417"/>
              <a:gd name="connsiteY559" fmla="*/ 342582 h 798267"/>
              <a:gd name="connsiteX560" fmla="*/ 238573 w 682417"/>
              <a:gd name="connsiteY560" fmla="*/ 344268 h 798267"/>
              <a:gd name="connsiteX561" fmla="*/ 241192 w 682417"/>
              <a:gd name="connsiteY561" fmla="*/ 349345 h 798267"/>
              <a:gd name="connsiteX562" fmla="*/ 238744 w 682417"/>
              <a:gd name="connsiteY562" fmla="*/ 350088 h 798267"/>
              <a:gd name="connsiteX563" fmla="*/ 237230 w 682417"/>
              <a:gd name="connsiteY563" fmla="*/ 352155 h 798267"/>
              <a:gd name="connsiteX564" fmla="*/ 237020 w 682417"/>
              <a:gd name="connsiteY564" fmla="*/ 360232 h 798267"/>
              <a:gd name="connsiteX565" fmla="*/ 232134 w 682417"/>
              <a:gd name="connsiteY565" fmla="*/ 361718 h 798267"/>
              <a:gd name="connsiteX566" fmla="*/ 225523 w 682417"/>
              <a:gd name="connsiteY566" fmla="*/ 373348 h 798267"/>
              <a:gd name="connsiteX567" fmla="*/ 220275 w 682417"/>
              <a:gd name="connsiteY567" fmla="*/ 370138 h 798267"/>
              <a:gd name="connsiteX568" fmla="*/ 221761 w 682417"/>
              <a:gd name="connsiteY568" fmla="*/ 375034 h 798267"/>
              <a:gd name="connsiteX569" fmla="*/ 223818 w 682417"/>
              <a:gd name="connsiteY569" fmla="*/ 376539 h 798267"/>
              <a:gd name="connsiteX570" fmla="*/ 215913 w 682417"/>
              <a:gd name="connsiteY570" fmla="*/ 382159 h 798267"/>
              <a:gd name="connsiteX571" fmla="*/ 214008 w 682417"/>
              <a:gd name="connsiteY571" fmla="*/ 386473 h 798267"/>
              <a:gd name="connsiteX572" fmla="*/ 210817 w 682417"/>
              <a:gd name="connsiteY572" fmla="*/ 384768 h 798267"/>
              <a:gd name="connsiteX573" fmla="*/ 209864 w 682417"/>
              <a:gd name="connsiteY573" fmla="*/ 390407 h 798267"/>
              <a:gd name="connsiteX574" fmla="*/ 204426 w 682417"/>
              <a:gd name="connsiteY574" fmla="*/ 388321 h 798267"/>
              <a:gd name="connsiteX575" fmla="*/ 198958 w 682417"/>
              <a:gd name="connsiteY575" fmla="*/ 393188 h 798267"/>
              <a:gd name="connsiteX576" fmla="*/ 199139 w 682417"/>
              <a:gd name="connsiteY576" fmla="*/ 399018 h 798267"/>
              <a:gd name="connsiteX577" fmla="*/ 202873 w 682417"/>
              <a:gd name="connsiteY577" fmla="*/ 404295 h 798267"/>
              <a:gd name="connsiteX578" fmla="*/ 197244 w 682417"/>
              <a:gd name="connsiteY578" fmla="*/ 403342 h 798267"/>
              <a:gd name="connsiteX579" fmla="*/ 197415 w 682417"/>
              <a:gd name="connsiteY579" fmla="*/ 409171 h 798267"/>
              <a:gd name="connsiteX580" fmla="*/ 193843 w 682417"/>
              <a:gd name="connsiteY580" fmla="*/ 409724 h 798267"/>
              <a:gd name="connsiteX581" fmla="*/ 194205 w 682417"/>
              <a:gd name="connsiteY581" fmla="*/ 414420 h 798267"/>
              <a:gd name="connsiteX582" fmla="*/ 190395 w 682417"/>
              <a:gd name="connsiteY582" fmla="*/ 416096 h 798267"/>
              <a:gd name="connsiteX583" fmla="*/ 190567 w 682417"/>
              <a:gd name="connsiteY583" fmla="*/ 421925 h 798267"/>
              <a:gd name="connsiteX584" fmla="*/ 185871 w 682417"/>
              <a:gd name="connsiteY584" fmla="*/ 422287 h 798267"/>
              <a:gd name="connsiteX585" fmla="*/ 185099 w 682417"/>
              <a:gd name="connsiteY585" fmla="*/ 426802 h 798267"/>
              <a:gd name="connsiteX586" fmla="*/ 181537 w 682417"/>
              <a:gd name="connsiteY586" fmla="*/ 427345 h 798267"/>
              <a:gd name="connsiteX587" fmla="*/ 177022 w 682417"/>
              <a:gd name="connsiteY587" fmla="*/ 426583 h 798267"/>
              <a:gd name="connsiteX588" fmla="*/ 178689 w 682417"/>
              <a:gd name="connsiteY588" fmla="*/ 437299 h 798267"/>
              <a:gd name="connsiteX589" fmla="*/ 174374 w 682417"/>
              <a:gd name="connsiteY589" fmla="*/ 435394 h 798267"/>
              <a:gd name="connsiteX590" fmla="*/ 169288 w 682417"/>
              <a:gd name="connsiteY590" fmla="*/ 438013 h 798267"/>
              <a:gd name="connsiteX591" fmla="*/ 170593 w 682417"/>
              <a:gd name="connsiteY591" fmla="*/ 444033 h 798267"/>
              <a:gd name="connsiteX592" fmla="*/ 160239 w 682417"/>
              <a:gd name="connsiteY592" fmla="*/ 450396 h 798267"/>
              <a:gd name="connsiteX593" fmla="*/ 162144 w 682417"/>
              <a:gd name="connsiteY593" fmla="*/ 453025 h 798267"/>
              <a:gd name="connsiteX594" fmla="*/ 163820 w 682417"/>
              <a:gd name="connsiteY594" fmla="*/ 456835 h 798267"/>
              <a:gd name="connsiteX595" fmla="*/ 162487 w 682417"/>
              <a:gd name="connsiteY595" fmla="*/ 464721 h 798267"/>
              <a:gd name="connsiteX596" fmla="*/ 155534 w 682417"/>
              <a:gd name="connsiteY596" fmla="*/ 464721 h 798267"/>
              <a:gd name="connsiteX597" fmla="*/ 151771 w 682417"/>
              <a:gd name="connsiteY597" fmla="*/ 466398 h 798267"/>
              <a:gd name="connsiteX598" fmla="*/ 149114 w 682417"/>
              <a:gd name="connsiteY598" fmla="*/ 475218 h 798267"/>
              <a:gd name="connsiteX599" fmla="*/ 150600 w 682417"/>
              <a:gd name="connsiteY599" fmla="*/ 480104 h 798267"/>
              <a:gd name="connsiteX600" fmla="*/ 146647 w 682417"/>
              <a:gd name="connsiteY600" fmla="*/ 482914 h 798267"/>
              <a:gd name="connsiteX601" fmla="*/ 144285 w 682417"/>
              <a:gd name="connsiteY601" fmla="*/ 480866 h 798267"/>
              <a:gd name="connsiteX602" fmla="*/ 142761 w 682417"/>
              <a:gd name="connsiteY602" fmla="*/ 489877 h 798267"/>
              <a:gd name="connsiteX603" fmla="*/ 147285 w 682417"/>
              <a:gd name="connsiteY603" fmla="*/ 483685 h 798267"/>
              <a:gd name="connsiteX604" fmla="*/ 155924 w 682417"/>
              <a:gd name="connsiteY604" fmla="*/ 487495 h 798267"/>
              <a:gd name="connsiteX605" fmla="*/ 154772 w 682417"/>
              <a:gd name="connsiteY605" fmla="*/ 494258 h 798267"/>
              <a:gd name="connsiteX606" fmla="*/ 149304 w 682417"/>
              <a:gd name="connsiteY606" fmla="*/ 499126 h 798267"/>
              <a:gd name="connsiteX607" fmla="*/ 142913 w 682417"/>
              <a:gd name="connsiteY607" fmla="*/ 502678 h 798267"/>
              <a:gd name="connsiteX608" fmla="*/ 144818 w 682417"/>
              <a:gd name="connsiteY608" fmla="*/ 505317 h 798267"/>
              <a:gd name="connsiteX609" fmla="*/ 144047 w 682417"/>
              <a:gd name="connsiteY609" fmla="*/ 509822 h 798267"/>
              <a:gd name="connsiteX610" fmla="*/ 142923 w 682417"/>
              <a:gd name="connsiteY610" fmla="*/ 509632 h 798267"/>
              <a:gd name="connsiteX611" fmla="*/ 138160 w 682417"/>
              <a:gd name="connsiteY611" fmla="*/ 516947 h 798267"/>
              <a:gd name="connsiteX612" fmla="*/ 134969 w 682417"/>
              <a:gd name="connsiteY612" fmla="*/ 515242 h 798267"/>
              <a:gd name="connsiteX613" fmla="*/ 128568 w 682417"/>
              <a:gd name="connsiteY613" fmla="*/ 518795 h 798267"/>
              <a:gd name="connsiteX614" fmla="*/ 121215 w 682417"/>
              <a:gd name="connsiteY614" fmla="*/ 527977 h 798267"/>
              <a:gd name="connsiteX615" fmla="*/ 125339 w 682417"/>
              <a:gd name="connsiteY615" fmla="*/ 530996 h 798267"/>
              <a:gd name="connsiteX616" fmla="*/ 122130 w 682417"/>
              <a:gd name="connsiteY616" fmla="*/ 536254 h 798267"/>
              <a:gd name="connsiteX617" fmla="*/ 124749 w 682417"/>
              <a:gd name="connsiteY617" fmla="*/ 541331 h 798267"/>
              <a:gd name="connsiteX618" fmla="*/ 121368 w 682417"/>
              <a:gd name="connsiteY618" fmla="*/ 540759 h 798267"/>
              <a:gd name="connsiteX619" fmla="*/ 117605 w 682417"/>
              <a:gd name="connsiteY619" fmla="*/ 542436 h 798267"/>
              <a:gd name="connsiteX620" fmla="*/ 119263 w 682417"/>
              <a:gd name="connsiteY620" fmla="*/ 553151 h 798267"/>
              <a:gd name="connsiteX621" fmla="*/ 114376 w 682417"/>
              <a:gd name="connsiteY621" fmla="*/ 554637 h 798267"/>
              <a:gd name="connsiteX622" fmla="*/ 114548 w 682417"/>
              <a:gd name="connsiteY622" fmla="*/ 560467 h 798267"/>
              <a:gd name="connsiteX623" fmla="*/ 110785 w 682417"/>
              <a:gd name="connsiteY623" fmla="*/ 562152 h 798267"/>
              <a:gd name="connsiteX624" fmla="*/ 108147 w 682417"/>
              <a:gd name="connsiteY624" fmla="*/ 564057 h 798267"/>
              <a:gd name="connsiteX625" fmla="*/ 104565 w 682417"/>
              <a:gd name="connsiteY625" fmla="*/ 564610 h 798267"/>
              <a:gd name="connsiteX626" fmla="*/ 98936 w 682417"/>
              <a:gd name="connsiteY626" fmla="*/ 563657 h 798267"/>
              <a:gd name="connsiteX627" fmla="*/ 98936 w 682417"/>
              <a:gd name="connsiteY627" fmla="*/ 570611 h 798267"/>
              <a:gd name="connsiteX628" fmla="*/ 101956 w 682417"/>
              <a:gd name="connsiteY628" fmla="*/ 566486 h 798267"/>
              <a:gd name="connsiteX629" fmla="*/ 109652 w 682417"/>
              <a:gd name="connsiteY629" fmla="*/ 568944 h 798267"/>
              <a:gd name="connsiteX630" fmla="*/ 106994 w 682417"/>
              <a:gd name="connsiteY630" fmla="*/ 577773 h 798267"/>
              <a:gd name="connsiteX631" fmla="*/ 105089 w 682417"/>
              <a:gd name="connsiteY631" fmla="*/ 575135 h 798267"/>
              <a:gd name="connsiteX632" fmla="*/ 100927 w 682417"/>
              <a:gd name="connsiteY632" fmla="*/ 586022 h 798267"/>
              <a:gd name="connsiteX633" fmla="*/ 101689 w 682417"/>
              <a:gd name="connsiteY633" fmla="*/ 581507 h 798267"/>
              <a:gd name="connsiteX634" fmla="*/ 95126 w 682417"/>
              <a:gd name="connsiteY634" fmla="*/ 579240 h 798267"/>
              <a:gd name="connsiteX635" fmla="*/ 99422 w 682417"/>
              <a:gd name="connsiteY635" fmla="*/ 588089 h 798267"/>
              <a:gd name="connsiteX636" fmla="*/ 95660 w 682417"/>
              <a:gd name="connsiteY636" fmla="*/ 589765 h 798267"/>
              <a:gd name="connsiteX637" fmla="*/ 93574 w 682417"/>
              <a:gd name="connsiteY637" fmla="*/ 595204 h 798267"/>
              <a:gd name="connsiteX638" fmla="*/ 90011 w 682417"/>
              <a:gd name="connsiteY638" fmla="*/ 595766 h 798267"/>
              <a:gd name="connsiteX639" fmla="*/ 86439 w 682417"/>
              <a:gd name="connsiteY639" fmla="*/ 596319 h 798267"/>
              <a:gd name="connsiteX640" fmla="*/ 84734 w 682417"/>
              <a:gd name="connsiteY640" fmla="*/ 599500 h 798267"/>
              <a:gd name="connsiteX641" fmla="*/ 77591 w 682417"/>
              <a:gd name="connsiteY641" fmla="*/ 600614 h 798267"/>
              <a:gd name="connsiteX642" fmla="*/ 80010 w 682417"/>
              <a:gd name="connsiteY642" fmla="*/ 606815 h 798267"/>
              <a:gd name="connsiteX643" fmla="*/ 84773 w 682417"/>
              <a:gd name="connsiteY643" fmla="*/ 599500 h 798267"/>
              <a:gd name="connsiteX644" fmla="*/ 89449 w 682417"/>
              <a:gd name="connsiteY644" fmla="*/ 606091 h 798267"/>
              <a:gd name="connsiteX645" fmla="*/ 83239 w 682417"/>
              <a:gd name="connsiteY645" fmla="*/ 608520 h 798267"/>
              <a:gd name="connsiteX646" fmla="*/ 86420 w 682417"/>
              <a:gd name="connsiteY646" fmla="*/ 610216 h 798267"/>
              <a:gd name="connsiteX647" fmla="*/ 87916 w 682417"/>
              <a:gd name="connsiteY647" fmla="*/ 615111 h 798267"/>
              <a:gd name="connsiteX648" fmla="*/ 85058 w 682417"/>
              <a:gd name="connsiteY648" fmla="*/ 618102 h 798267"/>
              <a:gd name="connsiteX649" fmla="*/ 84106 w 682417"/>
              <a:gd name="connsiteY649" fmla="*/ 616797 h 798267"/>
              <a:gd name="connsiteX650" fmla="*/ 82782 w 682417"/>
              <a:gd name="connsiteY650" fmla="*/ 617750 h 798267"/>
              <a:gd name="connsiteX651" fmla="*/ 84687 w 682417"/>
              <a:gd name="connsiteY651" fmla="*/ 620388 h 798267"/>
              <a:gd name="connsiteX652" fmla="*/ 82248 w 682417"/>
              <a:gd name="connsiteY652" fmla="*/ 621141 h 798267"/>
              <a:gd name="connsiteX653" fmla="*/ 81867 w 682417"/>
              <a:gd name="connsiteY653" fmla="*/ 623389 h 798267"/>
              <a:gd name="connsiteX654" fmla="*/ 79419 w 682417"/>
              <a:gd name="connsiteY654" fmla="*/ 624132 h 798267"/>
              <a:gd name="connsiteX655" fmla="*/ 79038 w 682417"/>
              <a:gd name="connsiteY655" fmla="*/ 626389 h 798267"/>
              <a:gd name="connsiteX656" fmla="*/ 73571 w 682417"/>
              <a:gd name="connsiteY656" fmla="*/ 631256 h 798267"/>
              <a:gd name="connsiteX657" fmla="*/ 66237 w 682417"/>
              <a:gd name="connsiteY657" fmla="*/ 633485 h 798267"/>
              <a:gd name="connsiteX658" fmla="*/ 67189 w 682417"/>
              <a:gd name="connsiteY658" fmla="*/ 634809 h 798267"/>
              <a:gd name="connsiteX659" fmla="*/ 67932 w 682417"/>
              <a:gd name="connsiteY659" fmla="*/ 637257 h 798267"/>
              <a:gd name="connsiteX660" fmla="*/ 65656 w 682417"/>
              <a:gd name="connsiteY660" fmla="*/ 643820 h 798267"/>
              <a:gd name="connsiteX661" fmla="*/ 69980 w 682417"/>
              <a:gd name="connsiteY661" fmla="*/ 645725 h 798267"/>
              <a:gd name="connsiteX662" fmla="*/ 69390 w 682417"/>
              <a:gd name="connsiteY662" fmla="*/ 656059 h 798267"/>
              <a:gd name="connsiteX663" fmla="*/ 67485 w 682417"/>
              <a:gd name="connsiteY663" fmla="*/ 660374 h 798267"/>
              <a:gd name="connsiteX664" fmla="*/ 62970 w 682417"/>
              <a:gd name="connsiteY664" fmla="*/ 659612 h 798267"/>
              <a:gd name="connsiteX665" fmla="*/ 59379 w 682417"/>
              <a:gd name="connsiteY665" fmla="*/ 667118 h 798267"/>
              <a:gd name="connsiteX666" fmla="*/ 62941 w 682417"/>
              <a:gd name="connsiteY666" fmla="*/ 673519 h 798267"/>
              <a:gd name="connsiteX667" fmla="*/ 62360 w 682417"/>
              <a:gd name="connsiteY667" fmla="*/ 676900 h 798267"/>
              <a:gd name="connsiteX668" fmla="*/ 58598 w 682417"/>
              <a:gd name="connsiteY668" fmla="*/ 678577 h 798267"/>
              <a:gd name="connsiteX669" fmla="*/ 57083 w 682417"/>
              <a:gd name="connsiteY669" fmla="*/ 680634 h 798267"/>
              <a:gd name="connsiteX670" fmla="*/ 56874 w 682417"/>
              <a:gd name="connsiteY670" fmla="*/ 688721 h 798267"/>
              <a:gd name="connsiteX671" fmla="*/ 53311 w 682417"/>
              <a:gd name="connsiteY671" fmla="*/ 689273 h 798267"/>
              <a:gd name="connsiteX672" fmla="*/ 51606 w 682417"/>
              <a:gd name="connsiteY672" fmla="*/ 692464 h 798267"/>
              <a:gd name="connsiteX673" fmla="*/ 49349 w 682417"/>
              <a:gd name="connsiteY673" fmla="*/ 692083 h 798267"/>
              <a:gd name="connsiteX674" fmla="*/ 47654 w 682417"/>
              <a:gd name="connsiteY674" fmla="*/ 695274 h 798267"/>
              <a:gd name="connsiteX675" fmla="*/ 53664 w 682417"/>
              <a:gd name="connsiteY675" fmla="*/ 693969 h 798267"/>
              <a:gd name="connsiteX676" fmla="*/ 55150 w 682417"/>
              <a:gd name="connsiteY676" fmla="*/ 698865 h 798267"/>
              <a:gd name="connsiteX677" fmla="*/ 49330 w 682417"/>
              <a:gd name="connsiteY677" fmla="*/ 699027 h 798267"/>
              <a:gd name="connsiteX678" fmla="*/ 46101 w 682417"/>
              <a:gd name="connsiteY678" fmla="*/ 711238 h 798267"/>
              <a:gd name="connsiteX679" fmla="*/ 50797 w 682417"/>
              <a:gd name="connsiteY679" fmla="*/ 710876 h 798267"/>
              <a:gd name="connsiteX680" fmla="*/ 45530 w 682417"/>
              <a:gd name="connsiteY680" fmla="*/ 714619 h 798267"/>
              <a:gd name="connsiteX681" fmla="*/ 41567 w 682417"/>
              <a:gd name="connsiteY681" fmla="*/ 717420 h 798267"/>
              <a:gd name="connsiteX682" fmla="*/ 42320 w 682417"/>
              <a:gd name="connsiteY682" fmla="*/ 719867 h 798267"/>
              <a:gd name="connsiteX683" fmla="*/ 43825 w 682417"/>
              <a:gd name="connsiteY683" fmla="*/ 717810 h 798267"/>
              <a:gd name="connsiteX684" fmla="*/ 48339 w 682417"/>
              <a:gd name="connsiteY684" fmla="*/ 718572 h 798267"/>
              <a:gd name="connsiteX685" fmla="*/ 47958 w 682417"/>
              <a:gd name="connsiteY685" fmla="*/ 720829 h 798267"/>
              <a:gd name="connsiteX686" fmla="*/ 48120 w 682417"/>
              <a:gd name="connsiteY686" fmla="*/ 726649 h 798267"/>
              <a:gd name="connsiteX687" fmla="*/ 48863 w 682417"/>
              <a:gd name="connsiteY687" fmla="*/ 729097 h 798267"/>
              <a:gd name="connsiteX688" fmla="*/ 46425 w 682417"/>
              <a:gd name="connsiteY688" fmla="*/ 729840 h 798267"/>
              <a:gd name="connsiteX689" fmla="*/ 42243 w 682417"/>
              <a:gd name="connsiteY689" fmla="*/ 747680 h 798267"/>
              <a:gd name="connsiteX690" fmla="*/ 39986 w 682417"/>
              <a:gd name="connsiteY690" fmla="*/ 747299 h 798267"/>
              <a:gd name="connsiteX691" fmla="*/ 35395 w 682417"/>
              <a:gd name="connsiteY691" fmla="*/ 774341 h 798267"/>
              <a:gd name="connsiteX692" fmla="*/ 36138 w 682417"/>
              <a:gd name="connsiteY692" fmla="*/ 776789 h 798267"/>
              <a:gd name="connsiteX693" fmla="*/ 26746 w 682417"/>
              <a:gd name="connsiteY693" fmla="*/ 777513 h 798267"/>
              <a:gd name="connsiteX694" fmla="*/ 27889 w 682417"/>
              <a:gd name="connsiteY694" fmla="*/ 770750 h 798267"/>
              <a:gd name="connsiteX695" fmla="*/ 25822 w 682417"/>
              <a:gd name="connsiteY695" fmla="*/ 769245 h 798267"/>
              <a:gd name="connsiteX696" fmla="*/ 20765 w 682417"/>
              <a:gd name="connsiteY696" fmla="*/ 764911 h 798267"/>
              <a:gd name="connsiteX697" fmla="*/ 22250 w 682417"/>
              <a:gd name="connsiteY697" fmla="*/ 769797 h 798267"/>
              <a:gd name="connsiteX698" fmla="*/ 25108 w 682417"/>
              <a:gd name="connsiteY698" fmla="*/ 773750 h 798267"/>
              <a:gd name="connsiteX699" fmla="*/ 20984 w 682417"/>
              <a:gd name="connsiteY699" fmla="*/ 770731 h 798267"/>
              <a:gd name="connsiteX700" fmla="*/ 17602 w 682417"/>
              <a:gd name="connsiteY700" fmla="*/ 770159 h 798267"/>
              <a:gd name="connsiteX701" fmla="*/ 15154 w 682417"/>
              <a:gd name="connsiteY701" fmla="*/ 770902 h 798267"/>
              <a:gd name="connsiteX702" fmla="*/ 20222 w 682417"/>
              <a:gd name="connsiteY702" fmla="*/ 775246 h 798267"/>
              <a:gd name="connsiteX703" fmla="*/ 15326 w 682417"/>
              <a:gd name="connsiteY703" fmla="*/ 776732 h 798267"/>
              <a:gd name="connsiteX704" fmla="*/ 14945 w 682417"/>
              <a:gd name="connsiteY704" fmla="*/ 778980 h 798267"/>
              <a:gd name="connsiteX705" fmla="*/ 12878 w 682417"/>
              <a:gd name="connsiteY705" fmla="*/ 777475 h 798267"/>
              <a:gd name="connsiteX706" fmla="*/ 11182 w 682417"/>
              <a:gd name="connsiteY706" fmla="*/ 780656 h 798267"/>
              <a:gd name="connsiteX707" fmla="*/ 8744 w 682417"/>
              <a:gd name="connsiteY707" fmla="*/ 781408 h 798267"/>
              <a:gd name="connsiteX708" fmla="*/ 13649 w 682417"/>
              <a:gd name="connsiteY708" fmla="*/ 772969 h 798267"/>
              <a:gd name="connsiteX709" fmla="*/ 11744 w 682417"/>
              <a:gd name="connsiteY709" fmla="*/ 770331 h 798267"/>
              <a:gd name="connsiteX710" fmla="*/ 14602 w 682417"/>
              <a:gd name="connsiteY710" fmla="*/ 767331 h 798267"/>
              <a:gd name="connsiteX711" fmla="*/ 10287 w 682417"/>
              <a:gd name="connsiteY711" fmla="*/ 765425 h 798267"/>
              <a:gd name="connsiteX712" fmla="*/ 10868 w 682417"/>
              <a:gd name="connsiteY712" fmla="*/ 762044 h 798267"/>
              <a:gd name="connsiteX713" fmla="*/ 2038 w 682417"/>
              <a:gd name="connsiteY713" fmla="*/ 759387 h 798267"/>
              <a:gd name="connsiteX714" fmla="*/ 5448 w 682417"/>
              <a:gd name="connsiteY714" fmla="*/ 753014 h 798267"/>
              <a:gd name="connsiteX715" fmla="*/ 0 w 682417"/>
              <a:gd name="connsiteY715" fmla="*/ 750928 h 798267"/>
              <a:gd name="connsiteX716" fmla="*/ 5648 w 682417"/>
              <a:gd name="connsiteY716" fmla="*/ 744928 h 798267"/>
              <a:gd name="connsiteX717" fmla="*/ 7906 w 682417"/>
              <a:gd name="connsiteY717" fmla="*/ 745309 h 798267"/>
              <a:gd name="connsiteX718" fmla="*/ 7734 w 682417"/>
              <a:gd name="connsiteY718" fmla="*/ 739489 h 798267"/>
              <a:gd name="connsiteX719" fmla="*/ 11154 w 682417"/>
              <a:gd name="connsiteY719" fmla="*/ 726154 h 798267"/>
              <a:gd name="connsiteX720" fmla="*/ 12849 w 682417"/>
              <a:gd name="connsiteY720" fmla="*/ 722963 h 798267"/>
              <a:gd name="connsiteX721" fmla="*/ 13059 w 682417"/>
              <a:gd name="connsiteY721" fmla="*/ 714886 h 798267"/>
              <a:gd name="connsiteX722" fmla="*/ 22479 w 682417"/>
              <a:gd name="connsiteY722" fmla="*/ 707209 h 798267"/>
              <a:gd name="connsiteX723" fmla="*/ 21936 w 682417"/>
              <a:gd name="connsiteY723" fmla="*/ 703637 h 798267"/>
              <a:gd name="connsiteX724" fmla="*/ 20031 w 682417"/>
              <a:gd name="connsiteY724" fmla="*/ 701008 h 798267"/>
              <a:gd name="connsiteX725" fmla="*/ 18126 w 682417"/>
              <a:gd name="connsiteY725" fmla="*/ 698370 h 798267"/>
              <a:gd name="connsiteX726" fmla="*/ 15135 w 682417"/>
              <a:gd name="connsiteY726" fmla="*/ 695512 h 798267"/>
              <a:gd name="connsiteX727" fmla="*/ 17193 w 682417"/>
              <a:gd name="connsiteY727" fmla="*/ 697026 h 798267"/>
              <a:gd name="connsiteX728" fmla="*/ 22469 w 682417"/>
              <a:gd name="connsiteY728" fmla="*/ 693283 h 798267"/>
              <a:gd name="connsiteX729" fmla="*/ 23041 w 682417"/>
              <a:gd name="connsiteY729" fmla="*/ 689892 h 798267"/>
              <a:gd name="connsiteX730" fmla="*/ 19850 w 682417"/>
              <a:gd name="connsiteY730" fmla="*/ 688197 h 798267"/>
              <a:gd name="connsiteX731" fmla="*/ 17050 w 682417"/>
              <a:gd name="connsiteY731" fmla="*/ 684244 h 798267"/>
              <a:gd name="connsiteX732" fmla="*/ 19488 w 682417"/>
              <a:gd name="connsiteY732" fmla="*/ 683491 h 798267"/>
              <a:gd name="connsiteX733" fmla="*/ 19126 w 682417"/>
              <a:gd name="connsiteY733" fmla="*/ 678805 h 798267"/>
              <a:gd name="connsiteX734" fmla="*/ 15745 w 682417"/>
              <a:gd name="connsiteY734" fmla="*/ 678234 h 798267"/>
              <a:gd name="connsiteX735" fmla="*/ 14792 w 682417"/>
              <a:gd name="connsiteY735" fmla="*/ 669956 h 798267"/>
              <a:gd name="connsiteX736" fmla="*/ 20612 w 682417"/>
              <a:gd name="connsiteY736" fmla="*/ 669785 h 798267"/>
              <a:gd name="connsiteX737" fmla="*/ 18707 w 682417"/>
              <a:gd name="connsiteY737" fmla="*/ 667147 h 798267"/>
              <a:gd name="connsiteX738" fmla="*/ 25851 w 682417"/>
              <a:gd name="connsiteY738" fmla="*/ 666042 h 798267"/>
              <a:gd name="connsiteX739" fmla="*/ 24746 w 682417"/>
              <a:gd name="connsiteY739" fmla="*/ 658898 h 798267"/>
              <a:gd name="connsiteX740" fmla="*/ 29642 w 682417"/>
              <a:gd name="connsiteY740" fmla="*/ 657412 h 798267"/>
              <a:gd name="connsiteX741" fmla="*/ 31137 w 682417"/>
              <a:gd name="connsiteY741" fmla="*/ 655345 h 798267"/>
              <a:gd name="connsiteX742" fmla="*/ 33395 w 682417"/>
              <a:gd name="connsiteY742" fmla="*/ 655726 h 798267"/>
              <a:gd name="connsiteX743" fmla="*/ 33966 w 682417"/>
              <a:gd name="connsiteY743" fmla="*/ 652354 h 798267"/>
              <a:gd name="connsiteX744" fmla="*/ 34719 w 682417"/>
              <a:gd name="connsiteY744" fmla="*/ 654793 h 798267"/>
              <a:gd name="connsiteX745" fmla="*/ 35671 w 682417"/>
              <a:gd name="connsiteY745" fmla="*/ 649154 h 798267"/>
              <a:gd name="connsiteX746" fmla="*/ 33033 w 682417"/>
              <a:gd name="connsiteY746" fmla="*/ 651059 h 798267"/>
              <a:gd name="connsiteX747" fmla="*/ 34185 w 682417"/>
              <a:gd name="connsiteY747" fmla="*/ 644296 h 798267"/>
              <a:gd name="connsiteX748" fmla="*/ 32699 w 682417"/>
              <a:gd name="connsiteY748" fmla="*/ 639410 h 798267"/>
              <a:gd name="connsiteX749" fmla="*/ 31375 w 682417"/>
              <a:gd name="connsiteY749" fmla="*/ 640362 h 798267"/>
              <a:gd name="connsiteX750" fmla="*/ 29699 w 682417"/>
              <a:gd name="connsiteY750" fmla="*/ 636600 h 798267"/>
              <a:gd name="connsiteX751" fmla="*/ 36671 w 682417"/>
              <a:gd name="connsiteY751" fmla="*/ 629666 h 798267"/>
              <a:gd name="connsiteX752" fmla="*/ 29908 w 682417"/>
              <a:gd name="connsiteY752" fmla="*/ 628523 h 798267"/>
              <a:gd name="connsiteX753" fmla="*/ 33309 w 682417"/>
              <a:gd name="connsiteY753" fmla="*/ 622141 h 798267"/>
              <a:gd name="connsiteX754" fmla="*/ 28223 w 682417"/>
              <a:gd name="connsiteY754" fmla="*/ 624760 h 798267"/>
              <a:gd name="connsiteX755" fmla="*/ 32033 w 682417"/>
              <a:gd name="connsiteY755" fmla="*/ 616121 h 798267"/>
              <a:gd name="connsiteX756" fmla="*/ 35033 w 682417"/>
              <a:gd name="connsiteY756" fmla="*/ 618979 h 798267"/>
              <a:gd name="connsiteX757" fmla="*/ 36728 w 682417"/>
              <a:gd name="connsiteY757" fmla="*/ 615788 h 798267"/>
              <a:gd name="connsiteX758" fmla="*/ 39729 w 682417"/>
              <a:gd name="connsiteY758" fmla="*/ 618645 h 798267"/>
              <a:gd name="connsiteX759" fmla="*/ 41805 w 682417"/>
              <a:gd name="connsiteY759" fmla="*/ 613206 h 798267"/>
              <a:gd name="connsiteX760" fmla="*/ 43710 w 682417"/>
              <a:gd name="connsiteY760" fmla="*/ 615835 h 798267"/>
              <a:gd name="connsiteX761" fmla="*/ 52959 w 682417"/>
              <a:gd name="connsiteY761" fmla="*/ 602329 h 798267"/>
              <a:gd name="connsiteX762" fmla="*/ 48263 w 682417"/>
              <a:gd name="connsiteY762" fmla="*/ 602700 h 798267"/>
              <a:gd name="connsiteX763" fmla="*/ 45406 w 682417"/>
              <a:gd name="connsiteY763" fmla="*/ 605701 h 798267"/>
              <a:gd name="connsiteX764" fmla="*/ 42958 w 682417"/>
              <a:gd name="connsiteY764" fmla="*/ 606444 h 798267"/>
              <a:gd name="connsiteX765" fmla="*/ 39767 w 682417"/>
              <a:gd name="connsiteY765" fmla="*/ 604739 h 798267"/>
              <a:gd name="connsiteX766" fmla="*/ 38090 w 682417"/>
              <a:gd name="connsiteY766" fmla="*/ 600929 h 798267"/>
              <a:gd name="connsiteX767" fmla="*/ 44291 w 682417"/>
              <a:gd name="connsiteY767" fmla="*/ 598509 h 798267"/>
              <a:gd name="connsiteX768" fmla="*/ 40719 w 682417"/>
              <a:gd name="connsiteY768" fmla="*/ 599062 h 798267"/>
              <a:gd name="connsiteX769" fmla="*/ 43739 w 682417"/>
              <a:gd name="connsiteY769" fmla="*/ 594938 h 798267"/>
              <a:gd name="connsiteX770" fmla="*/ 45444 w 682417"/>
              <a:gd name="connsiteY770" fmla="*/ 591747 h 798267"/>
              <a:gd name="connsiteX771" fmla="*/ 43377 w 682417"/>
              <a:gd name="connsiteY771" fmla="*/ 590232 h 798267"/>
              <a:gd name="connsiteX772" fmla="*/ 49206 w 682417"/>
              <a:gd name="connsiteY772" fmla="*/ 590061 h 798267"/>
              <a:gd name="connsiteX773" fmla="*/ 50721 w 682417"/>
              <a:gd name="connsiteY773" fmla="*/ 588003 h 798267"/>
              <a:gd name="connsiteX774" fmla="*/ 56540 w 682417"/>
              <a:gd name="connsiteY774" fmla="*/ 587832 h 798267"/>
              <a:gd name="connsiteX775" fmla="*/ 53350 w 682417"/>
              <a:gd name="connsiteY775" fmla="*/ 586127 h 798267"/>
              <a:gd name="connsiteX776" fmla="*/ 54493 w 682417"/>
              <a:gd name="connsiteY776" fmla="*/ 579364 h 798267"/>
              <a:gd name="connsiteX777" fmla="*/ 57683 w 682417"/>
              <a:gd name="connsiteY777" fmla="*/ 581069 h 798267"/>
              <a:gd name="connsiteX778" fmla="*/ 58436 w 682417"/>
              <a:gd name="connsiteY778" fmla="*/ 583517 h 798267"/>
              <a:gd name="connsiteX779" fmla="*/ 59750 w 682417"/>
              <a:gd name="connsiteY779" fmla="*/ 582565 h 798267"/>
              <a:gd name="connsiteX780" fmla="*/ 61427 w 682417"/>
              <a:gd name="connsiteY780" fmla="*/ 586317 h 798267"/>
              <a:gd name="connsiteX781" fmla="*/ 62189 w 682417"/>
              <a:gd name="connsiteY781" fmla="*/ 581812 h 798267"/>
              <a:gd name="connsiteX782" fmla="*/ 65208 w 682417"/>
              <a:gd name="connsiteY782" fmla="*/ 577688 h 798267"/>
              <a:gd name="connsiteX783" fmla="*/ 59769 w 682417"/>
              <a:gd name="connsiteY783" fmla="*/ 575602 h 798267"/>
              <a:gd name="connsiteX784" fmla="*/ 65237 w 682417"/>
              <a:gd name="connsiteY784" fmla="*/ 570744 h 798267"/>
              <a:gd name="connsiteX785" fmla="*/ 62236 w 682417"/>
              <a:gd name="connsiteY785" fmla="*/ 567887 h 798267"/>
              <a:gd name="connsiteX786" fmla="*/ 61493 w 682417"/>
              <a:gd name="connsiteY786" fmla="*/ 565448 h 798267"/>
              <a:gd name="connsiteX787" fmla="*/ 63579 w 682417"/>
              <a:gd name="connsiteY787" fmla="*/ 560000 h 798267"/>
              <a:gd name="connsiteX788" fmla="*/ 67532 w 682417"/>
              <a:gd name="connsiteY788" fmla="*/ 557142 h 798267"/>
              <a:gd name="connsiteX789" fmla="*/ 64341 w 682417"/>
              <a:gd name="connsiteY789" fmla="*/ 555447 h 798267"/>
              <a:gd name="connsiteX790" fmla="*/ 65103 w 682417"/>
              <a:gd name="connsiteY790" fmla="*/ 550942 h 798267"/>
              <a:gd name="connsiteX791" fmla="*/ 67161 w 682417"/>
              <a:gd name="connsiteY791" fmla="*/ 552446 h 798267"/>
              <a:gd name="connsiteX792" fmla="*/ 75267 w 682417"/>
              <a:gd name="connsiteY792" fmla="*/ 545712 h 798267"/>
              <a:gd name="connsiteX793" fmla="*/ 75817 w 682417"/>
              <a:gd name="connsiteY793" fmla="*/ 541097 h 798267"/>
              <a:gd name="connsiteX794" fmla="*/ 78476 w 682417"/>
              <a:gd name="connsiteY794" fmla="*/ 540455 h 798267"/>
              <a:gd name="connsiteX795" fmla="*/ 78476 w 682417"/>
              <a:gd name="connsiteY795" fmla="*/ 533501 h 798267"/>
              <a:gd name="connsiteX796" fmla="*/ 82620 w 682417"/>
              <a:gd name="connsiteY796" fmla="*/ 529567 h 798267"/>
              <a:gd name="connsiteX797" fmla="*/ 77391 w 682417"/>
              <a:gd name="connsiteY797" fmla="*/ 519404 h 798267"/>
              <a:gd name="connsiteX798" fmla="*/ 82667 w 682417"/>
              <a:gd name="connsiteY798" fmla="*/ 515670 h 798267"/>
              <a:gd name="connsiteX799" fmla="*/ 84363 w 682417"/>
              <a:gd name="connsiteY799" fmla="*/ 512470 h 798267"/>
              <a:gd name="connsiteX800" fmla="*/ 87363 w 682417"/>
              <a:gd name="connsiteY800" fmla="*/ 515328 h 798267"/>
              <a:gd name="connsiteX801" fmla="*/ 84344 w 682417"/>
              <a:gd name="connsiteY801" fmla="*/ 519452 h 798267"/>
              <a:gd name="connsiteX802" fmla="*/ 88868 w 682417"/>
              <a:gd name="connsiteY802" fmla="*/ 513270 h 798267"/>
              <a:gd name="connsiteX803" fmla="*/ 90773 w 682417"/>
              <a:gd name="connsiteY803" fmla="*/ 515909 h 798267"/>
              <a:gd name="connsiteX804" fmla="*/ 92859 w 682417"/>
              <a:gd name="connsiteY804" fmla="*/ 510460 h 798267"/>
              <a:gd name="connsiteX805" fmla="*/ 96422 w 682417"/>
              <a:gd name="connsiteY805" fmla="*/ 509908 h 798267"/>
              <a:gd name="connsiteX806" fmla="*/ 91916 w 682417"/>
              <a:gd name="connsiteY806" fmla="*/ 509146 h 798267"/>
              <a:gd name="connsiteX807" fmla="*/ 90430 w 682417"/>
              <a:gd name="connsiteY807" fmla="*/ 504250 h 798267"/>
              <a:gd name="connsiteX808" fmla="*/ 89275 w 682417"/>
              <a:gd name="connsiteY808" fmla="*/ 505419 h 798267"/>
              <a:gd name="connsiteX809" fmla="*/ 90049 w 682417"/>
              <a:gd name="connsiteY809" fmla="*/ 506507 h 798267"/>
              <a:gd name="connsiteX810" fmla="*/ 85725 w 682417"/>
              <a:gd name="connsiteY810" fmla="*/ 504602 h 798267"/>
              <a:gd name="connsiteX811" fmla="*/ 88363 w 682417"/>
              <a:gd name="connsiteY811" fmla="*/ 502697 h 798267"/>
              <a:gd name="connsiteX812" fmla="*/ 92173 w 682417"/>
              <a:gd name="connsiteY812" fmla="*/ 494058 h 798267"/>
              <a:gd name="connsiteX813" fmla="*/ 90268 w 682417"/>
              <a:gd name="connsiteY813" fmla="*/ 498373 h 798267"/>
              <a:gd name="connsiteX814" fmla="*/ 98346 w 682417"/>
              <a:gd name="connsiteY814" fmla="*/ 498592 h 798267"/>
              <a:gd name="connsiteX815" fmla="*/ 98155 w 682417"/>
              <a:gd name="connsiteY815" fmla="*/ 499716 h 798267"/>
              <a:gd name="connsiteX816" fmla="*/ 108918 w 682417"/>
              <a:gd name="connsiteY816" fmla="*/ 484152 h 798267"/>
              <a:gd name="connsiteX817" fmla="*/ 108737 w 682417"/>
              <a:gd name="connsiteY817" fmla="*/ 478323 h 798267"/>
              <a:gd name="connsiteX818" fmla="*/ 109490 w 682417"/>
              <a:gd name="connsiteY818" fmla="*/ 480771 h 798267"/>
              <a:gd name="connsiteX819" fmla="*/ 113252 w 682417"/>
              <a:gd name="connsiteY819" fmla="*/ 479094 h 798267"/>
              <a:gd name="connsiteX820" fmla="*/ 110633 w 682417"/>
              <a:gd name="connsiteY820" fmla="*/ 474008 h 798267"/>
              <a:gd name="connsiteX821" fmla="*/ 113652 w 682417"/>
              <a:gd name="connsiteY821" fmla="*/ 469884 h 798267"/>
              <a:gd name="connsiteX822" fmla="*/ 120987 w 682417"/>
              <a:gd name="connsiteY822" fmla="*/ 467655 h 798267"/>
              <a:gd name="connsiteX823" fmla="*/ 122158 w 682417"/>
              <a:gd name="connsiteY823" fmla="*/ 453939 h 798267"/>
              <a:gd name="connsiteX824" fmla="*/ 129892 w 682417"/>
              <a:gd name="connsiteY824" fmla="*/ 442509 h 798267"/>
              <a:gd name="connsiteX825" fmla="*/ 133274 w 682417"/>
              <a:gd name="connsiteY825" fmla="*/ 443080 h 798267"/>
              <a:gd name="connsiteX826" fmla="*/ 130845 w 682417"/>
              <a:gd name="connsiteY826" fmla="*/ 436880 h 798267"/>
              <a:gd name="connsiteX827" fmla="*/ 134655 w 682417"/>
              <a:gd name="connsiteY827" fmla="*/ 435194 h 798267"/>
              <a:gd name="connsiteX828" fmla="*/ 134864 w 682417"/>
              <a:gd name="connsiteY828" fmla="*/ 427117 h 798267"/>
              <a:gd name="connsiteX829" fmla="*/ 137122 w 682417"/>
              <a:gd name="connsiteY829" fmla="*/ 427498 h 798267"/>
              <a:gd name="connsiteX830" fmla="*/ 135626 w 682417"/>
              <a:gd name="connsiteY830" fmla="*/ 422611 h 798267"/>
              <a:gd name="connsiteX831" fmla="*/ 139189 w 682417"/>
              <a:gd name="connsiteY831" fmla="*/ 422049 h 798267"/>
              <a:gd name="connsiteX832" fmla="*/ 142046 w 682417"/>
              <a:gd name="connsiteY832" fmla="*/ 426002 h 798267"/>
              <a:gd name="connsiteX833" fmla="*/ 145618 w 682417"/>
              <a:gd name="connsiteY833" fmla="*/ 425450 h 798267"/>
              <a:gd name="connsiteX834" fmla="*/ 140360 w 682417"/>
              <a:gd name="connsiteY834" fmla="*/ 422240 h 798267"/>
              <a:gd name="connsiteX835" fmla="*/ 138322 w 682417"/>
              <a:gd name="connsiteY835" fmla="*/ 413782 h 798267"/>
              <a:gd name="connsiteX836" fmla="*/ 143208 w 682417"/>
              <a:gd name="connsiteY836" fmla="*/ 412296 h 798267"/>
              <a:gd name="connsiteX837" fmla="*/ 143608 w 682417"/>
              <a:gd name="connsiteY837" fmla="*/ 403085 h 798267"/>
              <a:gd name="connsiteX838" fmla="*/ 146056 w 682417"/>
              <a:gd name="connsiteY838" fmla="*/ 402342 h 798267"/>
              <a:gd name="connsiteX839" fmla="*/ 145485 w 682417"/>
              <a:gd name="connsiteY839" fmla="*/ 405723 h 798267"/>
              <a:gd name="connsiteX840" fmla="*/ 147171 w 682417"/>
              <a:gd name="connsiteY840" fmla="*/ 409486 h 798267"/>
              <a:gd name="connsiteX841" fmla="*/ 152629 w 682417"/>
              <a:gd name="connsiteY841" fmla="*/ 404618 h 798267"/>
              <a:gd name="connsiteX842" fmla="*/ 151469 w 682417"/>
              <a:gd name="connsiteY842" fmla="*/ 403454 h 798267"/>
              <a:gd name="connsiteX843" fmla="*/ 150371 w 682417"/>
              <a:gd name="connsiteY843" fmla="*/ 404228 h 798267"/>
              <a:gd name="connsiteX844" fmla="*/ 154181 w 682417"/>
              <a:gd name="connsiteY844" fmla="*/ 395598 h 798267"/>
              <a:gd name="connsiteX845" fmla="*/ 159268 w 682417"/>
              <a:gd name="connsiteY845" fmla="*/ 392988 h 798267"/>
              <a:gd name="connsiteX846" fmla="*/ 162258 w 682417"/>
              <a:gd name="connsiteY846" fmla="*/ 395846 h 798267"/>
              <a:gd name="connsiteX847" fmla="*/ 169050 w 682417"/>
              <a:gd name="connsiteY847" fmla="*/ 390045 h 798267"/>
              <a:gd name="connsiteX848" fmla="*/ 167402 w 682417"/>
              <a:gd name="connsiteY848" fmla="*/ 372376 h 798267"/>
              <a:gd name="connsiteX849" fmla="*/ 172107 w 682417"/>
              <a:gd name="connsiteY849" fmla="*/ 372014 h 798267"/>
              <a:gd name="connsiteX850" fmla="*/ 173460 w 682417"/>
              <a:gd name="connsiteY850" fmla="*/ 357174 h 798267"/>
              <a:gd name="connsiteX851" fmla="*/ 175717 w 682417"/>
              <a:gd name="connsiteY851" fmla="*/ 357555 h 798267"/>
              <a:gd name="connsiteX852" fmla="*/ 175355 w 682417"/>
              <a:gd name="connsiteY852" fmla="*/ 352860 h 798267"/>
              <a:gd name="connsiteX853" fmla="*/ 182309 w 682417"/>
              <a:gd name="connsiteY853" fmla="*/ 352860 h 798267"/>
              <a:gd name="connsiteX854" fmla="*/ 183261 w 682417"/>
              <a:gd name="connsiteY854" fmla="*/ 347221 h 798267"/>
              <a:gd name="connsiteX855" fmla="*/ 188157 w 682417"/>
              <a:gd name="connsiteY855" fmla="*/ 345735 h 798267"/>
              <a:gd name="connsiteX856" fmla="*/ 193234 w 682417"/>
              <a:gd name="connsiteY856" fmla="*/ 343116 h 798267"/>
              <a:gd name="connsiteX857" fmla="*/ 196634 w 682417"/>
              <a:gd name="connsiteY857" fmla="*/ 336743 h 798267"/>
              <a:gd name="connsiteX858" fmla="*/ 201330 w 682417"/>
              <a:gd name="connsiteY858" fmla="*/ 336381 h 798267"/>
              <a:gd name="connsiteX859" fmla="*/ 199654 w 682417"/>
              <a:gd name="connsiteY859" fmla="*/ 332619 h 798267"/>
              <a:gd name="connsiteX860" fmla="*/ 202282 w 682417"/>
              <a:gd name="connsiteY860" fmla="*/ 330714 h 798267"/>
              <a:gd name="connsiteX861" fmla="*/ 198168 w 682417"/>
              <a:gd name="connsiteY861" fmla="*/ 327695 h 798267"/>
              <a:gd name="connsiteX862" fmla="*/ 199863 w 682417"/>
              <a:gd name="connsiteY862" fmla="*/ 324504 h 798267"/>
              <a:gd name="connsiteX863" fmla="*/ 198911 w 682417"/>
              <a:gd name="connsiteY863" fmla="*/ 323189 h 798267"/>
              <a:gd name="connsiteX864" fmla="*/ 200997 w 682417"/>
              <a:gd name="connsiteY864" fmla="*/ 317750 h 798267"/>
              <a:gd name="connsiteX865" fmla="*/ 201739 w 682417"/>
              <a:gd name="connsiteY865" fmla="*/ 320189 h 798267"/>
              <a:gd name="connsiteX866" fmla="*/ 209645 w 682417"/>
              <a:gd name="connsiteY866" fmla="*/ 314579 h 798267"/>
              <a:gd name="connsiteX867" fmla="*/ 214160 w 682417"/>
              <a:gd name="connsiteY867" fmla="*/ 315341 h 798267"/>
              <a:gd name="connsiteX868" fmla="*/ 215856 w 682417"/>
              <a:gd name="connsiteY868" fmla="*/ 312150 h 798267"/>
              <a:gd name="connsiteX869" fmla="*/ 218103 w 682417"/>
              <a:gd name="connsiteY869" fmla="*/ 312531 h 798267"/>
              <a:gd name="connsiteX870" fmla="*/ 219808 w 682417"/>
              <a:gd name="connsiteY870" fmla="*/ 309340 h 798267"/>
              <a:gd name="connsiteX871" fmla="*/ 223771 w 682417"/>
              <a:gd name="connsiteY871" fmla="*/ 306540 h 798267"/>
              <a:gd name="connsiteX872" fmla="*/ 229210 w 682417"/>
              <a:gd name="connsiteY872" fmla="*/ 308626 h 798267"/>
              <a:gd name="connsiteX873" fmla="*/ 234096 w 682417"/>
              <a:gd name="connsiteY873" fmla="*/ 307130 h 798267"/>
              <a:gd name="connsiteX874" fmla="*/ 237306 w 682417"/>
              <a:gd name="connsiteY874" fmla="*/ 301882 h 798267"/>
              <a:gd name="connsiteX875" fmla="*/ 234315 w 682417"/>
              <a:gd name="connsiteY875" fmla="*/ 299024 h 798267"/>
              <a:gd name="connsiteX876" fmla="*/ 235629 w 682417"/>
              <a:gd name="connsiteY876" fmla="*/ 298072 h 798267"/>
              <a:gd name="connsiteX877" fmla="*/ 233724 w 682417"/>
              <a:gd name="connsiteY877" fmla="*/ 295433 h 798267"/>
              <a:gd name="connsiteX878" fmla="*/ 234305 w 682417"/>
              <a:gd name="connsiteY878" fmla="*/ 292052 h 798267"/>
              <a:gd name="connsiteX879" fmla="*/ 233934 w 682417"/>
              <a:gd name="connsiteY879" fmla="*/ 287356 h 798267"/>
              <a:gd name="connsiteX880" fmla="*/ 235258 w 682417"/>
              <a:gd name="connsiteY880" fmla="*/ 286404 h 798267"/>
              <a:gd name="connsiteX881" fmla="*/ 238115 w 682417"/>
              <a:gd name="connsiteY881" fmla="*/ 283413 h 798267"/>
              <a:gd name="connsiteX882" fmla="*/ 237754 w 682417"/>
              <a:gd name="connsiteY882" fmla="*/ 278708 h 798267"/>
              <a:gd name="connsiteX883" fmla="*/ 242449 w 682417"/>
              <a:gd name="connsiteY883" fmla="*/ 278346 h 798267"/>
              <a:gd name="connsiteX884" fmla="*/ 243783 w 682417"/>
              <a:gd name="connsiteY884" fmla="*/ 270459 h 798267"/>
              <a:gd name="connsiteX885" fmla="*/ 250003 w 682417"/>
              <a:gd name="connsiteY885" fmla="*/ 268039 h 798267"/>
              <a:gd name="connsiteX886" fmla="*/ 252994 w 682417"/>
              <a:gd name="connsiteY886" fmla="*/ 270897 h 798267"/>
              <a:gd name="connsiteX887" fmla="*/ 255270 w 682417"/>
              <a:gd name="connsiteY887" fmla="*/ 264334 h 798267"/>
              <a:gd name="connsiteX888" fmla="*/ 263328 w 682417"/>
              <a:gd name="connsiteY888" fmla="*/ 271488 h 798267"/>
              <a:gd name="connsiteX889" fmla="*/ 265967 w 682417"/>
              <a:gd name="connsiteY889" fmla="*/ 269583 h 798267"/>
              <a:gd name="connsiteX890" fmla="*/ 261842 w 682417"/>
              <a:gd name="connsiteY890" fmla="*/ 266563 h 798267"/>
              <a:gd name="connsiteX891" fmla="*/ 262614 w 682417"/>
              <a:gd name="connsiteY891" fmla="*/ 255133 h 798267"/>
              <a:gd name="connsiteX892" fmla="*/ 266195 w 682417"/>
              <a:gd name="connsiteY892" fmla="*/ 254581 h 798267"/>
              <a:gd name="connsiteX893" fmla="*/ 271853 w 682417"/>
              <a:gd name="connsiteY893" fmla="*/ 248580 h 798267"/>
              <a:gd name="connsiteX894" fmla="*/ 271301 w 682417"/>
              <a:gd name="connsiteY894" fmla="*/ 245008 h 798267"/>
              <a:gd name="connsiteX895" fmla="*/ 278054 w 682417"/>
              <a:gd name="connsiteY895" fmla="*/ 246161 h 798267"/>
              <a:gd name="connsiteX896" fmla="*/ 275196 w 682417"/>
              <a:gd name="connsiteY896" fmla="*/ 242208 h 798267"/>
              <a:gd name="connsiteX897" fmla="*/ 283855 w 682417"/>
              <a:gd name="connsiteY897" fmla="*/ 239036 h 798267"/>
              <a:gd name="connsiteX898" fmla="*/ 283683 w 682417"/>
              <a:gd name="connsiteY898" fmla="*/ 233207 h 798267"/>
              <a:gd name="connsiteX899" fmla="*/ 288379 w 682417"/>
              <a:gd name="connsiteY899" fmla="*/ 232845 h 798267"/>
              <a:gd name="connsiteX900" fmla="*/ 291589 w 682417"/>
              <a:gd name="connsiteY900" fmla="*/ 227596 h 798267"/>
              <a:gd name="connsiteX901" fmla="*/ 293656 w 682417"/>
              <a:gd name="connsiteY901" fmla="*/ 229101 h 798267"/>
              <a:gd name="connsiteX902" fmla="*/ 302504 w 682417"/>
              <a:gd name="connsiteY902" fmla="*/ 224806 h 798267"/>
              <a:gd name="connsiteX903" fmla="*/ 303457 w 682417"/>
              <a:gd name="connsiteY903" fmla="*/ 219176 h 798267"/>
              <a:gd name="connsiteX904" fmla="*/ 305714 w 682417"/>
              <a:gd name="connsiteY904" fmla="*/ 219557 h 798267"/>
              <a:gd name="connsiteX905" fmla="*/ 306095 w 682417"/>
              <a:gd name="connsiteY905" fmla="*/ 217300 h 798267"/>
              <a:gd name="connsiteX906" fmla="*/ 308343 w 682417"/>
              <a:gd name="connsiteY906" fmla="*/ 217681 h 798267"/>
              <a:gd name="connsiteX907" fmla="*/ 311363 w 682417"/>
              <a:gd name="connsiteY907" fmla="*/ 213556 h 798267"/>
              <a:gd name="connsiteX908" fmla="*/ 312677 w 682417"/>
              <a:gd name="connsiteY908" fmla="*/ 212604 h 798267"/>
              <a:gd name="connsiteX909" fmla="*/ 316240 w 682417"/>
              <a:gd name="connsiteY909" fmla="*/ 219005 h 798267"/>
              <a:gd name="connsiteX910" fmla="*/ 319421 w 682417"/>
              <a:gd name="connsiteY910" fmla="*/ 220710 h 798267"/>
              <a:gd name="connsiteX911" fmla="*/ 319040 w 682417"/>
              <a:gd name="connsiteY911" fmla="*/ 222958 h 798267"/>
              <a:gd name="connsiteX912" fmla="*/ 326174 w 682417"/>
              <a:gd name="connsiteY912" fmla="*/ 228806 h 798267"/>
              <a:gd name="connsiteX913" fmla="*/ 324107 w 682417"/>
              <a:gd name="connsiteY913" fmla="*/ 227301 h 798267"/>
              <a:gd name="connsiteX914" fmla="*/ 323364 w 682417"/>
              <a:gd name="connsiteY914" fmla="*/ 224853 h 798267"/>
              <a:gd name="connsiteX915" fmla="*/ 323574 w 682417"/>
              <a:gd name="connsiteY915" fmla="*/ 216776 h 798267"/>
              <a:gd name="connsiteX916" fmla="*/ 329584 w 682417"/>
              <a:gd name="connsiteY916" fmla="*/ 215471 h 798267"/>
              <a:gd name="connsiteX917" fmla="*/ 326231 w 682417"/>
              <a:gd name="connsiteY917" fmla="*/ 207946 h 798267"/>
              <a:gd name="connsiteX918" fmla="*/ 331670 w 682417"/>
              <a:gd name="connsiteY918" fmla="*/ 210032 h 798267"/>
              <a:gd name="connsiteX919" fmla="*/ 332813 w 682417"/>
              <a:gd name="connsiteY919" fmla="*/ 203269 h 798267"/>
              <a:gd name="connsiteX920" fmla="*/ 338452 w 682417"/>
              <a:gd name="connsiteY920" fmla="*/ 204222 h 798267"/>
              <a:gd name="connsiteX921" fmla="*/ 343529 w 682417"/>
              <a:gd name="connsiteY921" fmla="*/ 201612 h 798267"/>
              <a:gd name="connsiteX922" fmla="*/ 344481 w 682417"/>
              <a:gd name="connsiteY922" fmla="*/ 195973 h 798267"/>
              <a:gd name="connsiteX923" fmla="*/ 350691 w 682417"/>
              <a:gd name="connsiteY923" fmla="*/ 193554 h 798267"/>
              <a:gd name="connsiteX924" fmla="*/ 352368 w 682417"/>
              <a:gd name="connsiteY924" fmla="*/ 197316 h 798267"/>
              <a:gd name="connsiteX925" fmla="*/ 355368 w 682417"/>
              <a:gd name="connsiteY925" fmla="*/ 200174 h 798267"/>
              <a:gd name="connsiteX926" fmla="*/ 358578 w 682417"/>
              <a:gd name="connsiteY926" fmla="*/ 194926 h 798267"/>
              <a:gd name="connsiteX927" fmla="*/ 356511 w 682417"/>
              <a:gd name="connsiteY927" fmla="*/ 193421 h 798267"/>
              <a:gd name="connsiteX928" fmla="*/ 358416 w 682417"/>
              <a:gd name="connsiteY928" fmla="*/ 189106 h 798267"/>
              <a:gd name="connsiteX929" fmla="*/ 361036 w 682417"/>
              <a:gd name="connsiteY929" fmla="*/ 194183 h 798267"/>
              <a:gd name="connsiteX930" fmla="*/ 365169 w 682417"/>
              <a:gd name="connsiteY930" fmla="*/ 190249 h 798267"/>
              <a:gd name="connsiteX931" fmla="*/ 367979 w 682417"/>
              <a:gd name="connsiteY931" fmla="*/ 194202 h 798267"/>
              <a:gd name="connsiteX932" fmla="*/ 369494 w 682417"/>
              <a:gd name="connsiteY932" fmla="*/ 192144 h 798267"/>
              <a:gd name="connsiteX933" fmla="*/ 374571 w 682417"/>
              <a:gd name="connsiteY933" fmla="*/ 189525 h 798267"/>
              <a:gd name="connsiteX934" fmla="*/ 375314 w 682417"/>
              <a:gd name="connsiteY934" fmla="*/ 191973 h 798267"/>
              <a:gd name="connsiteX935" fmla="*/ 377571 w 682417"/>
              <a:gd name="connsiteY935" fmla="*/ 192354 h 798267"/>
              <a:gd name="connsiteX936" fmla="*/ 381743 w 682417"/>
              <a:gd name="connsiteY936" fmla="*/ 181467 h 798267"/>
              <a:gd name="connsiteX937" fmla="*/ 390363 w 682417"/>
              <a:gd name="connsiteY937" fmla="*/ 185277 h 798267"/>
              <a:gd name="connsiteX938" fmla="*/ 386972 w 682417"/>
              <a:gd name="connsiteY938" fmla="*/ 191659 h 798267"/>
              <a:gd name="connsiteX939" fmla="*/ 392811 w 682417"/>
              <a:gd name="connsiteY939" fmla="*/ 184534 h 798267"/>
              <a:gd name="connsiteX940" fmla="*/ 399936 w 682417"/>
              <a:gd name="connsiteY940" fmla="*/ 190373 h 798267"/>
              <a:gd name="connsiteX941" fmla="*/ 408061 w 682417"/>
              <a:gd name="connsiteY941" fmla="*/ 176685 h 798267"/>
              <a:gd name="connsiteX942" fmla="*/ 405203 w 682417"/>
              <a:gd name="connsiteY942" fmla="*/ 179676 h 798267"/>
              <a:gd name="connsiteX943" fmla="*/ 402346 w 682417"/>
              <a:gd name="connsiteY943" fmla="*/ 175723 h 798267"/>
              <a:gd name="connsiteX944" fmla="*/ 398412 w 682417"/>
              <a:gd name="connsiteY944" fmla="*/ 171580 h 798267"/>
              <a:gd name="connsiteX945" fmla="*/ 404232 w 682417"/>
              <a:gd name="connsiteY945" fmla="*/ 171408 h 798267"/>
              <a:gd name="connsiteX946" fmla="*/ 403679 w 682417"/>
              <a:gd name="connsiteY946" fmla="*/ 167836 h 798267"/>
              <a:gd name="connsiteX947" fmla="*/ 407641 w 682417"/>
              <a:gd name="connsiteY947" fmla="*/ 165036 h 798267"/>
              <a:gd name="connsiteX948" fmla="*/ 411785 w 682417"/>
              <a:gd name="connsiteY948" fmla="*/ 161093 h 798267"/>
              <a:gd name="connsiteX949" fmla="*/ 420253 w 682417"/>
              <a:gd name="connsiteY949" fmla="*/ 159054 h 798267"/>
              <a:gd name="connsiteX950" fmla="*/ 421015 w 682417"/>
              <a:gd name="connsiteY950" fmla="*/ 154549 h 798267"/>
              <a:gd name="connsiteX951" fmla="*/ 431349 w 682417"/>
              <a:gd name="connsiteY951" fmla="*/ 155140 h 798267"/>
              <a:gd name="connsiteX952" fmla="*/ 433626 w 682417"/>
              <a:gd name="connsiteY952" fmla="*/ 148577 h 798267"/>
              <a:gd name="connsiteX953" fmla="*/ 436483 w 682417"/>
              <a:gd name="connsiteY953" fmla="*/ 145577 h 798267"/>
              <a:gd name="connsiteX954" fmla="*/ 439865 w 682417"/>
              <a:gd name="connsiteY954" fmla="*/ 146148 h 798267"/>
              <a:gd name="connsiteX955" fmla="*/ 449837 w 682417"/>
              <a:gd name="connsiteY955" fmla="*/ 142043 h 798267"/>
              <a:gd name="connsiteX956" fmla="*/ 449066 w 682417"/>
              <a:gd name="connsiteY956" fmla="*/ 146548 h 798267"/>
              <a:gd name="connsiteX957" fmla="*/ 450771 w 682417"/>
              <a:gd name="connsiteY957" fmla="*/ 143367 h 798267"/>
              <a:gd name="connsiteX958" fmla="*/ 455466 w 682417"/>
              <a:gd name="connsiteY958" fmla="*/ 142995 h 798267"/>
              <a:gd name="connsiteX959" fmla="*/ 459810 w 682417"/>
              <a:gd name="connsiteY959" fmla="*/ 137938 h 798267"/>
              <a:gd name="connsiteX960" fmla="*/ 459810 w 682417"/>
              <a:gd name="connsiteY960" fmla="*/ 130984 h 798267"/>
              <a:gd name="connsiteX961" fmla="*/ 466573 w 682417"/>
              <a:gd name="connsiteY961" fmla="*/ 132127 h 798267"/>
              <a:gd name="connsiteX962" fmla="*/ 468649 w 682417"/>
              <a:gd name="connsiteY962" fmla="*/ 126688 h 798267"/>
              <a:gd name="connsiteX963" fmla="*/ 473907 w 682417"/>
              <a:gd name="connsiteY963" fmla="*/ 129898 h 798267"/>
              <a:gd name="connsiteX964" fmla="*/ 472602 w 682417"/>
              <a:gd name="connsiteY964" fmla="*/ 123879 h 798267"/>
              <a:gd name="connsiteX965" fmla="*/ 474669 w 682417"/>
              <a:gd name="connsiteY965" fmla="*/ 125393 h 798267"/>
              <a:gd name="connsiteX966" fmla="*/ 481641 w 682417"/>
              <a:gd name="connsiteY966" fmla="*/ 118459 h 798267"/>
              <a:gd name="connsiteX967" fmla="*/ 484832 w 682417"/>
              <a:gd name="connsiteY967" fmla="*/ 120164 h 798267"/>
              <a:gd name="connsiteX968" fmla="*/ 486537 w 682417"/>
              <a:gd name="connsiteY968" fmla="*/ 116973 h 798267"/>
              <a:gd name="connsiteX969" fmla="*/ 492928 w 682417"/>
              <a:gd name="connsiteY969" fmla="*/ 113420 h 798267"/>
              <a:gd name="connsiteX970" fmla="*/ 496119 w 682417"/>
              <a:gd name="connsiteY970" fmla="*/ 115116 h 798267"/>
              <a:gd name="connsiteX971" fmla="*/ 499339 w 682417"/>
              <a:gd name="connsiteY971" fmla="*/ 109867 h 798267"/>
              <a:gd name="connsiteX972" fmla="*/ 503091 w 682417"/>
              <a:gd name="connsiteY972" fmla="*/ 108191 h 798267"/>
              <a:gd name="connsiteX973" fmla="*/ 505730 w 682417"/>
              <a:gd name="connsiteY973" fmla="*/ 106286 h 798267"/>
              <a:gd name="connsiteX974" fmla="*/ 508587 w 682417"/>
              <a:gd name="connsiteY974" fmla="*/ 110239 h 798267"/>
              <a:gd name="connsiteX975" fmla="*/ 514979 w 682417"/>
              <a:gd name="connsiteY975" fmla="*/ 106686 h 798267"/>
              <a:gd name="connsiteX976" fmla="*/ 525313 w 682417"/>
              <a:gd name="connsiteY976" fmla="*/ 107286 h 798267"/>
              <a:gd name="connsiteX977" fmla="*/ 519293 w 682417"/>
              <a:gd name="connsiteY977" fmla="*/ 108581 h 798267"/>
              <a:gd name="connsiteX978" fmla="*/ 527552 w 682417"/>
              <a:gd name="connsiteY978" fmla="*/ 114620 h 798267"/>
              <a:gd name="connsiteX979" fmla="*/ 531505 w 682417"/>
              <a:gd name="connsiteY979" fmla="*/ 111810 h 798267"/>
              <a:gd name="connsiteX980" fmla="*/ 536572 w 682417"/>
              <a:gd name="connsiteY980" fmla="*/ 116144 h 798267"/>
              <a:gd name="connsiteX981" fmla="*/ 542963 w 682417"/>
              <a:gd name="connsiteY981" fmla="*/ 112591 h 798267"/>
              <a:gd name="connsiteX982" fmla="*/ 540182 w 682417"/>
              <a:gd name="connsiteY982" fmla="*/ 101685 h 798267"/>
              <a:gd name="connsiteX983" fmla="*/ 544306 w 682417"/>
              <a:gd name="connsiteY983" fmla="*/ 104705 h 798267"/>
              <a:gd name="connsiteX984" fmla="*/ 547164 w 682417"/>
              <a:gd name="connsiteY984" fmla="*/ 101714 h 798267"/>
              <a:gd name="connsiteX985" fmla="*/ 544925 w 682417"/>
              <a:gd name="connsiteY985" fmla="*/ 94370 h 798267"/>
              <a:gd name="connsiteX986" fmla="*/ 553002 w 682417"/>
              <a:gd name="connsiteY986" fmla="*/ 94580 h 798267"/>
              <a:gd name="connsiteX987" fmla="*/ 556965 w 682417"/>
              <a:gd name="connsiteY987" fmla="*/ 91779 h 798267"/>
              <a:gd name="connsiteX988" fmla="*/ 548878 w 682417"/>
              <a:gd name="connsiteY988" fmla="*/ 91570 h 798267"/>
              <a:gd name="connsiteX989" fmla="*/ 542696 w 682417"/>
              <a:gd name="connsiteY989" fmla="*/ 87036 h 798267"/>
              <a:gd name="connsiteX990" fmla="*/ 541182 w 682417"/>
              <a:gd name="connsiteY990" fmla="*/ 89103 h 798267"/>
              <a:gd name="connsiteX991" fmla="*/ 535543 w 682417"/>
              <a:gd name="connsiteY991" fmla="*/ 88150 h 798267"/>
              <a:gd name="connsiteX992" fmla="*/ 529361 w 682417"/>
              <a:gd name="connsiteY992" fmla="*/ 83616 h 798267"/>
              <a:gd name="connsiteX993" fmla="*/ 519770 w 682417"/>
              <a:gd name="connsiteY993" fmla="*/ 85521 h 798267"/>
              <a:gd name="connsiteX994" fmla="*/ 514521 w 682417"/>
              <a:gd name="connsiteY994" fmla="*/ 82302 h 798267"/>
              <a:gd name="connsiteX995" fmla="*/ 499491 w 682417"/>
              <a:gd name="connsiteY995" fmla="*/ 82073 h 798267"/>
              <a:gd name="connsiteX996" fmla="*/ 498929 w 682417"/>
              <a:gd name="connsiteY996" fmla="*/ 78502 h 798267"/>
              <a:gd name="connsiteX997" fmla="*/ 494976 w 682417"/>
              <a:gd name="connsiteY997" fmla="*/ 81359 h 798267"/>
              <a:gd name="connsiteX998" fmla="*/ 490852 w 682417"/>
              <a:gd name="connsiteY998" fmla="*/ 78340 h 798267"/>
              <a:gd name="connsiteX999" fmla="*/ 478469 w 682417"/>
              <a:gd name="connsiteY999" fmla="*/ 83188 h 798267"/>
              <a:gd name="connsiteX1000" fmla="*/ 474155 w 682417"/>
              <a:gd name="connsiteY1000" fmla="*/ 81283 h 798267"/>
              <a:gd name="connsiteX1001" fmla="*/ 475298 w 682417"/>
              <a:gd name="connsiteY1001" fmla="*/ 74530 h 798267"/>
              <a:gd name="connsiteX1002" fmla="*/ 469087 w 682417"/>
              <a:gd name="connsiteY1002" fmla="*/ 76949 h 798267"/>
              <a:gd name="connsiteX1003" fmla="*/ 464772 w 682417"/>
              <a:gd name="connsiteY1003" fmla="*/ 75044 h 798267"/>
              <a:gd name="connsiteX1004" fmla="*/ 459877 w 682417"/>
              <a:gd name="connsiteY1004" fmla="*/ 76530 h 798267"/>
              <a:gd name="connsiteX1005" fmla="*/ 460648 w 682417"/>
              <a:gd name="connsiteY1005" fmla="*/ 72025 h 798267"/>
              <a:gd name="connsiteX1006" fmla="*/ 456695 w 682417"/>
              <a:gd name="connsiteY1006" fmla="*/ 74834 h 798267"/>
              <a:gd name="connsiteX1007" fmla="*/ 440369 w 682417"/>
              <a:gd name="connsiteY1007" fmla="*/ 68586 h 798267"/>
              <a:gd name="connsiteX1008" fmla="*/ 426463 w 682417"/>
              <a:gd name="connsiteY1008" fmla="*/ 68538 h 798267"/>
              <a:gd name="connsiteX1009" fmla="*/ 421586 w 682417"/>
              <a:gd name="connsiteY1009" fmla="*/ 63081 h 798267"/>
              <a:gd name="connsiteX1010" fmla="*/ 415385 w 682417"/>
              <a:gd name="connsiteY1010" fmla="*/ 65500 h 798267"/>
              <a:gd name="connsiteX1011" fmla="*/ 410518 w 682417"/>
              <a:gd name="connsiteY1011" fmla="*/ 60033 h 798267"/>
              <a:gd name="connsiteX1012" fmla="*/ 410870 w 682417"/>
              <a:gd name="connsiteY1012" fmla="*/ 64738 h 798267"/>
              <a:gd name="connsiteX1013" fmla="*/ 408242 w 682417"/>
              <a:gd name="connsiteY1013" fmla="*/ 66643 h 798267"/>
              <a:gd name="connsiteX1014" fmla="*/ 400545 w 682417"/>
              <a:gd name="connsiteY1014" fmla="*/ 64185 h 798267"/>
              <a:gd name="connsiteX1015" fmla="*/ 396221 w 682417"/>
              <a:gd name="connsiteY1015" fmla="*/ 62280 h 798267"/>
              <a:gd name="connsiteX1016" fmla="*/ 398288 w 682417"/>
              <a:gd name="connsiteY1016" fmla="*/ 63785 h 798267"/>
              <a:gd name="connsiteX1017" fmla="*/ 393202 w 682417"/>
              <a:gd name="connsiteY1017" fmla="*/ 66405 h 798267"/>
              <a:gd name="connsiteX1018" fmla="*/ 386448 w 682417"/>
              <a:gd name="connsiteY1018" fmla="*/ 65252 h 798267"/>
              <a:gd name="connsiteX1019" fmla="*/ 387020 w 682417"/>
              <a:gd name="connsiteY1019" fmla="*/ 61880 h 798267"/>
              <a:gd name="connsiteX1020" fmla="*/ 379495 w 682417"/>
              <a:gd name="connsiteY1020" fmla="*/ 65233 h 798267"/>
              <a:gd name="connsiteX1021" fmla="*/ 371608 w 682417"/>
              <a:gd name="connsiteY1021" fmla="*/ 63900 h 798267"/>
              <a:gd name="connsiteX1022" fmla="*/ 368437 w 682417"/>
              <a:gd name="connsiteY1022" fmla="*/ 55251 h 798267"/>
              <a:gd name="connsiteX1023" fmla="*/ 365970 w 682417"/>
              <a:gd name="connsiteY1023" fmla="*/ 62938 h 798267"/>
              <a:gd name="connsiteX1024" fmla="*/ 360150 w 682417"/>
              <a:gd name="connsiteY1024" fmla="*/ 63119 h 798267"/>
              <a:gd name="connsiteX1025" fmla="*/ 361464 w 682417"/>
              <a:gd name="connsiteY1025" fmla="*/ 62166 h 798267"/>
              <a:gd name="connsiteX1026" fmla="*/ 359969 w 682417"/>
              <a:gd name="connsiteY1026" fmla="*/ 57280 h 798267"/>
              <a:gd name="connsiteX1027" fmla="*/ 353568 w 682417"/>
              <a:gd name="connsiteY1027" fmla="*/ 60833 h 798267"/>
              <a:gd name="connsiteX1028" fmla="*/ 348129 w 682417"/>
              <a:gd name="connsiteY1028" fmla="*/ 58747 h 798267"/>
              <a:gd name="connsiteX1029" fmla="*/ 344919 w 682417"/>
              <a:gd name="connsiteY1029" fmla="*/ 63995 h 798267"/>
              <a:gd name="connsiteX1030" fmla="*/ 344176 w 682417"/>
              <a:gd name="connsiteY1030" fmla="*/ 61557 h 798267"/>
              <a:gd name="connsiteX1031" fmla="*/ 339290 w 682417"/>
              <a:gd name="connsiteY1031" fmla="*/ 63042 h 798267"/>
              <a:gd name="connsiteX1032" fmla="*/ 339671 w 682417"/>
              <a:gd name="connsiteY1032" fmla="*/ 60795 h 798267"/>
              <a:gd name="connsiteX1033" fmla="*/ 331394 w 682417"/>
              <a:gd name="connsiteY1033" fmla="*/ 61747 h 798267"/>
              <a:gd name="connsiteX1034" fmla="*/ 332908 w 682417"/>
              <a:gd name="connsiteY1034" fmla="*/ 59680 h 798267"/>
              <a:gd name="connsiteX1035" fmla="*/ 329336 w 682417"/>
              <a:gd name="connsiteY1035" fmla="*/ 60233 h 798267"/>
              <a:gd name="connsiteX1036" fmla="*/ 328032 w 682417"/>
              <a:gd name="connsiteY1036" fmla="*/ 54222 h 798267"/>
              <a:gd name="connsiteX1037" fmla="*/ 327079 w 682417"/>
              <a:gd name="connsiteY1037" fmla="*/ 52898 h 798267"/>
              <a:gd name="connsiteX1038" fmla="*/ 328574 w 682417"/>
              <a:gd name="connsiteY1038" fmla="*/ 50831 h 798267"/>
              <a:gd name="connsiteX1039" fmla="*/ 327841 w 682417"/>
              <a:gd name="connsiteY1039" fmla="*/ 48393 h 798267"/>
              <a:gd name="connsiteX1040" fmla="*/ 330279 w 682417"/>
              <a:gd name="connsiteY1040" fmla="*/ 47650 h 798267"/>
              <a:gd name="connsiteX1041" fmla="*/ 327660 w 682417"/>
              <a:gd name="connsiteY1041" fmla="*/ 42564 h 798267"/>
              <a:gd name="connsiteX1042" fmla="*/ 324288 w 682417"/>
              <a:gd name="connsiteY1042" fmla="*/ 41992 h 798267"/>
              <a:gd name="connsiteX1043" fmla="*/ 321821 w 682417"/>
              <a:gd name="connsiteY1043" fmla="*/ 49688 h 798267"/>
              <a:gd name="connsiteX1044" fmla="*/ 318821 w 682417"/>
              <a:gd name="connsiteY1044" fmla="*/ 46831 h 798267"/>
              <a:gd name="connsiteX1045" fmla="*/ 319183 w 682417"/>
              <a:gd name="connsiteY1045" fmla="*/ 51536 h 798267"/>
              <a:gd name="connsiteX1046" fmla="*/ 313382 w 682417"/>
              <a:gd name="connsiteY1046" fmla="*/ 44754 h 798267"/>
              <a:gd name="connsiteX1047" fmla="*/ 315830 w 682417"/>
              <a:gd name="connsiteY1047" fmla="*/ 44002 h 798267"/>
              <a:gd name="connsiteX1048" fmla="*/ 312630 w 682417"/>
              <a:gd name="connsiteY1048" fmla="*/ 42307 h 798267"/>
              <a:gd name="connsiteX1049" fmla="*/ 310953 w 682417"/>
              <a:gd name="connsiteY1049" fmla="*/ 38544 h 798267"/>
              <a:gd name="connsiteX1050" fmla="*/ 313420 w 682417"/>
              <a:gd name="connsiteY1050" fmla="*/ 30848 h 798267"/>
              <a:gd name="connsiteX1051" fmla="*/ 320183 w 682417"/>
              <a:gd name="connsiteY1051" fmla="*/ 31991 h 798267"/>
              <a:gd name="connsiteX1052" fmla="*/ 320535 w 682417"/>
              <a:gd name="connsiteY1052" fmla="*/ 36687 h 798267"/>
              <a:gd name="connsiteX1053" fmla="*/ 328070 w 682417"/>
              <a:gd name="connsiteY1053" fmla="*/ 33334 h 798267"/>
              <a:gd name="connsiteX1054" fmla="*/ 328841 w 682417"/>
              <a:gd name="connsiteY1054" fmla="*/ 28829 h 798267"/>
              <a:gd name="connsiteX1055" fmla="*/ 336166 w 682417"/>
              <a:gd name="connsiteY1055" fmla="*/ 26590 h 798267"/>
              <a:gd name="connsiteX1056" fmla="*/ 328089 w 682417"/>
              <a:gd name="connsiteY1056" fmla="*/ 26381 h 798267"/>
              <a:gd name="connsiteX1057" fmla="*/ 329603 w 682417"/>
              <a:gd name="connsiteY1057" fmla="*/ 24314 h 798267"/>
              <a:gd name="connsiteX1058" fmla="*/ 332623 w 682417"/>
              <a:gd name="connsiteY1058" fmla="*/ 20189 h 798267"/>
              <a:gd name="connsiteX1059" fmla="*/ 331870 w 682417"/>
              <a:gd name="connsiteY1059" fmla="*/ 17742 h 798267"/>
              <a:gd name="connsiteX1060" fmla="*/ 334509 w 682417"/>
              <a:gd name="connsiteY1060" fmla="*/ 15837 h 798267"/>
              <a:gd name="connsiteX1061" fmla="*/ 331327 w 682417"/>
              <a:gd name="connsiteY1061" fmla="*/ 14141 h 798267"/>
              <a:gd name="connsiteX1062" fmla="*/ 337147 w 682417"/>
              <a:gd name="connsiteY1062" fmla="*/ 13960 h 798267"/>
              <a:gd name="connsiteX1063" fmla="*/ 340004 w 682417"/>
              <a:gd name="connsiteY1063" fmla="*/ 10969 h 798267"/>
              <a:gd name="connsiteX1064" fmla="*/ 351844 w 682417"/>
              <a:gd name="connsiteY1064" fmla="*/ 9502 h 798267"/>
              <a:gd name="connsiteX1065" fmla="*/ 350891 w 682417"/>
              <a:gd name="connsiteY1065" fmla="*/ 15132 h 798267"/>
              <a:gd name="connsiteX1066" fmla="*/ 359159 w 682417"/>
              <a:gd name="connsiteY1066" fmla="*/ 14179 h 798267"/>
              <a:gd name="connsiteX1067" fmla="*/ 367808 w 682417"/>
              <a:gd name="connsiteY1067" fmla="*/ 11007 h 798267"/>
              <a:gd name="connsiteX1068" fmla="*/ 370427 w 682417"/>
              <a:gd name="connsiteY1068" fmla="*/ 16094 h 798267"/>
              <a:gd name="connsiteX1069" fmla="*/ 372866 w 682417"/>
              <a:gd name="connsiteY1069" fmla="*/ 15341 h 798267"/>
              <a:gd name="connsiteX1070" fmla="*/ 373075 w 682417"/>
              <a:gd name="connsiteY1070" fmla="*/ 7264 h 798267"/>
              <a:gd name="connsiteX1071" fmla="*/ 375933 w 682417"/>
              <a:gd name="connsiteY1071" fmla="*/ 11217 h 798267"/>
              <a:gd name="connsiteX1072" fmla="*/ 379895 w 682417"/>
              <a:gd name="connsiteY1072" fmla="*/ 8417 h 798267"/>
              <a:gd name="connsiteX1073" fmla="*/ 378762 w 682417"/>
              <a:gd name="connsiteY1073" fmla="*/ 8226 h 798267"/>
              <a:gd name="connsiteX1074" fmla="*/ 378601 w 682417"/>
              <a:gd name="connsiteY1074" fmla="*/ 509 h 798267"/>
              <a:gd name="connsiteX1075" fmla="*/ 378981 w 682417"/>
              <a:gd name="connsiteY1075" fmla="*/ 149 h 798267"/>
              <a:gd name="connsiteX1076" fmla="*/ 379343 w 682417"/>
              <a:gd name="connsiteY1076" fmla="*/ 4845 h 798267"/>
              <a:gd name="connsiteX1077" fmla="*/ 385353 w 682417"/>
              <a:gd name="connsiteY1077" fmla="*/ 3540 h 798267"/>
              <a:gd name="connsiteX1078" fmla="*/ 387420 w 682417"/>
              <a:gd name="connsiteY1078" fmla="*/ 5054 h 798267"/>
              <a:gd name="connsiteX1079" fmla="*/ 387591 w 682417"/>
              <a:gd name="connsiteY1079" fmla="*/ 10884 h 798267"/>
              <a:gd name="connsiteX1080" fmla="*/ 399793 w 682417"/>
              <a:gd name="connsiteY1080" fmla="*/ 14113 h 798267"/>
              <a:gd name="connsiteX1081" fmla="*/ 401869 w 682417"/>
              <a:gd name="connsiteY1081" fmla="*/ 8664 h 798267"/>
              <a:gd name="connsiteX1082" fmla="*/ 409575 w 682417"/>
              <a:gd name="connsiteY1082" fmla="*/ 11131 h 798267"/>
              <a:gd name="connsiteX1083" fmla="*/ 417652 w 682417"/>
              <a:gd name="connsiteY1083" fmla="*/ 11341 h 798267"/>
              <a:gd name="connsiteX1084" fmla="*/ 418605 w 682417"/>
              <a:gd name="connsiteY1084" fmla="*/ 12655 h 798267"/>
              <a:gd name="connsiteX1085" fmla="*/ 415966 w 682417"/>
              <a:gd name="connsiteY1085" fmla="*/ 14560 h 798267"/>
              <a:gd name="connsiteX1086" fmla="*/ 417262 w 682417"/>
              <a:gd name="connsiteY1086" fmla="*/ 20580 h 798267"/>
              <a:gd name="connsiteX1087" fmla="*/ 421630 w 682417"/>
              <a:gd name="connsiteY1087" fmla="*/ 21149 h 798267"/>
              <a:gd name="connsiteX1088" fmla="*/ 421767 w 682417"/>
              <a:gd name="connsiteY1088" fmla="*/ 21342 h 798267"/>
              <a:gd name="connsiteX1089" fmla="*/ 422922 w 682417"/>
              <a:gd name="connsiteY1089" fmla="*/ 20173 h 798267"/>
              <a:gd name="connsiteX1090" fmla="*/ 422148 w 682417"/>
              <a:gd name="connsiteY1090" fmla="*/ 19085 h 798267"/>
              <a:gd name="connsiteX1091" fmla="*/ 430416 w 682417"/>
              <a:gd name="connsiteY1091" fmla="*/ 18132 h 798267"/>
              <a:gd name="connsiteX1092" fmla="*/ 428911 w 682417"/>
              <a:gd name="connsiteY1092" fmla="*/ 20199 h 798267"/>
              <a:gd name="connsiteX1093" fmla="*/ 427215 w 682417"/>
              <a:gd name="connsiteY1093" fmla="*/ 23390 h 798267"/>
              <a:gd name="connsiteX1094" fmla="*/ 425891 w 682417"/>
              <a:gd name="connsiteY1094" fmla="*/ 24342 h 798267"/>
              <a:gd name="connsiteX1095" fmla="*/ 423624 w 682417"/>
              <a:gd name="connsiteY1095" fmla="*/ 30915 h 798267"/>
              <a:gd name="connsiteX1096" fmla="*/ 425853 w 682417"/>
              <a:gd name="connsiteY1096" fmla="*/ 38249 h 798267"/>
              <a:gd name="connsiteX1097" fmla="*/ 433378 w 682417"/>
              <a:gd name="connsiteY1097" fmla="*/ 34887 h 798267"/>
              <a:gd name="connsiteX1098" fmla="*/ 438817 w 682417"/>
              <a:gd name="connsiteY1098" fmla="*/ 36973 h 798267"/>
              <a:gd name="connsiteX1099" fmla="*/ 438417 w 682417"/>
              <a:gd name="connsiteY1099" fmla="*/ 46174 h 798267"/>
              <a:gd name="connsiteX1100" fmla="*/ 440322 w 682417"/>
              <a:gd name="connsiteY1100" fmla="*/ 41859 h 798267"/>
              <a:gd name="connsiteX1101" fmla="*/ 440512 w 682417"/>
              <a:gd name="connsiteY1101" fmla="*/ 40735 h 798267"/>
              <a:gd name="connsiteX1102" fmla="*/ 441855 w 682417"/>
              <a:gd name="connsiteY1102" fmla="*/ 32848 h 798267"/>
              <a:gd name="connsiteX1103" fmla="*/ 442598 w 682417"/>
              <a:gd name="connsiteY1103" fmla="*/ 35287 h 798267"/>
              <a:gd name="connsiteX1104" fmla="*/ 446913 w 682417"/>
              <a:gd name="connsiteY1104" fmla="*/ 37192 h 798267"/>
              <a:gd name="connsiteX1105" fmla="*/ 451247 w 682417"/>
              <a:gd name="connsiteY1105" fmla="*/ 32134 h 798267"/>
              <a:gd name="connsiteX1106" fmla="*/ 459515 w 682417"/>
              <a:gd name="connsiteY1106" fmla="*/ 31181 h 798267"/>
              <a:gd name="connsiteX1107" fmla="*/ 460077 w 682417"/>
              <a:gd name="connsiteY1107" fmla="*/ 34753 h 798267"/>
              <a:gd name="connsiteX1108" fmla="*/ 467773 w 682417"/>
              <a:gd name="connsiteY1108" fmla="*/ 37220 h 798267"/>
              <a:gd name="connsiteX1109" fmla="*/ 471707 w 682417"/>
              <a:gd name="connsiteY1109" fmla="*/ 41364 h 798267"/>
              <a:gd name="connsiteX1110" fmla="*/ 474155 w 682417"/>
              <a:gd name="connsiteY1110" fmla="*/ 40630 h 798267"/>
              <a:gd name="connsiteX1111" fmla="*/ 473974 w 682417"/>
              <a:gd name="connsiteY1111" fmla="*/ 34801 h 798267"/>
              <a:gd name="connsiteX1112" fmla="*/ 476974 w 682417"/>
              <a:gd name="connsiteY1112" fmla="*/ 37658 h 798267"/>
              <a:gd name="connsiteX1113" fmla="*/ 478660 w 682417"/>
              <a:gd name="connsiteY1113" fmla="*/ 41468 h 798267"/>
              <a:gd name="connsiteX1114" fmla="*/ 475078 w 682417"/>
              <a:gd name="connsiteY1114" fmla="*/ 42011 h 798267"/>
              <a:gd name="connsiteX1115" fmla="*/ 475440 w 682417"/>
              <a:gd name="connsiteY1115" fmla="*/ 46717 h 798267"/>
              <a:gd name="connsiteX1116" fmla="*/ 476955 w 682417"/>
              <a:gd name="connsiteY1116" fmla="*/ 44659 h 798267"/>
              <a:gd name="connsiteX1117" fmla="*/ 483718 w 682417"/>
              <a:gd name="connsiteY1117" fmla="*/ 45802 h 798267"/>
              <a:gd name="connsiteX1118" fmla="*/ 479593 w 682417"/>
              <a:gd name="connsiteY1118" fmla="*/ 42783 h 798267"/>
              <a:gd name="connsiteX1119" fmla="*/ 482060 w 682417"/>
              <a:gd name="connsiteY1119" fmla="*/ 35087 h 798267"/>
              <a:gd name="connsiteX1120" fmla="*/ 483737 w 682417"/>
              <a:gd name="connsiteY1120" fmla="*/ 38849 h 798267"/>
              <a:gd name="connsiteX1121" fmla="*/ 484689 w 682417"/>
              <a:gd name="connsiteY1121" fmla="*/ 33220 h 798267"/>
              <a:gd name="connsiteX1122" fmla="*/ 491842 w 682417"/>
              <a:gd name="connsiteY1122" fmla="*/ 32105 h 798267"/>
              <a:gd name="connsiteX1123" fmla="*/ 490890 w 682417"/>
              <a:gd name="connsiteY1123" fmla="*/ 37744 h 798267"/>
              <a:gd name="connsiteX1124" fmla="*/ 487128 w 682417"/>
              <a:gd name="connsiteY1124" fmla="*/ 39420 h 798267"/>
              <a:gd name="connsiteX1125" fmla="*/ 491642 w 682417"/>
              <a:gd name="connsiteY1125" fmla="*/ 40182 h 798267"/>
              <a:gd name="connsiteX1126" fmla="*/ 492595 w 682417"/>
              <a:gd name="connsiteY1126" fmla="*/ 41506 h 798267"/>
              <a:gd name="connsiteX1127" fmla="*/ 498986 w 682417"/>
              <a:gd name="connsiteY1127" fmla="*/ 37954 h 798267"/>
              <a:gd name="connsiteX1128" fmla="*/ 504615 w 682417"/>
              <a:gd name="connsiteY1128" fmla="*/ 38906 h 798267"/>
              <a:gd name="connsiteX1129" fmla="*/ 505177 w 682417"/>
              <a:gd name="connsiteY1129" fmla="*/ 42478 h 798267"/>
              <a:gd name="connsiteX1130" fmla="*/ 504806 w 682417"/>
              <a:gd name="connsiteY1130" fmla="*/ 37782 h 798267"/>
              <a:gd name="connsiteX1131" fmla="*/ 508387 w 682417"/>
              <a:gd name="connsiteY1131" fmla="*/ 37230 h 798267"/>
              <a:gd name="connsiteX1132" fmla="*/ 510292 w 682417"/>
              <a:gd name="connsiteY1132" fmla="*/ 32915 h 798267"/>
              <a:gd name="connsiteX1133" fmla="*/ 511969 w 682417"/>
              <a:gd name="connsiteY1133" fmla="*/ 36677 h 798267"/>
              <a:gd name="connsiteX1134" fmla="*/ 514045 w 682417"/>
              <a:gd name="connsiteY1134" fmla="*/ 31229 h 798267"/>
              <a:gd name="connsiteX1135" fmla="*/ 519684 w 682417"/>
              <a:gd name="connsiteY1135" fmla="*/ 32181 h 798267"/>
              <a:gd name="connsiteX1136" fmla="*/ 522303 w 682417"/>
              <a:gd name="connsiteY1136" fmla="*/ 37258 h 798267"/>
              <a:gd name="connsiteX1137" fmla="*/ 521541 w 682417"/>
              <a:gd name="connsiteY1137" fmla="*/ 41764 h 798267"/>
              <a:gd name="connsiteX1138" fmla="*/ 525656 w 682417"/>
              <a:gd name="connsiteY1138" fmla="*/ 44783 h 798267"/>
              <a:gd name="connsiteX1139" fmla="*/ 525275 w 682417"/>
              <a:gd name="connsiteY1139" fmla="*/ 47040 h 798267"/>
              <a:gd name="connsiteX1140" fmla="*/ 526599 w 682417"/>
              <a:gd name="connsiteY1140" fmla="*/ 46088 h 798267"/>
              <a:gd name="connsiteX1141" fmla="*/ 529971 w 682417"/>
              <a:gd name="connsiteY1141" fmla="*/ 46659 h 798267"/>
              <a:gd name="connsiteX1142" fmla="*/ 540858 w 682417"/>
              <a:gd name="connsiteY1142" fmla="*/ 50822 h 798267"/>
              <a:gd name="connsiteX1143" fmla="*/ 540858 w 682417"/>
              <a:gd name="connsiteY1143" fmla="*/ 43869 h 798267"/>
              <a:gd name="connsiteX1144" fmla="*/ 547078 w 682417"/>
              <a:gd name="connsiteY1144" fmla="*/ 41449 h 798267"/>
              <a:gd name="connsiteX1145" fmla="*/ 551193 w 682417"/>
              <a:gd name="connsiteY1145" fmla="*/ 44469 h 798267"/>
              <a:gd name="connsiteX1146" fmla="*/ 554212 w 682417"/>
              <a:gd name="connsiteY1146" fmla="*/ 40335 h 798267"/>
              <a:gd name="connsiteX1147" fmla="*/ 556470 w 682417"/>
              <a:gd name="connsiteY1147" fmla="*/ 40725 h 798267"/>
              <a:gd name="connsiteX1148" fmla="*/ 562127 w 682417"/>
              <a:gd name="connsiteY1148" fmla="*/ 34725 h 798267"/>
              <a:gd name="connsiteX1149" fmla="*/ 563080 w 682417"/>
              <a:gd name="connsiteY1149" fmla="*/ 42992 h 798267"/>
              <a:gd name="connsiteX1150" fmla="*/ 564985 w 682417"/>
              <a:gd name="connsiteY1150" fmla="*/ 38677 h 798267"/>
              <a:gd name="connsiteX1151" fmla="*/ 568376 w 682417"/>
              <a:gd name="connsiteY1151" fmla="*/ 39249 h 798267"/>
              <a:gd name="connsiteX1152" fmla="*/ 573624 w 682417"/>
              <a:gd name="connsiteY1152" fmla="*/ 42468 h 798267"/>
              <a:gd name="connsiteX1153" fmla="*/ 571538 w 682417"/>
              <a:gd name="connsiteY1153" fmla="*/ 47907 h 798267"/>
              <a:gd name="connsiteX1154" fmla="*/ 574920 w 682417"/>
              <a:gd name="connsiteY1154" fmla="*/ 48479 h 798267"/>
              <a:gd name="connsiteX1155" fmla="*/ 577920 w 682417"/>
              <a:gd name="connsiteY1155" fmla="*/ 51336 h 798267"/>
              <a:gd name="connsiteX1156" fmla="*/ 576967 w 682417"/>
              <a:gd name="connsiteY1156" fmla="*/ 56975 h 798267"/>
              <a:gd name="connsiteX1157" fmla="*/ 579977 w 682417"/>
              <a:gd name="connsiteY1157" fmla="*/ 52851 h 798267"/>
              <a:gd name="connsiteX1158" fmla="*/ 580530 w 682417"/>
              <a:gd name="connsiteY1158" fmla="*/ 56413 h 798267"/>
              <a:gd name="connsiteX1159" fmla="*/ 584492 w 682417"/>
              <a:gd name="connsiteY1159" fmla="*/ 53613 h 798267"/>
              <a:gd name="connsiteX1160" fmla="*/ 587121 w 682417"/>
              <a:gd name="connsiteY1160" fmla="*/ 51708 h 798267"/>
              <a:gd name="connsiteX1161" fmla="*/ 589931 w 682417"/>
              <a:gd name="connsiteY1161" fmla="*/ 55670 h 798267"/>
              <a:gd name="connsiteX1162" fmla="*/ 599523 w 682417"/>
              <a:gd name="connsiteY1162" fmla="*/ 53765 h 798267"/>
              <a:gd name="connsiteX1163" fmla="*/ 604771 w 682417"/>
              <a:gd name="connsiteY1163" fmla="*/ 56975 h 798267"/>
              <a:gd name="connsiteX1164" fmla="*/ 599670 w 682417"/>
              <a:gd name="connsiteY1164" fmla="*/ 57833 h 798267"/>
              <a:gd name="connsiteX1165" fmla="*/ 598942 w 682417"/>
              <a:gd name="connsiteY1165" fmla="*/ 57146 h 798267"/>
              <a:gd name="connsiteX1166" fmla="*/ 600627 w 682417"/>
              <a:gd name="connsiteY1166" fmla="*/ 60909 h 798267"/>
              <a:gd name="connsiteX1167" fmla="*/ 605333 w 682417"/>
              <a:gd name="connsiteY1167" fmla="*/ 60547 h 798267"/>
              <a:gd name="connsiteX1168" fmla="*/ 608190 w 682417"/>
              <a:gd name="connsiteY1168" fmla="*/ 57547 h 798267"/>
              <a:gd name="connsiteX1169" fmla="*/ 616058 w 682417"/>
              <a:gd name="connsiteY1169" fmla="*/ 65833 h 798267"/>
              <a:gd name="connsiteX1170" fmla="*/ 615515 w 682417"/>
              <a:gd name="connsiteY1170" fmla="*/ 62271 h 798267"/>
              <a:gd name="connsiteX1171" fmla="*/ 621887 w 682417"/>
              <a:gd name="connsiteY1171" fmla="*/ 65671 h 798267"/>
              <a:gd name="connsiteX1172" fmla="*/ 619839 w 682417"/>
              <a:gd name="connsiteY1172" fmla="*/ 57204 h 798267"/>
              <a:gd name="connsiteX1173" fmla="*/ 625278 w 682417"/>
              <a:gd name="connsiteY1173" fmla="*/ 59290 h 798267"/>
              <a:gd name="connsiteX1174" fmla="*/ 630927 w 682417"/>
              <a:gd name="connsiteY1174" fmla="*/ 60242 h 798267"/>
              <a:gd name="connsiteX1175" fmla="*/ 636365 w 682417"/>
              <a:gd name="connsiteY1175" fmla="*/ 62328 h 798267"/>
              <a:gd name="connsiteX1176" fmla="*/ 635803 w 682417"/>
              <a:gd name="connsiteY1176" fmla="*/ 58756 h 798267"/>
              <a:gd name="connsiteX1177" fmla="*/ 638813 w 682417"/>
              <a:gd name="connsiteY1177" fmla="*/ 61614 h 798267"/>
              <a:gd name="connsiteX1178" fmla="*/ 644643 w 682417"/>
              <a:gd name="connsiteY1178" fmla="*/ 61442 h 798267"/>
              <a:gd name="connsiteX1179" fmla="*/ 645214 w 682417"/>
              <a:gd name="connsiteY1179" fmla="*/ 58061 h 798267"/>
              <a:gd name="connsiteX1180" fmla="*/ 649719 w 682417"/>
              <a:gd name="connsiteY1180" fmla="*/ 58823 h 798267"/>
              <a:gd name="connsiteX1181" fmla="*/ 654606 w 682417"/>
              <a:gd name="connsiteY1181" fmla="*/ 57337 h 798267"/>
              <a:gd name="connsiteX1182" fmla="*/ 654968 w 682417"/>
              <a:gd name="connsiteY1182" fmla="*/ 62042 h 798267"/>
              <a:gd name="connsiteX1183" fmla="*/ 659730 w 682417"/>
              <a:gd name="connsiteY1183" fmla="*/ 54718 h 798267"/>
              <a:gd name="connsiteX1184" fmla="*/ 661787 w 682417"/>
              <a:gd name="connsiteY1184" fmla="*/ 56232 h 798267"/>
              <a:gd name="connsiteX1185" fmla="*/ 660283 w 682417"/>
              <a:gd name="connsiteY1185" fmla="*/ 58289 h 798267"/>
              <a:gd name="connsiteX1186" fmla="*/ 658197 w 682417"/>
              <a:gd name="connsiteY1186" fmla="*/ 63738 h 798267"/>
              <a:gd name="connsiteX1187" fmla="*/ 660264 w 682417"/>
              <a:gd name="connsiteY1187" fmla="*/ 65243 h 798267"/>
              <a:gd name="connsiteX1188" fmla="*/ 657625 w 682417"/>
              <a:gd name="connsiteY1188" fmla="*/ 67148 h 798267"/>
              <a:gd name="connsiteX1189" fmla="*/ 657987 w 682417"/>
              <a:gd name="connsiteY1189" fmla="*/ 71844 h 798267"/>
              <a:gd name="connsiteX1190" fmla="*/ 653663 w 682417"/>
              <a:gd name="connsiteY1190" fmla="*/ 69939 h 798267"/>
              <a:gd name="connsiteX1191" fmla="*/ 651605 w 682417"/>
              <a:gd name="connsiteY1191" fmla="*/ 68424 h 798267"/>
              <a:gd name="connsiteX1192" fmla="*/ 650462 w 682417"/>
              <a:gd name="connsiteY1192" fmla="*/ 75187 h 798267"/>
              <a:gd name="connsiteX1193" fmla="*/ 648014 w 682417"/>
              <a:gd name="connsiteY1193" fmla="*/ 75930 h 798267"/>
              <a:gd name="connsiteX1194" fmla="*/ 652329 w 682417"/>
              <a:gd name="connsiteY1194" fmla="*/ 77835 h 798267"/>
              <a:gd name="connsiteX1195" fmla="*/ 651948 w 682417"/>
              <a:gd name="connsiteY1195" fmla="*/ 80092 h 798267"/>
              <a:gd name="connsiteX1196" fmla="*/ 655501 w 682417"/>
              <a:gd name="connsiteY1196" fmla="*/ 86493 h 798267"/>
              <a:gd name="connsiteX1197" fmla="*/ 656073 w 682417"/>
              <a:gd name="connsiteY1197" fmla="*/ 83112 h 798267"/>
              <a:gd name="connsiteX1198" fmla="*/ 657025 w 682417"/>
              <a:gd name="connsiteY1198" fmla="*/ 84436 h 798267"/>
              <a:gd name="connsiteX1199" fmla="*/ 660778 w 682417"/>
              <a:gd name="connsiteY1199" fmla="*/ 82750 h 798267"/>
              <a:gd name="connsiteX1200" fmla="*/ 661330 w 682417"/>
              <a:gd name="connsiteY1200" fmla="*/ 86322 h 798267"/>
              <a:gd name="connsiteX1201" fmla="*/ 662845 w 682417"/>
              <a:gd name="connsiteY1201" fmla="*/ 84255 h 798267"/>
              <a:gd name="connsiteX1202" fmla="*/ 670379 w 682417"/>
              <a:gd name="connsiteY1202" fmla="*/ 80902 h 798267"/>
              <a:gd name="connsiteX1203" fmla="*/ 676008 w 682417"/>
              <a:gd name="connsiteY1203" fmla="*/ 81854 h 798267"/>
              <a:gd name="connsiteX1204" fmla="*/ 669798 w 682417"/>
              <a:gd name="connsiteY1204" fmla="*/ 84283 h 798267"/>
              <a:gd name="connsiteX1205" fmla="*/ 672598 w 682417"/>
              <a:gd name="connsiteY1205" fmla="*/ 88236 h 798267"/>
              <a:gd name="connsiteX1206" fmla="*/ 674284 w 682417"/>
              <a:gd name="connsiteY1206" fmla="*/ 91998 h 798267"/>
              <a:gd name="connsiteX1207" fmla="*/ 676370 w 682417"/>
              <a:gd name="connsiteY1207" fmla="*/ 86550 h 798267"/>
              <a:gd name="connsiteX1208" fmla="*/ 672951 w 682417"/>
              <a:gd name="connsiteY1208" fmla="*/ 99885 h 798267"/>
              <a:gd name="connsiteX1209" fmla="*/ 674408 w 682417"/>
              <a:gd name="connsiteY1209" fmla="*/ 111725 h 798267"/>
              <a:gd name="connsiteX1210" fmla="*/ 678218 w 682417"/>
              <a:gd name="connsiteY1210" fmla="*/ 110048 h 798267"/>
              <a:gd name="connsiteX1211" fmla="*/ 676513 w 682417"/>
              <a:gd name="connsiteY1211" fmla="*/ 113239 h 798267"/>
              <a:gd name="connsiteX1212" fmla="*/ 677847 w 682417"/>
              <a:gd name="connsiteY1212" fmla="*/ 116887 h 798267"/>
              <a:gd name="connsiteX1213" fmla="*/ 321974 w 682417"/>
              <a:gd name="connsiteY1213" fmla="*/ 41440 h 798267"/>
              <a:gd name="connsiteX1214" fmla="*/ 321974 w 682417"/>
              <a:gd name="connsiteY1214" fmla="*/ 41440 h 798267"/>
              <a:gd name="connsiteX1215" fmla="*/ 343881 w 682417"/>
              <a:gd name="connsiteY1215" fmla="*/ 15008 h 798267"/>
              <a:gd name="connsiteX1216" fmla="*/ 342567 w 682417"/>
              <a:gd name="connsiteY1216" fmla="*/ 15960 h 798267"/>
              <a:gd name="connsiteX1217" fmla="*/ 342186 w 682417"/>
              <a:gd name="connsiteY1217" fmla="*/ 18218 h 798267"/>
              <a:gd name="connsiteX1218" fmla="*/ 343843 w 682417"/>
              <a:gd name="connsiteY1218" fmla="*/ 15008 h 798267"/>
              <a:gd name="connsiteX1219" fmla="*/ 360588 w 682417"/>
              <a:gd name="connsiteY1219" fmla="*/ 25962 h 798267"/>
              <a:gd name="connsiteX1220" fmla="*/ 360207 w 682417"/>
              <a:gd name="connsiteY1220" fmla="*/ 28210 h 798267"/>
              <a:gd name="connsiteX1221" fmla="*/ 352482 w 682417"/>
              <a:gd name="connsiteY1221" fmla="*/ 32696 h 798267"/>
              <a:gd name="connsiteX1222" fmla="*/ 349625 w 682417"/>
              <a:gd name="connsiteY1222" fmla="*/ 28743 h 798267"/>
              <a:gd name="connsiteX1223" fmla="*/ 345119 w 682417"/>
              <a:gd name="connsiteY1223" fmla="*/ 27981 h 798267"/>
              <a:gd name="connsiteX1224" fmla="*/ 351111 w 682417"/>
              <a:gd name="connsiteY1224" fmla="*/ 33629 h 798267"/>
              <a:gd name="connsiteX1225" fmla="*/ 361083 w 682417"/>
              <a:gd name="connsiteY1225" fmla="*/ 29524 h 798267"/>
              <a:gd name="connsiteX1226" fmla="*/ 360550 w 682417"/>
              <a:gd name="connsiteY1226" fmla="*/ 25962 h 798267"/>
              <a:gd name="connsiteX1227" fmla="*/ 403060 w 682417"/>
              <a:gd name="connsiteY1227" fmla="*/ 21571 h 798267"/>
              <a:gd name="connsiteX1228" fmla="*/ 404012 w 682417"/>
              <a:gd name="connsiteY1228" fmla="*/ 22885 h 798267"/>
              <a:gd name="connsiteX1229" fmla="*/ 400460 w 682417"/>
              <a:gd name="connsiteY1229" fmla="*/ 16484 h 798267"/>
              <a:gd name="connsiteX1230" fmla="*/ 403022 w 682417"/>
              <a:gd name="connsiteY1230" fmla="*/ 21571 h 798267"/>
              <a:gd name="connsiteX1231" fmla="*/ 395745 w 682417"/>
              <a:gd name="connsiteY1231" fmla="*/ 16808 h 798267"/>
              <a:gd name="connsiteX1232" fmla="*/ 398002 w 682417"/>
              <a:gd name="connsiteY1232" fmla="*/ 17199 h 798267"/>
              <a:gd name="connsiteX1233" fmla="*/ 398383 w 682417"/>
              <a:gd name="connsiteY1233" fmla="*/ 14941 h 798267"/>
              <a:gd name="connsiteX1234" fmla="*/ 396126 w 682417"/>
              <a:gd name="connsiteY1234" fmla="*/ 14560 h 798267"/>
              <a:gd name="connsiteX1235" fmla="*/ 394983 w 682417"/>
              <a:gd name="connsiteY1235" fmla="*/ 21323 h 798267"/>
              <a:gd name="connsiteX1236" fmla="*/ 390858 w 682417"/>
              <a:gd name="connsiteY1236" fmla="*/ 18304 h 798267"/>
              <a:gd name="connsiteX1237" fmla="*/ 389534 w 682417"/>
              <a:gd name="connsiteY1237" fmla="*/ 19256 h 798267"/>
              <a:gd name="connsiteX1238" fmla="*/ 394945 w 682417"/>
              <a:gd name="connsiteY1238" fmla="*/ 21361 h 798267"/>
              <a:gd name="connsiteX1239" fmla="*/ 383553 w 682417"/>
              <a:gd name="connsiteY1239" fmla="*/ 20532 h 798267"/>
              <a:gd name="connsiteX1240" fmla="*/ 385239 w 682417"/>
              <a:gd name="connsiteY1240" fmla="*/ 24295 h 798267"/>
              <a:gd name="connsiteX1241" fmla="*/ 383477 w 682417"/>
              <a:gd name="connsiteY1241" fmla="*/ 20570 h 798267"/>
              <a:gd name="connsiteX1242" fmla="*/ 378495 w 682417"/>
              <a:gd name="connsiteY1242" fmla="*/ 16198 h 798267"/>
              <a:gd name="connsiteX1243" fmla="*/ 381495 w 682417"/>
              <a:gd name="connsiteY1243" fmla="*/ 19056 h 798267"/>
              <a:gd name="connsiteX1244" fmla="*/ 378419 w 682417"/>
              <a:gd name="connsiteY1244" fmla="*/ 16237 h 798267"/>
              <a:gd name="connsiteX1245" fmla="*/ 379800 w 682417"/>
              <a:gd name="connsiteY1245" fmla="*/ 22218 h 798267"/>
              <a:gd name="connsiteX1246" fmla="*/ 379228 w 682417"/>
              <a:gd name="connsiteY1246" fmla="*/ 25590 h 798267"/>
              <a:gd name="connsiteX1247" fmla="*/ 382086 w 682417"/>
              <a:gd name="connsiteY1247" fmla="*/ 22599 h 798267"/>
              <a:gd name="connsiteX1248" fmla="*/ 381248 w 682417"/>
              <a:gd name="connsiteY1248" fmla="*/ 41011 h 798267"/>
              <a:gd name="connsiteX1249" fmla="*/ 378990 w 682417"/>
              <a:gd name="connsiteY1249" fmla="*/ 40630 h 798267"/>
              <a:gd name="connsiteX1250" fmla="*/ 378600 w 682417"/>
              <a:gd name="connsiteY1250" fmla="*/ 42878 h 798267"/>
              <a:gd name="connsiteX1251" fmla="*/ 380857 w 682417"/>
              <a:gd name="connsiteY1251" fmla="*/ 43269 h 798267"/>
              <a:gd name="connsiteX1252" fmla="*/ 400574 w 682417"/>
              <a:gd name="connsiteY1252" fmla="*/ 50088 h 798267"/>
              <a:gd name="connsiteX1253" fmla="*/ 396764 w 682417"/>
              <a:gd name="connsiteY1253" fmla="*/ 51765 h 798267"/>
              <a:gd name="connsiteX1254" fmla="*/ 400507 w 682417"/>
              <a:gd name="connsiteY1254" fmla="*/ 50127 h 798267"/>
              <a:gd name="connsiteX1255" fmla="*/ 407156 w 682417"/>
              <a:gd name="connsiteY1255" fmla="*/ 45402 h 798267"/>
              <a:gd name="connsiteX1256" fmla="*/ 401888 w 682417"/>
              <a:gd name="connsiteY1256" fmla="*/ 49145 h 798267"/>
              <a:gd name="connsiteX1257" fmla="*/ 406394 w 682417"/>
              <a:gd name="connsiteY1257" fmla="*/ 49917 h 798267"/>
              <a:gd name="connsiteX1258" fmla="*/ 407079 w 682417"/>
              <a:gd name="connsiteY1258" fmla="*/ 45440 h 798267"/>
              <a:gd name="connsiteX1259" fmla="*/ 406270 w 682417"/>
              <a:gd name="connsiteY1259" fmla="*/ 30162 h 798267"/>
              <a:gd name="connsiteX1260" fmla="*/ 407775 w 682417"/>
              <a:gd name="connsiteY1260" fmla="*/ 28105 h 798267"/>
              <a:gd name="connsiteX1261" fmla="*/ 405717 w 682417"/>
              <a:gd name="connsiteY1261" fmla="*/ 26590 h 798267"/>
              <a:gd name="connsiteX1262" fmla="*/ 400822 w 682417"/>
              <a:gd name="connsiteY1262" fmla="*/ 28086 h 798267"/>
              <a:gd name="connsiteX1263" fmla="*/ 399307 w 682417"/>
              <a:gd name="connsiteY1263" fmla="*/ 30143 h 798267"/>
              <a:gd name="connsiteX1264" fmla="*/ 392001 w 682417"/>
              <a:gd name="connsiteY1264" fmla="*/ 25428 h 798267"/>
              <a:gd name="connsiteX1265" fmla="*/ 387658 w 682417"/>
              <a:gd name="connsiteY1265" fmla="*/ 30486 h 798267"/>
              <a:gd name="connsiteX1266" fmla="*/ 377523 w 682417"/>
              <a:gd name="connsiteY1266" fmla="*/ 28771 h 798267"/>
              <a:gd name="connsiteX1267" fmla="*/ 372056 w 682417"/>
              <a:gd name="connsiteY1267" fmla="*/ 33629 h 798267"/>
              <a:gd name="connsiteX1268" fmla="*/ 367741 w 682417"/>
              <a:gd name="connsiteY1268" fmla="*/ 31724 h 798267"/>
              <a:gd name="connsiteX1269" fmla="*/ 371675 w 682417"/>
              <a:gd name="connsiteY1269" fmla="*/ 35868 h 798267"/>
              <a:gd name="connsiteX1270" fmla="*/ 373351 w 682417"/>
              <a:gd name="connsiteY1270" fmla="*/ 39630 h 798267"/>
              <a:gd name="connsiteX1271" fmla="*/ 378628 w 682417"/>
              <a:gd name="connsiteY1271" fmla="*/ 35887 h 798267"/>
              <a:gd name="connsiteX1272" fmla="*/ 380686 w 682417"/>
              <a:gd name="connsiteY1272" fmla="*/ 37401 h 798267"/>
              <a:gd name="connsiteX1273" fmla="*/ 382200 w 682417"/>
              <a:gd name="connsiteY1273" fmla="*/ 35334 h 798267"/>
              <a:gd name="connsiteX1274" fmla="*/ 385582 w 682417"/>
              <a:gd name="connsiteY1274" fmla="*/ 35906 h 798267"/>
              <a:gd name="connsiteX1275" fmla="*/ 391382 w 682417"/>
              <a:gd name="connsiteY1275" fmla="*/ 42688 h 798267"/>
              <a:gd name="connsiteX1276" fmla="*/ 401164 w 682417"/>
              <a:gd name="connsiteY1276" fmla="*/ 39716 h 798267"/>
              <a:gd name="connsiteX1277" fmla="*/ 402307 w 682417"/>
              <a:gd name="connsiteY1277" fmla="*/ 32953 h 798267"/>
              <a:gd name="connsiteX1278" fmla="*/ 407175 w 682417"/>
              <a:gd name="connsiteY1278" fmla="*/ 38420 h 798267"/>
              <a:gd name="connsiteX1279" fmla="*/ 406222 w 682417"/>
              <a:gd name="connsiteY1279" fmla="*/ 30219 h 798267"/>
              <a:gd name="connsiteX1280" fmla="*/ 416404 w 682417"/>
              <a:gd name="connsiteY1280" fmla="*/ 31886 h 798267"/>
              <a:gd name="connsiteX1281" fmla="*/ 422043 w 682417"/>
              <a:gd name="connsiteY1281" fmla="*/ 32839 h 798267"/>
              <a:gd name="connsiteX1282" fmla="*/ 423948 w 682417"/>
              <a:gd name="connsiteY1282" fmla="*/ 28524 h 798267"/>
              <a:gd name="connsiteX1283" fmla="*/ 418128 w 682417"/>
              <a:gd name="connsiteY1283" fmla="*/ 28695 h 798267"/>
              <a:gd name="connsiteX1284" fmla="*/ 418836 w 682417"/>
              <a:gd name="connsiteY1284" fmla="*/ 30178 h 798267"/>
              <a:gd name="connsiteX1285" fmla="*/ 417738 w 682417"/>
              <a:gd name="connsiteY1285" fmla="*/ 30953 h 798267"/>
              <a:gd name="connsiteX1286" fmla="*/ 412290 w 682417"/>
              <a:gd name="connsiteY1286" fmla="*/ 28867 h 798267"/>
              <a:gd name="connsiteX1287" fmla="*/ 409289 w 682417"/>
              <a:gd name="connsiteY1287" fmla="*/ 26009 h 798267"/>
              <a:gd name="connsiteX1288" fmla="*/ 409842 w 682417"/>
              <a:gd name="connsiteY1288" fmla="*/ 29581 h 798267"/>
              <a:gd name="connsiteX1289" fmla="*/ 414528 w 682417"/>
              <a:gd name="connsiteY1289" fmla="*/ 36172 h 798267"/>
              <a:gd name="connsiteX1290" fmla="*/ 416328 w 682417"/>
              <a:gd name="connsiteY1290" fmla="*/ 31943 h 798267"/>
              <a:gd name="connsiteX1291" fmla="*/ 425587 w 682417"/>
              <a:gd name="connsiteY1291" fmla="*/ 39239 h 798267"/>
              <a:gd name="connsiteX1292" fmla="*/ 417700 w 682417"/>
              <a:gd name="connsiteY1292" fmla="*/ 37896 h 798267"/>
              <a:gd name="connsiteX1293" fmla="*/ 416747 w 682417"/>
              <a:gd name="connsiteY1293" fmla="*/ 43535 h 798267"/>
              <a:gd name="connsiteX1294" fmla="*/ 425015 w 682417"/>
              <a:gd name="connsiteY1294" fmla="*/ 42583 h 798267"/>
              <a:gd name="connsiteX1295" fmla="*/ 429720 w 682417"/>
              <a:gd name="connsiteY1295" fmla="*/ 42259 h 798267"/>
              <a:gd name="connsiteX1296" fmla="*/ 431425 w 682417"/>
              <a:gd name="connsiteY1296" fmla="*/ 39068 h 798267"/>
              <a:gd name="connsiteX1297" fmla="*/ 429644 w 682417"/>
              <a:gd name="connsiteY1297" fmla="*/ 42316 h 798267"/>
              <a:gd name="connsiteX1298" fmla="*/ 434045 w 682417"/>
              <a:gd name="connsiteY1298" fmla="*/ 44164 h 798267"/>
              <a:gd name="connsiteX1299" fmla="*/ 431787 w 682417"/>
              <a:gd name="connsiteY1299" fmla="*/ 43773 h 798267"/>
              <a:gd name="connsiteX1300" fmla="*/ 431406 w 682417"/>
              <a:gd name="connsiteY1300" fmla="*/ 46031 h 798267"/>
              <a:gd name="connsiteX1301" fmla="*/ 433664 w 682417"/>
              <a:gd name="connsiteY1301" fmla="*/ 46412 h 798267"/>
              <a:gd name="connsiteX1302" fmla="*/ 451685 w 682417"/>
              <a:gd name="connsiteY1302" fmla="*/ 49469 h 798267"/>
              <a:gd name="connsiteX1303" fmla="*/ 448304 w 682417"/>
              <a:gd name="connsiteY1303" fmla="*/ 48898 h 798267"/>
              <a:gd name="connsiteX1304" fmla="*/ 449799 w 682417"/>
              <a:gd name="connsiteY1304" fmla="*/ 53794 h 798267"/>
              <a:gd name="connsiteX1305" fmla="*/ 451609 w 682417"/>
              <a:gd name="connsiteY1305" fmla="*/ 49517 h 798267"/>
              <a:gd name="connsiteX1306" fmla="*/ 455105 w 682417"/>
              <a:gd name="connsiteY1306" fmla="*/ 36134 h 798267"/>
              <a:gd name="connsiteX1307" fmla="*/ 452476 w 682417"/>
              <a:gd name="connsiteY1307" fmla="*/ 38039 h 798267"/>
              <a:gd name="connsiteX1308" fmla="*/ 455028 w 682417"/>
              <a:gd name="connsiteY1308" fmla="*/ 36191 h 798267"/>
              <a:gd name="connsiteX1309" fmla="*/ 465582 w 682417"/>
              <a:gd name="connsiteY1309" fmla="*/ 49469 h 798267"/>
              <a:gd name="connsiteX1310" fmla="*/ 468601 w 682417"/>
              <a:gd name="connsiteY1310" fmla="*/ 45345 h 798267"/>
              <a:gd name="connsiteX1311" fmla="*/ 464658 w 682417"/>
              <a:gd name="connsiteY1311" fmla="*/ 41202 h 798267"/>
              <a:gd name="connsiteX1312" fmla="*/ 462391 w 682417"/>
              <a:gd name="connsiteY1312" fmla="*/ 47774 h 798267"/>
              <a:gd name="connsiteX1313" fmla="*/ 465515 w 682417"/>
              <a:gd name="connsiteY1313" fmla="*/ 49555 h 798267"/>
              <a:gd name="connsiteX1314" fmla="*/ 468944 w 682417"/>
              <a:gd name="connsiteY1314" fmla="*/ 57004 h 798267"/>
              <a:gd name="connsiteX1315" fmla="*/ 466687 w 682417"/>
              <a:gd name="connsiteY1315" fmla="*/ 56623 h 798267"/>
              <a:gd name="connsiteX1316" fmla="*/ 466306 w 682417"/>
              <a:gd name="connsiteY1316" fmla="*/ 58880 h 798267"/>
              <a:gd name="connsiteX1317" fmla="*/ 468563 w 682417"/>
              <a:gd name="connsiteY1317" fmla="*/ 59261 h 798267"/>
              <a:gd name="connsiteX1318" fmla="*/ 503301 w 682417"/>
              <a:gd name="connsiteY1318" fmla="*/ 66310 h 798267"/>
              <a:gd name="connsiteX1319" fmla="*/ 500282 w 682417"/>
              <a:gd name="connsiteY1319" fmla="*/ 70434 h 798267"/>
              <a:gd name="connsiteX1320" fmla="*/ 503234 w 682417"/>
              <a:gd name="connsiteY1320" fmla="*/ 66395 h 798267"/>
              <a:gd name="connsiteX1321" fmla="*/ 512778 w 682417"/>
              <a:gd name="connsiteY1321" fmla="*/ 37735 h 798267"/>
              <a:gd name="connsiteX1322" fmla="*/ 513731 w 682417"/>
              <a:gd name="connsiteY1322" fmla="*/ 46012 h 798267"/>
              <a:gd name="connsiteX1323" fmla="*/ 512712 w 682417"/>
              <a:gd name="connsiteY1323" fmla="*/ 37858 h 798267"/>
              <a:gd name="connsiteX1324" fmla="*/ 543906 w 682417"/>
              <a:gd name="connsiteY1324" fmla="*/ 59251 h 798267"/>
              <a:gd name="connsiteX1325" fmla="*/ 539210 w 682417"/>
              <a:gd name="connsiteY1325" fmla="*/ 59613 h 798267"/>
              <a:gd name="connsiteX1326" fmla="*/ 537305 w 682417"/>
              <a:gd name="connsiteY1326" fmla="*/ 63928 h 798267"/>
              <a:gd name="connsiteX1327" fmla="*/ 532419 w 682417"/>
              <a:gd name="connsiteY1327" fmla="*/ 65414 h 798267"/>
              <a:gd name="connsiteX1328" fmla="*/ 535772 w 682417"/>
              <a:gd name="connsiteY1328" fmla="*/ 72939 h 798267"/>
              <a:gd name="connsiteX1329" fmla="*/ 534486 w 682417"/>
              <a:gd name="connsiteY1329" fmla="*/ 66929 h 798267"/>
              <a:gd name="connsiteX1330" fmla="*/ 539563 w 682417"/>
              <a:gd name="connsiteY1330" fmla="*/ 64309 h 798267"/>
              <a:gd name="connsiteX1331" fmla="*/ 545011 w 682417"/>
              <a:gd name="connsiteY1331" fmla="*/ 66395 h 798267"/>
              <a:gd name="connsiteX1332" fmla="*/ 544409 w 682417"/>
              <a:gd name="connsiteY1332" fmla="*/ 59782 h 798267"/>
              <a:gd name="connsiteX1333" fmla="*/ 543839 w 682417"/>
              <a:gd name="connsiteY1333" fmla="*/ 59375 h 798267"/>
              <a:gd name="connsiteX1334" fmla="*/ 547888 w 682417"/>
              <a:gd name="connsiteY1334" fmla="*/ 49488 h 798267"/>
              <a:gd name="connsiteX1335" fmla="*/ 542801 w 682417"/>
              <a:gd name="connsiteY1335" fmla="*/ 52108 h 798267"/>
              <a:gd name="connsiteX1336" fmla="*/ 545992 w 682417"/>
              <a:gd name="connsiteY1336" fmla="*/ 53803 h 798267"/>
              <a:gd name="connsiteX1337" fmla="*/ 547821 w 682417"/>
              <a:gd name="connsiteY1337" fmla="*/ 49612 h 798267"/>
              <a:gd name="connsiteX1338" fmla="*/ 51454 w 682417"/>
              <a:gd name="connsiteY1338" fmla="*/ 597243 h 798267"/>
              <a:gd name="connsiteX1339" fmla="*/ 50502 w 682417"/>
              <a:gd name="connsiteY1339" fmla="*/ 595919 h 798267"/>
              <a:gd name="connsiteX1340" fmla="*/ 48244 w 682417"/>
              <a:gd name="connsiteY1340" fmla="*/ 595538 h 798267"/>
              <a:gd name="connsiteX1341" fmla="*/ 51454 w 682417"/>
              <a:gd name="connsiteY1341" fmla="*/ 597243 h 798267"/>
              <a:gd name="connsiteX1342" fmla="*/ 9658 w 682417"/>
              <a:gd name="connsiteY1342" fmla="*/ 754767 h 798267"/>
              <a:gd name="connsiteX1343" fmla="*/ 11154 w 682417"/>
              <a:gd name="connsiteY1343" fmla="*/ 759663 h 798267"/>
              <a:gd name="connsiteX1344" fmla="*/ 9658 w 682417"/>
              <a:gd name="connsiteY1344" fmla="*/ 754767 h 798267"/>
              <a:gd name="connsiteX1345" fmla="*/ 20355 w 682417"/>
              <a:gd name="connsiteY1345" fmla="*/ 760063 h 798267"/>
              <a:gd name="connsiteX1346" fmla="*/ 16783 w 682417"/>
              <a:gd name="connsiteY1346" fmla="*/ 760615 h 798267"/>
              <a:gd name="connsiteX1347" fmla="*/ 14145 w 682417"/>
              <a:gd name="connsiteY1347" fmla="*/ 762520 h 798267"/>
              <a:gd name="connsiteX1348" fmla="*/ 20355 w 682417"/>
              <a:gd name="connsiteY1348" fmla="*/ 760063 h 798267"/>
              <a:gd name="connsiteX1349" fmla="*/ 26813 w 682417"/>
              <a:gd name="connsiteY1349" fmla="*/ 674214 h 798267"/>
              <a:gd name="connsiteX1350" fmla="*/ 24908 w 682417"/>
              <a:gd name="connsiteY1350" fmla="*/ 671566 h 798267"/>
              <a:gd name="connsiteX1351" fmla="*/ 21888 w 682417"/>
              <a:gd name="connsiteY1351" fmla="*/ 675700 h 798267"/>
              <a:gd name="connsiteX1352" fmla="*/ 26813 w 682417"/>
              <a:gd name="connsiteY1352" fmla="*/ 674224 h 798267"/>
              <a:gd name="connsiteX1353" fmla="*/ 26175 w 682417"/>
              <a:gd name="connsiteY1353" fmla="*/ 691492 h 798267"/>
              <a:gd name="connsiteX1354" fmla="*/ 24470 w 682417"/>
              <a:gd name="connsiteY1354" fmla="*/ 694683 h 798267"/>
              <a:gd name="connsiteX1355" fmla="*/ 26175 w 682417"/>
              <a:gd name="connsiteY1355" fmla="*/ 691492 h 798267"/>
              <a:gd name="connsiteX1356" fmla="*/ 27889 w 682417"/>
              <a:gd name="connsiteY1356" fmla="*/ 681348 h 798267"/>
              <a:gd name="connsiteX1357" fmla="*/ 29575 w 682417"/>
              <a:gd name="connsiteY1357" fmla="*/ 685111 h 798267"/>
              <a:gd name="connsiteX1358" fmla="*/ 27908 w 682417"/>
              <a:gd name="connsiteY1358" fmla="*/ 681348 h 798267"/>
              <a:gd name="connsiteX1359" fmla="*/ 40072 w 682417"/>
              <a:gd name="connsiteY1359" fmla="*/ 637076 h 798267"/>
              <a:gd name="connsiteX1360" fmla="*/ 35728 w 682417"/>
              <a:gd name="connsiteY1360" fmla="*/ 642143 h 798267"/>
              <a:gd name="connsiteX1361" fmla="*/ 40072 w 682417"/>
              <a:gd name="connsiteY1361" fmla="*/ 637076 h 798267"/>
              <a:gd name="connsiteX1362" fmla="*/ 44929 w 682417"/>
              <a:gd name="connsiteY1362" fmla="*/ 710943 h 798267"/>
              <a:gd name="connsiteX1363" fmla="*/ 41167 w 682417"/>
              <a:gd name="connsiteY1363" fmla="*/ 712619 h 798267"/>
              <a:gd name="connsiteX1364" fmla="*/ 44929 w 682417"/>
              <a:gd name="connsiteY1364" fmla="*/ 710904 h 798267"/>
              <a:gd name="connsiteX1365" fmla="*/ 57998 w 682417"/>
              <a:gd name="connsiteY1365" fmla="*/ 674900 h 798267"/>
              <a:gd name="connsiteX1366" fmla="*/ 52730 w 682417"/>
              <a:gd name="connsiteY1366" fmla="*/ 678643 h 798267"/>
              <a:gd name="connsiteX1367" fmla="*/ 57998 w 682417"/>
              <a:gd name="connsiteY1367" fmla="*/ 674862 h 798267"/>
              <a:gd name="connsiteX1368" fmla="*/ 58579 w 682417"/>
              <a:gd name="connsiteY1368" fmla="*/ 603120 h 798267"/>
              <a:gd name="connsiteX1369" fmla="*/ 53883 w 682417"/>
              <a:gd name="connsiteY1369" fmla="*/ 603481 h 798267"/>
              <a:gd name="connsiteX1370" fmla="*/ 58560 w 682417"/>
              <a:gd name="connsiteY1370" fmla="*/ 603081 h 798267"/>
              <a:gd name="connsiteX1371" fmla="*/ 65780 w 682417"/>
              <a:gd name="connsiteY1371" fmla="*/ 649554 h 798267"/>
              <a:gd name="connsiteX1372" fmla="*/ 68399 w 682417"/>
              <a:gd name="connsiteY1372" fmla="*/ 654640 h 798267"/>
              <a:gd name="connsiteX1373" fmla="*/ 65780 w 682417"/>
              <a:gd name="connsiteY1373" fmla="*/ 649516 h 798267"/>
              <a:gd name="connsiteX1374" fmla="*/ 96965 w 682417"/>
              <a:gd name="connsiteY1374" fmla="*/ 520366 h 798267"/>
              <a:gd name="connsiteX1375" fmla="*/ 93774 w 682417"/>
              <a:gd name="connsiteY1375" fmla="*/ 518661 h 798267"/>
              <a:gd name="connsiteX1376" fmla="*/ 91869 w 682417"/>
              <a:gd name="connsiteY1376" fmla="*/ 522976 h 798267"/>
              <a:gd name="connsiteX1377" fmla="*/ 96965 w 682417"/>
              <a:gd name="connsiteY1377" fmla="*/ 520328 h 798267"/>
              <a:gd name="connsiteX1378" fmla="*/ 124587 w 682417"/>
              <a:gd name="connsiteY1378" fmla="*/ 514651 h 798267"/>
              <a:gd name="connsiteX1379" fmla="*/ 121958 w 682417"/>
              <a:gd name="connsiteY1379" fmla="*/ 516556 h 798267"/>
              <a:gd name="connsiteX1380" fmla="*/ 124606 w 682417"/>
              <a:gd name="connsiteY1380" fmla="*/ 514585 h 798267"/>
              <a:gd name="connsiteX1381" fmla="*/ 136827 w 682417"/>
              <a:gd name="connsiteY1381" fmla="*/ 442528 h 798267"/>
              <a:gd name="connsiteX1382" fmla="*/ 134579 w 682417"/>
              <a:gd name="connsiteY1382" fmla="*/ 442147 h 798267"/>
              <a:gd name="connsiteX1383" fmla="*/ 134198 w 682417"/>
              <a:gd name="connsiteY1383" fmla="*/ 444404 h 798267"/>
              <a:gd name="connsiteX1384" fmla="*/ 136436 w 682417"/>
              <a:gd name="connsiteY1384" fmla="*/ 444785 h 798267"/>
              <a:gd name="connsiteX1385" fmla="*/ 141170 w 682417"/>
              <a:gd name="connsiteY1385" fmla="*/ 498916 h 798267"/>
              <a:gd name="connsiteX1386" fmla="*/ 140218 w 682417"/>
              <a:gd name="connsiteY1386" fmla="*/ 497592 h 798267"/>
              <a:gd name="connsiteX1387" fmla="*/ 137960 w 682417"/>
              <a:gd name="connsiteY1387" fmla="*/ 497211 h 798267"/>
              <a:gd name="connsiteX1388" fmla="*/ 141189 w 682417"/>
              <a:gd name="connsiteY1388" fmla="*/ 498849 h 798267"/>
              <a:gd name="connsiteX1389" fmla="*/ 144370 w 682417"/>
              <a:gd name="connsiteY1389" fmla="*/ 432241 h 798267"/>
              <a:gd name="connsiteX1390" fmla="*/ 141732 w 682417"/>
              <a:gd name="connsiteY1390" fmla="*/ 434146 h 798267"/>
              <a:gd name="connsiteX1391" fmla="*/ 139284 w 682417"/>
              <a:gd name="connsiteY1391" fmla="*/ 434898 h 798267"/>
              <a:gd name="connsiteX1392" fmla="*/ 142484 w 682417"/>
              <a:gd name="connsiteY1392" fmla="*/ 436594 h 798267"/>
              <a:gd name="connsiteX1393" fmla="*/ 144389 w 682417"/>
              <a:gd name="connsiteY1393" fmla="*/ 432146 h 798267"/>
              <a:gd name="connsiteX1394" fmla="*/ 178146 w 682417"/>
              <a:gd name="connsiteY1394" fmla="*/ 383483 h 798267"/>
              <a:gd name="connsiteX1395" fmla="*/ 176451 w 682417"/>
              <a:gd name="connsiteY1395" fmla="*/ 386673 h 798267"/>
              <a:gd name="connsiteX1396" fmla="*/ 178165 w 682417"/>
              <a:gd name="connsiteY1396" fmla="*/ 383387 h 798267"/>
              <a:gd name="connsiteX1397" fmla="*/ 190414 w 682417"/>
              <a:gd name="connsiteY1397" fmla="*/ 365852 h 798267"/>
              <a:gd name="connsiteX1398" fmla="*/ 187614 w 682417"/>
              <a:gd name="connsiteY1398" fmla="*/ 361908 h 798267"/>
              <a:gd name="connsiteX1399" fmla="*/ 185890 w 682417"/>
              <a:gd name="connsiteY1399" fmla="*/ 372043 h 798267"/>
              <a:gd name="connsiteX1400" fmla="*/ 190033 w 682417"/>
              <a:gd name="connsiteY1400" fmla="*/ 368109 h 798267"/>
              <a:gd name="connsiteX1401" fmla="*/ 191938 w 682417"/>
              <a:gd name="connsiteY1401" fmla="*/ 370748 h 798267"/>
              <a:gd name="connsiteX1402" fmla="*/ 190433 w 682417"/>
              <a:gd name="connsiteY1402" fmla="*/ 365756 h 798267"/>
              <a:gd name="connsiteX1403" fmla="*/ 195177 w 682417"/>
              <a:gd name="connsiteY1403" fmla="*/ 399132 h 798267"/>
              <a:gd name="connsiteX1404" fmla="*/ 193110 w 682417"/>
              <a:gd name="connsiteY1404" fmla="*/ 397627 h 798267"/>
              <a:gd name="connsiteX1405" fmla="*/ 194796 w 682417"/>
              <a:gd name="connsiteY1405" fmla="*/ 401389 h 798267"/>
              <a:gd name="connsiteX1406" fmla="*/ 195224 w 682417"/>
              <a:gd name="connsiteY1406" fmla="*/ 399037 h 798267"/>
              <a:gd name="connsiteX1407" fmla="*/ 198844 w 682417"/>
              <a:gd name="connsiteY1407" fmla="*/ 363813 h 798267"/>
              <a:gd name="connsiteX1408" fmla="*/ 201292 w 682417"/>
              <a:gd name="connsiteY1408" fmla="*/ 363070 h 798267"/>
              <a:gd name="connsiteX1409" fmla="*/ 201673 w 682417"/>
              <a:gd name="connsiteY1409" fmla="*/ 360823 h 798267"/>
              <a:gd name="connsiteX1410" fmla="*/ 198482 w 682417"/>
              <a:gd name="connsiteY1410" fmla="*/ 359118 h 798267"/>
              <a:gd name="connsiteX1411" fmla="*/ 198892 w 682417"/>
              <a:gd name="connsiteY1411" fmla="*/ 363709 h 798267"/>
              <a:gd name="connsiteX1412" fmla="*/ 203359 w 682417"/>
              <a:gd name="connsiteY1412" fmla="*/ 364585 h 798267"/>
              <a:gd name="connsiteX1413" fmla="*/ 199549 w 682417"/>
              <a:gd name="connsiteY1413" fmla="*/ 366261 h 798267"/>
              <a:gd name="connsiteX1414" fmla="*/ 198977 w 682417"/>
              <a:gd name="connsiteY1414" fmla="*/ 369643 h 798267"/>
              <a:gd name="connsiteX1415" fmla="*/ 202940 w 682417"/>
              <a:gd name="connsiteY1415" fmla="*/ 366833 h 798267"/>
              <a:gd name="connsiteX1416" fmla="*/ 206121 w 682417"/>
              <a:gd name="connsiteY1416" fmla="*/ 368528 h 798267"/>
              <a:gd name="connsiteX1417" fmla="*/ 203406 w 682417"/>
              <a:gd name="connsiteY1417" fmla="*/ 364490 h 798267"/>
              <a:gd name="connsiteX1418" fmla="*/ 209074 w 682417"/>
              <a:gd name="connsiteY1418" fmla="*/ 344678 h 798267"/>
              <a:gd name="connsiteX1419" fmla="*/ 207007 w 682417"/>
              <a:gd name="connsiteY1419" fmla="*/ 343173 h 798267"/>
              <a:gd name="connsiteX1420" fmla="*/ 208693 w 682417"/>
              <a:gd name="connsiteY1420" fmla="*/ 346935 h 798267"/>
              <a:gd name="connsiteX1421" fmla="*/ 210645 w 682417"/>
              <a:gd name="connsiteY1421" fmla="*/ 321760 h 798267"/>
              <a:gd name="connsiteX1422" fmla="*/ 211198 w 682417"/>
              <a:gd name="connsiteY1422" fmla="*/ 325332 h 798267"/>
              <a:gd name="connsiteX1423" fmla="*/ 210674 w 682417"/>
              <a:gd name="connsiteY1423" fmla="*/ 321665 h 798267"/>
              <a:gd name="connsiteX1424" fmla="*/ 225266 w 682417"/>
              <a:gd name="connsiteY1424" fmla="*/ 331200 h 798267"/>
              <a:gd name="connsiteX1425" fmla="*/ 218323 w 682417"/>
              <a:gd name="connsiteY1425" fmla="*/ 331200 h 798267"/>
              <a:gd name="connsiteX1426" fmla="*/ 219065 w 682417"/>
              <a:gd name="connsiteY1426" fmla="*/ 333648 h 798267"/>
              <a:gd name="connsiteX1427" fmla="*/ 217741 w 682417"/>
              <a:gd name="connsiteY1427" fmla="*/ 334600 h 798267"/>
              <a:gd name="connsiteX1428" fmla="*/ 216789 w 682417"/>
              <a:gd name="connsiteY1428" fmla="*/ 333276 h 798267"/>
              <a:gd name="connsiteX1429" fmla="*/ 217225 w 682417"/>
              <a:gd name="connsiteY1429" fmla="*/ 338742 h 798267"/>
              <a:gd name="connsiteX1430" fmla="*/ 218084 w 682417"/>
              <a:gd name="connsiteY1430" fmla="*/ 339296 h 798267"/>
              <a:gd name="connsiteX1431" fmla="*/ 224295 w 682417"/>
              <a:gd name="connsiteY1431" fmla="*/ 336867 h 798267"/>
              <a:gd name="connsiteX1432" fmla="*/ 225295 w 682417"/>
              <a:gd name="connsiteY1432" fmla="*/ 331105 h 798267"/>
              <a:gd name="connsiteX1433" fmla="*/ 239535 w 682417"/>
              <a:gd name="connsiteY1433" fmla="*/ 295252 h 798267"/>
              <a:gd name="connsiteX1434" fmla="*/ 235982 w 682417"/>
              <a:gd name="connsiteY1434" fmla="*/ 288852 h 798267"/>
              <a:gd name="connsiteX1435" fmla="*/ 235220 w 682417"/>
              <a:gd name="connsiteY1435" fmla="*/ 293357 h 798267"/>
              <a:gd name="connsiteX1436" fmla="*/ 239535 w 682417"/>
              <a:gd name="connsiteY1436" fmla="*/ 295252 h 798267"/>
              <a:gd name="connsiteX1437" fmla="*/ 244040 w 682417"/>
              <a:gd name="connsiteY1437" fmla="*/ 296014 h 798267"/>
              <a:gd name="connsiteX1438" fmla="*/ 238763 w 682417"/>
              <a:gd name="connsiteY1438" fmla="*/ 299758 h 798267"/>
              <a:gd name="connsiteX1439" fmla="*/ 244002 w 682417"/>
              <a:gd name="connsiteY1439" fmla="*/ 296014 h 798267"/>
              <a:gd name="connsiteX1440" fmla="*/ 253565 w 682417"/>
              <a:gd name="connsiteY1440" fmla="*/ 315064 h 798267"/>
              <a:gd name="connsiteX1441" fmla="*/ 255241 w 682417"/>
              <a:gd name="connsiteY1441" fmla="*/ 318827 h 798267"/>
              <a:gd name="connsiteX1442" fmla="*/ 253536 w 682417"/>
              <a:gd name="connsiteY1442" fmla="*/ 315026 h 798267"/>
              <a:gd name="connsiteX1443" fmla="*/ 257585 w 682417"/>
              <a:gd name="connsiteY1443" fmla="*/ 291395 h 798267"/>
              <a:gd name="connsiteX1444" fmla="*/ 251555 w 682417"/>
              <a:gd name="connsiteY1444" fmla="*/ 292700 h 798267"/>
              <a:gd name="connsiteX1445" fmla="*/ 257556 w 682417"/>
              <a:gd name="connsiteY1445" fmla="*/ 291319 h 798267"/>
              <a:gd name="connsiteX1446" fmla="*/ 290570 w 682417"/>
              <a:gd name="connsiteY1446" fmla="*/ 254095 h 798267"/>
              <a:gd name="connsiteX1447" fmla="*/ 290922 w 682417"/>
              <a:gd name="connsiteY1447" fmla="*/ 258800 h 798267"/>
              <a:gd name="connsiteX1448" fmla="*/ 296199 w 682417"/>
              <a:gd name="connsiteY1448" fmla="*/ 255057 h 798267"/>
              <a:gd name="connsiteX1449" fmla="*/ 292646 w 682417"/>
              <a:gd name="connsiteY1449" fmla="*/ 248656 h 798267"/>
              <a:gd name="connsiteX1450" fmla="*/ 294351 w 682417"/>
              <a:gd name="connsiteY1450" fmla="*/ 245465 h 798267"/>
              <a:gd name="connsiteX1451" fmla="*/ 292618 w 682417"/>
              <a:gd name="connsiteY1451" fmla="*/ 248618 h 798267"/>
              <a:gd name="connsiteX1452" fmla="*/ 293599 w 682417"/>
              <a:gd name="connsiteY1452" fmla="*/ 236074 h 798267"/>
              <a:gd name="connsiteX1453" fmla="*/ 295504 w 682417"/>
              <a:gd name="connsiteY1453" fmla="*/ 231749 h 798267"/>
              <a:gd name="connsiteX1454" fmla="*/ 289874 w 682417"/>
              <a:gd name="connsiteY1454" fmla="*/ 230797 h 798267"/>
              <a:gd name="connsiteX1455" fmla="*/ 293599 w 682417"/>
              <a:gd name="connsiteY1455" fmla="*/ 236074 h 798267"/>
              <a:gd name="connsiteX1456" fmla="*/ 286045 w 682417"/>
              <a:gd name="connsiteY1456" fmla="*/ 246380 h 798267"/>
              <a:gd name="connsiteX1457" fmla="*/ 288112 w 682417"/>
              <a:gd name="connsiteY1457" fmla="*/ 247885 h 798267"/>
              <a:gd name="connsiteX1458" fmla="*/ 289627 w 682417"/>
              <a:gd name="connsiteY1458" fmla="*/ 245827 h 798267"/>
              <a:gd name="connsiteX1459" fmla="*/ 287560 w 682417"/>
              <a:gd name="connsiteY1459" fmla="*/ 244322 h 798267"/>
              <a:gd name="connsiteX1460" fmla="*/ 286045 w 682417"/>
              <a:gd name="connsiteY1460" fmla="*/ 246342 h 798267"/>
              <a:gd name="connsiteX1461" fmla="*/ 272272 w 682417"/>
              <a:gd name="connsiteY1461" fmla="*/ 266068 h 798267"/>
              <a:gd name="connsiteX1462" fmla="*/ 273958 w 682417"/>
              <a:gd name="connsiteY1462" fmla="*/ 269830 h 798267"/>
              <a:gd name="connsiteX1463" fmla="*/ 272272 w 682417"/>
              <a:gd name="connsiteY1463" fmla="*/ 266030 h 798267"/>
              <a:gd name="connsiteX1464" fmla="*/ 292751 w 682417"/>
              <a:gd name="connsiteY1464" fmla="*/ 268382 h 798267"/>
              <a:gd name="connsiteX1465" fmla="*/ 284178 w 682417"/>
              <a:gd name="connsiteY1465" fmla="*/ 257648 h 798267"/>
              <a:gd name="connsiteX1466" fmla="*/ 278930 w 682417"/>
              <a:gd name="connsiteY1466" fmla="*/ 254438 h 798267"/>
              <a:gd name="connsiteX1467" fmla="*/ 277435 w 682417"/>
              <a:gd name="connsiteY1467" fmla="*/ 249551 h 798267"/>
              <a:gd name="connsiteX1468" fmla="*/ 273844 w 682417"/>
              <a:gd name="connsiteY1468" fmla="*/ 257057 h 798267"/>
              <a:gd name="connsiteX1469" fmla="*/ 267633 w 682417"/>
              <a:gd name="connsiteY1469" fmla="*/ 259477 h 798267"/>
              <a:gd name="connsiteX1470" fmla="*/ 267062 w 682417"/>
              <a:gd name="connsiteY1470" fmla="*/ 262858 h 798267"/>
              <a:gd name="connsiteX1471" fmla="*/ 263490 w 682417"/>
              <a:gd name="connsiteY1471" fmla="*/ 263410 h 798267"/>
              <a:gd name="connsiteX1472" fmla="*/ 268938 w 682417"/>
              <a:gd name="connsiteY1472" fmla="*/ 265496 h 798267"/>
              <a:gd name="connsiteX1473" fmla="*/ 271948 w 682417"/>
              <a:gd name="connsiteY1473" fmla="*/ 261372 h 798267"/>
              <a:gd name="connsiteX1474" fmla="*/ 279463 w 682417"/>
              <a:gd name="connsiteY1474" fmla="*/ 264963 h 798267"/>
              <a:gd name="connsiteX1475" fmla="*/ 283007 w 682417"/>
              <a:gd name="connsiteY1475" fmla="*/ 271364 h 798267"/>
              <a:gd name="connsiteX1476" fmla="*/ 287350 w 682417"/>
              <a:gd name="connsiteY1476" fmla="*/ 266306 h 798267"/>
              <a:gd name="connsiteX1477" fmla="*/ 292751 w 682417"/>
              <a:gd name="connsiteY1477" fmla="*/ 268344 h 798267"/>
              <a:gd name="connsiteX1478" fmla="*/ 295408 w 682417"/>
              <a:gd name="connsiteY1478" fmla="*/ 259562 h 798267"/>
              <a:gd name="connsiteX1479" fmla="*/ 291598 w 682417"/>
              <a:gd name="connsiteY1479" fmla="*/ 261248 h 798267"/>
              <a:gd name="connsiteX1480" fmla="*/ 295723 w 682417"/>
              <a:gd name="connsiteY1480" fmla="*/ 264258 h 798267"/>
              <a:gd name="connsiteX1481" fmla="*/ 295408 w 682417"/>
              <a:gd name="connsiteY1481" fmla="*/ 259524 h 798267"/>
              <a:gd name="connsiteX1482" fmla="*/ 297933 w 682417"/>
              <a:gd name="connsiteY1482" fmla="*/ 230987 h 798267"/>
              <a:gd name="connsiteX1483" fmla="*/ 301695 w 682417"/>
              <a:gd name="connsiteY1483" fmla="*/ 229301 h 798267"/>
              <a:gd name="connsiteX1484" fmla="*/ 299447 w 682417"/>
              <a:gd name="connsiteY1484" fmla="*/ 228920 h 798267"/>
              <a:gd name="connsiteX1485" fmla="*/ 297933 w 682417"/>
              <a:gd name="connsiteY1485" fmla="*/ 230968 h 798267"/>
              <a:gd name="connsiteX1486" fmla="*/ 297704 w 682417"/>
              <a:gd name="connsiteY1486" fmla="*/ 246018 h 798267"/>
              <a:gd name="connsiteX1487" fmla="*/ 299380 w 682417"/>
              <a:gd name="connsiteY1487" fmla="*/ 249780 h 798267"/>
              <a:gd name="connsiteX1488" fmla="*/ 297704 w 682417"/>
              <a:gd name="connsiteY1488" fmla="*/ 245999 h 798267"/>
              <a:gd name="connsiteX1489" fmla="*/ 302171 w 682417"/>
              <a:gd name="connsiteY1489" fmla="*/ 260686 h 798267"/>
              <a:gd name="connsiteX1490" fmla="*/ 303124 w 682417"/>
              <a:gd name="connsiteY1490" fmla="*/ 255057 h 798267"/>
              <a:gd name="connsiteX1491" fmla="*/ 305029 w 682417"/>
              <a:gd name="connsiteY1491" fmla="*/ 257695 h 798267"/>
              <a:gd name="connsiteX1492" fmla="*/ 302409 w 682417"/>
              <a:gd name="connsiteY1492" fmla="*/ 252609 h 798267"/>
              <a:gd name="connsiteX1493" fmla="*/ 299971 w 682417"/>
              <a:gd name="connsiteY1493" fmla="*/ 253352 h 798267"/>
              <a:gd name="connsiteX1494" fmla="*/ 302171 w 682417"/>
              <a:gd name="connsiteY1494" fmla="*/ 260667 h 798267"/>
              <a:gd name="connsiteX1495" fmla="*/ 307210 w 682417"/>
              <a:gd name="connsiteY1495" fmla="*/ 271983 h 798267"/>
              <a:gd name="connsiteX1496" fmla="*/ 302324 w 682417"/>
              <a:gd name="connsiteY1496" fmla="*/ 273469 h 798267"/>
              <a:gd name="connsiteX1497" fmla="*/ 307210 w 682417"/>
              <a:gd name="connsiteY1497" fmla="*/ 271964 h 798267"/>
              <a:gd name="connsiteX1498" fmla="*/ 307210 w 682417"/>
              <a:gd name="connsiteY1498" fmla="*/ 278927 h 798267"/>
              <a:gd name="connsiteX1499" fmla="*/ 308696 w 682417"/>
              <a:gd name="connsiteY1499" fmla="*/ 283822 h 798267"/>
              <a:gd name="connsiteX1500" fmla="*/ 307162 w 682417"/>
              <a:gd name="connsiteY1500" fmla="*/ 278936 h 798267"/>
              <a:gd name="connsiteX1501" fmla="*/ 316392 w 682417"/>
              <a:gd name="connsiteY1501" fmla="*/ 224844 h 798267"/>
              <a:gd name="connsiteX1502" fmla="*/ 315839 w 682417"/>
              <a:gd name="connsiteY1502" fmla="*/ 221272 h 798267"/>
              <a:gd name="connsiteX1503" fmla="*/ 314516 w 682417"/>
              <a:gd name="connsiteY1503" fmla="*/ 222224 h 798267"/>
              <a:gd name="connsiteX1504" fmla="*/ 313392 w 682417"/>
              <a:gd name="connsiteY1504" fmla="*/ 222034 h 798267"/>
              <a:gd name="connsiteX1505" fmla="*/ 316373 w 682417"/>
              <a:gd name="connsiteY1505" fmla="*/ 224825 h 798267"/>
              <a:gd name="connsiteX1506" fmla="*/ 318735 w 682417"/>
              <a:gd name="connsiteY1506" fmla="*/ 258857 h 798267"/>
              <a:gd name="connsiteX1507" fmla="*/ 317240 w 682417"/>
              <a:gd name="connsiteY1507" fmla="*/ 253971 h 798267"/>
              <a:gd name="connsiteX1508" fmla="*/ 316659 w 682417"/>
              <a:gd name="connsiteY1508" fmla="*/ 257738 h 798267"/>
              <a:gd name="connsiteX1509" fmla="*/ 318716 w 682417"/>
              <a:gd name="connsiteY1509" fmla="*/ 258838 h 798267"/>
              <a:gd name="connsiteX1510" fmla="*/ 334080 w 682417"/>
              <a:gd name="connsiteY1510" fmla="*/ 216252 h 798267"/>
              <a:gd name="connsiteX1511" fmla="*/ 332175 w 682417"/>
              <a:gd name="connsiteY1511" fmla="*/ 220567 h 798267"/>
              <a:gd name="connsiteX1512" fmla="*/ 333489 w 682417"/>
              <a:gd name="connsiteY1512" fmla="*/ 219614 h 798267"/>
              <a:gd name="connsiteX1513" fmla="*/ 337995 w 682417"/>
              <a:gd name="connsiteY1513" fmla="*/ 220376 h 798267"/>
              <a:gd name="connsiteX1514" fmla="*/ 340424 w 682417"/>
              <a:gd name="connsiteY1514" fmla="*/ 226577 h 798267"/>
              <a:gd name="connsiteX1515" fmla="*/ 339059 w 682417"/>
              <a:gd name="connsiteY1515" fmla="*/ 217425 h 798267"/>
              <a:gd name="connsiteX1516" fmla="*/ 334061 w 682417"/>
              <a:gd name="connsiteY1516" fmla="*/ 216233 h 798267"/>
              <a:gd name="connsiteX1517" fmla="*/ 352282 w 682417"/>
              <a:gd name="connsiteY1517" fmla="*/ 225129 h 798267"/>
              <a:gd name="connsiteX1518" fmla="*/ 352882 w 682417"/>
              <a:gd name="connsiteY1518" fmla="*/ 221786 h 798267"/>
              <a:gd name="connsiteX1519" fmla="*/ 354940 w 682417"/>
              <a:gd name="connsiteY1519" fmla="*/ 223291 h 798267"/>
              <a:gd name="connsiteX1520" fmla="*/ 357959 w 682417"/>
              <a:gd name="connsiteY1520" fmla="*/ 219167 h 798267"/>
              <a:gd name="connsiteX1521" fmla="*/ 359254 w 682417"/>
              <a:gd name="connsiteY1521" fmla="*/ 225177 h 798267"/>
              <a:gd name="connsiteX1522" fmla="*/ 360597 w 682417"/>
              <a:gd name="connsiteY1522" fmla="*/ 217290 h 798267"/>
              <a:gd name="connsiteX1523" fmla="*/ 362293 w 682417"/>
              <a:gd name="connsiteY1523" fmla="*/ 214109 h 798267"/>
              <a:gd name="connsiteX1524" fmla="*/ 355349 w 682417"/>
              <a:gd name="connsiteY1524" fmla="*/ 214109 h 798267"/>
              <a:gd name="connsiteX1525" fmla="*/ 352263 w 682417"/>
              <a:gd name="connsiteY1525" fmla="*/ 225110 h 798267"/>
              <a:gd name="connsiteX1526" fmla="*/ 346853 w 682417"/>
              <a:gd name="connsiteY1526" fmla="*/ 216100 h 798267"/>
              <a:gd name="connsiteX1527" fmla="*/ 351930 w 682417"/>
              <a:gd name="connsiteY1527" fmla="*/ 213480 h 798267"/>
              <a:gd name="connsiteX1528" fmla="*/ 348929 w 682417"/>
              <a:gd name="connsiteY1528" fmla="*/ 210623 h 798267"/>
              <a:gd name="connsiteX1529" fmla="*/ 346834 w 682417"/>
              <a:gd name="connsiteY1529" fmla="*/ 216071 h 798267"/>
              <a:gd name="connsiteX1530" fmla="*/ 350177 w 682417"/>
              <a:gd name="connsiteY1530" fmla="*/ 237531 h 798267"/>
              <a:gd name="connsiteX1531" fmla="*/ 347177 w 682417"/>
              <a:gd name="connsiteY1531" fmla="*/ 234673 h 798267"/>
              <a:gd name="connsiteX1532" fmla="*/ 350158 w 682417"/>
              <a:gd name="connsiteY1532" fmla="*/ 237512 h 798267"/>
              <a:gd name="connsiteX1533" fmla="*/ 358750 w 682417"/>
              <a:gd name="connsiteY1533" fmla="*/ 248266 h 798267"/>
              <a:gd name="connsiteX1534" fmla="*/ 351425 w 682417"/>
              <a:gd name="connsiteY1534" fmla="*/ 243503 h 798267"/>
              <a:gd name="connsiteX1535" fmla="*/ 347433 w 682417"/>
              <a:gd name="connsiteY1535" fmla="*/ 246898 h 798267"/>
              <a:gd name="connsiteX1536" fmla="*/ 345224 w 682417"/>
              <a:gd name="connsiteY1536" fmla="*/ 245932 h 798267"/>
              <a:gd name="connsiteX1537" fmla="*/ 348967 w 682417"/>
              <a:gd name="connsiteY1537" fmla="*/ 251209 h 798267"/>
              <a:gd name="connsiteX1538" fmla="*/ 351987 w 682417"/>
              <a:gd name="connsiteY1538" fmla="*/ 247084 h 798267"/>
              <a:gd name="connsiteX1539" fmla="*/ 355178 w 682417"/>
              <a:gd name="connsiteY1539" fmla="*/ 248780 h 798267"/>
              <a:gd name="connsiteX1540" fmla="*/ 353273 w 682417"/>
              <a:gd name="connsiteY1540" fmla="*/ 246142 h 798267"/>
              <a:gd name="connsiteX1541" fmla="*/ 358769 w 682417"/>
              <a:gd name="connsiteY1541" fmla="*/ 248247 h 798267"/>
              <a:gd name="connsiteX1542" fmla="*/ 366522 w 682417"/>
              <a:gd name="connsiteY1542" fmla="*/ 222920 h 798267"/>
              <a:gd name="connsiteX1543" fmla="*/ 362712 w 682417"/>
              <a:gd name="connsiteY1543" fmla="*/ 231549 h 798267"/>
              <a:gd name="connsiteX1544" fmla="*/ 361036 w 682417"/>
              <a:gd name="connsiteY1544" fmla="*/ 227739 h 798267"/>
              <a:gd name="connsiteX1545" fmla="*/ 356692 w 682417"/>
              <a:gd name="connsiteY1545" fmla="*/ 232807 h 798267"/>
              <a:gd name="connsiteX1546" fmla="*/ 364198 w 682417"/>
              <a:gd name="connsiteY1546" fmla="*/ 236397 h 798267"/>
              <a:gd name="connsiteX1547" fmla="*/ 363836 w 682417"/>
              <a:gd name="connsiteY1547" fmla="*/ 231692 h 798267"/>
              <a:gd name="connsiteX1548" fmla="*/ 366112 w 682417"/>
              <a:gd name="connsiteY1548" fmla="*/ 225129 h 798267"/>
              <a:gd name="connsiteX1549" fmla="*/ 367243 w 682417"/>
              <a:gd name="connsiteY1549" fmla="*/ 223937 h 798267"/>
              <a:gd name="connsiteX1550" fmla="*/ 366541 w 682417"/>
              <a:gd name="connsiteY1550" fmla="*/ 222901 h 798267"/>
              <a:gd name="connsiteX1551" fmla="*/ 380810 w 682417"/>
              <a:gd name="connsiteY1551" fmla="*/ 227682 h 798267"/>
              <a:gd name="connsiteX1552" fmla="*/ 383086 w 682417"/>
              <a:gd name="connsiteY1552" fmla="*/ 221110 h 798267"/>
              <a:gd name="connsiteX1553" fmla="*/ 380810 w 682417"/>
              <a:gd name="connsiteY1553" fmla="*/ 227644 h 798267"/>
              <a:gd name="connsiteX1554" fmla="*/ 383591 w 682417"/>
              <a:gd name="connsiteY1554" fmla="*/ 238579 h 798267"/>
              <a:gd name="connsiteX1555" fmla="*/ 374771 w 682417"/>
              <a:gd name="connsiteY1555" fmla="*/ 235931 h 798267"/>
              <a:gd name="connsiteX1556" fmla="*/ 378905 w 682417"/>
              <a:gd name="connsiteY1556" fmla="*/ 238950 h 798267"/>
              <a:gd name="connsiteX1557" fmla="*/ 383591 w 682417"/>
              <a:gd name="connsiteY1557" fmla="*/ 238541 h 798267"/>
              <a:gd name="connsiteX1558" fmla="*/ 385801 w 682417"/>
              <a:gd name="connsiteY1558" fmla="*/ 191430 h 798267"/>
              <a:gd name="connsiteX1559" fmla="*/ 386182 w 682417"/>
              <a:gd name="connsiteY1559" fmla="*/ 189172 h 798267"/>
              <a:gd name="connsiteX1560" fmla="*/ 383934 w 682417"/>
              <a:gd name="connsiteY1560" fmla="*/ 188791 h 798267"/>
              <a:gd name="connsiteX1561" fmla="*/ 383543 w 682417"/>
              <a:gd name="connsiteY1561" fmla="*/ 191039 h 798267"/>
              <a:gd name="connsiteX1562" fmla="*/ 386258 w 682417"/>
              <a:gd name="connsiteY1562" fmla="*/ 229759 h 798267"/>
              <a:gd name="connsiteX1563" fmla="*/ 386429 w 682417"/>
              <a:gd name="connsiteY1563" fmla="*/ 235588 h 798267"/>
              <a:gd name="connsiteX1564" fmla="*/ 386220 w 682417"/>
              <a:gd name="connsiteY1564" fmla="*/ 229720 h 798267"/>
              <a:gd name="connsiteX1565" fmla="*/ 391354 w 682417"/>
              <a:gd name="connsiteY1565" fmla="*/ 220234 h 798267"/>
              <a:gd name="connsiteX1566" fmla="*/ 387401 w 682417"/>
              <a:gd name="connsiteY1566" fmla="*/ 223034 h 798267"/>
              <a:gd name="connsiteX1567" fmla="*/ 391354 w 682417"/>
              <a:gd name="connsiteY1567" fmla="*/ 220157 h 798267"/>
              <a:gd name="connsiteX1568" fmla="*/ 391897 w 682417"/>
              <a:gd name="connsiteY1568" fmla="*/ 230711 h 798267"/>
              <a:gd name="connsiteX1569" fmla="*/ 397145 w 682417"/>
              <a:gd name="connsiteY1569" fmla="*/ 233930 h 798267"/>
              <a:gd name="connsiteX1570" fmla="*/ 398097 w 682417"/>
              <a:gd name="connsiteY1570" fmla="*/ 228292 h 798267"/>
              <a:gd name="connsiteX1571" fmla="*/ 391935 w 682417"/>
              <a:gd name="connsiteY1571" fmla="*/ 230673 h 798267"/>
              <a:gd name="connsiteX1572" fmla="*/ 395859 w 682417"/>
              <a:gd name="connsiteY1572" fmla="*/ 220957 h 798267"/>
              <a:gd name="connsiteX1573" fmla="*/ 395097 w 682417"/>
              <a:gd name="connsiteY1573" fmla="*/ 225463 h 798267"/>
              <a:gd name="connsiteX1574" fmla="*/ 395859 w 682417"/>
              <a:gd name="connsiteY1574" fmla="*/ 220919 h 798267"/>
              <a:gd name="connsiteX1575" fmla="*/ 404365 w 682417"/>
              <a:gd name="connsiteY1575" fmla="*/ 205013 h 798267"/>
              <a:gd name="connsiteX1576" fmla="*/ 398536 w 682417"/>
              <a:gd name="connsiteY1576" fmla="*/ 205184 h 798267"/>
              <a:gd name="connsiteX1577" fmla="*/ 398707 w 682417"/>
              <a:gd name="connsiteY1577" fmla="*/ 211004 h 798267"/>
              <a:gd name="connsiteX1578" fmla="*/ 401726 w 682417"/>
              <a:gd name="connsiteY1578" fmla="*/ 206879 h 798267"/>
              <a:gd name="connsiteX1579" fmla="*/ 404365 w 682417"/>
              <a:gd name="connsiteY1579" fmla="*/ 204974 h 798267"/>
              <a:gd name="connsiteX1580" fmla="*/ 410385 w 682417"/>
              <a:gd name="connsiteY1580" fmla="*/ 203717 h 798267"/>
              <a:gd name="connsiteX1581" fmla="*/ 408480 w 682417"/>
              <a:gd name="connsiteY1581" fmla="*/ 201079 h 798267"/>
              <a:gd name="connsiteX1582" fmla="*/ 406575 w 682417"/>
              <a:gd name="connsiteY1582" fmla="*/ 205394 h 798267"/>
              <a:gd name="connsiteX1583" fmla="*/ 408823 w 682417"/>
              <a:gd name="connsiteY1583" fmla="*/ 205775 h 798267"/>
              <a:gd name="connsiteX1584" fmla="*/ 410385 w 682417"/>
              <a:gd name="connsiteY1584" fmla="*/ 203689 h 798267"/>
              <a:gd name="connsiteX1585" fmla="*/ 410385 w 682417"/>
              <a:gd name="connsiteY1585" fmla="*/ 217624 h 798267"/>
              <a:gd name="connsiteX1586" fmla="*/ 413375 w 682417"/>
              <a:gd name="connsiteY1586" fmla="*/ 220481 h 798267"/>
              <a:gd name="connsiteX1587" fmla="*/ 410347 w 682417"/>
              <a:gd name="connsiteY1587" fmla="*/ 217586 h 798267"/>
              <a:gd name="connsiteX1588" fmla="*/ 416614 w 682417"/>
              <a:gd name="connsiteY1588" fmla="*/ 208242 h 798267"/>
              <a:gd name="connsiteX1589" fmla="*/ 413423 w 682417"/>
              <a:gd name="connsiteY1589" fmla="*/ 206537 h 798267"/>
              <a:gd name="connsiteX1590" fmla="*/ 414709 w 682417"/>
              <a:gd name="connsiteY1590" fmla="*/ 212556 h 798267"/>
              <a:gd name="connsiteX1591" fmla="*/ 416966 w 682417"/>
              <a:gd name="connsiteY1591" fmla="*/ 212937 h 798267"/>
              <a:gd name="connsiteX1592" fmla="*/ 416576 w 682417"/>
              <a:gd name="connsiteY1592" fmla="*/ 208203 h 798267"/>
              <a:gd name="connsiteX1593" fmla="*/ 415890 w 682417"/>
              <a:gd name="connsiteY1593" fmla="*/ 198840 h 798267"/>
              <a:gd name="connsiteX1594" fmla="*/ 417195 w 682417"/>
              <a:gd name="connsiteY1594" fmla="*/ 197888 h 798267"/>
              <a:gd name="connsiteX1595" fmla="*/ 415119 w 682417"/>
              <a:gd name="connsiteY1595" fmla="*/ 203336 h 798267"/>
              <a:gd name="connsiteX1596" fmla="*/ 418500 w 682417"/>
              <a:gd name="connsiteY1596" fmla="*/ 203908 h 798267"/>
              <a:gd name="connsiteX1597" fmla="*/ 415852 w 682417"/>
              <a:gd name="connsiteY1597" fmla="*/ 198802 h 798267"/>
              <a:gd name="connsiteX1598" fmla="*/ 489737 w 682417"/>
              <a:gd name="connsiteY1598" fmla="*/ 132537 h 798267"/>
              <a:gd name="connsiteX1599" fmla="*/ 496862 w 682417"/>
              <a:gd name="connsiteY1599" fmla="*/ 138385 h 798267"/>
              <a:gd name="connsiteX1600" fmla="*/ 501005 w 682417"/>
              <a:gd name="connsiteY1600" fmla="*/ 134451 h 798267"/>
              <a:gd name="connsiteX1601" fmla="*/ 500263 w 682417"/>
              <a:gd name="connsiteY1601" fmla="*/ 132003 h 798267"/>
              <a:gd name="connsiteX1602" fmla="*/ 503263 w 682417"/>
              <a:gd name="connsiteY1602" fmla="*/ 134861 h 798267"/>
              <a:gd name="connsiteX1603" fmla="*/ 503091 w 682417"/>
              <a:gd name="connsiteY1603" fmla="*/ 129032 h 798267"/>
              <a:gd name="connsiteX1604" fmla="*/ 498386 w 682417"/>
              <a:gd name="connsiteY1604" fmla="*/ 129394 h 798267"/>
              <a:gd name="connsiteX1605" fmla="*/ 496881 w 682417"/>
              <a:gd name="connsiteY1605" fmla="*/ 131461 h 798267"/>
              <a:gd name="connsiteX1606" fmla="*/ 493881 w 682417"/>
              <a:gd name="connsiteY1606" fmla="*/ 128603 h 798267"/>
              <a:gd name="connsiteX1607" fmla="*/ 491242 w 682417"/>
              <a:gd name="connsiteY1607" fmla="*/ 130508 h 798267"/>
              <a:gd name="connsiteX1608" fmla="*/ 489699 w 682417"/>
              <a:gd name="connsiteY1608" fmla="*/ 132499 h 798267"/>
              <a:gd name="connsiteX1609" fmla="*/ 457086 w 682417"/>
              <a:gd name="connsiteY1609" fmla="*/ 181486 h 798267"/>
              <a:gd name="connsiteX1610" fmla="*/ 455028 w 682417"/>
              <a:gd name="connsiteY1610" fmla="*/ 179981 h 798267"/>
              <a:gd name="connsiteX1611" fmla="*/ 454276 w 682417"/>
              <a:gd name="connsiteY1611" fmla="*/ 177533 h 798267"/>
              <a:gd name="connsiteX1612" fmla="*/ 449189 w 682417"/>
              <a:gd name="connsiteY1612" fmla="*/ 187058 h 798267"/>
              <a:gd name="connsiteX1613" fmla="*/ 446180 w 682417"/>
              <a:gd name="connsiteY1613" fmla="*/ 184200 h 798267"/>
              <a:gd name="connsiteX1614" fmla="*/ 456133 w 682417"/>
              <a:gd name="connsiteY1614" fmla="*/ 187058 h 798267"/>
              <a:gd name="connsiteX1615" fmla="*/ 457048 w 682417"/>
              <a:gd name="connsiteY1615" fmla="*/ 181448 h 798267"/>
              <a:gd name="connsiteX1616" fmla="*/ 473278 w 682417"/>
              <a:gd name="connsiteY1616" fmla="*/ 181905 h 798267"/>
              <a:gd name="connsiteX1617" fmla="*/ 468220 w 682417"/>
              <a:gd name="connsiteY1617" fmla="*/ 177571 h 798267"/>
              <a:gd name="connsiteX1618" fmla="*/ 462210 w 682417"/>
              <a:gd name="connsiteY1618" fmla="*/ 171913 h 798267"/>
              <a:gd name="connsiteX1619" fmla="*/ 462210 w 682417"/>
              <a:gd name="connsiteY1619" fmla="*/ 178876 h 798267"/>
              <a:gd name="connsiteX1620" fmla="*/ 466725 w 682417"/>
              <a:gd name="connsiteY1620" fmla="*/ 179638 h 798267"/>
              <a:gd name="connsiteX1621" fmla="*/ 468982 w 682417"/>
              <a:gd name="connsiteY1621" fmla="*/ 180019 h 798267"/>
              <a:gd name="connsiteX1622" fmla="*/ 467468 w 682417"/>
              <a:gd name="connsiteY1622" fmla="*/ 182076 h 798267"/>
              <a:gd name="connsiteX1623" fmla="*/ 462020 w 682417"/>
              <a:gd name="connsiteY1623" fmla="*/ 180000 h 798267"/>
              <a:gd name="connsiteX1624" fmla="*/ 473212 w 682417"/>
              <a:gd name="connsiteY1624" fmla="*/ 181867 h 798267"/>
              <a:gd name="connsiteX1625" fmla="*/ 485089 w 682417"/>
              <a:gd name="connsiteY1625" fmla="*/ 166541 h 798267"/>
              <a:gd name="connsiteX1626" fmla="*/ 484137 w 682417"/>
              <a:gd name="connsiteY1626" fmla="*/ 172180 h 798267"/>
              <a:gd name="connsiteX1627" fmla="*/ 485089 w 682417"/>
              <a:gd name="connsiteY1627" fmla="*/ 166541 h 798267"/>
              <a:gd name="connsiteX1628" fmla="*/ 493900 w 682417"/>
              <a:gd name="connsiteY1628" fmla="*/ 176152 h 798267"/>
              <a:gd name="connsiteX1629" fmla="*/ 493900 w 682417"/>
              <a:gd name="connsiteY1629" fmla="*/ 176152 h 798267"/>
              <a:gd name="connsiteX1630" fmla="*/ 495100 w 682417"/>
              <a:gd name="connsiteY1630" fmla="*/ 148529 h 798267"/>
              <a:gd name="connsiteX1631" fmla="*/ 490976 w 682417"/>
              <a:gd name="connsiteY1631" fmla="*/ 145500 h 798267"/>
              <a:gd name="connsiteX1632" fmla="*/ 489280 w 682417"/>
              <a:gd name="connsiteY1632" fmla="*/ 148701 h 798267"/>
              <a:gd name="connsiteX1633" fmla="*/ 487042 w 682417"/>
              <a:gd name="connsiteY1633" fmla="*/ 141357 h 798267"/>
              <a:gd name="connsiteX1634" fmla="*/ 482155 w 682417"/>
              <a:gd name="connsiteY1634" fmla="*/ 142852 h 798267"/>
              <a:gd name="connsiteX1635" fmla="*/ 476326 w 682417"/>
              <a:gd name="connsiteY1635" fmla="*/ 143024 h 798267"/>
              <a:gd name="connsiteX1636" fmla="*/ 475374 w 682417"/>
              <a:gd name="connsiteY1636" fmla="*/ 141709 h 798267"/>
              <a:gd name="connsiteX1637" fmla="*/ 470868 w 682417"/>
              <a:gd name="connsiteY1637" fmla="*/ 140938 h 798267"/>
              <a:gd name="connsiteX1638" fmla="*/ 472373 w 682417"/>
              <a:gd name="connsiteY1638" fmla="*/ 138871 h 798267"/>
              <a:gd name="connsiteX1639" fmla="*/ 466906 w 682417"/>
              <a:gd name="connsiteY1639" fmla="*/ 143748 h 798267"/>
              <a:gd name="connsiteX1640" fmla="*/ 465782 w 682417"/>
              <a:gd name="connsiteY1640" fmla="*/ 143557 h 798267"/>
              <a:gd name="connsiteX1641" fmla="*/ 466525 w 682417"/>
              <a:gd name="connsiteY1641" fmla="*/ 146005 h 798267"/>
              <a:gd name="connsiteX1642" fmla="*/ 459381 w 682417"/>
              <a:gd name="connsiteY1642" fmla="*/ 147110 h 798267"/>
              <a:gd name="connsiteX1643" fmla="*/ 455819 w 682417"/>
              <a:gd name="connsiteY1643" fmla="*/ 147663 h 798267"/>
              <a:gd name="connsiteX1644" fmla="*/ 457876 w 682417"/>
              <a:gd name="connsiteY1644" fmla="*/ 149167 h 798267"/>
              <a:gd name="connsiteX1645" fmla="*/ 456362 w 682417"/>
              <a:gd name="connsiteY1645" fmla="*/ 151234 h 798267"/>
              <a:gd name="connsiteX1646" fmla="*/ 461258 w 682417"/>
              <a:gd name="connsiteY1646" fmla="*/ 149749 h 798267"/>
              <a:gd name="connsiteX1647" fmla="*/ 467830 w 682417"/>
              <a:gd name="connsiteY1647" fmla="*/ 152015 h 798267"/>
              <a:gd name="connsiteX1648" fmla="*/ 469525 w 682417"/>
              <a:gd name="connsiteY1648" fmla="*/ 148825 h 798267"/>
              <a:gd name="connsiteX1649" fmla="*/ 473659 w 682417"/>
              <a:gd name="connsiteY1649" fmla="*/ 151844 h 798267"/>
              <a:gd name="connsiteX1650" fmla="*/ 471021 w 682417"/>
              <a:gd name="connsiteY1650" fmla="*/ 153749 h 798267"/>
              <a:gd name="connsiteX1651" fmla="*/ 468954 w 682417"/>
              <a:gd name="connsiteY1651" fmla="*/ 152235 h 798267"/>
              <a:gd name="connsiteX1652" fmla="*/ 465744 w 682417"/>
              <a:gd name="connsiteY1652" fmla="*/ 157483 h 798267"/>
              <a:gd name="connsiteX1653" fmla="*/ 471764 w 682417"/>
              <a:gd name="connsiteY1653" fmla="*/ 156197 h 798267"/>
              <a:gd name="connsiteX1654" fmla="*/ 477012 w 682417"/>
              <a:gd name="connsiteY1654" fmla="*/ 159397 h 798267"/>
              <a:gd name="connsiteX1655" fmla="*/ 478698 w 682417"/>
              <a:gd name="connsiteY1655" fmla="*/ 163160 h 798267"/>
              <a:gd name="connsiteX1656" fmla="*/ 480603 w 682417"/>
              <a:gd name="connsiteY1656" fmla="*/ 158845 h 798267"/>
              <a:gd name="connsiteX1657" fmla="*/ 484908 w 682417"/>
              <a:gd name="connsiteY1657" fmla="*/ 160750 h 798267"/>
              <a:gd name="connsiteX1658" fmla="*/ 488671 w 682417"/>
              <a:gd name="connsiteY1658" fmla="*/ 159073 h 798267"/>
              <a:gd name="connsiteX1659" fmla="*/ 490376 w 682417"/>
              <a:gd name="connsiteY1659" fmla="*/ 155883 h 798267"/>
              <a:gd name="connsiteX1660" fmla="*/ 496195 w 682417"/>
              <a:gd name="connsiteY1660" fmla="*/ 155711 h 798267"/>
              <a:gd name="connsiteX1661" fmla="*/ 495100 w 682417"/>
              <a:gd name="connsiteY1661" fmla="*/ 148491 h 798267"/>
              <a:gd name="connsiteX1662" fmla="*/ 501634 w 682417"/>
              <a:gd name="connsiteY1662" fmla="*/ 164722 h 798267"/>
              <a:gd name="connsiteX1663" fmla="*/ 504263 w 682417"/>
              <a:gd name="connsiteY1663" fmla="*/ 162817 h 798267"/>
              <a:gd name="connsiteX1664" fmla="*/ 497491 w 682417"/>
              <a:gd name="connsiteY1664" fmla="*/ 168618 h 798267"/>
              <a:gd name="connsiteX1665" fmla="*/ 504244 w 682417"/>
              <a:gd name="connsiteY1665" fmla="*/ 169770 h 798267"/>
              <a:gd name="connsiteX1666" fmla="*/ 501634 w 682417"/>
              <a:gd name="connsiteY1666" fmla="*/ 164636 h 798267"/>
              <a:gd name="connsiteX1667" fmla="*/ 505625 w 682417"/>
              <a:gd name="connsiteY1667" fmla="*/ 148005 h 798267"/>
              <a:gd name="connsiteX1668" fmla="*/ 496414 w 682417"/>
              <a:gd name="connsiteY1668" fmla="*/ 147605 h 798267"/>
              <a:gd name="connsiteX1669" fmla="*/ 505987 w 682417"/>
              <a:gd name="connsiteY1669" fmla="*/ 152711 h 798267"/>
              <a:gd name="connsiteX1670" fmla="*/ 505625 w 682417"/>
              <a:gd name="connsiteY1670" fmla="*/ 147948 h 798267"/>
              <a:gd name="connsiteX1671" fmla="*/ 509435 w 682417"/>
              <a:gd name="connsiteY1671" fmla="*/ 125469 h 798267"/>
              <a:gd name="connsiteX1672" fmla="*/ 504577 w 682417"/>
              <a:gd name="connsiteY1672" fmla="*/ 120011 h 798267"/>
              <a:gd name="connsiteX1673" fmla="*/ 503806 w 682417"/>
              <a:gd name="connsiteY1673" fmla="*/ 124517 h 798267"/>
              <a:gd name="connsiteX1674" fmla="*/ 509445 w 682417"/>
              <a:gd name="connsiteY1674" fmla="*/ 125412 h 798267"/>
              <a:gd name="connsiteX1675" fmla="*/ 514055 w 682417"/>
              <a:gd name="connsiteY1675" fmla="*/ 152920 h 798267"/>
              <a:gd name="connsiteX1676" fmla="*/ 509921 w 682417"/>
              <a:gd name="connsiteY1676" fmla="*/ 156854 h 798267"/>
              <a:gd name="connsiteX1677" fmla="*/ 514064 w 682417"/>
              <a:gd name="connsiteY1677" fmla="*/ 152863 h 798267"/>
              <a:gd name="connsiteX1678" fmla="*/ 517417 w 682417"/>
              <a:gd name="connsiteY1678" fmla="*/ 160445 h 798267"/>
              <a:gd name="connsiteX1679" fmla="*/ 517617 w 682417"/>
              <a:gd name="connsiteY1679" fmla="*/ 159321 h 798267"/>
              <a:gd name="connsiteX1680" fmla="*/ 518360 w 682417"/>
              <a:gd name="connsiteY1680" fmla="*/ 161769 h 798267"/>
              <a:gd name="connsiteX1681" fmla="*/ 517427 w 682417"/>
              <a:gd name="connsiteY1681" fmla="*/ 160388 h 798267"/>
              <a:gd name="connsiteX1682" fmla="*/ 526152 w 682417"/>
              <a:gd name="connsiteY1682" fmla="*/ 129470 h 798267"/>
              <a:gd name="connsiteX1683" fmla="*/ 520903 w 682417"/>
              <a:gd name="connsiteY1683" fmla="*/ 126260 h 798267"/>
              <a:gd name="connsiteX1684" fmla="*/ 517141 w 682417"/>
              <a:gd name="connsiteY1684" fmla="*/ 127936 h 798267"/>
              <a:gd name="connsiteX1685" fmla="*/ 510950 w 682417"/>
              <a:gd name="connsiteY1685" fmla="*/ 123412 h 798267"/>
              <a:gd name="connsiteX1686" fmla="*/ 519198 w 682417"/>
              <a:gd name="connsiteY1686" fmla="*/ 129451 h 798267"/>
              <a:gd name="connsiteX1687" fmla="*/ 520884 w 682417"/>
              <a:gd name="connsiteY1687" fmla="*/ 133213 h 798267"/>
              <a:gd name="connsiteX1688" fmla="*/ 526161 w 682417"/>
              <a:gd name="connsiteY1688" fmla="*/ 129394 h 798267"/>
              <a:gd name="connsiteX1689" fmla="*/ 544592 w 682417"/>
              <a:gd name="connsiteY1689" fmla="*/ 123317 h 798267"/>
              <a:gd name="connsiteX1690" fmla="*/ 546668 w 682417"/>
              <a:gd name="connsiteY1690" fmla="*/ 117878 h 798267"/>
              <a:gd name="connsiteX1691" fmla="*/ 544601 w 682417"/>
              <a:gd name="connsiteY1691" fmla="*/ 123259 h 798267"/>
              <a:gd name="connsiteX1692" fmla="*/ 541934 w 682417"/>
              <a:gd name="connsiteY1692" fmla="*/ 132146 h 798267"/>
              <a:gd name="connsiteX1693" fmla="*/ 543992 w 682417"/>
              <a:gd name="connsiteY1693" fmla="*/ 133651 h 798267"/>
              <a:gd name="connsiteX1694" fmla="*/ 546430 w 682417"/>
              <a:gd name="connsiteY1694" fmla="*/ 132908 h 798267"/>
              <a:gd name="connsiteX1695" fmla="*/ 545325 w 682417"/>
              <a:gd name="connsiteY1695" fmla="*/ 125765 h 798267"/>
              <a:gd name="connsiteX1696" fmla="*/ 541953 w 682417"/>
              <a:gd name="connsiteY1696" fmla="*/ 125193 h 798267"/>
              <a:gd name="connsiteX1697" fmla="*/ 536296 w 682417"/>
              <a:gd name="connsiteY1697" fmla="*/ 131184 h 798267"/>
              <a:gd name="connsiteX1698" fmla="*/ 532171 w 682417"/>
              <a:gd name="connsiteY1698" fmla="*/ 128174 h 798267"/>
              <a:gd name="connsiteX1699" fmla="*/ 528771 w 682417"/>
              <a:gd name="connsiteY1699" fmla="*/ 134547 h 798267"/>
              <a:gd name="connsiteX1700" fmla="*/ 532324 w 682417"/>
              <a:gd name="connsiteY1700" fmla="*/ 140947 h 798267"/>
              <a:gd name="connsiteX1701" fmla="*/ 534981 w 682417"/>
              <a:gd name="connsiteY1701" fmla="*/ 132127 h 798267"/>
              <a:gd name="connsiteX1702" fmla="*/ 537972 w 682417"/>
              <a:gd name="connsiteY1702" fmla="*/ 134985 h 798267"/>
              <a:gd name="connsiteX1703" fmla="*/ 541944 w 682417"/>
              <a:gd name="connsiteY1703" fmla="*/ 132089 h 798267"/>
              <a:gd name="connsiteX1704" fmla="*/ 546240 w 682417"/>
              <a:gd name="connsiteY1704" fmla="*/ 134051 h 798267"/>
              <a:gd name="connsiteX1705" fmla="*/ 542677 w 682417"/>
              <a:gd name="connsiteY1705" fmla="*/ 134613 h 798267"/>
              <a:gd name="connsiteX1706" fmla="*/ 541725 w 682417"/>
              <a:gd name="connsiteY1706" fmla="*/ 140243 h 798267"/>
              <a:gd name="connsiteX1707" fmla="*/ 546240 w 682417"/>
              <a:gd name="connsiteY1707" fmla="*/ 133975 h 798267"/>
              <a:gd name="connsiteX1708" fmla="*/ 552326 w 682417"/>
              <a:gd name="connsiteY1708" fmla="*/ 111906 h 798267"/>
              <a:gd name="connsiteX1709" fmla="*/ 550240 w 682417"/>
              <a:gd name="connsiteY1709" fmla="*/ 117344 h 798267"/>
              <a:gd name="connsiteX1710" fmla="*/ 553812 w 682417"/>
              <a:gd name="connsiteY1710" fmla="*/ 116792 h 798267"/>
              <a:gd name="connsiteX1711" fmla="*/ 552336 w 682417"/>
              <a:gd name="connsiteY1711" fmla="*/ 111829 h 798267"/>
              <a:gd name="connsiteX1712" fmla="*/ 559460 w 682417"/>
              <a:gd name="connsiteY1712" fmla="*/ 49345 h 798267"/>
              <a:gd name="connsiteX1713" fmla="*/ 557555 w 682417"/>
              <a:gd name="connsiteY1713" fmla="*/ 46707 h 798267"/>
              <a:gd name="connsiteX1714" fmla="*/ 555108 w 682417"/>
              <a:gd name="connsiteY1714" fmla="*/ 47460 h 798267"/>
              <a:gd name="connsiteX1715" fmla="*/ 559470 w 682417"/>
              <a:gd name="connsiteY1715" fmla="*/ 49269 h 798267"/>
              <a:gd name="connsiteX1716" fmla="*/ 558270 w 682417"/>
              <a:gd name="connsiteY1716" fmla="*/ 70015 h 798267"/>
              <a:gd name="connsiteX1717" fmla="*/ 561480 w 682417"/>
              <a:gd name="connsiteY1717" fmla="*/ 64766 h 798267"/>
              <a:gd name="connsiteX1718" fmla="*/ 553593 w 682417"/>
              <a:gd name="connsiteY1718" fmla="*/ 63423 h 798267"/>
              <a:gd name="connsiteX1719" fmla="*/ 551898 w 682417"/>
              <a:gd name="connsiteY1719" fmla="*/ 66614 h 798267"/>
              <a:gd name="connsiteX1720" fmla="*/ 552431 w 682417"/>
              <a:gd name="connsiteY1720" fmla="*/ 77139 h 798267"/>
              <a:gd name="connsiteX1721" fmla="*/ 558279 w 682417"/>
              <a:gd name="connsiteY1721" fmla="*/ 69939 h 798267"/>
              <a:gd name="connsiteX1722" fmla="*/ 563385 w 682417"/>
              <a:gd name="connsiteY1722" fmla="*/ 121897 h 798267"/>
              <a:gd name="connsiteX1723" fmla="*/ 559441 w 682417"/>
              <a:gd name="connsiteY1723" fmla="*/ 117745 h 798267"/>
              <a:gd name="connsiteX1724" fmla="*/ 557536 w 682417"/>
              <a:gd name="connsiteY1724" fmla="*/ 115106 h 798267"/>
              <a:gd name="connsiteX1725" fmla="*/ 556193 w 682417"/>
              <a:gd name="connsiteY1725" fmla="*/ 122993 h 798267"/>
              <a:gd name="connsiteX1726" fmla="*/ 563385 w 682417"/>
              <a:gd name="connsiteY1726" fmla="*/ 121821 h 798267"/>
              <a:gd name="connsiteX1727" fmla="*/ 571129 w 682417"/>
              <a:gd name="connsiteY1727" fmla="*/ 42049 h 798267"/>
              <a:gd name="connsiteX1728" fmla="*/ 569224 w 682417"/>
              <a:gd name="connsiteY1728" fmla="*/ 46374 h 798267"/>
              <a:gd name="connsiteX1729" fmla="*/ 571138 w 682417"/>
              <a:gd name="connsiteY1729" fmla="*/ 41973 h 798267"/>
              <a:gd name="connsiteX1730" fmla="*/ 592274 w 682417"/>
              <a:gd name="connsiteY1730" fmla="*/ 74625 h 798267"/>
              <a:gd name="connsiteX1731" fmla="*/ 596027 w 682417"/>
              <a:gd name="connsiteY1731" fmla="*/ 72939 h 798267"/>
              <a:gd name="connsiteX1732" fmla="*/ 593779 w 682417"/>
              <a:gd name="connsiteY1732" fmla="*/ 72558 h 798267"/>
              <a:gd name="connsiteX1733" fmla="*/ 592284 w 682417"/>
              <a:gd name="connsiteY1733" fmla="*/ 74549 h 798267"/>
              <a:gd name="connsiteX1734" fmla="*/ 584873 w 682417"/>
              <a:gd name="connsiteY1734" fmla="*/ 97713 h 798267"/>
              <a:gd name="connsiteX1735" fmla="*/ 583387 w 682417"/>
              <a:gd name="connsiteY1735" fmla="*/ 92827 h 798267"/>
              <a:gd name="connsiteX1736" fmla="*/ 584883 w 682417"/>
              <a:gd name="connsiteY1736" fmla="*/ 97637 h 798267"/>
              <a:gd name="connsiteX1737" fmla="*/ 572767 w 682417"/>
              <a:gd name="connsiteY1737" fmla="*/ 128117 h 798267"/>
              <a:gd name="connsiteX1738" fmla="*/ 575015 w 682417"/>
              <a:gd name="connsiteY1738" fmla="*/ 128498 h 798267"/>
              <a:gd name="connsiteX1739" fmla="*/ 575405 w 682417"/>
              <a:gd name="connsiteY1739" fmla="*/ 126250 h 798267"/>
              <a:gd name="connsiteX1740" fmla="*/ 573148 w 682417"/>
              <a:gd name="connsiteY1740" fmla="*/ 125869 h 798267"/>
              <a:gd name="connsiteX1741" fmla="*/ 572776 w 682417"/>
              <a:gd name="connsiteY1741" fmla="*/ 128041 h 798267"/>
              <a:gd name="connsiteX1742" fmla="*/ 574224 w 682417"/>
              <a:gd name="connsiteY1742" fmla="*/ 139966 h 798267"/>
              <a:gd name="connsiteX1743" fmla="*/ 574224 w 682417"/>
              <a:gd name="connsiteY1743" fmla="*/ 139966 h 798267"/>
              <a:gd name="connsiteX1744" fmla="*/ 578034 w 682417"/>
              <a:gd name="connsiteY1744" fmla="*/ 131327 h 798267"/>
              <a:gd name="connsiteX1745" fmla="*/ 574815 w 682417"/>
              <a:gd name="connsiteY1745" fmla="*/ 136585 h 798267"/>
              <a:gd name="connsiteX1746" fmla="*/ 578025 w 682417"/>
              <a:gd name="connsiteY1746" fmla="*/ 131299 h 798267"/>
              <a:gd name="connsiteX1747" fmla="*/ 594455 w 682417"/>
              <a:gd name="connsiteY1747" fmla="*/ 102724 h 798267"/>
              <a:gd name="connsiteX1748" fmla="*/ 589198 w 682417"/>
              <a:gd name="connsiteY1748" fmla="*/ 99504 h 798267"/>
              <a:gd name="connsiteX1749" fmla="*/ 585435 w 682417"/>
              <a:gd name="connsiteY1749" fmla="*/ 101190 h 798267"/>
              <a:gd name="connsiteX1750" fmla="*/ 584673 w 682417"/>
              <a:gd name="connsiteY1750" fmla="*/ 105695 h 798267"/>
              <a:gd name="connsiteX1751" fmla="*/ 577548 w 682417"/>
              <a:gd name="connsiteY1751" fmla="*/ 99857 h 798267"/>
              <a:gd name="connsiteX1752" fmla="*/ 577901 w 682417"/>
              <a:gd name="connsiteY1752" fmla="*/ 104552 h 798267"/>
              <a:gd name="connsiteX1753" fmla="*/ 582225 w 682417"/>
              <a:gd name="connsiteY1753" fmla="*/ 106457 h 798267"/>
              <a:gd name="connsiteX1754" fmla="*/ 577320 w 682417"/>
              <a:gd name="connsiteY1754" fmla="*/ 114897 h 798267"/>
              <a:gd name="connsiteX1755" fmla="*/ 585759 w 682417"/>
              <a:gd name="connsiteY1755" fmla="*/ 119802 h 798267"/>
              <a:gd name="connsiteX1756" fmla="*/ 587264 w 682417"/>
              <a:gd name="connsiteY1756" fmla="*/ 117745 h 798267"/>
              <a:gd name="connsiteX1757" fmla="*/ 585035 w 682417"/>
              <a:gd name="connsiteY1757" fmla="*/ 110410 h 798267"/>
              <a:gd name="connsiteX1758" fmla="*/ 582016 w 682417"/>
              <a:gd name="connsiteY1758" fmla="*/ 114535 h 798267"/>
              <a:gd name="connsiteX1759" fmla="*/ 581273 w 682417"/>
              <a:gd name="connsiteY1759" fmla="*/ 112087 h 798267"/>
              <a:gd name="connsiteX1760" fmla="*/ 585607 w 682417"/>
              <a:gd name="connsiteY1760" fmla="*/ 107029 h 798267"/>
              <a:gd name="connsiteX1761" fmla="*/ 587664 w 682417"/>
              <a:gd name="connsiteY1761" fmla="*/ 108534 h 798267"/>
              <a:gd name="connsiteX1762" fmla="*/ 589369 w 682417"/>
              <a:gd name="connsiteY1762" fmla="*/ 105343 h 798267"/>
              <a:gd name="connsiteX1763" fmla="*/ 592369 w 682417"/>
              <a:gd name="connsiteY1763" fmla="*/ 108200 h 798267"/>
              <a:gd name="connsiteX1764" fmla="*/ 594455 w 682417"/>
              <a:gd name="connsiteY1764" fmla="*/ 102724 h 798267"/>
              <a:gd name="connsiteX1765" fmla="*/ 606838 w 682417"/>
              <a:gd name="connsiteY1765" fmla="*/ 97866 h 798267"/>
              <a:gd name="connsiteX1766" fmla="*/ 592922 w 682417"/>
              <a:gd name="connsiteY1766" fmla="*/ 97866 h 798267"/>
              <a:gd name="connsiteX1767" fmla="*/ 596732 w 682417"/>
              <a:gd name="connsiteY1767" fmla="*/ 96189 h 798267"/>
              <a:gd name="connsiteX1768" fmla="*/ 598408 w 682417"/>
              <a:gd name="connsiteY1768" fmla="*/ 99952 h 798267"/>
              <a:gd name="connsiteX1769" fmla="*/ 598989 w 682417"/>
              <a:gd name="connsiteY1769" fmla="*/ 96570 h 798267"/>
              <a:gd name="connsiteX1770" fmla="*/ 602151 w 682417"/>
              <a:gd name="connsiteY1770" fmla="*/ 105229 h 798267"/>
              <a:gd name="connsiteX1771" fmla="*/ 603104 w 682417"/>
              <a:gd name="connsiteY1771" fmla="*/ 99590 h 798267"/>
              <a:gd name="connsiteX1772" fmla="*/ 606876 w 682417"/>
              <a:gd name="connsiteY1772" fmla="*/ 97885 h 798267"/>
              <a:gd name="connsiteX1773" fmla="*/ 487289 w 682417"/>
              <a:gd name="connsiteY1773" fmla="*/ 379025 h 798267"/>
              <a:gd name="connsiteX1774" fmla="*/ 485975 w 682417"/>
              <a:gd name="connsiteY1774" fmla="*/ 379977 h 798267"/>
              <a:gd name="connsiteX1775" fmla="*/ 487651 w 682417"/>
              <a:gd name="connsiteY1775" fmla="*/ 383787 h 798267"/>
              <a:gd name="connsiteX1776" fmla="*/ 487289 w 682417"/>
              <a:gd name="connsiteY1776" fmla="*/ 379025 h 798267"/>
              <a:gd name="connsiteX1777" fmla="*/ 491185 w 682417"/>
              <a:gd name="connsiteY1777" fmla="*/ 397046 h 798267"/>
              <a:gd name="connsiteX1778" fmla="*/ 491738 w 682417"/>
              <a:gd name="connsiteY1778" fmla="*/ 400628 h 798267"/>
              <a:gd name="connsiteX1779" fmla="*/ 491185 w 682417"/>
              <a:gd name="connsiteY1779" fmla="*/ 397046 h 798267"/>
              <a:gd name="connsiteX1780" fmla="*/ 511121 w 682417"/>
              <a:gd name="connsiteY1780" fmla="*/ 388845 h 798267"/>
              <a:gd name="connsiteX1781" fmla="*/ 509807 w 682417"/>
              <a:gd name="connsiteY1781" fmla="*/ 389798 h 798267"/>
              <a:gd name="connsiteX1782" fmla="*/ 509426 w 682417"/>
              <a:gd name="connsiteY1782" fmla="*/ 392045 h 798267"/>
              <a:gd name="connsiteX1783" fmla="*/ 514121 w 682417"/>
              <a:gd name="connsiteY1783" fmla="*/ 391684 h 798267"/>
              <a:gd name="connsiteX1784" fmla="*/ 511121 w 682417"/>
              <a:gd name="connsiteY1784" fmla="*/ 388874 h 798267"/>
              <a:gd name="connsiteX1785" fmla="*/ 520303 w 682417"/>
              <a:gd name="connsiteY1785" fmla="*/ 334753 h 798267"/>
              <a:gd name="connsiteX1786" fmla="*/ 512026 w 682417"/>
              <a:gd name="connsiteY1786" fmla="*/ 335705 h 798267"/>
              <a:gd name="connsiteX1787" fmla="*/ 510721 w 682417"/>
              <a:gd name="connsiteY1787" fmla="*/ 336658 h 798267"/>
              <a:gd name="connsiteX1788" fmla="*/ 512626 w 682417"/>
              <a:gd name="connsiteY1788" fmla="*/ 339296 h 798267"/>
              <a:gd name="connsiteX1789" fmla="*/ 520303 w 682417"/>
              <a:gd name="connsiteY1789" fmla="*/ 334781 h 798267"/>
              <a:gd name="connsiteX1790" fmla="*/ 535486 w 682417"/>
              <a:gd name="connsiteY1790" fmla="*/ 347764 h 798267"/>
              <a:gd name="connsiteX1791" fmla="*/ 536258 w 682417"/>
              <a:gd name="connsiteY1791" fmla="*/ 343249 h 798267"/>
              <a:gd name="connsiteX1792" fmla="*/ 535486 w 682417"/>
              <a:gd name="connsiteY1792" fmla="*/ 347792 h 798267"/>
              <a:gd name="connsiteX1793" fmla="*/ 530247 w 682417"/>
              <a:gd name="connsiteY1793" fmla="*/ 337601 h 798267"/>
              <a:gd name="connsiteX1794" fmla="*/ 529866 w 682417"/>
              <a:gd name="connsiteY1794" fmla="*/ 339848 h 798267"/>
              <a:gd name="connsiteX1795" fmla="*/ 521408 w 682417"/>
              <a:gd name="connsiteY1795" fmla="*/ 341896 h 798267"/>
              <a:gd name="connsiteX1796" fmla="*/ 524789 w 682417"/>
              <a:gd name="connsiteY1796" fmla="*/ 342468 h 798267"/>
              <a:gd name="connsiteX1797" fmla="*/ 527790 w 682417"/>
              <a:gd name="connsiteY1797" fmla="*/ 345325 h 798267"/>
              <a:gd name="connsiteX1798" fmla="*/ 530247 w 682417"/>
              <a:gd name="connsiteY1798" fmla="*/ 337629 h 798267"/>
              <a:gd name="connsiteX1799" fmla="*/ 553964 w 682417"/>
              <a:gd name="connsiteY1799" fmla="*/ 259305 h 798267"/>
              <a:gd name="connsiteX1800" fmla="*/ 550231 w 682417"/>
              <a:gd name="connsiteY1800" fmla="*/ 254038 h 798267"/>
              <a:gd name="connsiteX1801" fmla="*/ 550755 w 682417"/>
              <a:gd name="connsiteY1801" fmla="*/ 264515 h 798267"/>
              <a:gd name="connsiteX1802" fmla="*/ 553964 w 682417"/>
              <a:gd name="connsiteY1802" fmla="*/ 259334 h 798267"/>
              <a:gd name="connsiteX1803" fmla="*/ 561480 w 682417"/>
              <a:gd name="connsiteY1803" fmla="*/ 255981 h 798267"/>
              <a:gd name="connsiteX1804" fmla="*/ 559575 w 682417"/>
              <a:gd name="connsiteY1804" fmla="*/ 260296 h 798267"/>
              <a:gd name="connsiteX1805" fmla="*/ 561480 w 682417"/>
              <a:gd name="connsiteY1805" fmla="*/ 255981 h 798267"/>
              <a:gd name="connsiteX1806" fmla="*/ 567509 w 682417"/>
              <a:gd name="connsiteY1806" fmla="*/ 247723 h 798267"/>
              <a:gd name="connsiteX1807" fmla="*/ 565261 w 682417"/>
              <a:gd name="connsiteY1807" fmla="*/ 247342 h 798267"/>
              <a:gd name="connsiteX1808" fmla="*/ 564880 w 682417"/>
              <a:gd name="connsiteY1808" fmla="*/ 249599 h 798267"/>
              <a:gd name="connsiteX1809" fmla="*/ 567128 w 682417"/>
              <a:gd name="connsiteY1809" fmla="*/ 249980 h 798267"/>
              <a:gd name="connsiteX1810" fmla="*/ 581882 w 682417"/>
              <a:gd name="connsiteY1810" fmla="*/ 224644 h 798267"/>
              <a:gd name="connsiteX1811" fmla="*/ 576805 w 682417"/>
              <a:gd name="connsiteY1811" fmla="*/ 227263 h 798267"/>
              <a:gd name="connsiteX1812" fmla="*/ 575853 w 682417"/>
              <a:gd name="connsiteY1812" fmla="*/ 225949 h 798267"/>
              <a:gd name="connsiteX1813" fmla="*/ 576215 w 682417"/>
              <a:gd name="connsiteY1813" fmla="*/ 230644 h 798267"/>
              <a:gd name="connsiteX1814" fmla="*/ 581882 w 682417"/>
              <a:gd name="connsiteY1814" fmla="*/ 224644 h 798267"/>
              <a:gd name="connsiteX1815" fmla="*/ 609905 w 682417"/>
              <a:gd name="connsiteY1815" fmla="*/ 216652 h 798267"/>
              <a:gd name="connsiteX1816" fmla="*/ 607657 w 682417"/>
              <a:gd name="connsiteY1816" fmla="*/ 216271 h 798267"/>
              <a:gd name="connsiteX1817" fmla="*/ 606523 w 682417"/>
              <a:gd name="connsiteY1817" fmla="*/ 216071 h 798267"/>
              <a:gd name="connsiteX1818" fmla="*/ 608428 w 682417"/>
              <a:gd name="connsiteY1818" fmla="*/ 218710 h 798267"/>
              <a:gd name="connsiteX1819" fmla="*/ 609905 w 682417"/>
              <a:gd name="connsiteY1819" fmla="*/ 216662 h 798267"/>
              <a:gd name="connsiteX1820" fmla="*/ 660387 w 682417"/>
              <a:gd name="connsiteY1820" fmla="*/ 103486 h 798267"/>
              <a:gd name="connsiteX1821" fmla="*/ 667169 w 682417"/>
              <a:gd name="connsiteY1821" fmla="*/ 97685 h 798267"/>
              <a:gd name="connsiteX1822" fmla="*/ 660406 w 682417"/>
              <a:gd name="connsiteY1822" fmla="*/ 103495 h 798267"/>
              <a:gd name="connsiteX1823" fmla="*/ 662292 w 682417"/>
              <a:gd name="connsiteY1823" fmla="*/ 92218 h 798267"/>
              <a:gd name="connsiteX1824" fmla="*/ 657787 w 682417"/>
              <a:gd name="connsiteY1824" fmla="*/ 91456 h 798267"/>
              <a:gd name="connsiteX1825" fmla="*/ 662321 w 682417"/>
              <a:gd name="connsiteY1825" fmla="*/ 92246 h 798267"/>
              <a:gd name="connsiteX1826" fmla="*/ 650862 w 682417"/>
              <a:gd name="connsiteY1826" fmla="*/ 91427 h 798267"/>
              <a:gd name="connsiteX1827" fmla="*/ 653120 w 682417"/>
              <a:gd name="connsiteY1827" fmla="*/ 91817 h 798267"/>
              <a:gd name="connsiteX1828" fmla="*/ 654825 w 682417"/>
              <a:gd name="connsiteY1828" fmla="*/ 88627 h 798267"/>
              <a:gd name="connsiteX1829" fmla="*/ 651434 w 682417"/>
              <a:gd name="connsiteY1829" fmla="*/ 88055 h 798267"/>
              <a:gd name="connsiteX1830" fmla="*/ 650653 w 682417"/>
              <a:gd name="connsiteY1830" fmla="*/ 99514 h 798267"/>
              <a:gd name="connsiteX1831" fmla="*/ 654463 w 682417"/>
              <a:gd name="connsiteY1831" fmla="*/ 97828 h 798267"/>
              <a:gd name="connsiteX1832" fmla="*/ 656539 w 682417"/>
              <a:gd name="connsiteY1832" fmla="*/ 92389 h 798267"/>
              <a:gd name="connsiteX1833" fmla="*/ 654291 w 682417"/>
              <a:gd name="connsiteY1833" fmla="*/ 92008 h 798267"/>
              <a:gd name="connsiteX1834" fmla="*/ 652777 w 682417"/>
              <a:gd name="connsiteY1834" fmla="*/ 94065 h 798267"/>
              <a:gd name="connsiteX1835" fmla="*/ 652586 w 682417"/>
              <a:gd name="connsiteY1835" fmla="*/ 95199 h 798267"/>
              <a:gd name="connsiteX1836" fmla="*/ 649948 w 682417"/>
              <a:gd name="connsiteY1836" fmla="*/ 97104 h 798267"/>
              <a:gd name="connsiteX1837" fmla="*/ 650643 w 682417"/>
              <a:gd name="connsiteY1837" fmla="*/ 99523 h 798267"/>
              <a:gd name="connsiteX1838" fmla="*/ 648157 w 682417"/>
              <a:gd name="connsiteY1838" fmla="*/ 66624 h 798267"/>
              <a:gd name="connsiteX1839" fmla="*/ 648157 w 682417"/>
              <a:gd name="connsiteY1839" fmla="*/ 66624 h 798267"/>
              <a:gd name="connsiteX1840" fmla="*/ 647481 w 682417"/>
              <a:gd name="connsiteY1840" fmla="*/ 104724 h 798267"/>
              <a:gd name="connsiteX1841" fmla="*/ 645776 w 682417"/>
              <a:gd name="connsiteY1841" fmla="*/ 107915 h 798267"/>
              <a:gd name="connsiteX1842" fmla="*/ 651996 w 682417"/>
              <a:gd name="connsiteY1842" fmla="*/ 105486 h 798267"/>
              <a:gd name="connsiteX1843" fmla="*/ 645614 w 682417"/>
              <a:gd name="connsiteY1843" fmla="*/ 102085 h 798267"/>
              <a:gd name="connsiteX1844" fmla="*/ 647433 w 682417"/>
              <a:gd name="connsiteY1844" fmla="*/ 104771 h 798267"/>
              <a:gd name="connsiteX1845" fmla="*/ 645204 w 682417"/>
              <a:gd name="connsiteY1845" fmla="*/ 111296 h 798267"/>
              <a:gd name="connsiteX1846" fmla="*/ 648395 w 682417"/>
              <a:gd name="connsiteY1846" fmla="*/ 113001 h 798267"/>
              <a:gd name="connsiteX1847" fmla="*/ 647081 w 682417"/>
              <a:gd name="connsiteY1847" fmla="*/ 113954 h 798267"/>
              <a:gd name="connsiteX1848" fmla="*/ 650291 w 682417"/>
              <a:gd name="connsiteY1848" fmla="*/ 108705 h 798267"/>
              <a:gd name="connsiteX1849" fmla="*/ 645157 w 682417"/>
              <a:gd name="connsiteY1849" fmla="*/ 111344 h 798267"/>
              <a:gd name="connsiteX1850" fmla="*/ 631384 w 682417"/>
              <a:gd name="connsiteY1850" fmla="*/ 83445 h 798267"/>
              <a:gd name="connsiteX1851" fmla="*/ 635508 w 682417"/>
              <a:gd name="connsiteY1851" fmla="*/ 86464 h 798267"/>
              <a:gd name="connsiteX1852" fmla="*/ 633832 w 682417"/>
              <a:gd name="connsiteY1852" fmla="*/ 82702 h 798267"/>
              <a:gd name="connsiteX1853" fmla="*/ 633660 w 682417"/>
              <a:gd name="connsiteY1853" fmla="*/ 76873 h 798267"/>
              <a:gd name="connsiteX1854" fmla="*/ 631336 w 682417"/>
              <a:gd name="connsiteY1854" fmla="*/ 83493 h 798267"/>
              <a:gd name="connsiteX1855" fmla="*/ 617392 w 682417"/>
              <a:gd name="connsiteY1855" fmla="*/ 97361 h 798267"/>
              <a:gd name="connsiteX1856" fmla="*/ 617782 w 682417"/>
              <a:gd name="connsiteY1856" fmla="*/ 95104 h 798267"/>
              <a:gd name="connsiteX1857" fmla="*/ 617030 w 682417"/>
              <a:gd name="connsiteY1857" fmla="*/ 92656 h 798267"/>
              <a:gd name="connsiteX1858" fmla="*/ 617392 w 682417"/>
              <a:gd name="connsiteY1858" fmla="*/ 97361 h 798267"/>
              <a:gd name="connsiteX1859" fmla="*/ 613248 w 682417"/>
              <a:gd name="connsiteY1859" fmla="*/ 101295 h 798267"/>
              <a:gd name="connsiteX1860" fmla="*/ 615677 w 682417"/>
              <a:gd name="connsiteY1860" fmla="*/ 107505 h 798267"/>
              <a:gd name="connsiteX1861" fmla="*/ 616439 w 682417"/>
              <a:gd name="connsiteY1861" fmla="*/ 102990 h 798267"/>
              <a:gd name="connsiteX1862" fmla="*/ 613248 w 682417"/>
              <a:gd name="connsiteY1862" fmla="*/ 101295 h 798267"/>
              <a:gd name="connsiteX1863" fmla="*/ 611343 w 682417"/>
              <a:gd name="connsiteY1863" fmla="*/ 119516 h 798267"/>
              <a:gd name="connsiteX1864" fmla="*/ 607028 w 682417"/>
              <a:gd name="connsiteY1864" fmla="*/ 117611 h 798267"/>
              <a:gd name="connsiteX1865" fmla="*/ 608933 w 682417"/>
              <a:gd name="connsiteY1865" fmla="*/ 120250 h 798267"/>
              <a:gd name="connsiteX1866" fmla="*/ 610838 w 682417"/>
              <a:gd name="connsiteY1866" fmla="*/ 122878 h 798267"/>
              <a:gd name="connsiteX1867" fmla="*/ 612800 w 682417"/>
              <a:gd name="connsiteY1867" fmla="*/ 199755 h 798267"/>
              <a:gd name="connsiteX1868" fmla="*/ 613181 w 682417"/>
              <a:gd name="connsiteY1868" fmla="*/ 197497 h 798267"/>
              <a:gd name="connsiteX1869" fmla="*/ 612772 w 682417"/>
              <a:gd name="connsiteY1869" fmla="*/ 199755 h 798267"/>
              <a:gd name="connsiteX1870" fmla="*/ 613572 w 682417"/>
              <a:gd name="connsiteY1870" fmla="*/ 126850 h 798267"/>
              <a:gd name="connsiteX1871" fmla="*/ 612429 w 682417"/>
              <a:gd name="connsiteY1871" fmla="*/ 133604 h 798267"/>
              <a:gd name="connsiteX1872" fmla="*/ 614342 w 682417"/>
              <a:gd name="connsiteY1872" fmla="*/ 127966 h 798267"/>
              <a:gd name="connsiteX1873" fmla="*/ 613543 w 682417"/>
              <a:gd name="connsiteY1873" fmla="*/ 126850 h 798267"/>
              <a:gd name="connsiteX1874" fmla="*/ 615867 w 682417"/>
              <a:gd name="connsiteY1874" fmla="*/ 113325 h 798267"/>
              <a:gd name="connsiteX1875" fmla="*/ 617372 w 682417"/>
              <a:gd name="connsiteY1875" fmla="*/ 111258 h 798267"/>
              <a:gd name="connsiteX1876" fmla="*/ 616058 w 682417"/>
              <a:gd name="connsiteY1876" fmla="*/ 112210 h 798267"/>
              <a:gd name="connsiteX1877" fmla="*/ 614382 w 682417"/>
              <a:gd name="connsiteY1877" fmla="*/ 108400 h 798267"/>
              <a:gd name="connsiteX1878" fmla="*/ 609857 w 682417"/>
              <a:gd name="connsiteY1878" fmla="*/ 114592 h 798267"/>
              <a:gd name="connsiteX1879" fmla="*/ 615296 w 682417"/>
              <a:gd name="connsiteY1879" fmla="*/ 116678 h 798267"/>
              <a:gd name="connsiteX1880" fmla="*/ 615839 w 682417"/>
              <a:gd name="connsiteY1880" fmla="*/ 113325 h 798267"/>
              <a:gd name="connsiteX1881" fmla="*/ 621468 w 682417"/>
              <a:gd name="connsiteY1881" fmla="*/ 189630 h 798267"/>
              <a:gd name="connsiteX1882" fmla="*/ 622802 w 682417"/>
              <a:gd name="connsiteY1882" fmla="*/ 188677 h 798267"/>
              <a:gd name="connsiteX1883" fmla="*/ 621087 w 682417"/>
              <a:gd name="connsiteY1883" fmla="*/ 191868 h 798267"/>
              <a:gd name="connsiteX1884" fmla="*/ 627469 w 682417"/>
              <a:gd name="connsiteY1884" fmla="*/ 195268 h 798267"/>
              <a:gd name="connsiteX1885" fmla="*/ 629374 w 682417"/>
              <a:gd name="connsiteY1885" fmla="*/ 190954 h 798267"/>
              <a:gd name="connsiteX1886" fmla="*/ 625802 w 682417"/>
              <a:gd name="connsiteY1886" fmla="*/ 191506 h 798267"/>
              <a:gd name="connsiteX1887" fmla="*/ 625250 w 682417"/>
              <a:gd name="connsiteY1887" fmla="*/ 187934 h 798267"/>
              <a:gd name="connsiteX1888" fmla="*/ 621487 w 682417"/>
              <a:gd name="connsiteY1888" fmla="*/ 189630 h 798267"/>
              <a:gd name="connsiteX1889" fmla="*/ 632584 w 682417"/>
              <a:gd name="connsiteY1889" fmla="*/ 117316 h 798267"/>
              <a:gd name="connsiteX1890" fmla="*/ 633355 w 682417"/>
              <a:gd name="connsiteY1890" fmla="*/ 112811 h 798267"/>
              <a:gd name="connsiteX1891" fmla="*/ 631288 w 682417"/>
              <a:gd name="connsiteY1891" fmla="*/ 111296 h 798267"/>
              <a:gd name="connsiteX1892" fmla="*/ 632241 w 682417"/>
              <a:gd name="connsiteY1892" fmla="*/ 105667 h 798267"/>
              <a:gd name="connsiteX1893" fmla="*/ 627536 w 682417"/>
              <a:gd name="connsiteY1893" fmla="*/ 106029 h 798267"/>
              <a:gd name="connsiteX1894" fmla="*/ 629031 w 682417"/>
              <a:gd name="connsiteY1894" fmla="*/ 110915 h 798267"/>
              <a:gd name="connsiteX1895" fmla="*/ 620954 w 682417"/>
              <a:gd name="connsiteY1895" fmla="*/ 110706 h 798267"/>
              <a:gd name="connsiteX1896" fmla="*/ 626040 w 682417"/>
              <a:gd name="connsiteY1896" fmla="*/ 108096 h 798267"/>
              <a:gd name="connsiteX1897" fmla="*/ 623040 w 682417"/>
              <a:gd name="connsiteY1897" fmla="*/ 105238 h 798267"/>
              <a:gd name="connsiteX1898" fmla="*/ 621135 w 682417"/>
              <a:gd name="connsiteY1898" fmla="*/ 102600 h 798267"/>
              <a:gd name="connsiteX1899" fmla="*/ 619230 w 682417"/>
              <a:gd name="connsiteY1899" fmla="*/ 106915 h 798267"/>
              <a:gd name="connsiteX1900" fmla="*/ 620535 w 682417"/>
              <a:gd name="connsiteY1900" fmla="*/ 112934 h 798267"/>
              <a:gd name="connsiteX1901" fmla="*/ 618049 w 682417"/>
              <a:gd name="connsiteY1901" fmla="*/ 127584 h 798267"/>
              <a:gd name="connsiteX1902" fmla="*/ 621259 w 682417"/>
              <a:gd name="connsiteY1902" fmla="*/ 122336 h 798267"/>
              <a:gd name="connsiteX1903" fmla="*/ 623516 w 682417"/>
              <a:gd name="connsiteY1903" fmla="*/ 122717 h 798267"/>
              <a:gd name="connsiteX1904" fmla="*/ 621811 w 682417"/>
              <a:gd name="connsiteY1904" fmla="*/ 125907 h 798267"/>
              <a:gd name="connsiteX1905" fmla="*/ 629888 w 682417"/>
              <a:gd name="connsiteY1905" fmla="*/ 126117 h 798267"/>
              <a:gd name="connsiteX1906" fmla="*/ 631793 w 682417"/>
              <a:gd name="connsiteY1906" fmla="*/ 121793 h 798267"/>
              <a:gd name="connsiteX1907" fmla="*/ 632555 w 682417"/>
              <a:gd name="connsiteY1907" fmla="*/ 117316 h 798267"/>
              <a:gd name="connsiteX1908" fmla="*/ 641633 w 682417"/>
              <a:gd name="connsiteY1908" fmla="*/ 97961 h 798267"/>
              <a:gd name="connsiteX1909" fmla="*/ 636927 w 682417"/>
              <a:gd name="connsiteY1909" fmla="*/ 98323 h 798267"/>
              <a:gd name="connsiteX1910" fmla="*/ 636194 w 682417"/>
              <a:gd name="connsiteY1910" fmla="*/ 95885 h 798267"/>
              <a:gd name="connsiteX1911" fmla="*/ 633336 w 682417"/>
              <a:gd name="connsiteY1911" fmla="*/ 98875 h 798267"/>
              <a:gd name="connsiteX1912" fmla="*/ 641633 w 682417"/>
              <a:gd name="connsiteY1912" fmla="*/ 97961 h 798267"/>
              <a:gd name="connsiteX1913" fmla="*/ 646843 w 682417"/>
              <a:gd name="connsiteY1913" fmla="*/ 115106 h 798267"/>
              <a:gd name="connsiteX1914" fmla="*/ 641785 w 682417"/>
              <a:gd name="connsiteY1914" fmla="*/ 110772 h 798267"/>
              <a:gd name="connsiteX1915" fmla="*/ 646843 w 682417"/>
              <a:gd name="connsiteY1915" fmla="*/ 115106 h 798267"/>
              <a:gd name="connsiteX1916" fmla="*/ 653691 w 682417"/>
              <a:gd name="connsiteY1916" fmla="*/ 149891 h 798267"/>
              <a:gd name="connsiteX1917" fmla="*/ 649186 w 682417"/>
              <a:gd name="connsiteY1917" fmla="*/ 149120 h 798267"/>
              <a:gd name="connsiteX1918" fmla="*/ 649357 w 682417"/>
              <a:gd name="connsiteY1918" fmla="*/ 154949 h 798267"/>
              <a:gd name="connsiteX1919" fmla="*/ 653691 w 682417"/>
              <a:gd name="connsiteY1919" fmla="*/ 149891 h 798267"/>
              <a:gd name="connsiteX1920" fmla="*/ 651634 w 682417"/>
              <a:gd name="connsiteY1920" fmla="*/ 148386 h 798267"/>
              <a:gd name="connsiteX1921" fmla="*/ 651634 w 682417"/>
              <a:gd name="connsiteY1921" fmla="*/ 148386 h 798267"/>
              <a:gd name="connsiteX1922" fmla="*/ 654863 w 682417"/>
              <a:gd name="connsiteY1922" fmla="*/ 136175 h 798267"/>
              <a:gd name="connsiteX1923" fmla="*/ 650167 w 682417"/>
              <a:gd name="connsiteY1923" fmla="*/ 136537 h 798267"/>
              <a:gd name="connsiteX1924" fmla="*/ 645290 w 682417"/>
              <a:gd name="connsiteY1924" fmla="*/ 131070 h 798267"/>
              <a:gd name="connsiteX1925" fmla="*/ 648843 w 682417"/>
              <a:gd name="connsiteY1925" fmla="*/ 137471 h 798267"/>
              <a:gd name="connsiteX1926" fmla="*/ 654825 w 682417"/>
              <a:gd name="connsiteY1926" fmla="*/ 136175 h 798267"/>
              <a:gd name="connsiteX1927" fmla="*/ 655434 w 682417"/>
              <a:gd name="connsiteY1927" fmla="*/ 132794 h 798267"/>
              <a:gd name="connsiteX1928" fmla="*/ 650739 w 682417"/>
              <a:gd name="connsiteY1928" fmla="*/ 133156 h 798267"/>
              <a:gd name="connsiteX1929" fmla="*/ 655434 w 682417"/>
              <a:gd name="connsiteY1929" fmla="*/ 132794 h 798267"/>
              <a:gd name="connsiteX1930" fmla="*/ 662607 w 682417"/>
              <a:gd name="connsiteY1930" fmla="*/ 124736 h 798267"/>
              <a:gd name="connsiteX1931" fmla="*/ 657901 w 682417"/>
              <a:gd name="connsiteY1931" fmla="*/ 125098 h 798267"/>
              <a:gd name="connsiteX1932" fmla="*/ 655644 w 682417"/>
              <a:gd name="connsiteY1932" fmla="*/ 124717 h 798267"/>
              <a:gd name="connsiteX1933" fmla="*/ 656387 w 682417"/>
              <a:gd name="connsiteY1933" fmla="*/ 127155 h 798267"/>
              <a:gd name="connsiteX1934" fmla="*/ 662607 w 682417"/>
              <a:gd name="connsiteY1934" fmla="*/ 124736 h 798267"/>
              <a:gd name="connsiteX1935" fmla="*/ 667703 w 682417"/>
              <a:gd name="connsiteY1935" fmla="*/ 115211 h 798267"/>
              <a:gd name="connsiteX1936" fmla="*/ 663188 w 682417"/>
              <a:gd name="connsiteY1936" fmla="*/ 114449 h 798267"/>
              <a:gd name="connsiteX1937" fmla="*/ 663750 w 682417"/>
              <a:gd name="connsiteY1937" fmla="*/ 118021 h 798267"/>
              <a:gd name="connsiteX1938" fmla="*/ 667703 w 682417"/>
              <a:gd name="connsiteY1938" fmla="*/ 115163 h 798267"/>
              <a:gd name="connsiteX1939" fmla="*/ 670560 w 682417"/>
              <a:gd name="connsiteY1939" fmla="*/ 91398 h 798267"/>
              <a:gd name="connsiteX1940" fmla="*/ 666055 w 682417"/>
              <a:gd name="connsiteY1940" fmla="*/ 90627 h 798267"/>
              <a:gd name="connsiteX1941" fmla="*/ 670922 w 682417"/>
              <a:gd name="connsiteY1941" fmla="*/ 96094 h 798267"/>
              <a:gd name="connsiteX1942" fmla="*/ 670589 w 682417"/>
              <a:gd name="connsiteY1942" fmla="*/ 91294 h 798267"/>
              <a:gd name="connsiteX1943" fmla="*/ 660816 w 682417"/>
              <a:gd name="connsiteY1943" fmla="*/ 80473 h 798267"/>
              <a:gd name="connsiteX1944" fmla="*/ 660435 w 682417"/>
              <a:gd name="connsiteY1944" fmla="*/ 82721 h 798267"/>
              <a:gd name="connsiteX1945" fmla="*/ 661807 w 682417"/>
              <a:gd name="connsiteY1945" fmla="*/ 81759 h 798267"/>
              <a:gd name="connsiteX1946" fmla="*/ 660845 w 682417"/>
              <a:gd name="connsiteY1946" fmla="*/ 80387 h 798267"/>
              <a:gd name="connsiteX1947" fmla="*/ 50940 w 682417"/>
              <a:gd name="connsiteY1947" fmla="*/ 586717 h 798267"/>
              <a:gd name="connsiteX1948" fmla="*/ 52083 w 682417"/>
              <a:gd name="connsiteY1948" fmla="*/ 579955 h 798267"/>
              <a:gd name="connsiteX1949" fmla="*/ 50178 w 682417"/>
              <a:gd name="connsiteY1949" fmla="*/ 584270 h 798267"/>
              <a:gd name="connsiteX1950" fmla="*/ 46977 w 682417"/>
              <a:gd name="connsiteY1950" fmla="*/ 582565 h 798267"/>
              <a:gd name="connsiteX1951" fmla="*/ 50940 w 682417"/>
              <a:gd name="connsiteY1951" fmla="*/ 586717 h 798267"/>
              <a:gd name="connsiteX1952" fmla="*/ 676008 w 682417"/>
              <a:gd name="connsiteY1952" fmla="*/ 100342 h 798267"/>
              <a:gd name="connsiteX1953" fmla="*/ 674313 w 682417"/>
              <a:gd name="connsiteY1953" fmla="*/ 103533 h 798267"/>
              <a:gd name="connsiteX1954" fmla="*/ 680333 w 682417"/>
              <a:gd name="connsiteY1954" fmla="*/ 102238 h 798267"/>
              <a:gd name="connsiteX1955" fmla="*/ 681457 w 682417"/>
              <a:gd name="connsiteY1955" fmla="*/ 102428 h 798267"/>
              <a:gd name="connsiteX1956" fmla="*/ 681838 w 682417"/>
              <a:gd name="connsiteY1956" fmla="*/ 100180 h 798267"/>
              <a:gd name="connsiteX1957" fmla="*/ 676008 w 682417"/>
              <a:gd name="connsiteY1957" fmla="*/ 100342 h 798267"/>
              <a:gd name="connsiteX1958" fmla="*/ 637280 w 682417"/>
              <a:gd name="connsiteY1958" fmla="*/ 171446 h 798267"/>
              <a:gd name="connsiteX1959" fmla="*/ 636518 w 682417"/>
              <a:gd name="connsiteY1959" fmla="*/ 175961 h 798267"/>
              <a:gd name="connsiteX1960" fmla="*/ 637832 w 682417"/>
              <a:gd name="connsiteY1960" fmla="*/ 175009 h 798267"/>
              <a:gd name="connsiteX1961" fmla="*/ 638194 w 682417"/>
              <a:gd name="connsiteY1961" fmla="*/ 179705 h 798267"/>
              <a:gd name="connsiteX1962" fmla="*/ 640842 w 682417"/>
              <a:gd name="connsiteY1962" fmla="*/ 177800 h 798267"/>
              <a:gd name="connsiteX1963" fmla="*/ 637280 w 682417"/>
              <a:gd name="connsiteY1963" fmla="*/ 171446 h 798267"/>
              <a:gd name="connsiteX1964" fmla="*/ 654082 w 682417"/>
              <a:gd name="connsiteY1964" fmla="*/ 79235 h 798267"/>
              <a:gd name="connsiteX1965" fmla="*/ 655787 w 682417"/>
              <a:gd name="connsiteY1965" fmla="*/ 76044 h 798267"/>
              <a:gd name="connsiteX1966" fmla="*/ 654082 w 682417"/>
              <a:gd name="connsiteY1966" fmla="*/ 79235 h 798267"/>
              <a:gd name="connsiteX1967" fmla="*/ 469363 w 682417"/>
              <a:gd name="connsiteY1967" fmla="*/ 402647 h 798267"/>
              <a:gd name="connsiteX1968" fmla="*/ 472926 w 682417"/>
              <a:gd name="connsiteY1968" fmla="*/ 409048 h 798267"/>
              <a:gd name="connsiteX1969" fmla="*/ 470991 w 682417"/>
              <a:gd name="connsiteY1969" fmla="*/ 414707 h 798267"/>
              <a:gd name="connsiteX1970" fmla="*/ 471773 w 682417"/>
              <a:gd name="connsiteY1970" fmla="*/ 415810 h 798267"/>
              <a:gd name="connsiteX1971" fmla="*/ 474031 w 682417"/>
              <a:gd name="connsiteY1971" fmla="*/ 416201 h 798267"/>
              <a:gd name="connsiteX1972" fmla="*/ 469363 w 682417"/>
              <a:gd name="connsiteY1972" fmla="*/ 402647 h 798267"/>
              <a:gd name="connsiteX1973" fmla="*/ 483251 w 682417"/>
              <a:gd name="connsiteY1973" fmla="*/ 149958 h 798267"/>
              <a:gd name="connsiteX1974" fmla="*/ 479879 w 682417"/>
              <a:gd name="connsiteY1974" fmla="*/ 149377 h 798267"/>
              <a:gd name="connsiteX1975" fmla="*/ 476582 w 682417"/>
              <a:gd name="connsiteY1975" fmla="*/ 148926 h 798267"/>
              <a:gd name="connsiteX1976" fmla="*/ 476498 w 682417"/>
              <a:gd name="connsiteY1976" fmla="*/ 148806 h 798267"/>
              <a:gd name="connsiteX1977" fmla="*/ 475736 w 682417"/>
              <a:gd name="connsiteY1977" fmla="*/ 153311 h 798267"/>
              <a:gd name="connsiteX1978" fmla="*/ 480431 w 682417"/>
              <a:gd name="connsiteY1978" fmla="*/ 152958 h 798267"/>
              <a:gd name="connsiteX1979" fmla="*/ 481755 w 682417"/>
              <a:gd name="connsiteY1979" fmla="*/ 152006 h 798267"/>
              <a:gd name="connsiteX1980" fmla="*/ 485127 w 682417"/>
              <a:gd name="connsiteY1980" fmla="*/ 152587 h 798267"/>
              <a:gd name="connsiteX1981" fmla="*/ 483251 w 682417"/>
              <a:gd name="connsiteY1981" fmla="*/ 149958 h 798267"/>
              <a:gd name="connsiteX1982" fmla="*/ 470992 w 682417"/>
              <a:gd name="connsiteY1982" fmla="*/ 30791 h 798267"/>
              <a:gd name="connsiteX1983" fmla="*/ 475498 w 682417"/>
              <a:gd name="connsiteY1983" fmla="*/ 31553 h 798267"/>
              <a:gd name="connsiteX1984" fmla="*/ 476241 w 682417"/>
              <a:gd name="connsiteY1984" fmla="*/ 33991 h 798267"/>
              <a:gd name="connsiteX1985" fmla="*/ 481898 w 682417"/>
              <a:gd name="connsiteY1985" fmla="*/ 28000 h 798267"/>
              <a:gd name="connsiteX1986" fmla="*/ 486042 w 682417"/>
              <a:gd name="connsiteY1986" fmla="*/ 24066 h 798267"/>
              <a:gd name="connsiteX1987" fmla="*/ 484137 w 682417"/>
              <a:gd name="connsiteY1987" fmla="*/ 21428 h 798267"/>
              <a:gd name="connsiteX1988" fmla="*/ 479050 w 682417"/>
              <a:gd name="connsiteY1988" fmla="*/ 24047 h 798267"/>
              <a:gd name="connsiteX1989" fmla="*/ 482070 w 682417"/>
              <a:gd name="connsiteY1989" fmla="*/ 19923 h 798267"/>
              <a:gd name="connsiteX1990" fmla="*/ 475498 w 682417"/>
              <a:gd name="connsiteY1990" fmla="*/ 17646 h 798267"/>
              <a:gd name="connsiteX1991" fmla="*/ 469649 w 682417"/>
              <a:gd name="connsiteY1991" fmla="*/ 24771 h 798267"/>
              <a:gd name="connsiteX1992" fmla="*/ 470992 w 682417"/>
              <a:gd name="connsiteY1992" fmla="*/ 30791 h 798267"/>
              <a:gd name="connsiteX1993" fmla="*/ 467839 w 682417"/>
              <a:gd name="connsiteY1993" fmla="*/ 15179 h 798267"/>
              <a:gd name="connsiteX1994" fmla="*/ 466335 w 682417"/>
              <a:gd name="connsiteY1994" fmla="*/ 17246 h 798267"/>
              <a:gd name="connsiteX1995" fmla="*/ 466506 w 682417"/>
              <a:gd name="connsiteY1995" fmla="*/ 23066 h 798267"/>
              <a:gd name="connsiteX1996" fmla="*/ 469706 w 682417"/>
              <a:gd name="connsiteY1996" fmla="*/ 17818 h 798267"/>
              <a:gd name="connsiteX1997" fmla="*/ 473288 w 682417"/>
              <a:gd name="connsiteY1997" fmla="*/ 17265 h 798267"/>
              <a:gd name="connsiteX1998" fmla="*/ 469535 w 682417"/>
              <a:gd name="connsiteY1998" fmla="*/ 11988 h 798267"/>
              <a:gd name="connsiteX1999" fmla="*/ 469725 w 682417"/>
              <a:gd name="connsiteY1999" fmla="*/ 10864 h 798267"/>
              <a:gd name="connsiteX2000" fmla="*/ 464649 w 682417"/>
              <a:gd name="connsiteY2000" fmla="*/ 13484 h 798267"/>
              <a:gd name="connsiteX2001" fmla="*/ 467868 w 682417"/>
              <a:gd name="connsiteY2001" fmla="*/ 15179 h 798267"/>
              <a:gd name="connsiteX2002" fmla="*/ 462124 w 682417"/>
              <a:gd name="connsiteY2002" fmla="*/ 35077 h 798267"/>
              <a:gd name="connsiteX2003" fmla="*/ 462896 w 682417"/>
              <a:gd name="connsiteY2003" fmla="*/ 30572 h 798267"/>
              <a:gd name="connsiteX2004" fmla="*/ 462172 w 682417"/>
              <a:gd name="connsiteY2004" fmla="*/ 35096 h 798267"/>
              <a:gd name="connsiteX2005" fmla="*/ 449847 w 682417"/>
              <a:gd name="connsiteY2005" fmla="*/ 12122 h 798267"/>
              <a:gd name="connsiteX2006" fmla="*/ 450009 w 682417"/>
              <a:gd name="connsiteY2006" fmla="*/ 17942 h 798267"/>
              <a:gd name="connsiteX2007" fmla="*/ 451533 w 682417"/>
              <a:gd name="connsiteY2007" fmla="*/ 8931 h 798267"/>
              <a:gd name="connsiteX2008" fmla="*/ 447037 w 682417"/>
              <a:gd name="connsiteY2008" fmla="*/ 8169 h 798267"/>
              <a:gd name="connsiteX2009" fmla="*/ 449847 w 682417"/>
              <a:gd name="connsiteY2009" fmla="*/ 12122 h 798267"/>
              <a:gd name="connsiteX2010" fmla="*/ 444570 w 682417"/>
              <a:gd name="connsiteY2010" fmla="*/ 15865 h 798267"/>
              <a:gd name="connsiteX2011" fmla="*/ 442665 w 682417"/>
              <a:gd name="connsiteY2011" fmla="*/ 20180 h 798267"/>
              <a:gd name="connsiteX2012" fmla="*/ 447361 w 682417"/>
              <a:gd name="connsiteY2012" fmla="*/ 19818 h 798267"/>
              <a:gd name="connsiteX2013" fmla="*/ 447008 w 682417"/>
              <a:gd name="connsiteY2013" fmla="*/ 15122 h 798267"/>
              <a:gd name="connsiteX2014" fmla="*/ 441750 w 682417"/>
              <a:gd name="connsiteY2014" fmla="*/ 11912 h 798267"/>
              <a:gd name="connsiteX2015" fmla="*/ 444570 w 682417"/>
              <a:gd name="connsiteY2015" fmla="*/ 15865 h 798267"/>
              <a:gd name="connsiteX2016" fmla="*/ 335985 w 682417"/>
              <a:gd name="connsiteY2016" fmla="*/ 266373 h 798267"/>
              <a:gd name="connsiteX2017" fmla="*/ 333346 w 682417"/>
              <a:gd name="connsiteY2017" fmla="*/ 268278 h 798267"/>
              <a:gd name="connsiteX2018" fmla="*/ 327689 w 682417"/>
              <a:gd name="connsiteY2018" fmla="*/ 274269 h 798267"/>
              <a:gd name="connsiteX2019" fmla="*/ 332775 w 682417"/>
              <a:gd name="connsiteY2019" fmla="*/ 271659 h 798267"/>
              <a:gd name="connsiteX2020" fmla="*/ 334289 w 682417"/>
              <a:gd name="connsiteY2020" fmla="*/ 269592 h 798267"/>
              <a:gd name="connsiteX2021" fmla="*/ 336547 w 682417"/>
              <a:gd name="connsiteY2021" fmla="*/ 269983 h 798267"/>
              <a:gd name="connsiteX2022" fmla="*/ 335975 w 682417"/>
              <a:gd name="connsiteY2022" fmla="*/ 266411 h 798267"/>
              <a:gd name="connsiteX2023" fmla="*/ 358750 w 682417"/>
              <a:gd name="connsiteY2023" fmla="*/ 63871 h 798267"/>
              <a:gd name="connsiteX2024" fmla="*/ 354625 w 682417"/>
              <a:gd name="connsiteY2024" fmla="*/ 60852 h 798267"/>
              <a:gd name="connsiteX2025" fmla="*/ 358740 w 682417"/>
              <a:gd name="connsiteY2025" fmla="*/ 63909 h 798267"/>
              <a:gd name="connsiteX2026" fmla="*/ 363436 w 682417"/>
              <a:gd name="connsiteY2026" fmla="*/ 2063 h 798267"/>
              <a:gd name="connsiteX2027" fmla="*/ 365884 w 682417"/>
              <a:gd name="connsiteY2027" fmla="*/ 1320 h 798267"/>
              <a:gd name="connsiteX2028" fmla="*/ 367789 w 682417"/>
              <a:gd name="connsiteY2028" fmla="*/ 3949 h 798267"/>
              <a:gd name="connsiteX2029" fmla="*/ 368370 w 682417"/>
              <a:gd name="connsiteY2029" fmla="*/ 568 h 798267"/>
              <a:gd name="connsiteX2030" fmla="*/ 363426 w 682417"/>
              <a:gd name="connsiteY2030" fmla="*/ 2101 h 798267"/>
              <a:gd name="connsiteX2031" fmla="*/ 337118 w 682417"/>
              <a:gd name="connsiteY2031" fmla="*/ 6874 h 798267"/>
              <a:gd name="connsiteX2032" fmla="*/ 339023 w 682417"/>
              <a:gd name="connsiteY2032" fmla="*/ 9502 h 798267"/>
              <a:gd name="connsiteX2033" fmla="*/ 337537 w 682417"/>
              <a:gd name="connsiteY2033" fmla="*/ 4616 h 798267"/>
              <a:gd name="connsiteX2034" fmla="*/ 333575 w 682417"/>
              <a:gd name="connsiteY2034" fmla="*/ 7426 h 798267"/>
              <a:gd name="connsiteX2035" fmla="*/ 337109 w 682417"/>
              <a:gd name="connsiteY2035" fmla="*/ 6912 h 798267"/>
              <a:gd name="connsiteX2036" fmla="*/ 180280 w 682417"/>
              <a:gd name="connsiteY2036" fmla="*/ 432441 h 798267"/>
              <a:gd name="connsiteX2037" fmla="*/ 182918 w 682417"/>
              <a:gd name="connsiteY2037" fmla="*/ 430536 h 798267"/>
              <a:gd name="connsiteX2038" fmla="*/ 185166 w 682417"/>
              <a:gd name="connsiteY2038" fmla="*/ 430917 h 798267"/>
              <a:gd name="connsiteX2039" fmla="*/ 185737 w 682417"/>
              <a:gd name="connsiteY2039" fmla="*/ 427526 h 798267"/>
              <a:gd name="connsiteX2040" fmla="*/ 180280 w 682417"/>
              <a:gd name="connsiteY2040" fmla="*/ 432441 h 798267"/>
              <a:gd name="connsiteX2041" fmla="*/ 439360 w 682417"/>
              <a:gd name="connsiteY2041" fmla="*/ 12655 h 798267"/>
              <a:gd name="connsiteX2042" fmla="*/ 441265 w 682417"/>
              <a:gd name="connsiteY2042" fmla="*/ 15294 h 798267"/>
              <a:gd name="connsiteX2043" fmla="*/ 441865 w 682417"/>
              <a:gd name="connsiteY2043" fmla="*/ 4959 h 798267"/>
              <a:gd name="connsiteX2044" fmla="*/ 437912 w 682417"/>
              <a:gd name="connsiteY2044" fmla="*/ 7769 h 798267"/>
              <a:gd name="connsiteX2045" fmla="*/ 435845 w 682417"/>
              <a:gd name="connsiteY2045" fmla="*/ 6254 h 798267"/>
              <a:gd name="connsiteX2046" fmla="*/ 433769 w 682417"/>
              <a:gd name="connsiteY2046" fmla="*/ 11693 h 798267"/>
              <a:gd name="connsiteX2047" fmla="*/ 439322 w 682417"/>
              <a:gd name="connsiteY2047" fmla="*/ 12655 h 79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682417" h="798267">
                <a:moveTo>
                  <a:pt x="681704" y="80445"/>
                </a:moveTo>
                <a:cubicBezTo>
                  <a:pt x="680133" y="79578"/>
                  <a:pt x="679142" y="78292"/>
                  <a:pt x="677580" y="77425"/>
                </a:cubicBezTo>
                <a:cubicBezTo>
                  <a:pt x="678456" y="75015"/>
                  <a:pt x="684448" y="77006"/>
                  <a:pt x="681704" y="80445"/>
                </a:cubicBezTo>
                <a:close/>
                <a:moveTo>
                  <a:pt x="630488" y="184210"/>
                </a:moveTo>
                <a:cubicBezTo>
                  <a:pt x="631231" y="181076"/>
                  <a:pt x="634689" y="181753"/>
                  <a:pt x="635946" y="179343"/>
                </a:cubicBezTo>
                <a:cubicBezTo>
                  <a:pt x="631222" y="177019"/>
                  <a:pt x="625974" y="181933"/>
                  <a:pt x="630488" y="184210"/>
                </a:cubicBezTo>
                <a:close/>
                <a:moveTo>
                  <a:pt x="627859" y="117678"/>
                </a:moveTo>
                <a:cubicBezTo>
                  <a:pt x="625488" y="118840"/>
                  <a:pt x="627650" y="122783"/>
                  <a:pt x="628221" y="122383"/>
                </a:cubicBezTo>
                <a:cubicBezTo>
                  <a:pt x="629107" y="121774"/>
                  <a:pt x="628745" y="117459"/>
                  <a:pt x="627859" y="117678"/>
                </a:cubicBezTo>
                <a:close/>
                <a:moveTo>
                  <a:pt x="577253" y="265601"/>
                </a:moveTo>
                <a:cubicBezTo>
                  <a:pt x="577872" y="269411"/>
                  <a:pt x="575653" y="271221"/>
                  <a:pt x="579301" y="274059"/>
                </a:cubicBezTo>
                <a:cubicBezTo>
                  <a:pt x="578796" y="271116"/>
                  <a:pt x="580911" y="266315"/>
                  <a:pt x="577253" y="265601"/>
                </a:cubicBezTo>
                <a:close/>
                <a:moveTo>
                  <a:pt x="610753" y="54489"/>
                </a:moveTo>
                <a:cubicBezTo>
                  <a:pt x="609886" y="53278"/>
                  <a:pt x="608203" y="52999"/>
                  <a:pt x="606992" y="53866"/>
                </a:cubicBezTo>
                <a:cubicBezTo>
                  <a:pt x="606308" y="54355"/>
                  <a:pt x="605892" y="55135"/>
                  <a:pt x="605866" y="55975"/>
                </a:cubicBezTo>
                <a:cubicBezTo>
                  <a:pt x="608381" y="56737"/>
                  <a:pt x="610152" y="56432"/>
                  <a:pt x="610753" y="54499"/>
                </a:cubicBezTo>
                <a:close/>
                <a:moveTo>
                  <a:pt x="564032" y="288871"/>
                </a:moveTo>
                <a:cubicBezTo>
                  <a:pt x="565337" y="289261"/>
                  <a:pt x="566242" y="291309"/>
                  <a:pt x="567414" y="289442"/>
                </a:cubicBezTo>
                <a:cubicBezTo>
                  <a:pt x="566109" y="289052"/>
                  <a:pt x="565204" y="287004"/>
                  <a:pt x="564032" y="288871"/>
                </a:cubicBezTo>
                <a:close/>
                <a:moveTo>
                  <a:pt x="561956" y="294309"/>
                </a:moveTo>
                <a:cubicBezTo>
                  <a:pt x="560289" y="295405"/>
                  <a:pt x="560756" y="298481"/>
                  <a:pt x="562127" y="300139"/>
                </a:cubicBezTo>
                <a:cubicBezTo>
                  <a:pt x="562661" y="298577"/>
                  <a:pt x="564299" y="298548"/>
                  <a:pt x="564985" y="297138"/>
                </a:cubicBezTo>
                <a:cubicBezTo>
                  <a:pt x="563385" y="296595"/>
                  <a:pt x="563385" y="294957"/>
                  <a:pt x="561956" y="294309"/>
                </a:cubicBezTo>
                <a:close/>
                <a:moveTo>
                  <a:pt x="538144" y="352869"/>
                </a:moveTo>
                <a:cubicBezTo>
                  <a:pt x="537696" y="353507"/>
                  <a:pt x="534619" y="356727"/>
                  <a:pt x="537381" y="357374"/>
                </a:cubicBezTo>
                <a:cubicBezTo>
                  <a:pt x="536619" y="355136"/>
                  <a:pt x="541344" y="354184"/>
                  <a:pt x="538096" y="352869"/>
                </a:cubicBezTo>
                <a:close/>
                <a:moveTo>
                  <a:pt x="514179" y="323294"/>
                </a:moveTo>
                <a:cubicBezTo>
                  <a:pt x="512953" y="323116"/>
                  <a:pt x="511828" y="322517"/>
                  <a:pt x="510997" y="321599"/>
                </a:cubicBezTo>
                <a:lnTo>
                  <a:pt x="510616" y="323846"/>
                </a:lnTo>
                <a:cubicBezTo>
                  <a:pt x="511950" y="325390"/>
                  <a:pt x="513112" y="325532"/>
                  <a:pt x="514131" y="323294"/>
                </a:cubicBezTo>
                <a:close/>
                <a:moveTo>
                  <a:pt x="539267" y="100323"/>
                </a:moveTo>
                <a:cubicBezTo>
                  <a:pt x="540934" y="97675"/>
                  <a:pt x="536305" y="94684"/>
                  <a:pt x="535134" y="97304"/>
                </a:cubicBezTo>
                <a:cubicBezTo>
                  <a:pt x="537324" y="97694"/>
                  <a:pt x="536000" y="100628"/>
                  <a:pt x="539220" y="100323"/>
                </a:cubicBezTo>
                <a:close/>
                <a:moveTo>
                  <a:pt x="532286" y="107257"/>
                </a:moveTo>
                <a:cubicBezTo>
                  <a:pt x="533798" y="107730"/>
                  <a:pt x="535428" y="107009"/>
                  <a:pt x="536096" y="105572"/>
                </a:cubicBezTo>
                <a:cubicBezTo>
                  <a:pt x="534865" y="105393"/>
                  <a:pt x="533733" y="104794"/>
                  <a:pt x="532895" y="103876"/>
                </a:cubicBezTo>
                <a:close/>
                <a:moveTo>
                  <a:pt x="489423" y="366633"/>
                </a:moveTo>
                <a:lnTo>
                  <a:pt x="487166" y="366252"/>
                </a:lnTo>
                <a:lnTo>
                  <a:pt x="486785" y="368500"/>
                </a:lnTo>
                <a:lnTo>
                  <a:pt x="489042" y="368881"/>
                </a:lnTo>
                <a:close/>
                <a:moveTo>
                  <a:pt x="501082" y="31286"/>
                </a:moveTo>
                <a:cubicBezTo>
                  <a:pt x="502463" y="29133"/>
                  <a:pt x="499015" y="25733"/>
                  <a:pt x="498081" y="28429"/>
                </a:cubicBezTo>
                <a:cubicBezTo>
                  <a:pt x="499843" y="28829"/>
                  <a:pt x="498472" y="31448"/>
                  <a:pt x="501082" y="31286"/>
                </a:cubicBezTo>
                <a:close/>
                <a:moveTo>
                  <a:pt x="494348" y="23190"/>
                </a:moveTo>
                <a:cubicBezTo>
                  <a:pt x="495138" y="23618"/>
                  <a:pt x="494976" y="26543"/>
                  <a:pt x="497338" y="26047"/>
                </a:cubicBezTo>
                <a:cubicBezTo>
                  <a:pt x="497443" y="22342"/>
                  <a:pt x="496729" y="19218"/>
                  <a:pt x="491528" y="19275"/>
                </a:cubicBezTo>
                <a:cubicBezTo>
                  <a:pt x="491154" y="21052"/>
                  <a:pt x="491719" y="22897"/>
                  <a:pt x="493024" y="24161"/>
                </a:cubicBezTo>
                <a:cubicBezTo>
                  <a:pt x="492662" y="23666"/>
                  <a:pt x="493709" y="22809"/>
                  <a:pt x="494348" y="23152"/>
                </a:cubicBezTo>
                <a:close/>
                <a:moveTo>
                  <a:pt x="485851" y="32181"/>
                </a:moveTo>
                <a:cubicBezTo>
                  <a:pt x="485137" y="29905"/>
                  <a:pt x="489871" y="28991"/>
                  <a:pt x="486623" y="27676"/>
                </a:cubicBezTo>
                <a:cubicBezTo>
                  <a:pt x="486175" y="28276"/>
                  <a:pt x="483089" y="31505"/>
                  <a:pt x="485851" y="32143"/>
                </a:cubicBezTo>
                <a:close/>
                <a:moveTo>
                  <a:pt x="430263" y="216328"/>
                </a:moveTo>
                <a:cubicBezTo>
                  <a:pt x="431893" y="216384"/>
                  <a:pt x="433439" y="217066"/>
                  <a:pt x="434578" y="218233"/>
                </a:cubicBezTo>
                <a:lnTo>
                  <a:pt x="435150" y="214852"/>
                </a:lnTo>
                <a:cubicBezTo>
                  <a:pt x="432635" y="214080"/>
                  <a:pt x="430873" y="214385"/>
                  <a:pt x="430263" y="216328"/>
                </a:cubicBezTo>
                <a:close/>
                <a:moveTo>
                  <a:pt x="430092" y="210499"/>
                </a:moveTo>
                <a:cubicBezTo>
                  <a:pt x="426025" y="213709"/>
                  <a:pt x="433673" y="214623"/>
                  <a:pt x="430092" y="210499"/>
                </a:cubicBezTo>
                <a:close/>
                <a:moveTo>
                  <a:pt x="456705" y="26047"/>
                </a:moveTo>
                <a:cubicBezTo>
                  <a:pt x="460277" y="25485"/>
                  <a:pt x="460086" y="19637"/>
                  <a:pt x="461810" y="16522"/>
                </a:cubicBezTo>
                <a:cubicBezTo>
                  <a:pt x="459457" y="17056"/>
                  <a:pt x="459905" y="13874"/>
                  <a:pt x="458810" y="13665"/>
                </a:cubicBezTo>
                <a:cubicBezTo>
                  <a:pt x="458333" y="13589"/>
                  <a:pt x="456810" y="16789"/>
                  <a:pt x="455057" y="15341"/>
                </a:cubicBezTo>
                <a:cubicBezTo>
                  <a:pt x="455247" y="13551"/>
                  <a:pt x="455867" y="11455"/>
                  <a:pt x="453371" y="11579"/>
                </a:cubicBezTo>
                <a:cubicBezTo>
                  <a:pt x="454524" y="16399"/>
                  <a:pt x="451456" y="24190"/>
                  <a:pt x="456705" y="26047"/>
                </a:cubicBezTo>
                <a:close/>
                <a:moveTo>
                  <a:pt x="426882" y="215747"/>
                </a:moveTo>
                <a:cubicBezTo>
                  <a:pt x="426977" y="213595"/>
                  <a:pt x="424920" y="216071"/>
                  <a:pt x="424815" y="214242"/>
                </a:cubicBezTo>
                <a:cubicBezTo>
                  <a:pt x="423158" y="213099"/>
                  <a:pt x="426006" y="208765"/>
                  <a:pt x="422205" y="209156"/>
                </a:cubicBezTo>
                <a:cubicBezTo>
                  <a:pt x="420386" y="208661"/>
                  <a:pt x="419176" y="215823"/>
                  <a:pt x="421062" y="215919"/>
                </a:cubicBezTo>
                <a:cubicBezTo>
                  <a:pt x="423196" y="213204"/>
                  <a:pt x="422872" y="220481"/>
                  <a:pt x="427434" y="219319"/>
                </a:cubicBezTo>
                <a:cubicBezTo>
                  <a:pt x="427482" y="217976"/>
                  <a:pt x="428130" y="216157"/>
                  <a:pt x="426882" y="215747"/>
                </a:cubicBezTo>
                <a:close/>
                <a:moveTo>
                  <a:pt x="445837" y="28829"/>
                </a:moveTo>
                <a:cubicBezTo>
                  <a:pt x="446141" y="27400"/>
                  <a:pt x="447551" y="27524"/>
                  <a:pt x="447551" y="25647"/>
                </a:cubicBezTo>
                <a:cubicBezTo>
                  <a:pt x="445065" y="23418"/>
                  <a:pt x="443579" y="28905"/>
                  <a:pt x="445837" y="28829"/>
                </a:cubicBezTo>
                <a:close/>
                <a:moveTo>
                  <a:pt x="404812" y="181857"/>
                </a:moveTo>
                <a:cubicBezTo>
                  <a:pt x="400698" y="180724"/>
                  <a:pt x="397193" y="180381"/>
                  <a:pt x="396345" y="183905"/>
                </a:cubicBezTo>
                <a:cubicBezTo>
                  <a:pt x="399707" y="183286"/>
                  <a:pt x="401364" y="183438"/>
                  <a:pt x="400279" y="188049"/>
                </a:cubicBezTo>
                <a:cubicBezTo>
                  <a:pt x="403746" y="188744"/>
                  <a:pt x="404222" y="185210"/>
                  <a:pt x="404812" y="181857"/>
                </a:cubicBezTo>
                <a:close/>
                <a:moveTo>
                  <a:pt x="420910" y="11855"/>
                </a:moveTo>
                <a:cubicBezTo>
                  <a:pt x="422024" y="8407"/>
                  <a:pt x="418605" y="8188"/>
                  <a:pt x="417157" y="6578"/>
                </a:cubicBezTo>
                <a:cubicBezTo>
                  <a:pt x="416023" y="10017"/>
                  <a:pt x="419452" y="10236"/>
                  <a:pt x="420910" y="11855"/>
                </a:cubicBezTo>
                <a:close/>
                <a:moveTo>
                  <a:pt x="388125" y="34144"/>
                </a:moveTo>
                <a:cubicBezTo>
                  <a:pt x="387669" y="35640"/>
                  <a:pt x="388384" y="37244"/>
                  <a:pt x="389801" y="37906"/>
                </a:cubicBezTo>
                <a:cubicBezTo>
                  <a:pt x="390252" y="36410"/>
                  <a:pt x="389539" y="34809"/>
                  <a:pt x="388125" y="34144"/>
                </a:cubicBezTo>
                <a:close/>
                <a:moveTo>
                  <a:pt x="337833" y="269078"/>
                </a:moveTo>
                <a:cubicBezTo>
                  <a:pt x="340690" y="270364"/>
                  <a:pt x="340404" y="267116"/>
                  <a:pt x="341786" y="266220"/>
                </a:cubicBezTo>
                <a:cubicBezTo>
                  <a:pt x="338909" y="264944"/>
                  <a:pt x="339223" y="268192"/>
                  <a:pt x="337852" y="269049"/>
                </a:cubicBezTo>
                <a:close/>
                <a:moveTo>
                  <a:pt x="334289" y="9902"/>
                </a:moveTo>
                <a:lnTo>
                  <a:pt x="332032" y="9521"/>
                </a:lnTo>
                <a:cubicBezTo>
                  <a:pt x="331899" y="10274"/>
                  <a:pt x="331775" y="11026"/>
                  <a:pt x="331651" y="11779"/>
                </a:cubicBezTo>
                <a:lnTo>
                  <a:pt x="333899" y="12160"/>
                </a:lnTo>
                <a:cubicBezTo>
                  <a:pt x="334032" y="11407"/>
                  <a:pt x="334156" y="10655"/>
                  <a:pt x="334289" y="9902"/>
                </a:cubicBezTo>
                <a:close/>
                <a:moveTo>
                  <a:pt x="322945" y="28857"/>
                </a:moveTo>
                <a:cubicBezTo>
                  <a:pt x="324850" y="31505"/>
                  <a:pt x="325241" y="28724"/>
                  <a:pt x="327650" y="28486"/>
                </a:cubicBezTo>
                <a:cubicBezTo>
                  <a:pt x="328270" y="25428"/>
                  <a:pt x="326155" y="25904"/>
                  <a:pt x="328412" y="23980"/>
                </a:cubicBezTo>
                <a:cubicBezTo>
                  <a:pt x="324305" y="24125"/>
                  <a:pt x="320679" y="26703"/>
                  <a:pt x="319192" y="30534"/>
                </a:cubicBezTo>
                <a:cubicBezTo>
                  <a:pt x="321345" y="31286"/>
                  <a:pt x="321678" y="29381"/>
                  <a:pt x="322945" y="28857"/>
                </a:cubicBezTo>
                <a:close/>
                <a:moveTo>
                  <a:pt x="318364" y="55899"/>
                </a:moveTo>
                <a:cubicBezTo>
                  <a:pt x="316802" y="55356"/>
                  <a:pt x="316773" y="53717"/>
                  <a:pt x="315363" y="53041"/>
                </a:cubicBezTo>
                <a:cubicBezTo>
                  <a:pt x="313982" y="55222"/>
                  <a:pt x="317421" y="58623"/>
                  <a:pt x="318364" y="55899"/>
                </a:cubicBezTo>
                <a:close/>
                <a:moveTo>
                  <a:pt x="278120" y="258934"/>
                </a:moveTo>
                <a:cubicBezTo>
                  <a:pt x="277454" y="261715"/>
                  <a:pt x="279254" y="262744"/>
                  <a:pt x="280740" y="264010"/>
                </a:cubicBezTo>
                <a:cubicBezTo>
                  <a:pt x="281559" y="261096"/>
                  <a:pt x="281149" y="259076"/>
                  <a:pt x="278120" y="258934"/>
                </a:cubicBezTo>
                <a:close/>
                <a:moveTo>
                  <a:pt x="316382" y="26600"/>
                </a:moveTo>
                <a:cubicBezTo>
                  <a:pt x="316287" y="28314"/>
                  <a:pt x="315268" y="30686"/>
                  <a:pt x="316744" y="31296"/>
                </a:cubicBezTo>
                <a:cubicBezTo>
                  <a:pt x="318459" y="30029"/>
                  <a:pt x="318945" y="27333"/>
                  <a:pt x="316382" y="26581"/>
                </a:cubicBezTo>
                <a:close/>
                <a:moveTo>
                  <a:pt x="312572" y="49136"/>
                </a:moveTo>
                <a:cubicBezTo>
                  <a:pt x="311201" y="47231"/>
                  <a:pt x="308496" y="46736"/>
                  <a:pt x="308762" y="50812"/>
                </a:cubicBezTo>
                <a:cubicBezTo>
                  <a:pt x="310272" y="51277"/>
                  <a:pt x="311893" y="50552"/>
                  <a:pt x="312553" y="49117"/>
                </a:cubicBezTo>
                <a:close/>
                <a:moveTo>
                  <a:pt x="243288" y="348069"/>
                </a:moveTo>
                <a:lnTo>
                  <a:pt x="242907" y="350316"/>
                </a:lnTo>
                <a:cubicBezTo>
                  <a:pt x="242849" y="351012"/>
                  <a:pt x="242849" y="351679"/>
                  <a:pt x="243859" y="351640"/>
                </a:cubicBezTo>
                <a:cubicBezTo>
                  <a:pt x="244040" y="350964"/>
                  <a:pt x="244250" y="350326"/>
                  <a:pt x="245183" y="350688"/>
                </a:cubicBezTo>
                <a:cubicBezTo>
                  <a:pt x="245278" y="351640"/>
                  <a:pt x="244831" y="352917"/>
                  <a:pt x="245916" y="353136"/>
                </a:cubicBezTo>
                <a:cubicBezTo>
                  <a:pt x="246717" y="350250"/>
                  <a:pt x="246316" y="348230"/>
                  <a:pt x="243288" y="348069"/>
                </a:cubicBezTo>
                <a:close/>
                <a:moveTo>
                  <a:pt x="230476" y="293719"/>
                </a:moveTo>
                <a:cubicBezTo>
                  <a:pt x="224142" y="291423"/>
                  <a:pt x="229181" y="298529"/>
                  <a:pt x="230476" y="293719"/>
                </a:cubicBezTo>
                <a:close/>
                <a:moveTo>
                  <a:pt x="153857" y="472008"/>
                </a:moveTo>
                <a:cubicBezTo>
                  <a:pt x="158086" y="472627"/>
                  <a:pt x="157286" y="471293"/>
                  <a:pt x="160620" y="473160"/>
                </a:cubicBezTo>
                <a:cubicBezTo>
                  <a:pt x="161903" y="471577"/>
                  <a:pt x="162264" y="469438"/>
                  <a:pt x="161573" y="467522"/>
                </a:cubicBezTo>
                <a:cubicBezTo>
                  <a:pt x="158334" y="468084"/>
                  <a:pt x="153724" y="466702"/>
                  <a:pt x="153857" y="472008"/>
                </a:cubicBezTo>
                <a:close/>
                <a:moveTo>
                  <a:pt x="154010" y="484790"/>
                </a:moveTo>
                <a:cubicBezTo>
                  <a:pt x="156867" y="485152"/>
                  <a:pt x="159839" y="485562"/>
                  <a:pt x="160220" y="482362"/>
                </a:cubicBezTo>
                <a:cubicBezTo>
                  <a:pt x="157833" y="481403"/>
                  <a:pt x="155113" y="482467"/>
                  <a:pt x="154010" y="484790"/>
                </a:cubicBezTo>
                <a:close/>
                <a:moveTo>
                  <a:pt x="163335" y="388978"/>
                </a:moveTo>
                <a:cubicBezTo>
                  <a:pt x="166249" y="389836"/>
                  <a:pt x="166640" y="387073"/>
                  <a:pt x="167478" y="385054"/>
                </a:cubicBezTo>
                <a:cubicBezTo>
                  <a:pt x="164535" y="384206"/>
                  <a:pt x="164144" y="386911"/>
                  <a:pt x="163335" y="388978"/>
                </a:cubicBezTo>
                <a:close/>
                <a:moveTo>
                  <a:pt x="163935" y="378653"/>
                </a:moveTo>
                <a:cubicBezTo>
                  <a:pt x="168002" y="375434"/>
                  <a:pt x="160344" y="374529"/>
                  <a:pt x="163935" y="378653"/>
                </a:cubicBezTo>
                <a:close/>
                <a:moveTo>
                  <a:pt x="128521" y="525681"/>
                </a:moveTo>
                <a:cubicBezTo>
                  <a:pt x="127140" y="527834"/>
                  <a:pt x="130578" y="531234"/>
                  <a:pt x="131521" y="528539"/>
                </a:cubicBezTo>
                <a:cubicBezTo>
                  <a:pt x="129997" y="527967"/>
                  <a:pt x="129931" y="526329"/>
                  <a:pt x="128521" y="525681"/>
                </a:cubicBezTo>
                <a:close/>
                <a:moveTo>
                  <a:pt x="135607" y="415582"/>
                </a:moveTo>
                <a:cubicBezTo>
                  <a:pt x="135484" y="418649"/>
                  <a:pt x="137922" y="419897"/>
                  <a:pt x="140475" y="421049"/>
                </a:cubicBezTo>
                <a:cubicBezTo>
                  <a:pt x="140799" y="417849"/>
                  <a:pt x="139332" y="415915"/>
                  <a:pt x="135607" y="415582"/>
                </a:cubicBezTo>
                <a:close/>
                <a:moveTo>
                  <a:pt x="125378" y="441671"/>
                </a:moveTo>
                <a:cubicBezTo>
                  <a:pt x="125711" y="439766"/>
                  <a:pt x="128616" y="441575"/>
                  <a:pt x="129188" y="439994"/>
                </a:cubicBezTo>
                <a:cubicBezTo>
                  <a:pt x="128349" y="439604"/>
                  <a:pt x="128035" y="438832"/>
                  <a:pt x="128435" y="437546"/>
                </a:cubicBezTo>
                <a:cubicBezTo>
                  <a:pt x="125759" y="435880"/>
                  <a:pt x="122768" y="440509"/>
                  <a:pt x="125378" y="441671"/>
                </a:cubicBezTo>
                <a:close/>
                <a:moveTo>
                  <a:pt x="105156" y="485771"/>
                </a:moveTo>
                <a:cubicBezTo>
                  <a:pt x="105823" y="482990"/>
                  <a:pt x="104013" y="481961"/>
                  <a:pt x="102537" y="480695"/>
                </a:cubicBezTo>
                <a:cubicBezTo>
                  <a:pt x="101717" y="483590"/>
                  <a:pt x="102118" y="485629"/>
                  <a:pt x="105156" y="485771"/>
                </a:cubicBezTo>
                <a:close/>
                <a:moveTo>
                  <a:pt x="103070" y="491220"/>
                </a:moveTo>
                <a:cubicBezTo>
                  <a:pt x="104023" y="488581"/>
                  <a:pt x="101432" y="488419"/>
                  <a:pt x="102899" y="485390"/>
                </a:cubicBezTo>
                <a:cubicBezTo>
                  <a:pt x="101670" y="485214"/>
                  <a:pt x="100541" y="484615"/>
                  <a:pt x="99708" y="483695"/>
                </a:cubicBezTo>
                <a:cubicBezTo>
                  <a:pt x="98689" y="484752"/>
                  <a:pt x="94431" y="488134"/>
                  <a:pt x="97431" y="490267"/>
                </a:cubicBezTo>
                <a:cubicBezTo>
                  <a:pt x="98031" y="485276"/>
                  <a:pt x="101479" y="490820"/>
                  <a:pt x="103070" y="491220"/>
                </a:cubicBezTo>
                <a:close/>
                <a:moveTo>
                  <a:pt x="37014" y="784914"/>
                </a:moveTo>
                <a:cubicBezTo>
                  <a:pt x="33557" y="783780"/>
                  <a:pt x="33518" y="787447"/>
                  <a:pt x="30794" y="787343"/>
                </a:cubicBezTo>
                <a:cubicBezTo>
                  <a:pt x="28708" y="787657"/>
                  <a:pt x="24413" y="784856"/>
                  <a:pt x="23851" y="787343"/>
                </a:cubicBezTo>
                <a:cubicBezTo>
                  <a:pt x="26118" y="788038"/>
                  <a:pt x="23270" y="792372"/>
                  <a:pt x="26460" y="792419"/>
                </a:cubicBezTo>
                <a:cubicBezTo>
                  <a:pt x="27138" y="791189"/>
                  <a:pt x="28122" y="790155"/>
                  <a:pt x="29318" y="789419"/>
                </a:cubicBezTo>
                <a:cubicBezTo>
                  <a:pt x="31375" y="791924"/>
                  <a:pt x="30166" y="796744"/>
                  <a:pt x="33614" y="798268"/>
                </a:cubicBezTo>
                <a:cubicBezTo>
                  <a:pt x="35081" y="795239"/>
                  <a:pt x="32528" y="795077"/>
                  <a:pt x="33442" y="792438"/>
                </a:cubicBezTo>
                <a:cubicBezTo>
                  <a:pt x="34871" y="792962"/>
                  <a:pt x="34271" y="790943"/>
                  <a:pt x="34957" y="790381"/>
                </a:cubicBezTo>
                <a:cubicBezTo>
                  <a:pt x="35643" y="789819"/>
                  <a:pt x="38148" y="791067"/>
                  <a:pt x="37586" y="788476"/>
                </a:cubicBezTo>
                <a:cubicBezTo>
                  <a:pt x="36281" y="788076"/>
                  <a:pt x="36652" y="786495"/>
                  <a:pt x="37014" y="784914"/>
                </a:cubicBezTo>
                <a:close/>
                <a:moveTo>
                  <a:pt x="29127" y="783580"/>
                </a:moveTo>
                <a:cubicBezTo>
                  <a:pt x="33004" y="784866"/>
                  <a:pt x="32566" y="780056"/>
                  <a:pt x="36452" y="781342"/>
                </a:cubicBezTo>
                <a:cubicBezTo>
                  <a:pt x="36319" y="782542"/>
                  <a:pt x="37748" y="782475"/>
                  <a:pt x="37776" y="780389"/>
                </a:cubicBezTo>
                <a:cubicBezTo>
                  <a:pt x="33271" y="779189"/>
                  <a:pt x="29851" y="779494"/>
                  <a:pt x="29127" y="783580"/>
                </a:cubicBezTo>
                <a:close/>
                <a:moveTo>
                  <a:pt x="27061" y="782066"/>
                </a:moveTo>
                <a:cubicBezTo>
                  <a:pt x="24965" y="780389"/>
                  <a:pt x="21346" y="782923"/>
                  <a:pt x="24422" y="783971"/>
                </a:cubicBezTo>
                <a:cubicBezTo>
                  <a:pt x="24679" y="782456"/>
                  <a:pt x="26565" y="783247"/>
                  <a:pt x="27061" y="782066"/>
                </a:cubicBezTo>
                <a:close/>
                <a:moveTo>
                  <a:pt x="678799" y="111296"/>
                </a:moveTo>
                <a:cubicBezTo>
                  <a:pt x="679475" y="111477"/>
                  <a:pt x="680104" y="111696"/>
                  <a:pt x="679752" y="112620"/>
                </a:cubicBezTo>
                <a:cubicBezTo>
                  <a:pt x="679133" y="112506"/>
                  <a:pt x="678313" y="113315"/>
                  <a:pt x="679561" y="113744"/>
                </a:cubicBezTo>
                <a:cubicBezTo>
                  <a:pt x="681971" y="113087"/>
                  <a:pt x="680809" y="108019"/>
                  <a:pt x="678799" y="111296"/>
                </a:cubicBezTo>
                <a:close/>
                <a:moveTo>
                  <a:pt x="677847" y="116935"/>
                </a:moveTo>
                <a:cubicBezTo>
                  <a:pt x="674703" y="114011"/>
                  <a:pt x="676246" y="117459"/>
                  <a:pt x="676142" y="120126"/>
                </a:cubicBezTo>
                <a:cubicBezTo>
                  <a:pt x="673745" y="120204"/>
                  <a:pt x="671404" y="119393"/>
                  <a:pt x="669569" y="117849"/>
                </a:cubicBezTo>
                <a:cubicBezTo>
                  <a:pt x="666112" y="116687"/>
                  <a:pt x="668198" y="123374"/>
                  <a:pt x="664293" y="121593"/>
                </a:cubicBezTo>
                <a:cubicBezTo>
                  <a:pt x="664045" y="123098"/>
                  <a:pt x="663788" y="124603"/>
                  <a:pt x="663531" y="126098"/>
                </a:cubicBezTo>
                <a:cubicBezTo>
                  <a:pt x="663312" y="129051"/>
                  <a:pt x="665740" y="124879"/>
                  <a:pt x="668045" y="126869"/>
                </a:cubicBezTo>
                <a:cubicBezTo>
                  <a:pt x="665369" y="129289"/>
                  <a:pt x="661978" y="132375"/>
                  <a:pt x="666702" y="134756"/>
                </a:cubicBezTo>
                <a:cubicBezTo>
                  <a:pt x="663673" y="138185"/>
                  <a:pt x="663359" y="134623"/>
                  <a:pt x="659940" y="133604"/>
                </a:cubicBezTo>
                <a:cubicBezTo>
                  <a:pt x="659206" y="136775"/>
                  <a:pt x="663378" y="136461"/>
                  <a:pt x="661045" y="140747"/>
                </a:cubicBezTo>
                <a:cubicBezTo>
                  <a:pt x="662140" y="140424"/>
                  <a:pt x="663235" y="140100"/>
                  <a:pt x="663683" y="138842"/>
                </a:cubicBezTo>
                <a:cubicBezTo>
                  <a:pt x="666255" y="140747"/>
                  <a:pt x="661568" y="144100"/>
                  <a:pt x="658406" y="142586"/>
                </a:cubicBezTo>
                <a:cubicBezTo>
                  <a:pt x="658406" y="144253"/>
                  <a:pt x="661702" y="143538"/>
                  <a:pt x="661406" y="145443"/>
                </a:cubicBezTo>
                <a:cubicBezTo>
                  <a:pt x="661492" y="147434"/>
                  <a:pt x="660168" y="147424"/>
                  <a:pt x="658778" y="147348"/>
                </a:cubicBezTo>
                <a:cubicBezTo>
                  <a:pt x="657501" y="147424"/>
                  <a:pt x="657625" y="149463"/>
                  <a:pt x="656139" y="149253"/>
                </a:cubicBezTo>
                <a:cubicBezTo>
                  <a:pt x="656139" y="150606"/>
                  <a:pt x="658044" y="150549"/>
                  <a:pt x="659321" y="150949"/>
                </a:cubicBezTo>
                <a:cubicBezTo>
                  <a:pt x="658921" y="152225"/>
                  <a:pt x="659235" y="152997"/>
                  <a:pt x="660073" y="153397"/>
                </a:cubicBezTo>
                <a:cubicBezTo>
                  <a:pt x="659263" y="155978"/>
                  <a:pt x="656158" y="155302"/>
                  <a:pt x="654806" y="157140"/>
                </a:cubicBezTo>
                <a:cubicBezTo>
                  <a:pt x="653434" y="157473"/>
                  <a:pt x="654501" y="154911"/>
                  <a:pt x="654053" y="154692"/>
                </a:cubicBezTo>
                <a:cubicBezTo>
                  <a:pt x="651424" y="153387"/>
                  <a:pt x="649205" y="157940"/>
                  <a:pt x="645595" y="156740"/>
                </a:cubicBezTo>
                <a:cubicBezTo>
                  <a:pt x="645043" y="161502"/>
                  <a:pt x="642861" y="161740"/>
                  <a:pt x="644071" y="165751"/>
                </a:cubicBezTo>
                <a:cubicBezTo>
                  <a:pt x="642605" y="166462"/>
                  <a:pt x="640923" y="166592"/>
                  <a:pt x="639366" y="166112"/>
                </a:cubicBezTo>
                <a:cubicBezTo>
                  <a:pt x="640073" y="167576"/>
                  <a:pt x="640202" y="169253"/>
                  <a:pt x="639728" y="170808"/>
                </a:cubicBezTo>
                <a:cubicBezTo>
                  <a:pt x="635422" y="170894"/>
                  <a:pt x="637594" y="166389"/>
                  <a:pt x="636175" y="164417"/>
                </a:cubicBezTo>
                <a:cubicBezTo>
                  <a:pt x="632917" y="164084"/>
                  <a:pt x="630003" y="163465"/>
                  <a:pt x="631117" y="160074"/>
                </a:cubicBezTo>
                <a:cubicBezTo>
                  <a:pt x="634460" y="159683"/>
                  <a:pt x="633765" y="162160"/>
                  <a:pt x="636556" y="162160"/>
                </a:cubicBezTo>
                <a:cubicBezTo>
                  <a:pt x="637651" y="161826"/>
                  <a:pt x="638737" y="161512"/>
                  <a:pt x="639194" y="160255"/>
                </a:cubicBezTo>
                <a:cubicBezTo>
                  <a:pt x="639194" y="158216"/>
                  <a:pt x="637404" y="160836"/>
                  <a:pt x="635813" y="159683"/>
                </a:cubicBezTo>
                <a:cubicBezTo>
                  <a:pt x="635422" y="159407"/>
                  <a:pt x="635727" y="156559"/>
                  <a:pt x="635260" y="156111"/>
                </a:cubicBezTo>
                <a:cubicBezTo>
                  <a:pt x="634308" y="155225"/>
                  <a:pt x="634136" y="157064"/>
                  <a:pt x="633946" y="157064"/>
                </a:cubicBezTo>
                <a:cubicBezTo>
                  <a:pt x="632270" y="157121"/>
                  <a:pt x="632946" y="155159"/>
                  <a:pt x="629431" y="156302"/>
                </a:cubicBezTo>
                <a:cubicBezTo>
                  <a:pt x="628917" y="161359"/>
                  <a:pt x="630688" y="167732"/>
                  <a:pt x="624145" y="166998"/>
                </a:cubicBezTo>
                <a:cubicBezTo>
                  <a:pt x="623830" y="168903"/>
                  <a:pt x="623507" y="170751"/>
                  <a:pt x="623192" y="172637"/>
                </a:cubicBezTo>
                <a:cubicBezTo>
                  <a:pt x="625097" y="175114"/>
                  <a:pt x="627355" y="171094"/>
                  <a:pt x="628079" y="171142"/>
                </a:cubicBezTo>
                <a:cubicBezTo>
                  <a:pt x="629603" y="171246"/>
                  <a:pt x="628155" y="173047"/>
                  <a:pt x="628821" y="173590"/>
                </a:cubicBezTo>
                <a:cubicBezTo>
                  <a:pt x="630479" y="175056"/>
                  <a:pt x="631860" y="172866"/>
                  <a:pt x="634641" y="173418"/>
                </a:cubicBezTo>
                <a:cubicBezTo>
                  <a:pt x="634898" y="176057"/>
                  <a:pt x="631203" y="173961"/>
                  <a:pt x="630698" y="176276"/>
                </a:cubicBezTo>
                <a:cubicBezTo>
                  <a:pt x="630346" y="177800"/>
                  <a:pt x="627507" y="176685"/>
                  <a:pt x="625993" y="176638"/>
                </a:cubicBezTo>
                <a:cubicBezTo>
                  <a:pt x="624792" y="178447"/>
                  <a:pt x="626354" y="179495"/>
                  <a:pt x="626545" y="180209"/>
                </a:cubicBezTo>
                <a:cubicBezTo>
                  <a:pt x="626627" y="181411"/>
                  <a:pt x="626812" y="182602"/>
                  <a:pt x="627097" y="183772"/>
                </a:cubicBezTo>
                <a:cubicBezTo>
                  <a:pt x="627840" y="184867"/>
                  <a:pt x="630793" y="184496"/>
                  <a:pt x="630098" y="186629"/>
                </a:cubicBezTo>
                <a:cubicBezTo>
                  <a:pt x="631717" y="186801"/>
                  <a:pt x="633327" y="186982"/>
                  <a:pt x="633289" y="188325"/>
                </a:cubicBezTo>
                <a:cubicBezTo>
                  <a:pt x="637813" y="188734"/>
                  <a:pt x="632689" y="184200"/>
                  <a:pt x="637242" y="185515"/>
                </a:cubicBezTo>
                <a:cubicBezTo>
                  <a:pt x="637051" y="187563"/>
                  <a:pt x="635460" y="187668"/>
                  <a:pt x="635337" y="189830"/>
                </a:cubicBezTo>
                <a:cubicBezTo>
                  <a:pt x="631631" y="189887"/>
                  <a:pt x="632212" y="187125"/>
                  <a:pt x="629707" y="188877"/>
                </a:cubicBezTo>
                <a:cubicBezTo>
                  <a:pt x="628202" y="192582"/>
                  <a:pt x="634041" y="191087"/>
                  <a:pt x="632127" y="195088"/>
                </a:cubicBezTo>
                <a:cubicBezTo>
                  <a:pt x="630584" y="193383"/>
                  <a:pt x="630803" y="194135"/>
                  <a:pt x="628564" y="195640"/>
                </a:cubicBezTo>
                <a:cubicBezTo>
                  <a:pt x="626659" y="196897"/>
                  <a:pt x="623611" y="198231"/>
                  <a:pt x="623097" y="200507"/>
                </a:cubicBezTo>
                <a:cubicBezTo>
                  <a:pt x="621192" y="200507"/>
                  <a:pt x="621344" y="199117"/>
                  <a:pt x="619906" y="198812"/>
                </a:cubicBezTo>
                <a:cubicBezTo>
                  <a:pt x="621935" y="202393"/>
                  <a:pt x="617830" y="204184"/>
                  <a:pt x="619506" y="208013"/>
                </a:cubicBezTo>
                <a:cubicBezTo>
                  <a:pt x="616306" y="208013"/>
                  <a:pt x="619154" y="203631"/>
                  <a:pt x="616887" y="202936"/>
                </a:cubicBezTo>
                <a:cubicBezTo>
                  <a:pt x="612467" y="204279"/>
                  <a:pt x="618354" y="206384"/>
                  <a:pt x="617058" y="208765"/>
                </a:cubicBezTo>
                <a:lnTo>
                  <a:pt x="613677" y="208184"/>
                </a:lnTo>
                <a:cubicBezTo>
                  <a:pt x="612724" y="210499"/>
                  <a:pt x="614925" y="210604"/>
                  <a:pt x="616677" y="211042"/>
                </a:cubicBezTo>
                <a:cubicBezTo>
                  <a:pt x="616468" y="213537"/>
                  <a:pt x="615144" y="214471"/>
                  <a:pt x="612724" y="213852"/>
                </a:cubicBezTo>
                <a:cubicBezTo>
                  <a:pt x="614848" y="216709"/>
                  <a:pt x="611134" y="217538"/>
                  <a:pt x="611381" y="221738"/>
                </a:cubicBezTo>
                <a:cubicBezTo>
                  <a:pt x="609752" y="222091"/>
                  <a:pt x="607304" y="220214"/>
                  <a:pt x="605752" y="220786"/>
                </a:cubicBezTo>
                <a:cubicBezTo>
                  <a:pt x="603714" y="221529"/>
                  <a:pt x="602742" y="230159"/>
                  <a:pt x="603114" y="222691"/>
                </a:cubicBezTo>
                <a:cubicBezTo>
                  <a:pt x="599256" y="224710"/>
                  <a:pt x="594817" y="225891"/>
                  <a:pt x="593503" y="231492"/>
                </a:cubicBezTo>
                <a:cubicBezTo>
                  <a:pt x="591776" y="229616"/>
                  <a:pt x="588997" y="229145"/>
                  <a:pt x="586750" y="230349"/>
                </a:cubicBezTo>
                <a:cubicBezTo>
                  <a:pt x="586483" y="232540"/>
                  <a:pt x="591512" y="229139"/>
                  <a:pt x="590864" y="233368"/>
                </a:cubicBezTo>
                <a:cubicBezTo>
                  <a:pt x="591817" y="231921"/>
                  <a:pt x="595236" y="233930"/>
                  <a:pt x="595751" y="231873"/>
                </a:cubicBezTo>
                <a:cubicBezTo>
                  <a:pt x="598608" y="232473"/>
                  <a:pt x="597713" y="236531"/>
                  <a:pt x="595922" y="237702"/>
                </a:cubicBezTo>
                <a:cubicBezTo>
                  <a:pt x="594617" y="238112"/>
                  <a:pt x="595560" y="235388"/>
                  <a:pt x="595179" y="235254"/>
                </a:cubicBezTo>
                <a:cubicBezTo>
                  <a:pt x="593827" y="234788"/>
                  <a:pt x="594389" y="236931"/>
                  <a:pt x="593674" y="237321"/>
                </a:cubicBezTo>
                <a:cubicBezTo>
                  <a:pt x="592160" y="238150"/>
                  <a:pt x="588912" y="236636"/>
                  <a:pt x="587845" y="237493"/>
                </a:cubicBezTo>
                <a:cubicBezTo>
                  <a:pt x="588438" y="238583"/>
                  <a:pt x="588637" y="239845"/>
                  <a:pt x="588407" y="241065"/>
                </a:cubicBezTo>
                <a:cubicBezTo>
                  <a:pt x="591055" y="241541"/>
                  <a:pt x="592055" y="239684"/>
                  <a:pt x="595351" y="241065"/>
                </a:cubicBezTo>
                <a:cubicBezTo>
                  <a:pt x="595284" y="242617"/>
                  <a:pt x="588588" y="241417"/>
                  <a:pt x="592493" y="244065"/>
                </a:cubicBezTo>
                <a:cubicBezTo>
                  <a:pt x="591779" y="246322"/>
                  <a:pt x="589093" y="245799"/>
                  <a:pt x="587407" y="246675"/>
                </a:cubicBezTo>
                <a:cubicBezTo>
                  <a:pt x="587131" y="248351"/>
                  <a:pt x="588769" y="247046"/>
                  <a:pt x="588540" y="246865"/>
                </a:cubicBezTo>
                <a:cubicBezTo>
                  <a:pt x="591693" y="249256"/>
                  <a:pt x="586969" y="248389"/>
                  <a:pt x="587588" y="252504"/>
                </a:cubicBezTo>
                <a:cubicBezTo>
                  <a:pt x="580920" y="250418"/>
                  <a:pt x="581997" y="257219"/>
                  <a:pt x="580615" y="259438"/>
                </a:cubicBezTo>
                <a:cubicBezTo>
                  <a:pt x="578996" y="259257"/>
                  <a:pt x="577386" y="259086"/>
                  <a:pt x="577425" y="257733"/>
                </a:cubicBezTo>
                <a:cubicBezTo>
                  <a:pt x="574805" y="256781"/>
                  <a:pt x="577177" y="262972"/>
                  <a:pt x="573472" y="260543"/>
                </a:cubicBezTo>
                <a:cubicBezTo>
                  <a:pt x="572129" y="263477"/>
                  <a:pt x="575329" y="263191"/>
                  <a:pt x="574958" y="265439"/>
                </a:cubicBezTo>
                <a:cubicBezTo>
                  <a:pt x="574519" y="268061"/>
                  <a:pt x="574075" y="270687"/>
                  <a:pt x="573624" y="273316"/>
                </a:cubicBezTo>
                <a:cubicBezTo>
                  <a:pt x="573834" y="275078"/>
                  <a:pt x="575139" y="273116"/>
                  <a:pt x="577005" y="273897"/>
                </a:cubicBezTo>
                <a:cubicBezTo>
                  <a:pt x="576663" y="276755"/>
                  <a:pt x="578558" y="277784"/>
                  <a:pt x="575100" y="278212"/>
                </a:cubicBezTo>
                <a:cubicBezTo>
                  <a:pt x="576891" y="281194"/>
                  <a:pt x="574596" y="279412"/>
                  <a:pt x="573396" y="281403"/>
                </a:cubicBezTo>
                <a:cubicBezTo>
                  <a:pt x="571214" y="280936"/>
                  <a:pt x="576586" y="276983"/>
                  <a:pt x="570538" y="277450"/>
                </a:cubicBezTo>
                <a:cubicBezTo>
                  <a:pt x="568947" y="277536"/>
                  <a:pt x="569119" y="280108"/>
                  <a:pt x="568633" y="281765"/>
                </a:cubicBezTo>
                <a:cubicBezTo>
                  <a:pt x="569374" y="282957"/>
                  <a:pt x="570407" y="283941"/>
                  <a:pt x="571633" y="284623"/>
                </a:cubicBezTo>
                <a:cubicBezTo>
                  <a:pt x="568690" y="287785"/>
                  <a:pt x="565918" y="283079"/>
                  <a:pt x="564299" y="286851"/>
                </a:cubicBezTo>
                <a:cubicBezTo>
                  <a:pt x="562242" y="286328"/>
                  <a:pt x="564252" y="282918"/>
                  <a:pt x="562813" y="281965"/>
                </a:cubicBezTo>
                <a:lnTo>
                  <a:pt x="558298" y="281194"/>
                </a:lnTo>
                <a:cubicBezTo>
                  <a:pt x="556546" y="281403"/>
                  <a:pt x="558498" y="282718"/>
                  <a:pt x="557727" y="284575"/>
                </a:cubicBezTo>
                <a:cubicBezTo>
                  <a:pt x="556022" y="285680"/>
                  <a:pt x="555879" y="284718"/>
                  <a:pt x="554355" y="284003"/>
                </a:cubicBezTo>
                <a:cubicBezTo>
                  <a:pt x="554412" y="284956"/>
                  <a:pt x="555308" y="285318"/>
                  <a:pt x="555098" y="286451"/>
                </a:cubicBezTo>
                <a:cubicBezTo>
                  <a:pt x="558251" y="287185"/>
                  <a:pt x="557955" y="283013"/>
                  <a:pt x="562242" y="285346"/>
                </a:cubicBezTo>
                <a:cubicBezTo>
                  <a:pt x="562242" y="287375"/>
                  <a:pt x="561623" y="288023"/>
                  <a:pt x="560537" y="288528"/>
                </a:cubicBezTo>
                <a:cubicBezTo>
                  <a:pt x="560727" y="288433"/>
                  <a:pt x="557136" y="289099"/>
                  <a:pt x="558089" y="289280"/>
                </a:cubicBezTo>
                <a:cubicBezTo>
                  <a:pt x="557136" y="289099"/>
                  <a:pt x="557194" y="287804"/>
                  <a:pt x="556031" y="287766"/>
                </a:cubicBezTo>
                <a:cubicBezTo>
                  <a:pt x="553745" y="287699"/>
                  <a:pt x="552355" y="289318"/>
                  <a:pt x="550202" y="287937"/>
                </a:cubicBezTo>
                <a:cubicBezTo>
                  <a:pt x="549916" y="291747"/>
                  <a:pt x="554774" y="291966"/>
                  <a:pt x="558641" y="292843"/>
                </a:cubicBezTo>
                <a:cubicBezTo>
                  <a:pt x="560213" y="293795"/>
                  <a:pt x="558289" y="295310"/>
                  <a:pt x="558260" y="295100"/>
                </a:cubicBezTo>
                <a:cubicBezTo>
                  <a:pt x="558384" y="295891"/>
                  <a:pt x="560165" y="297529"/>
                  <a:pt x="560165" y="297738"/>
                </a:cubicBezTo>
                <a:cubicBezTo>
                  <a:pt x="560165" y="299234"/>
                  <a:pt x="557127" y="300872"/>
                  <a:pt x="559403" y="302244"/>
                </a:cubicBezTo>
                <a:cubicBezTo>
                  <a:pt x="559127" y="304758"/>
                  <a:pt x="554746" y="301510"/>
                  <a:pt x="553383" y="303549"/>
                </a:cubicBezTo>
                <a:cubicBezTo>
                  <a:pt x="551278" y="306673"/>
                  <a:pt x="553964" y="305044"/>
                  <a:pt x="549812" y="304101"/>
                </a:cubicBezTo>
                <a:cubicBezTo>
                  <a:pt x="548650" y="306320"/>
                  <a:pt x="550450" y="307283"/>
                  <a:pt x="550174" y="308797"/>
                </a:cubicBezTo>
                <a:cubicBezTo>
                  <a:pt x="549697" y="311388"/>
                  <a:pt x="547592" y="311007"/>
                  <a:pt x="546964" y="314055"/>
                </a:cubicBezTo>
                <a:cubicBezTo>
                  <a:pt x="550955" y="315960"/>
                  <a:pt x="549459" y="310121"/>
                  <a:pt x="553164" y="311626"/>
                </a:cubicBezTo>
                <a:cubicBezTo>
                  <a:pt x="553224" y="314826"/>
                  <a:pt x="550715" y="317489"/>
                  <a:pt x="547516" y="317617"/>
                </a:cubicBezTo>
                <a:cubicBezTo>
                  <a:pt x="546116" y="320922"/>
                  <a:pt x="547973" y="321922"/>
                  <a:pt x="547516" y="324570"/>
                </a:cubicBezTo>
                <a:cubicBezTo>
                  <a:pt x="545192" y="327428"/>
                  <a:pt x="541915" y="320999"/>
                  <a:pt x="539439" y="324361"/>
                </a:cubicBezTo>
                <a:cubicBezTo>
                  <a:pt x="539829" y="325856"/>
                  <a:pt x="543935" y="324266"/>
                  <a:pt x="542049" y="329438"/>
                </a:cubicBezTo>
                <a:cubicBezTo>
                  <a:pt x="543889" y="328598"/>
                  <a:pt x="545991" y="328536"/>
                  <a:pt x="547878" y="329266"/>
                </a:cubicBezTo>
                <a:cubicBezTo>
                  <a:pt x="547440" y="332124"/>
                  <a:pt x="546811" y="330504"/>
                  <a:pt x="545430" y="330019"/>
                </a:cubicBezTo>
                <a:cubicBezTo>
                  <a:pt x="543401" y="329952"/>
                  <a:pt x="542573" y="331524"/>
                  <a:pt x="542411" y="334143"/>
                </a:cubicBezTo>
                <a:cubicBezTo>
                  <a:pt x="539810" y="334334"/>
                  <a:pt x="541172" y="331714"/>
                  <a:pt x="539410" y="331285"/>
                </a:cubicBezTo>
                <a:cubicBezTo>
                  <a:pt x="533819" y="328980"/>
                  <a:pt x="536905" y="338906"/>
                  <a:pt x="532438" y="338220"/>
                </a:cubicBezTo>
                <a:cubicBezTo>
                  <a:pt x="532981" y="339487"/>
                  <a:pt x="534838" y="339820"/>
                  <a:pt x="534124" y="342030"/>
                </a:cubicBezTo>
                <a:cubicBezTo>
                  <a:pt x="535162" y="343125"/>
                  <a:pt x="536458" y="341249"/>
                  <a:pt x="536572" y="341287"/>
                </a:cubicBezTo>
                <a:cubicBezTo>
                  <a:pt x="537934" y="341744"/>
                  <a:pt x="537658" y="343401"/>
                  <a:pt x="538477" y="343925"/>
                </a:cubicBezTo>
                <a:cubicBezTo>
                  <a:pt x="539610" y="344678"/>
                  <a:pt x="539429" y="342973"/>
                  <a:pt x="539782" y="342973"/>
                </a:cubicBezTo>
                <a:cubicBezTo>
                  <a:pt x="540534" y="342973"/>
                  <a:pt x="542639" y="345983"/>
                  <a:pt x="543163" y="343544"/>
                </a:cubicBezTo>
                <a:cubicBezTo>
                  <a:pt x="546821" y="344497"/>
                  <a:pt x="540239" y="349192"/>
                  <a:pt x="540525" y="345449"/>
                </a:cubicBezTo>
                <a:cubicBezTo>
                  <a:pt x="539258" y="345992"/>
                  <a:pt x="538925" y="347840"/>
                  <a:pt x="536762" y="347126"/>
                </a:cubicBezTo>
                <a:cubicBezTo>
                  <a:pt x="536543" y="347535"/>
                  <a:pt x="539191" y="352183"/>
                  <a:pt x="536000" y="351631"/>
                </a:cubicBezTo>
                <a:cubicBezTo>
                  <a:pt x="532981" y="351126"/>
                  <a:pt x="536115" y="353850"/>
                  <a:pt x="535229" y="356146"/>
                </a:cubicBezTo>
                <a:cubicBezTo>
                  <a:pt x="531333" y="354365"/>
                  <a:pt x="533429" y="361051"/>
                  <a:pt x="529962" y="359889"/>
                </a:cubicBezTo>
                <a:cubicBezTo>
                  <a:pt x="529742" y="364223"/>
                  <a:pt x="526847" y="364794"/>
                  <a:pt x="525199" y="367204"/>
                </a:cubicBezTo>
                <a:cubicBezTo>
                  <a:pt x="521989" y="367500"/>
                  <a:pt x="523294" y="364575"/>
                  <a:pt x="521084" y="364185"/>
                </a:cubicBezTo>
                <a:cubicBezTo>
                  <a:pt x="522199" y="366471"/>
                  <a:pt x="519103" y="369700"/>
                  <a:pt x="520684" y="373386"/>
                </a:cubicBezTo>
                <a:cubicBezTo>
                  <a:pt x="517827" y="373034"/>
                  <a:pt x="516826" y="374910"/>
                  <a:pt x="515045" y="372434"/>
                </a:cubicBezTo>
                <a:cubicBezTo>
                  <a:pt x="515150" y="374662"/>
                  <a:pt x="514636" y="377348"/>
                  <a:pt x="517665" y="377510"/>
                </a:cubicBezTo>
                <a:cubicBezTo>
                  <a:pt x="517446" y="380006"/>
                  <a:pt x="516141" y="380939"/>
                  <a:pt x="513702" y="380368"/>
                </a:cubicBezTo>
                <a:cubicBezTo>
                  <a:pt x="513407" y="382016"/>
                  <a:pt x="517855" y="384749"/>
                  <a:pt x="513131" y="383749"/>
                </a:cubicBezTo>
                <a:cubicBezTo>
                  <a:pt x="513645" y="386997"/>
                  <a:pt x="516941" y="382797"/>
                  <a:pt x="519894" y="384902"/>
                </a:cubicBezTo>
                <a:cubicBezTo>
                  <a:pt x="520446" y="388474"/>
                  <a:pt x="517036" y="386464"/>
                  <a:pt x="515007" y="386388"/>
                </a:cubicBezTo>
                <a:cubicBezTo>
                  <a:pt x="515625" y="388203"/>
                  <a:pt x="516507" y="389917"/>
                  <a:pt x="517627" y="391474"/>
                </a:cubicBezTo>
                <a:cubicBezTo>
                  <a:pt x="517731" y="394512"/>
                  <a:pt x="515617" y="393265"/>
                  <a:pt x="514598" y="395598"/>
                </a:cubicBezTo>
                <a:cubicBezTo>
                  <a:pt x="514436" y="395979"/>
                  <a:pt x="514598" y="397646"/>
                  <a:pt x="514217" y="397846"/>
                </a:cubicBezTo>
                <a:cubicBezTo>
                  <a:pt x="513836" y="398046"/>
                  <a:pt x="508997" y="393789"/>
                  <a:pt x="510645" y="398399"/>
                </a:cubicBezTo>
                <a:cubicBezTo>
                  <a:pt x="509064" y="398037"/>
                  <a:pt x="507483" y="397675"/>
                  <a:pt x="507082" y="398951"/>
                </a:cubicBezTo>
                <a:cubicBezTo>
                  <a:pt x="505787" y="398551"/>
                  <a:pt x="506473" y="396732"/>
                  <a:pt x="506520" y="395379"/>
                </a:cubicBezTo>
                <a:cubicBezTo>
                  <a:pt x="506759" y="393227"/>
                  <a:pt x="502930" y="393970"/>
                  <a:pt x="503663" y="391426"/>
                </a:cubicBezTo>
                <a:cubicBezTo>
                  <a:pt x="502577" y="391426"/>
                  <a:pt x="501606" y="394160"/>
                  <a:pt x="501758" y="395741"/>
                </a:cubicBezTo>
                <a:cubicBezTo>
                  <a:pt x="501758" y="396189"/>
                  <a:pt x="503663" y="398170"/>
                  <a:pt x="503663" y="398380"/>
                </a:cubicBezTo>
                <a:cubicBezTo>
                  <a:pt x="503663" y="398999"/>
                  <a:pt x="502244" y="400285"/>
                  <a:pt x="501968" y="401570"/>
                </a:cubicBezTo>
                <a:cubicBezTo>
                  <a:pt x="501529" y="403571"/>
                  <a:pt x="503168" y="405380"/>
                  <a:pt x="502139" y="407400"/>
                </a:cubicBezTo>
                <a:cubicBezTo>
                  <a:pt x="496643" y="407990"/>
                  <a:pt x="499005" y="403018"/>
                  <a:pt x="493509" y="403590"/>
                </a:cubicBezTo>
                <a:cubicBezTo>
                  <a:pt x="494605" y="405495"/>
                  <a:pt x="497519" y="406028"/>
                  <a:pt x="498567" y="407924"/>
                </a:cubicBezTo>
                <a:lnTo>
                  <a:pt x="496853" y="418068"/>
                </a:lnTo>
                <a:cubicBezTo>
                  <a:pt x="493509" y="418496"/>
                  <a:pt x="491604" y="420925"/>
                  <a:pt x="487251" y="419973"/>
                </a:cubicBezTo>
                <a:cubicBezTo>
                  <a:pt x="487737" y="416458"/>
                  <a:pt x="491347" y="417353"/>
                  <a:pt x="490842" y="412467"/>
                </a:cubicBezTo>
                <a:lnTo>
                  <a:pt x="488594" y="412077"/>
                </a:lnTo>
                <a:cubicBezTo>
                  <a:pt x="487280" y="412077"/>
                  <a:pt x="487775" y="413105"/>
                  <a:pt x="488404" y="413210"/>
                </a:cubicBezTo>
                <a:cubicBezTo>
                  <a:pt x="487099" y="414163"/>
                  <a:pt x="485794" y="415115"/>
                  <a:pt x="484451" y="416010"/>
                </a:cubicBezTo>
                <a:cubicBezTo>
                  <a:pt x="483786" y="417451"/>
                  <a:pt x="482155" y="418173"/>
                  <a:pt x="480641" y="417696"/>
                </a:cubicBezTo>
                <a:cubicBezTo>
                  <a:pt x="482070" y="414372"/>
                  <a:pt x="477917" y="415010"/>
                  <a:pt x="479336" y="411677"/>
                </a:cubicBezTo>
                <a:cubicBezTo>
                  <a:pt x="481784" y="411391"/>
                  <a:pt x="483908" y="410657"/>
                  <a:pt x="483680" y="406619"/>
                </a:cubicBezTo>
                <a:cubicBezTo>
                  <a:pt x="482489" y="404818"/>
                  <a:pt x="478917" y="402371"/>
                  <a:pt x="478050" y="405666"/>
                </a:cubicBezTo>
                <a:cubicBezTo>
                  <a:pt x="477641" y="404809"/>
                  <a:pt x="476002" y="403123"/>
                  <a:pt x="476364" y="401856"/>
                </a:cubicBezTo>
                <a:cubicBezTo>
                  <a:pt x="476926" y="399894"/>
                  <a:pt x="478126" y="400599"/>
                  <a:pt x="479384" y="397741"/>
                </a:cubicBezTo>
                <a:cubicBezTo>
                  <a:pt x="479584" y="397275"/>
                  <a:pt x="480755" y="396522"/>
                  <a:pt x="480698" y="396789"/>
                </a:cubicBezTo>
                <a:cubicBezTo>
                  <a:pt x="480870" y="395894"/>
                  <a:pt x="479374" y="394684"/>
                  <a:pt x="480146" y="393217"/>
                </a:cubicBezTo>
                <a:cubicBezTo>
                  <a:pt x="480498" y="392550"/>
                  <a:pt x="483851" y="392865"/>
                  <a:pt x="483156" y="389093"/>
                </a:cubicBezTo>
                <a:cubicBezTo>
                  <a:pt x="480851" y="388140"/>
                  <a:pt x="480755" y="390340"/>
                  <a:pt x="480298" y="392093"/>
                </a:cubicBezTo>
                <a:cubicBezTo>
                  <a:pt x="477831" y="393046"/>
                  <a:pt x="478946" y="389750"/>
                  <a:pt x="478393" y="389455"/>
                </a:cubicBezTo>
                <a:cubicBezTo>
                  <a:pt x="476669" y="388502"/>
                  <a:pt x="475536" y="390807"/>
                  <a:pt x="473688" y="389817"/>
                </a:cubicBezTo>
                <a:cubicBezTo>
                  <a:pt x="472945" y="387264"/>
                  <a:pt x="475783" y="388578"/>
                  <a:pt x="476326" y="387912"/>
                </a:cubicBezTo>
                <a:cubicBezTo>
                  <a:pt x="478288" y="385645"/>
                  <a:pt x="477145" y="383854"/>
                  <a:pt x="477469" y="381149"/>
                </a:cubicBezTo>
                <a:cubicBezTo>
                  <a:pt x="479689" y="382101"/>
                  <a:pt x="484137" y="381949"/>
                  <a:pt x="484803" y="378910"/>
                </a:cubicBezTo>
                <a:cubicBezTo>
                  <a:pt x="485146" y="377377"/>
                  <a:pt x="486499" y="378910"/>
                  <a:pt x="487251" y="378168"/>
                </a:cubicBezTo>
                <a:cubicBezTo>
                  <a:pt x="488004" y="377425"/>
                  <a:pt x="486404" y="376701"/>
                  <a:pt x="486299" y="376844"/>
                </a:cubicBezTo>
                <a:cubicBezTo>
                  <a:pt x="488204" y="373824"/>
                  <a:pt x="492290" y="373243"/>
                  <a:pt x="493271" y="369919"/>
                </a:cubicBezTo>
                <a:cubicBezTo>
                  <a:pt x="493284" y="369283"/>
                  <a:pt x="492779" y="368756"/>
                  <a:pt x="492142" y="368744"/>
                </a:cubicBezTo>
                <a:cubicBezTo>
                  <a:pt x="491635" y="368733"/>
                  <a:pt x="491180" y="369056"/>
                  <a:pt x="491023" y="369538"/>
                </a:cubicBezTo>
                <a:cubicBezTo>
                  <a:pt x="489595" y="368785"/>
                  <a:pt x="491128" y="368528"/>
                  <a:pt x="491404" y="367280"/>
                </a:cubicBezTo>
                <a:cubicBezTo>
                  <a:pt x="491328" y="367604"/>
                  <a:pt x="489680" y="366395"/>
                  <a:pt x="490452" y="365966"/>
                </a:cubicBezTo>
                <a:cubicBezTo>
                  <a:pt x="492890" y="364613"/>
                  <a:pt x="491052" y="361585"/>
                  <a:pt x="493862" y="359584"/>
                </a:cubicBezTo>
                <a:cubicBezTo>
                  <a:pt x="496862" y="357451"/>
                  <a:pt x="491500" y="358756"/>
                  <a:pt x="493690" y="353764"/>
                </a:cubicBezTo>
                <a:cubicBezTo>
                  <a:pt x="494186" y="352265"/>
                  <a:pt x="494824" y="350817"/>
                  <a:pt x="495595" y="349440"/>
                </a:cubicBezTo>
                <a:cubicBezTo>
                  <a:pt x="497215" y="347535"/>
                  <a:pt x="500596" y="348831"/>
                  <a:pt x="498805" y="344192"/>
                </a:cubicBezTo>
                <a:cubicBezTo>
                  <a:pt x="501853" y="348326"/>
                  <a:pt x="500710" y="338639"/>
                  <a:pt x="506139" y="341954"/>
                </a:cubicBezTo>
                <a:cubicBezTo>
                  <a:pt x="506775" y="339534"/>
                  <a:pt x="505822" y="338217"/>
                  <a:pt x="503282" y="338001"/>
                </a:cubicBezTo>
                <a:cubicBezTo>
                  <a:pt x="503053" y="334419"/>
                  <a:pt x="505787" y="335019"/>
                  <a:pt x="505558" y="331438"/>
                </a:cubicBezTo>
                <a:cubicBezTo>
                  <a:pt x="506816" y="333038"/>
                  <a:pt x="507254" y="332171"/>
                  <a:pt x="508940" y="332009"/>
                </a:cubicBezTo>
                <a:lnTo>
                  <a:pt x="509711" y="327504"/>
                </a:lnTo>
                <a:cubicBezTo>
                  <a:pt x="512474" y="328142"/>
                  <a:pt x="513521" y="326323"/>
                  <a:pt x="515722" y="326199"/>
                </a:cubicBezTo>
                <a:cubicBezTo>
                  <a:pt x="516045" y="324294"/>
                  <a:pt x="516363" y="322418"/>
                  <a:pt x="516674" y="320570"/>
                </a:cubicBezTo>
                <a:cubicBezTo>
                  <a:pt x="518350" y="320243"/>
                  <a:pt x="519797" y="319199"/>
                  <a:pt x="520636" y="317712"/>
                </a:cubicBezTo>
                <a:cubicBezTo>
                  <a:pt x="524218" y="318112"/>
                  <a:pt x="527495" y="318055"/>
                  <a:pt x="528161" y="314350"/>
                </a:cubicBezTo>
                <a:cubicBezTo>
                  <a:pt x="526313" y="313617"/>
                  <a:pt x="525885" y="314874"/>
                  <a:pt x="525523" y="316255"/>
                </a:cubicBezTo>
                <a:cubicBezTo>
                  <a:pt x="523183" y="314770"/>
                  <a:pt x="521146" y="312853"/>
                  <a:pt x="519522" y="310607"/>
                </a:cubicBezTo>
                <a:cubicBezTo>
                  <a:pt x="516969" y="312188"/>
                  <a:pt x="517322" y="309378"/>
                  <a:pt x="515407" y="307587"/>
                </a:cubicBezTo>
                <a:cubicBezTo>
                  <a:pt x="513502" y="306978"/>
                  <a:pt x="513159" y="305216"/>
                  <a:pt x="513912" y="302701"/>
                </a:cubicBezTo>
                <a:cubicBezTo>
                  <a:pt x="517284" y="302320"/>
                  <a:pt x="520665" y="301977"/>
                  <a:pt x="520694" y="296891"/>
                </a:cubicBezTo>
                <a:cubicBezTo>
                  <a:pt x="524504" y="294567"/>
                  <a:pt x="527361" y="298205"/>
                  <a:pt x="529152" y="294852"/>
                </a:cubicBezTo>
                <a:cubicBezTo>
                  <a:pt x="526628" y="290795"/>
                  <a:pt x="522599" y="293690"/>
                  <a:pt x="520713" y="289937"/>
                </a:cubicBezTo>
                <a:cubicBezTo>
                  <a:pt x="523325" y="288854"/>
                  <a:pt x="526190" y="288525"/>
                  <a:pt x="528980" y="288985"/>
                </a:cubicBezTo>
                <a:cubicBezTo>
                  <a:pt x="529723" y="287775"/>
                  <a:pt x="527018" y="288032"/>
                  <a:pt x="526923" y="287470"/>
                </a:cubicBezTo>
                <a:cubicBezTo>
                  <a:pt x="526590" y="285718"/>
                  <a:pt x="528457" y="285565"/>
                  <a:pt x="528619" y="284289"/>
                </a:cubicBezTo>
                <a:cubicBezTo>
                  <a:pt x="528780" y="283013"/>
                  <a:pt x="526885" y="282460"/>
                  <a:pt x="526713" y="281651"/>
                </a:cubicBezTo>
                <a:cubicBezTo>
                  <a:pt x="526609" y="281051"/>
                  <a:pt x="529781" y="278736"/>
                  <a:pt x="527285" y="278269"/>
                </a:cubicBezTo>
                <a:cubicBezTo>
                  <a:pt x="529552" y="277317"/>
                  <a:pt x="528523" y="275831"/>
                  <a:pt x="530495" y="273021"/>
                </a:cubicBezTo>
                <a:cubicBezTo>
                  <a:pt x="531295" y="272732"/>
                  <a:pt x="532108" y="272485"/>
                  <a:pt x="532933" y="272278"/>
                </a:cubicBezTo>
                <a:cubicBezTo>
                  <a:pt x="533200" y="271507"/>
                  <a:pt x="531533" y="270059"/>
                  <a:pt x="532381" y="268697"/>
                </a:cubicBezTo>
                <a:cubicBezTo>
                  <a:pt x="536143" y="272259"/>
                  <a:pt x="538220" y="263534"/>
                  <a:pt x="539744" y="259515"/>
                </a:cubicBezTo>
                <a:cubicBezTo>
                  <a:pt x="541782" y="259715"/>
                  <a:pt x="541887" y="261296"/>
                  <a:pt x="544058" y="261420"/>
                </a:cubicBezTo>
                <a:cubicBezTo>
                  <a:pt x="545011" y="259115"/>
                  <a:pt x="542811" y="259010"/>
                  <a:pt x="541068" y="258562"/>
                </a:cubicBezTo>
                <a:cubicBezTo>
                  <a:pt x="541230" y="256419"/>
                  <a:pt x="541687" y="254162"/>
                  <a:pt x="544078" y="254438"/>
                </a:cubicBezTo>
                <a:cubicBezTo>
                  <a:pt x="545744" y="254628"/>
                  <a:pt x="545392" y="251895"/>
                  <a:pt x="547097" y="250313"/>
                </a:cubicBezTo>
                <a:cubicBezTo>
                  <a:pt x="548758" y="251403"/>
                  <a:pt x="550799" y="251748"/>
                  <a:pt x="552726" y="251266"/>
                </a:cubicBezTo>
                <a:cubicBezTo>
                  <a:pt x="553585" y="249028"/>
                  <a:pt x="553585" y="246551"/>
                  <a:pt x="552726" y="244313"/>
                </a:cubicBezTo>
                <a:cubicBezTo>
                  <a:pt x="550612" y="244132"/>
                  <a:pt x="551383" y="248008"/>
                  <a:pt x="549707" y="248437"/>
                </a:cubicBezTo>
                <a:cubicBezTo>
                  <a:pt x="548611" y="248228"/>
                  <a:pt x="549059" y="246913"/>
                  <a:pt x="548964" y="245999"/>
                </a:cubicBezTo>
                <a:cubicBezTo>
                  <a:pt x="547500" y="246706"/>
                  <a:pt x="545823" y="246835"/>
                  <a:pt x="544268" y="246361"/>
                </a:cubicBezTo>
                <a:cubicBezTo>
                  <a:pt x="545649" y="243656"/>
                  <a:pt x="549383" y="244275"/>
                  <a:pt x="551793" y="242998"/>
                </a:cubicBezTo>
                <a:cubicBezTo>
                  <a:pt x="550040" y="240655"/>
                  <a:pt x="552669" y="239560"/>
                  <a:pt x="554803" y="238864"/>
                </a:cubicBezTo>
                <a:cubicBezTo>
                  <a:pt x="554269" y="237598"/>
                  <a:pt x="552412" y="237264"/>
                  <a:pt x="553126" y="235112"/>
                </a:cubicBezTo>
                <a:cubicBezTo>
                  <a:pt x="557546" y="239960"/>
                  <a:pt x="560270" y="232787"/>
                  <a:pt x="562166" y="229682"/>
                </a:cubicBezTo>
                <a:cubicBezTo>
                  <a:pt x="568566" y="229111"/>
                  <a:pt x="567033" y="234150"/>
                  <a:pt x="571691" y="234788"/>
                </a:cubicBezTo>
                <a:cubicBezTo>
                  <a:pt x="572815" y="231340"/>
                  <a:pt x="569395" y="231130"/>
                  <a:pt x="567947" y="229511"/>
                </a:cubicBezTo>
                <a:cubicBezTo>
                  <a:pt x="567528" y="228492"/>
                  <a:pt x="569338" y="225882"/>
                  <a:pt x="568709" y="225006"/>
                </a:cubicBezTo>
                <a:cubicBezTo>
                  <a:pt x="568709" y="224948"/>
                  <a:pt x="567576" y="224853"/>
                  <a:pt x="567585" y="224815"/>
                </a:cubicBezTo>
                <a:cubicBezTo>
                  <a:pt x="567747" y="223863"/>
                  <a:pt x="571195" y="220376"/>
                  <a:pt x="566099" y="219929"/>
                </a:cubicBezTo>
                <a:cubicBezTo>
                  <a:pt x="568185" y="213090"/>
                  <a:pt x="573719" y="211080"/>
                  <a:pt x="578539" y="208127"/>
                </a:cubicBezTo>
                <a:cubicBezTo>
                  <a:pt x="577139" y="203927"/>
                  <a:pt x="579606" y="202736"/>
                  <a:pt x="580254" y="197983"/>
                </a:cubicBezTo>
                <a:cubicBezTo>
                  <a:pt x="583044" y="198650"/>
                  <a:pt x="584064" y="196850"/>
                  <a:pt x="585330" y="195364"/>
                </a:cubicBezTo>
                <a:cubicBezTo>
                  <a:pt x="585156" y="191900"/>
                  <a:pt x="585745" y="188440"/>
                  <a:pt x="587054" y="185229"/>
                </a:cubicBezTo>
                <a:cubicBezTo>
                  <a:pt x="586016" y="183648"/>
                  <a:pt x="584197" y="182629"/>
                  <a:pt x="585759" y="179209"/>
                </a:cubicBezTo>
                <a:cubicBezTo>
                  <a:pt x="587035" y="179609"/>
                  <a:pt x="587807" y="179295"/>
                  <a:pt x="588207" y="178457"/>
                </a:cubicBezTo>
                <a:cubicBezTo>
                  <a:pt x="591293" y="178876"/>
                  <a:pt x="590160" y="180724"/>
                  <a:pt x="592712" y="179228"/>
                </a:cubicBezTo>
                <a:cubicBezTo>
                  <a:pt x="594779" y="179971"/>
                  <a:pt x="594484" y="176857"/>
                  <a:pt x="595570" y="176228"/>
                </a:cubicBezTo>
                <a:cubicBezTo>
                  <a:pt x="596017" y="175961"/>
                  <a:pt x="597475" y="176933"/>
                  <a:pt x="597818" y="176609"/>
                </a:cubicBezTo>
                <a:cubicBezTo>
                  <a:pt x="598160" y="176285"/>
                  <a:pt x="597818" y="174599"/>
                  <a:pt x="598199" y="174352"/>
                </a:cubicBezTo>
                <a:cubicBezTo>
                  <a:pt x="599904" y="173399"/>
                  <a:pt x="599008" y="171713"/>
                  <a:pt x="600475" y="167789"/>
                </a:cubicBezTo>
                <a:cubicBezTo>
                  <a:pt x="600608" y="167436"/>
                  <a:pt x="602856" y="167227"/>
                  <a:pt x="602923" y="167046"/>
                </a:cubicBezTo>
                <a:cubicBezTo>
                  <a:pt x="604066" y="163893"/>
                  <a:pt x="603590" y="160483"/>
                  <a:pt x="604647" y="156902"/>
                </a:cubicBezTo>
                <a:cubicBezTo>
                  <a:pt x="606743" y="157530"/>
                  <a:pt x="606371" y="154682"/>
                  <a:pt x="607505" y="153901"/>
                </a:cubicBezTo>
                <a:cubicBezTo>
                  <a:pt x="608638" y="153120"/>
                  <a:pt x="611191" y="154435"/>
                  <a:pt x="611257" y="152215"/>
                </a:cubicBezTo>
                <a:cubicBezTo>
                  <a:pt x="610953" y="149272"/>
                  <a:pt x="607895" y="153797"/>
                  <a:pt x="605438" y="152396"/>
                </a:cubicBezTo>
                <a:cubicBezTo>
                  <a:pt x="605171" y="149225"/>
                  <a:pt x="608133" y="150606"/>
                  <a:pt x="609390" y="149587"/>
                </a:cubicBezTo>
                <a:cubicBezTo>
                  <a:pt x="610267" y="147310"/>
                  <a:pt x="609124" y="146472"/>
                  <a:pt x="609029" y="144891"/>
                </a:cubicBezTo>
                <a:cubicBezTo>
                  <a:pt x="607460" y="145028"/>
                  <a:pt x="606237" y="146308"/>
                  <a:pt x="606171" y="147882"/>
                </a:cubicBezTo>
                <a:cubicBezTo>
                  <a:pt x="603380" y="147882"/>
                  <a:pt x="604076" y="145415"/>
                  <a:pt x="600732" y="145805"/>
                </a:cubicBezTo>
                <a:cubicBezTo>
                  <a:pt x="599142" y="145891"/>
                  <a:pt x="599323" y="148463"/>
                  <a:pt x="598827" y="150110"/>
                </a:cubicBezTo>
                <a:lnTo>
                  <a:pt x="594322" y="149348"/>
                </a:lnTo>
                <a:cubicBezTo>
                  <a:pt x="594970" y="147939"/>
                  <a:pt x="596598" y="147920"/>
                  <a:pt x="597179" y="146358"/>
                </a:cubicBezTo>
                <a:cubicBezTo>
                  <a:pt x="594028" y="146081"/>
                  <a:pt x="590851" y="146326"/>
                  <a:pt x="587778" y="147082"/>
                </a:cubicBezTo>
                <a:cubicBezTo>
                  <a:pt x="586483" y="146691"/>
                  <a:pt x="586921" y="148615"/>
                  <a:pt x="586273" y="149139"/>
                </a:cubicBezTo>
                <a:cubicBezTo>
                  <a:pt x="585626" y="149663"/>
                  <a:pt x="583140" y="148625"/>
                  <a:pt x="583635" y="151044"/>
                </a:cubicBezTo>
                <a:cubicBezTo>
                  <a:pt x="578225" y="150730"/>
                  <a:pt x="576377" y="150911"/>
                  <a:pt x="573872" y="147062"/>
                </a:cubicBezTo>
                <a:cubicBezTo>
                  <a:pt x="571918" y="148937"/>
                  <a:pt x="569701" y="150515"/>
                  <a:pt x="567290" y="151749"/>
                </a:cubicBezTo>
                <a:lnTo>
                  <a:pt x="561642" y="150796"/>
                </a:lnTo>
                <a:cubicBezTo>
                  <a:pt x="559971" y="151123"/>
                  <a:pt x="558529" y="152168"/>
                  <a:pt x="557698" y="153654"/>
                </a:cubicBezTo>
                <a:cubicBezTo>
                  <a:pt x="554936" y="151825"/>
                  <a:pt x="550688" y="154682"/>
                  <a:pt x="550926" y="152501"/>
                </a:cubicBezTo>
                <a:cubicBezTo>
                  <a:pt x="549631" y="151949"/>
                  <a:pt x="550078" y="154244"/>
                  <a:pt x="549431" y="154568"/>
                </a:cubicBezTo>
                <a:cubicBezTo>
                  <a:pt x="547526" y="155521"/>
                  <a:pt x="542849" y="153930"/>
                  <a:pt x="543020" y="158121"/>
                </a:cubicBezTo>
                <a:cubicBezTo>
                  <a:pt x="539420" y="154159"/>
                  <a:pt x="536353" y="160521"/>
                  <a:pt x="533800" y="164674"/>
                </a:cubicBezTo>
                <a:cubicBezTo>
                  <a:pt x="531285" y="163922"/>
                  <a:pt x="529514" y="164227"/>
                  <a:pt x="528914" y="166160"/>
                </a:cubicBezTo>
                <a:cubicBezTo>
                  <a:pt x="528033" y="165074"/>
                  <a:pt x="527452" y="163778"/>
                  <a:pt x="527228" y="162398"/>
                </a:cubicBezTo>
                <a:cubicBezTo>
                  <a:pt x="524104" y="164503"/>
                  <a:pt x="517350" y="161207"/>
                  <a:pt x="522141" y="165017"/>
                </a:cubicBezTo>
                <a:cubicBezTo>
                  <a:pt x="521018" y="165484"/>
                  <a:pt x="517207" y="168960"/>
                  <a:pt x="517265" y="166503"/>
                </a:cubicBezTo>
                <a:cubicBezTo>
                  <a:pt x="516069" y="167236"/>
                  <a:pt x="515085" y="168266"/>
                  <a:pt x="514407" y="169494"/>
                </a:cubicBezTo>
                <a:cubicBezTo>
                  <a:pt x="512921" y="167475"/>
                  <a:pt x="507854" y="170037"/>
                  <a:pt x="506911" y="165912"/>
                </a:cubicBezTo>
                <a:cubicBezTo>
                  <a:pt x="505149" y="166112"/>
                  <a:pt x="507101" y="167427"/>
                  <a:pt x="506330" y="169284"/>
                </a:cubicBezTo>
                <a:cubicBezTo>
                  <a:pt x="506244" y="171999"/>
                  <a:pt x="511559" y="170865"/>
                  <a:pt x="510073" y="174561"/>
                </a:cubicBezTo>
                <a:cubicBezTo>
                  <a:pt x="509095" y="173032"/>
                  <a:pt x="507063" y="172586"/>
                  <a:pt x="505535" y="173564"/>
                </a:cubicBezTo>
                <a:cubicBezTo>
                  <a:pt x="504732" y="174077"/>
                  <a:pt x="504192" y="174914"/>
                  <a:pt x="504053" y="175857"/>
                </a:cubicBezTo>
                <a:cubicBezTo>
                  <a:pt x="502644" y="175209"/>
                  <a:pt x="502625" y="173571"/>
                  <a:pt x="501053" y="172999"/>
                </a:cubicBezTo>
                <a:cubicBezTo>
                  <a:pt x="497487" y="172721"/>
                  <a:pt x="494370" y="175386"/>
                  <a:pt x="494091" y="178952"/>
                </a:cubicBezTo>
                <a:cubicBezTo>
                  <a:pt x="494066" y="179282"/>
                  <a:pt x="494066" y="179613"/>
                  <a:pt x="494090" y="179943"/>
                </a:cubicBezTo>
                <a:cubicBezTo>
                  <a:pt x="492871" y="181848"/>
                  <a:pt x="492995" y="179057"/>
                  <a:pt x="493347" y="177495"/>
                </a:cubicBezTo>
                <a:cubicBezTo>
                  <a:pt x="490916" y="176860"/>
                  <a:pt x="489595" y="177793"/>
                  <a:pt x="489385" y="180295"/>
                </a:cubicBezTo>
                <a:cubicBezTo>
                  <a:pt x="487823" y="179428"/>
                  <a:pt x="486832" y="178152"/>
                  <a:pt x="485261" y="177276"/>
                </a:cubicBezTo>
                <a:cubicBezTo>
                  <a:pt x="485261" y="177990"/>
                  <a:pt x="486651" y="179695"/>
                  <a:pt x="485813" y="180848"/>
                </a:cubicBezTo>
                <a:cubicBezTo>
                  <a:pt x="485337" y="181505"/>
                  <a:pt x="484403" y="179619"/>
                  <a:pt x="484861" y="179533"/>
                </a:cubicBezTo>
                <a:cubicBezTo>
                  <a:pt x="483994" y="179695"/>
                  <a:pt x="480403" y="184134"/>
                  <a:pt x="478469" y="183086"/>
                </a:cubicBezTo>
                <a:cubicBezTo>
                  <a:pt x="478717" y="181581"/>
                  <a:pt x="478974" y="180076"/>
                  <a:pt x="479231" y="178581"/>
                </a:cubicBezTo>
                <a:cubicBezTo>
                  <a:pt x="476602" y="177628"/>
                  <a:pt x="478984" y="183819"/>
                  <a:pt x="475278" y="181391"/>
                </a:cubicBezTo>
                <a:cubicBezTo>
                  <a:pt x="475421" y="186248"/>
                  <a:pt x="472183" y="186334"/>
                  <a:pt x="471468" y="190020"/>
                </a:cubicBezTo>
                <a:cubicBezTo>
                  <a:pt x="469935" y="189125"/>
                  <a:pt x="465420" y="190344"/>
                  <a:pt x="466030" y="187934"/>
                </a:cubicBezTo>
                <a:cubicBezTo>
                  <a:pt x="464963" y="188496"/>
                  <a:pt x="461601" y="192601"/>
                  <a:pt x="463944" y="193383"/>
                </a:cubicBezTo>
                <a:cubicBezTo>
                  <a:pt x="463506" y="194621"/>
                  <a:pt x="462705" y="193811"/>
                  <a:pt x="462820" y="193192"/>
                </a:cubicBezTo>
                <a:cubicBezTo>
                  <a:pt x="461477" y="193192"/>
                  <a:pt x="460848" y="192601"/>
                  <a:pt x="460753" y="191678"/>
                </a:cubicBezTo>
                <a:cubicBezTo>
                  <a:pt x="459187" y="191827"/>
                  <a:pt x="457969" y="193106"/>
                  <a:pt x="457895" y="194678"/>
                </a:cubicBezTo>
                <a:cubicBezTo>
                  <a:pt x="456267" y="192249"/>
                  <a:pt x="454362" y="194373"/>
                  <a:pt x="453009" y="196164"/>
                </a:cubicBezTo>
                <a:cubicBezTo>
                  <a:pt x="454104" y="199974"/>
                  <a:pt x="458429" y="193678"/>
                  <a:pt x="459772" y="197316"/>
                </a:cubicBezTo>
                <a:cubicBezTo>
                  <a:pt x="458895" y="198878"/>
                  <a:pt x="457619" y="199869"/>
                  <a:pt x="456752" y="201441"/>
                </a:cubicBezTo>
                <a:cubicBezTo>
                  <a:pt x="454257" y="198183"/>
                  <a:pt x="448904" y="203108"/>
                  <a:pt x="450561" y="196907"/>
                </a:cubicBezTo>
                <a:cubicBezTo>
                  <a:pt x="445379" y="197526"/>
                  <a:pt x="443703" y="203079"/>
                  <a:pt x="440760" y="206841"/>
                </a:cubicBezTo>
                <a:cubicBezTo>
                  <a:pt x="438502" y="203517"/>
                  <a:pt x="437960" y="208804"/>
                  <a:pt x="433816" y="206841"/>
                </a:cubicBezTo>
                <a:cubicBezTo>
                  <a:pt x="432454" y="206794"/>
                  <a:pt x="432511" y="208746"/>
                  <a:pt x="432111" y="210032"/>
                </a:cubicBezTo>
                <a:cubicBezTo>
                  <a:pt x="430694" y="209370"/>
                  <a:pt x="429976" y="207768"/>
                  <a:pt x="430425" y="206270"/>
                </a:cubicBezTo>
                <a:cubicBezTo>
                  <a:pt x="429082" y="206270"/>
                  <a:pt x="429130" y="208175"/>
                  <a:pt x="428730" y="209451"/>
                </a:cubicBezTo>
                <a:cubicBezTo>
                  <a:pt x="427844" y="208594"/>
                  <a:pt x="426949" y="207746"/>
                  <a:pt x="426472" y="209070"/>
                </a:cubicBezTo>
                <a:cubicBezTo>
                  <a:pt x="424415" y="207222"/>
                  <a:pt x="426358" y="202546"/>
                  <a:pt x="423120" y="201545"/>
                </a:cubicBezTo>
                <a:cubicBezTo>
                  <a:pt x="420167" y="201326"/>
                  <a:pt x="424339" y="203746"/>
                  <a:pt x="422348" y="206051"/>
                </a:cubicBezTo>
                <a:cubicBezTo>
                  <a:pt x="420885" y="206763"/>
                  <a:pt x="419207" y="206892"/>
                  <a:pt x="417652" y="206413"/>
                </a:cubicBezTo>
                <a:cubicBezTo>
                  <a:pt x="417605" y="208213"/>
                  <a:pt x="421091" y="212413"/>
                  <a:pt x="417652" y="213366"/>
                </a:cubicBezTo>
                <a:cubicBezTo>
                  <a:pt x="418471" y="216414"/>
                  <a:pt x="421462" y="217900"/>
                  <a:pt x="420824" y="222024"/>
                </a:cubicBezTo>
                <a:cubicBezTo>
                  <a:pt x="417014" y="220386"/>
                  <a:pt x="416614" y="223129"/>
                  <a:pt x="419310" y="224082"/>
                </a:cubicBezTo>
                <a:cubicBezTo>
                  <a:pt x="417709" y="226634"/>
                  <a:pt x="414699" y="221024"/>
                  <a:pt x="414223" y="226701"/>
                </a:cubicBezTo>
                <a:cubicBezTo>
                  <a:pt x="413137" y="226482"/>
                  <a:pt x="413585" y="225167"/>
                  <a:pt x="413490" y="224263"/>
                </a:cubicBezTo>
                <a:cubicBezTo>
                  <a:pt x="413166" y="221834"/>
                  <a:pt x="407841" y="222967"/>
                  <a:pt x="409746" y="218976"/>
                </a:cubicBezTo>
                <a:cubicBezTo>
                  <a:pt x="406298" y="217852"/>
                  <a:pt x="406089" y="221272"/>
                  <a:pt x="404470" y="222729"/>
                </a:cubicBezTo>
                <a:cubicBezTo>
                  <a:pt x="401826" y="221341"/>
                  <a:pt x="398559" y="222335"/>
                  <a:pt x="397135" y="224958"/>
                </a:cubicBezTo>
                <a:cubicBezTo>
                  <a:pt x="396278" y="228720"/>
                  <a:pt x="400526" y="226425"/>
                  <a:pt x="401450" y="226863"/>
                </a:cubicBezTo>
                <a:cubicBezTo>
                  <a:pt x="404098" y="228063"/>
                  <a:pt x="404603" y="230292"/>
                  <a:pt x="407641" y="231387"/>
                </a:cubicBezTo>
                <a:cubicBezTo>
                  <a:pt x="405536" y="233759"/>
                  <a:pt x="404898" y="233083"/>
                  <a:pt x="405555" y="236836"/>
                </a:cubicBezTo>
                <a:cubicBezTo>
                  <a:pt x="404679" y="236597"/>
                  <a:pt x="404603" y="235340"/>
                  <a:pt x="403489" y="235321"/>
                </a:cubicBezTo>
                <a:cubicBezTo>
                  <a:pt x="401955" y="235321"/>
                  <a:pt x="402917" y="236721"/>
                  <a:pt x="401984" y="237379"/>
                </a:cubicBezTo>
                <a:cubicBezTo>
                  <a:pt x="400888" y="238160"/>
                  <a:pt x="398307" y="236855"/>
                  <a:pt x="398174" y="239064"/>
                </a:cubicBezTo>
                <a:cubicBezTo>
                  <a:pt x="397221" y="239112"/>
                  <a:pt x="397221" y="238445"/>
                  <a:pt x="397221" y="237750"/>
                </a:cubicBezTo>
                <a:cubicBezTo>
                  <a:pt x="395583" y="238236"/>
                  <a:pt x="394707" y="239798"/>
                  <a:pt x="394202" y="241874"/>
                </a:cubicBezTo>
                <a:cubicBezTo>
                  <a:pt x="390458" y="240293"/>
                  <a:pt x="389087" y="243170"/>
                  <a:pt x="387439" y="240722"/>
                </a:cubicBezTo>
                <a:cubicBezTo>
                  <a:pt x="386172" y="241265"/>
                  <a:pt x="385839" y="243113"/>
                  <a:pt x="383677" y="242408"/>
                </a:cubicBezTo>
                <a:cubicBezTo>
                  <a:pt x="383746" y="244428"/>
                  <a:pt x="382994" y="246391"/>
                  <a:pt x="381591" y="247846"/>
                </a:cubicBezTo>
                <a:cubicBezTo>
                  <a:pt x="379047" y="246894"/>
                  <a:pt x="378733" y="245941"/>
                  <a:pt x="375771" y="248018"/>
                </a:cubicBezTo>
                <a:cubicBezTo>
                  <a:pt x="375056" y="248532"/>
                  <a:pt x="374733" y="247666"/>
                  <a:pt x="374447" y="248970"/>
                </a:cubicBezTo>
                <a:cubicBezTo>
                  <a:pt x="374104" y="250485"/>
                  <a:pt x="371132" y="249837"/>
                  <a:pt x="368437" y="250275"/>
                </a:cubicBezTo>
                <a:cubicBezTo>
                  <a:pt x="368275" y="251371"/>
                  <a:pt x="369665" y="251380"/>
                  <a:pt x="370494" y="251780"/>
                </a:cubicBezTo>
                <a:cubicBezTo>
                  <a:pt x="370199" y="253914"/>
                  <a:pt x="368103" y="252733"/>
                  <a:pt x="366684" y="253466"/>
                </a:cubicBezTo>
                <a:cubicBezTo>
                  <a:pt x="363951" y="255068"/>
                  <a:pt x="361879" y="257591"/>
                  <a:pt x="360836" y="260581"/>
                </a:cubicBezTo>
                <a:cubicBezTo>
                  <a:pt x="357759" y="256229"/>
                  <a:pt x="357626" y="263153"/>
                  <a:pt x="353692" y="261696"/>
                </a:cubicBezTo>
                <a:cubicBezTo>
                  <a:pt x="353882" y="260562"/>
                  <a:pt x="354082" y="259438"/>
                  <a:pt x="354273" y="258305"/>
                </a:cubicBezTo>
                <a:cubicBezTo>
                  <a:pt x="350272" y="256400"/>
                  <a:pt x="351768" y="262229"/>
                  <a:pt x="348053" y="260734"/>
                </a:cubicBezTo>
                <a:cubicBezTo>
                  <a:pt x="349215" y="255971"/>
                  <a:pt x="342243" y="258572"/>
                  <a:pt x="340357" y="258267"/>
                </a:cubicBezTo>
                <a:cubicBezTo>
                  <a:pt x="338995" y="258448"/>
                  <a:pt x="337166" y="259772"/>
                  <a:pt x="338861" y="260334"/>
                </a:cubicBezTo>
                <a:cubicBezTo>
                  <a:pt x="337633" y="261448"/>
                  <a:pt x="335823" y="259105"/>
                  <a:pt x="335832" y="264458"/>
                </a:cubicBezTo>
                <a:cubicBezTo>
                  <a:pt x="332737" y="265611"/>
                  <a:pt x="330946" y="266439"/>
                  <a:pt x="327755" y="264249"/>
                </a:cubicBezTo>
                <a:cubicBezTo>
                  <a:pt x="325364" y="264134"/>
                  <a:pt x="326603" y="269144"/>
                  <a:pt x="324545" y="269497"/>
                </a:cubicBezTo>
                <a:cubicBezTo>
                  <a:pt x="321888" y="269402"/>
                  <a:pt x="323840" y="266030"/>
                  <a:pt x="321688" y="265544"/>
                </a:cubicBezTo>
                <a:cubicBezTo>
                  <a:pt x="318221" y="264382"/>
                  <a:pt x="320326" y="271068"/>
                  <a:pt x="316421" y="269287"/>
                </a:cubicBezTo>
                <a:cubicBezTo>
                  <a:pt x="318408" y="263908"/>
                  <a:pt x="316535" y="261274"/>
                  <a:pt x="310801" y="261382"/>
                </a:cubicBezTo>
                <a:cubicBezTo>
                  <a:pt x="310867" y="263982"/>
                  <a:pt x="315839" y="265296"/>
                  <a:pt x="315487" y="267973"/>
                </a:cubicBezTo>
                <a:cubicBezTo>
                  <a:pt x="315144" y="270497"/>
                  <a:pt x="313458" y="269259"/>
                  <a:pt x="312630" y="270964"/>
                </a:cubicBezTo>
                <a:cubicBezTo>
                  <a:pt x="312715" y="273221"/>
                  <a:pt x="317773" y="271916"/>
                  <a:pt x="315249" y="276050"/>
                </a:cubicBezTo>
                <a:cubicBezTo>
                  <a:pt x="312955" y="274121"/>
                  <a:pt x="310993" y="271830"/>
                  <a:pt x="309439" y="269268"/>
                </a:cubicBezTo>
                <a:cubicBezTo>
                  <a:pt x="308486" y="269325"/>
                  <a:pt x="308124" y="270221"/>
                  <a:pt x="306991" y="270011"/>
                </a:cubicBezTo>
                <a:cubicBezTo>
                  <a:pt x="307485" y="273787"/>
                  <a:pt x="310110" y="276939"/>
                  <a:pt x="313734" y="278107"/>
                </a:cubicBezTo>
                <a:cubicBezTo>
                  <a:pt x="315373" y="277622"/>
                  <a:pt x="316240" y="276060"/>
                  <a:pt x="316744" y="273983"/>
                </a:cubicBezTo>
                <a:cubicBezTo>
                  <a:pt x="319183" y="273907"/>
                  <a:pt x="319602" y="275259"/>
                  <a:pt x="321069" y="275888"/>
                </a:cubicBezTo>
                <a:cubicBezTo>
                  <a:pt x="324564" y="275717"/>
                  <a:pt x="320392" y="273297"/>
                  <a:pt x="321831" y="271383"/>
                </a:cubicBezTo>
                <a:cubicBezTo>
                  <a:pt x="323317" y="272640"/>
                  <a:pt x="326041" y="273021"/>
                  <a:pt x="324450" y="276460"/>
                </a:cubicBezTo>
                <a:cubicBezTo>
                  <a:pt x="324984" y="277726"/>
                  <a:pt x="326841" y="278069"/>
                  <a:pt x="326126" y="280222"/>
                </a:cubicBezTo>
                <a:cubicBezTo>
                  <a:pt x="324955" y="278727"/>
                  <a:pt x="323983" y="278850"/>
                  <a:pt x="323688" y="280974"/>
                </a:cubicBezTo>
                <a:cubicBezTo>
                  <a:pt x="322945" y="279841"/>
                  <a:pt x="320707" y="279774"/>
                  <a:pt x="320688" y="278117"/>
                </a:cubicBezTo>
                <a:cubicBezTo>
                  <a:pt x="316430" y="279069"/>
                  <a:pt x="317830" y="283832"/>
                  <a:pt x="315925" y="285432"/>
                </a:cubicBezTo>
                <a:cubicBezTo>
                  <a:pt x="313068" y="285146"/>
                  <a:pt x="312687" y="283108"/>
                  <a:pt x="311991" y="281289"/>
                </a:cubicBezTo>
                <a:cubicBezTo>
                  <a:pt x="310277" y="282136"/>
                  <a:pt x="309220" y="283918"/>
                  <a:pt x="307838" y="285223"/>
                </a:cubicBezTo>
                <a:cubicBezTo>
                  <a:pt x="305934" y="282365"/>
                  <a:pt x="304524" y="285223"/>
                  <a:pt x="301076" y="284080"/>
                </a:cubicBezTo>
                <a:cubicBezTo>
                  <a:pt x="304333" y="281051"/>
                  <a:pt x="299666" y="277012"/>
                  <a:pt x="298094" y="274297"/>
                </a:cubicBezTo>
                <a:cubicBezTo>
                  <a:pt x="296900" y="275036"/>
                  <a:pt x="295915" y="276068"/>
                  <a:pt x="295237" y="277298"/>
                </a:cubicBezTo>
                <a:cubicBezTo>
                  <a:pt x="294684" y="278603"/>
                  <a:pt x="296961" y="278146"/>
                  <a:pt x="297294" y="278803"/>
                </a:cubicBezTo>
                <a:cubicBezTo>
                  <a:pt x="298094" y="280355"/>
                  <a:pt x="295637" y="283432"/>
                  <a:pt x="298780" y="283699"/>
                </a:cubicBezTo>
                <a:cubicBezTo>
                  <a:pt x="296980" y="284089"/>
                  <a:pt x="298313" y="286127"/>
                  <a:pt x="298399" y="285947"/>
                </a:cubicBezTo>
                <a:cubicBezTo>
                  <a:pt x="296990" y="288652"/>
                  <a:pt x="294837" y="287432"/>
                  <a:pt x="294999" y="292328"/>
                </a:cubicBezTo>
                <a:cubicBezTo>
                  <a:pt x="296275" y="291785"/>
                  <a:pt x="296609" y="289937"/>
                  <a:pt x="298809" y="290652"/>
                </a:cubicBezTo>
                <a:cubicBezTo>
                  <a:pt x="297266" y="295776"/>
                  <a:pt x="299199" y="297710"/>
                  <a:pt x="297094" y="300796"/>
                </a:cubicBezTo>
                <a:cubicBezTo>
                  <a:pt x="293894" y="301072"/>
                  <a:pt x="298799" y="295614"/>
                  <a:pt x="295599" y="295900"/>
                </a:cubicBezTo>
                <a:cubicBezTo>
                  <a:pt x="292437" y="295157"/>
                  <a:pt x="295713" y="303520"/>
                  <a:pt x="291275" y="300958"/>
                </a:cubicBezTo>
                <a:cubicBezTo>
                  <a:pt x="292608" y="302863"/>
                  <a:pt x="291522" y="304682"/>
                  <a:pt x="288417" y="303958"/>
                </a:cubicBezTo>
                <a:cubicBezTo>
                  <a:pt x="289158" y="302076"/>
                  <a:pt x="289096" y="299973"/>
                  <a:pt x="288246" y="298138"/>
                </a:cubicBezTo>
                <a:cubicBezTo>
                  <a:pt x="285845" y="297529"/>
                  <a:pt x="287055" y="302044"/>
                  <a:pt x="286169" y="303577"/>
                </a:cubicBezTo>
                <a:cubicBezTo>
                  <a:pt x="283540" y="303901"/>
                  <a:pt x="284950" y="300986"/>
                  <a:pt x="283169" y="300720"/>
                </a:cubicBezTo>
                <a:cubicBezTo>
                  <a:pt x="281835" y="300539"/>
                  <a:pt x="281264" y="303520"/>
                  <a:pt x="280311" y="303720"/>
                </a:cubicBezTo>
                <a:cubicBezTo>
                  <a:pt x="278406" y="304111"/>
                  <a:pt x="278082" y="301491"/>
                  <a:pt x="275996" y="301815"/>
                </a:cubicBezTo>
                <a:cubicBezTo>
                  <a:pt x="273587" y="302149"/>
                  <a:pt x="274358" y="306959"/>
                  <a:pt x="271663" y="306873"/>
                </a:cubicBezTo>
                <a:cubicBezTo>
                  <a:pt x="269167" y="306997"/>
                  <a:pt x="269758" y="304901"/>
                  <a:pt x="269986" y="303111"/>
                </a:cubicBezTo>
                <a:cubicBezTo>
                  <a:pt x="266529" y="301987"/>
                  <a:pt x="266490" y="305644"/>
                  <a:pt x="263766" y="305539"/>
                </a:cubicBezTo>
                <a:cubicBezTo>
                  <a:pt x="263843" y="306806"/>
                  <a:pt x="265881" y="306682"/>
                  <a:pt x="265671" y="308178"/>
                </a:cubicBezTo>
                <a:cubicBezTo>
                  <a:pt x="265671" y="310083"/>
                  <a:pt x="264281" y="309940"/>
                  <a:pt x="263966" y="311369"/>
                </a:cubicBezTo>
                <a:cubicBezTo>
                  <a:pt x="261109" y="310064"/>
                  <a:pt x="262642" y="305701"/>
                  <a:pt x="260614" y="303844"/>
                </a:cubicBezTo>
                <a:cubicBezTo>
                  <a:pt x="258946" y="304152"/>
                  <a:pt x="257497" y="305175"/>
                  <a:pt x="256651" y="306644"/>
                </a:cubicBezTo>
                <a:cubicBezTo>
                  <a:pt x="254937" y="311512"/>
                  <a:pt x="263176" y="309283"/>
                  <a:pt x="259832" y="315303"/>
                </a:cubicBezTo>
                <a:cubicBezTo>
                  <a:pt x="262519" y="314903"/>
                  <a:pt x="263023" y="311426"/>
                  <a:pt x="266224" y="311750"/>
                </a:cubicBezTo>
                <a:cubicBezTo>
                  <a:pt x="266138" y="309759"/>
                  <a:pt x="267462" y="309778"/>
                  <a:pt x="268862" y="309845"/>
                </a:cubicBezTo>
                <a:cubicBezTo>
                  <a:pt x="268214" y="311254"/>
                  <a:pt x="266576" y="311273"/>
                  <a:pt x="266005" y="312836"/>
                </a:cubicBezTo>
                <a:cubicBezTo>
                  <a:pt x="271596" y="316065"/>
                  <a:pt x="267910" y="306244"/>
                  <a:pt x="273529" y="309473"/>
                </a:cubicBezTo>
                <a:cubicBezTo>
                  <a:pt x="273625" y="311464"/>
                  <a:pt x="272282" y="311454"/>
                  <a:pt x="270901" y="311378"/>
                </a:cubicBezTo>
                <a:cubicBezTo>
                  <a:pt x="272139" y="312569"/>
                  <a:pt x="274311" y="318046"/>
                  <a:pt x="275958" y="315712"/>
                </a:cubicBezTo>
                <a:cubicBezTo>
                  <a:pt x="278816" y="316474"/>
                  <a:pt x="274053" y="317389"/>
                  <a:pt x="275187" y="320217"/>
                </a:cubicBezTo>
                <a:cubicBezTo>
                  <a:pt x="273206" y="320313"/>
                  <a:pt x="273215" y="318979"/>
                  <a:pt x="273282" y="317579"/>
                </a:cubicBezTo>
                <a:cubicBezTo>
                  <a:pt x="271567" y="317046"/>
                  <a:pt x="272463" y="320132"/>
                  <a:pt x="271577" y="320779"/>
                </a:cubicBezTo>
                <a:cubicBezTo>
                  <a:pt x="270520" y="321551"/>
                  <a:pt x="267548" y="319827"/>
                  <a:pt x="266881" y="321132"/>
                </a:cubicBezTo>
                <a:cubicBezTo>
                  <a:pt x="267424" y="322408"/>
                  <a:pt x="269272" y="322742"/>
                  <a:pt x="268567" y="324942"/>
                </a:cubicBezTo>
                <a:lnTo>
                  <a:pt x="265186" y="324370"/>
                </a:lnTo>
                <a:cubicBezTo>
                  <a:pt x="265262" y="326799"/>
                  <a:pt x="263909" y="327228"/>
                  <a:pt x="263281" y="328685"/>
                </a:cubicBezTo>
                <a:cubicBezTo>
                  <a:pt x="263823" y="329952"/>
                  <a:pt x="265681" y="330285"/>
                  <a:pt x="264966" y="332495"/>
                </a:cubicBezTo>
                <a:cubicBezTo>
                  <a:pt x="263820" y="331333"/>
                  <a:pt x="262274" y="330652"/>
                  <a:pt x="260642" y="330590"/>
                </a:cubicBezTo>
                <a:cubicBezTo>
                  <a:pt x="260442" y="332390"/>
                  <a:pt x="259375" y="334800"/>
                  <a:pt x="261004" y="335286"/>
                </a:cubicBezTo>
                <a:cubicBezTo>
                  <a:pt x="258394" y="337772"/>
                  <a:pt x="257242" y="333581"/>
                  <a:pt x="254060" y="335286"/>
                </a:cubicBezTo>
                <a:cubicBezTo>
                  <a:pt x="251946" y="335105"/>
                  <a:pt x="252717" y="338982"/>
                  <a:pt x="251031" y="339410"/>
                </a:cubicBezTo>
                <a:cubicBezTo>
                  <a:pt x="251450" y="342906"/>
                  <a:pt x="253165" y="337086"/>
                  <a:pt x="255737" y="339048"/>
                </a:cubicBezTo>
                <a:cubicBezTo>
                  <a:pt x="255194" y="342477"/>
                  <a:pt x="251308" y="341191"/>
                  <a:pt x="248402" y="341287"/>
                </a:cubicBezTo>
                <a:cubicBezTo>
                  <a:pt x="247717" y="337477"/>
                  <a:pt x="250631" y="338848"/>
                  <a:pt x="251422" y="337153"/>
                </a:cubicBezTo>
                <a:cubicBezTo>
                  <a:pt x="250888" y="333514"/>
                  <a:pt x="248193" y="337943"/>
                  <a:pt x="246726" y="337524"/>
                </a:cubicBezTo>
                <a:cubicBezTo>
                  <a:pt x="246050" y="340306"/>
                  <a:pt x="247850" y="341334"/>
                  <a:pt x="249336" y="342601"/>
                </a:cubicBezTo>
                <a:cubicBezTo>
                  <a:pt x="247926" y="344056"/>
                  <a:pt x="247176" y="346025"/>
                  <a:pt x="247259" y="348050"/>
                </a:cubicBezTo>
                <a:cubicBezTo>
                  <a:pt x="242878" y="348183"/>
                  <a:pt x="243945" y="344449"/>
                  <a:pt x="242383" y="342582"/>
                </a:cubicBezTo>
                <a:cubicBezTo>
                  <a:pt x="239963" y="342792"/>
                  <a:pt x="241211" y="347869"/>
                  <a:pt x="238573" y="344268"/>
                </a:cubicBezTo>
                <a:cubicBezTo>
                  <a:pt x="237754" y="347126"/>
                  <a:pt x="238154" y="349183"/>
                  <a:pt x="241192" y="349345"/>
                </a:cubicBezTo>
                <a:cubicBezTo>
                  <a:pt x="240973" y="350440"/>
                  <a:pt x="239668" y="349983"/>
                  <a:pt x="238744" y="350088"/>
                </a:cubicBezTo>
                <a:cubicBezTo>
                  <a:pt x="238744" y="351431"/>
                  <a:pt x="238154" y="352050"/>
                  <a:pt x="237230" y="352155"/>
                </a:cubicBezTo>
                <a:cubicBezTo>
                  <a:pt x="239135" y="355450"/>
                  <a:pt x="235115" y="358365"/>
                  <a:pt x="237020" y="360232"/>
                </a:cubicBezTo>
                <a:cubicBezTo>
                  <a:pt x="235782" y="361577"/>
                  <a:pt x="233911" y="362146"/>
                  <a:pt x="232134" y="361718"/>
                </a:cubicBezTo>
                <a:cubicBezTo>
                  <a:pt x="233944" y="366385"/>
                  <a:pt x="226876" y="368690"/>
                  <a:pt x="225523" y="373348"/>
                </a:cubicBezTo>
                <a:cubicBezTo>
                  <a:pt x="221713" y="373710"/>
                  <a:pt x="222333" y="370986"/>
                  <a:pt x="220275" y="370138"/>
                </a:cubicBezTo>
                <a:cubicBezTo>
                  <a:pt x="221571" y="371176"/>
                  <a:pt x="221123" y="373729"/>
                  <a:pt x="221761" y="375034"/>
                </a:cubicBezTo>
                <a:cubicBezTo>
                  <a:pt x="222071" y="375912"/>
                  <a:pt x="222888" y="376509"/>
                  <a:pt x="223818" y="376539"/>
                </a:cubicBezTo>
                <a:cubicBezTo>
                  <a:pt x="222870" y="380064"/>
                  <a:pt x="219554" y="382420"/>
                  <a:pt x="215913" y="382159"/>
                </a:cubicBezTo>
                <a:cubicBezTo>
                  <a:pt x="215989" y="384587"/>
                  <a:pt x="214636" y="385016"/>
                  <a:pt x="214008" y="386473"/>
                </a:cubicBezTo>
                <a:cubicBezTo>
                  <a:pt x="213174" y="385552"/>
                  <a:pt x="212046" y="384949"/>
                  <a:pt x="210817" y="384768"/>
                </a:cubicBezTo>
                <a:cubicBezTo>
                  <a:pt x="210474" y="387626"/>
                  <a:pt x="212341" y="388578"/>
                  <a:pt x="209864" y="390407"/>
                </a:cubicBezTo>
                <a:cubicBezTo>
                  <a:pt x="207064" y="390407"/>
                  <a:pt x="207769" y="387931"/>
                  <a:pt x="204426" y="388321"/>
                </a:cubicBezTo>
                <a:cubicBezTo>
                  <a:pt x="201263" y="388055"/>
                  <a:pt x="202940" y="394608"/>
                  <a:pt x="198958" y="393188"/>
                </a:cubicBezTo>
                <a:cubicBezTo>
                  <a:pt x="197491" y="396217"/>
                  <a:pt x="200054" y="396379"/>
                  <a:pt x="199139" y="399018"/>
                </a:cubicBezTo>
                <a:cubicBezTo>
                  <a:pt x="199454" y="401437"/>
                  <a:pt x="204768" y="400304"/>
                  <a:pt x="202873" y="404295"/>
                </a:cubicBezTo>
                <a:cubicBezTo>
                  <a:pt x="200368" y="406038"/>
                  <a:pt x="200015" y="403933"/>
                  <a:pt x="197244" y="403342"/>
                </a:cubicBezTo>
                <a:cubicBezTo>
                  <a:pt x="196120" y="405247"/>
                  <a:pt x="198015" y="407409"/>
                  <a:pt x="197415" y="409171"/>
                </a:cubicBezTo>
                <a:cubicBezTo>
                  <a:pt x="197044" y="410219"/>
                  <a:pt x="194234" y="409124"/>
                  <a:pt x="193843" y="409724"/>
                </a:cubicBezTo>
                <a:cubicBezTo>
                  <a:pt x="193558" y="410143"/>
                  <a:pt x="195034" y="412848"/>
                  <a:pt x="194205" y="414420"/>
                </a:cubicBezTo>
                <a:cubicBezTo>
                  <a:pt x="193796" y="415172"/>
                  <a:pt x="191224" y="415639"/>
                  <a:pt x="190395" y="416096"/>
                </a:cubicBezTo>
                <a:cubicBezTo>
                  <a:pt x="189443" y="418735"/>
                  <a:pt x="192043" y="418896"/>
                  <a:pt x="190567" y="421925"/>
                </a:cubicBezTo>
                <a:cubicBezTo>
                  <a:pt x="189105" y="422639"/>
                  <a:pt x="187425" y="422768"/>
                  <a:pt x="185871" y="422287"/>
                </a:cubicBezTo>
                <a:cubicBezTo>
                  <a:pt x="185242" y="425345"/>
                  <a:pt x="187366" y="424878"/>
                  <a:pt x="185099" y="426802"/>
                </a:cubicBezTo>
                <a:cubicBezTo>
                  <a:pt x="183871" y="424030"/>
                  <a:pt x="182413" y="427336"/>
                  <a:pt x="181537" y="427345"/>
                </a:cubicBezTo>
                <a:cubicBezTo>
                  <a:pt x="180032" y="427345"/>
                  <a:pt x="178946" y="424488"/>
                  <a:pt x="177022" y="426583"/>
                </a:cubicBezTo>
                <a:cubicBezTo>
                  <a:pt x="178179" y="430035"/>
                  <a:pt x="178742" y="433658"/>
                  <a:pt x="178689" y="437299"/>
                </a:cubicBezTo>
                <a:cubicBezTo>
                  <a:pt x="175965" y="435479"/>
                  <a:pt x="173250" y="439956"/>
                  <a:pt x="174374" y="435394"/>
                </a:cubicBezTo>
                <a:cubicBezTo>
                  <a:pt x="172012" y="435346"/>
                  <a:pt x="171640" y="438070"/>
                  <a:pt x="169288" y="438013"/>
                </a:cubicBezTo>
                <a:cubicBezTo>
                  <a:pt x="169574" y="440128"/>
                  <a:pt x="169078" y="442776"/>
                  <a:pt x="170593" y="444033"/>
                </a:cubicBezTo>
                <a:cubicBezTo>
                  <a:pt x="167354" y="446462"/>
                  <a:pt x="163268" y="447681"/>
                  <a:pt x="160239" y="450396"/>
                </a:cubicBezTo>
                <a:cubicBezTo>
                  <a:pt x="158820" y="452615"/>
                  <a:pt x="161620" y="452177"/>
                  <a:pt x="162144" y="453025"/>
                </a:cubicBezTo>
                <a:cubicBezTo>
                  <a:pt x="162868" y="454320"/>
                  <a:pt x="161658" y="456558"/>
                  <a:pt x="163820" y="456835"/>
                </a:cubicBezTo>
                <a:cubicBezTo>
                  <a:pt x="162268" y="460835"/>
                  <a:pt x="157153" y="461483"/>
                  <a:pt x="162487" y="464721"/>
                </a:cubicBezTo>
                <a:cubicBezTo>
                  <a:pt x="159868" y="467217"/>
                  <a:pt x="158677" y="463016"/>
                  <a:pt x="155534" y="464721"/>
                </a:cubicBezTo>
                <a:cubicBezTo>
                  <a:pt x="154267" y="465255"/>
                  <a:pt x="153924" y="467112"/>
                  <a:pt x="151771" y="466398"/>
                </a:cubicBezTo>
                <a:cubicBezTo>
                  <a:pt x="149790" y="469655"/>
                  <a:pt x="154629" y="475694"/>
                  <a:pt x="149114" y="475218"/>
                </a:cubicBezTo>
                <a:cubicBezTo>
                  <a:pt x="147104" y="478628"/>
                  <a:pt x="152610" y="476704"/>
                  <a:pt x="150600" y="480104"/>
                </a:cubicBezTo>
                <a:cubicBezTo>
                  <a:pt x="147742" y="478818"/>
                  <a:pt x="148038" y="482066"/>
                  <a:pt x="146647" y="482914"/>
                </a:cubicBezTo>
                <a:cubicBezTo>
                  <a:pt x="146082" y="482010"/>
                  <a:pt x="145259" y="481297"/>
                  <a:pt x="144285" y="480866"/>
                </a:cubicBezTo>
                <a:cubicBezTo>
                  <a:pt x="141122" y="481914"/>
                  <a:pt x="142856" y="487724"/>
                  <a:pt x="142761" y="489877"/>
                </a:cubicBezTo>
                <a:cubicBezTo>
                  <a:pt x="145352" y="489334"/>
                  <a:pt x="145409" y="485248"/>
                  <a:pt x="147285" y="483685"/>
                </a:cubicBezTo>
                <a:cubicBezTo>
                  <a:pt x="152152" y="483543"/>
                  <a:pt x="152238" y="486781"/>
                  <a:pt x="155924" y="487495"/>
                </a:cubicBezTo>
                <a:cubicBezTo>
                  <a:pt x="155543" y="489743"/>
                  <a:pt x="155159" y="491998"/>
                  <a:pt x="154772" y="494258"/>
                </a:cubicBezTo>
                <a:cubicBezTo>
                  <a:pt x="150790" y="492839"/>
                  <a:pt x="149952" y="495839"/>
                  <a:pt x="149304" y="499126"/>
                </a:cubicBezTo>
                <a:cubicBezTo>
                  <a:pt x="145161" y="497468"/>
                  <a:pt x="144542" y="500783"/>
                  <a:pt x="142913" y="502678"/>
                </a:cubicBezTo>
                <a:cubicBezTo>
                  <a:pt x="142161" y="504517"/>
                  <a:pt x="143418" y="504955"/>
                  <a:pt x="144818" y="505317"/>
                </a:cubicBezTo>
                <a:cubicBezTo>
                  <a:pt x="145933" y="508174"/>
                  <a:pt x="141189" y="509060"/>
                  <a:pt x="144047" y="509822"/>
                </a:cubicBezTo>
                <a:cubicBezTo>
                  <a:pt x="143618" y="511060"/>
                  <a:pt x="142818" y="510251"/>
                  <a:pt x="142923" y="509632"/>
                </a:cubicBezTo>
                <a:cubicBezTo>
                  <a:pt x="139208" y="512041"/>
                  <a:pt x="139665" y="513070"/>
                  <a:pt x="138160" y="516947"/>
                </a:cubicBezTo>
                <a:cubicBezTo>
                  <a:pt x="136255" y="516947"/>
                  <a:pt x="136398" y="515547"/>
                  <a:pt x="134969" y="515242"/>
                </a:cubicBezTo>
                <a:cubicBezTo>
                  <a:pt x="133042" y="516765"/>
                  <a:pt x="130880" y="517965"/>
                  <a:pt x="128568" y="518795"/>
                </a:cubicBezTo>
                <a:cubicBezTo>
                  <a:pt x="128435" y="525119"/>
                  <a:pt x="123977" y="525357"/>
                  <a:pt x="121215" y="527977"/>
                </a:cubicBezTo>
                <a:cubicBezTo>
                  <a:pt x="121034" y="530091"/>
                  <a:pt x="124911" y="529320"/>
                  <a:pt x="125339" y="530996"/>
                </a:cubicBezTo>
                <a:cubicBezTo>
                  <a:pt x="125035" y="533854"/>
                  <a:pt x="124625" y="536502"/>
                  <a:pt x="122130" y="536254"/>
                </a:cubicBezTo>
                <a:cubicBezTo>
                  <a:pt x="123015" y="537940"/>
                  <a:pt x="122482" y="540626"/>
                  <a:pt x="124749" y="541331"/>
                </a:cubicBezTo>
                <a:cubicBezTo>
                  <a:pt x="124244" y="542721"/>
                  <a:pt x="121129" y="542236"/>
                  <a:pt x="121368" y="540759"/>
                </a:cubicBezTo>
                <a:cubicBezTo>
                  <a:pt x="119825" y="540902"/>
                  <a:pt x="119263" y="542445"/>
                  <a:pt x="117605" y="542436"/>
                </a:cubicBezTo>
                <a:cubicBezTo>
                  <a:pt x="120891" y="546246"/>
                  <a:pt x="118910" y="548313"/>
                  <a:pt x="119263" y="553151"/>
                </a:cubicBezTo>
                <a:cubicBezTo>
                  <a:pt x="117024" y="552789"/>
                  <a:pt x="117310" y="556009"/>
                  <a:pt x="114376" y="554637"/>
                </a:cubicBezTo>
                <a:cubicBezTo>
                  <a:pt x="113424" y="557285"/>
                  <a:pt x="116015" y="557495"/>
                  <a:pt x="114548" y="560467"/>
                </a:cubicBezTo>
                <a:cubicBezTo>
                  <a:pt x="112319" y="559638"/>
                  <a:pt x="111890" y="561419"/>
                  <a:pt x="110785" y="562152"/>
                </a:cubicBezTo>
                <a:cubicBezTo>
                  <a:pt x="110509" y="562333"/>
                  <a:pt x="108214" y="564010"/>
                  <a:pt x="108147" y="564057"/>
                </a:cubicBezTo>
                <a:cubicBezTo>
                  <a:pt x="107518" y="564191"/>
                  <a:pt x="104804" y="559981"/>
                  <a:pt x="104565" y="564610"/>
                </a:cubicBezTo>
                <a:cubicBezTo>
                  <a:pt x="101794" y="564010"/>
                  <a:pt x="101441" y="561914"/>
                  <a:pt x="98936" y="563657"/>
                </a:cubicBezTo>
                <a:cubicBezTo>
                  <a:pt x="98460" y="566305"/>
                  <a:pt x="100317" y="567306"/>
                  <a:pt x="98936" y="570611"/>
                </a:cubicBezTo>
                <a:cubicBezTo>
                  <a:pt x="102127" y="572316"/>
                  <a:pt x="101365" y="568439"/>
                  <a:pt x="101956" y="566486"/>
                </a:cubicBezTo>
                <a:cubicBezTo>
                  <a:pt x="105118" y="568687"/>
                  <a:pt x="105556" y="566667"/>
                  <a:pt x="109652" y="568944"/>
                </a:cubicBezTo>
                <a:cubicBezTo>
                  <a:pt x="109080" y="573821"/>
                  <a:pt x="105127" y="572906"/>
                  <a:pt x="106994" y="577773"/>
                </a:cubicBezTo>
                <a:cubicBezTo>
                  <a:pt x="105013" y="577859"/>
                  <a:pt x="105023" y="576535"/>
                  <a:pt x="105089" y="575135"/>
                </a:cubicBezTo>
                <a:cubicBezTo>
                  <a:pt x="100422" y="577202"/>
                  <a:pt x="104480" y="582869"/>
                  <a:pt x="100927" y="586022"/>
                </a:cubicBezTo>
                <a:cubicBezTo>
                  <a:pt x="98155" y="585384"/>
                  <a:pt x="101241" y="582145"/>
                  <a:pt x="101689" y="581507"/>
                </a:cubicBezTo>
                <a:cubicBezTo>
                  <a:pt x="101098" y="578183"/>
                  <a:pt x="97384" y="579297"/>
                  <a:pt x="95126" y="579240"/>
                </a:cubicBezTo>
                <a:cubicBezTo>
                  <a:pt x="97736" y="581345"/>
                  <a:pt x="95126" y="587184"/>
                  <a:pt x="99422" y="588089"/>
                </a:cubicBezTo>
                <a:cubicBezTo>
                  <a:pt x="100003" y="589994"/>
                  <a:pt x="95850" y="589337"/>
                  <a:pt x="95660" y="589765"/>
                </a:cubicBezTo>
                <a:cubicBezTo>
                  <a:pt x="95317" y="590480"/>
                  <a:pt x="99470" y="594757"/>
                  <a:pt x="93574" y="595204"/>
                </a:cubicBezTo>
                <a:cubicBezTo>
                  <a:pt x="92040" y="595328"/>
                  <a:pt x="90373" y="594109"/>
                  <a:pt x="90011" y="595766"/>
                </a:cubicBezTo>
                <a:cubicBezTo>
                  <a:pt x="89716" y="597071"/>
                  <a:pt x="87706" y="596347"/>
                  <a:pt x="86439" y="596319"/>
                </a:cubicBezTo>
                <a:cubicBezTo>
                  <a:pt x="85173" y="596290"/>
                  <a:pt x="85134" y="598224"/>
                  <a:pt x="84734" y="599500"/>
                </a:cubicBezTo>
                <a:cubicBezTo>
                  <a:pt x="82313" y="599538"/>
                  <a:pt x="79908" y="599912"/>
                  <a:pt x="77591" y="600614"/>
                </a:cubicBezTo>
                <a:cubicBezTo>
                  <a:pt x="76448" y="604053"/>
                  <a:pt x="80115" y="604101"/>
                  <a:pt x="80010" y="606815"/>
                </a:cubicBezTo>
                <a:cubicBezTo>
                  <a:pt x="82868" y="606129"/>
                  <a:pt x="84306" y="603558"/>
                  <a:pt x="84773" y="599500"/>
                </a:cubicBezTo>
                <a:cubicBezTo>
                  <a:pt x="89325" y="599576"/>
                  <a:pt x="89335" y="602872"/>
                  <a:pt x="89449" y="606091"/>
                </a:cubicBezTo>
                <a:cubicBezTo>
                  <a:pt x="86592" y="605729"/>
                  <a:pt x="85154" y="607491"/>
                  <a:pt x="83239" y="608520"/>
                </a:cubicBezTo>
                <a:cubicBezTo>
                  <a:pt x="83239" y="609873"/>
                  <a:pt x="85144" y="609816"/>
                  <a:pt x="86420" y="610216"/>
                </a:cubicBezTo>
                <a:cubicBezTo>
                  <a:pt x="85649" y="612787"/>
                  <a:pt x="82706" y="614978"/>
                  <a:pt x="87916" y="615111"/>
                </a:cubicBezTo>
                <a:cubicBezTo>
                  <a:pt x="86906" y="616197"/>
                  <a:pt x="86592" y="617645"/>
                  <a:pt x="85058" y="618102"/>
                </a:cubicBezTo>
                <a:cubicBezTo>
                  <a:pt x="85820" y="617874"/>
                  <a:pt x="84506" y="616778"/>
                  <a:pt x="84106" y="616797"/>
                </a:cubicBezTo>
                <a:cubicBezTo>
                  <a:pt x="84944" y="616797"/>
                  <a:pt x="82401" y="618169"/>
                  <a:pt x="82782" y="617750"/>
                </a:cubicBezTo>
                <a:cubicBezTo>
                  <a:pt x="82153" y="618483"/>
                  <a:pt x="84687" y="620388"/>
                  <a:pt x="84687" y="620388"/>
                </a:cubicBezTo>
                <a:cubicBezTo>
                  <a:pt x="84144" y="621893"/>
                  <a:pt x="83058" y="620331"/>
                  <a:pt x="82248" y="621141"/>
                </a:cubicBezTo>
                <a:cubicBezTo>
                  <a:pt x="81810" y="621569"/>
                  <a:pt x="82315" y="622979"/>
                  <a:pt x="81867" y="623389"/>
                </a:cubicBezTo>
                <a:cubicBezTo>
                  <a:pt x="81420" y="623798"/>
                  <a:pt x="79619" y="623827"/>
                  <a:pt x="79419" y="624132"/>
                </a:cubicBezTo>
                <a:cubicBezTo>
                  <a:pt x="79077" y="624646"/>
                  <a:pt x="79477" y="625970"/>
                  <a:pt x="79038" y="626389"/>
                </a:cubicBezTo>
                <a:cubicBezTo>
                  <a:pt x="77410" y="627951"/>
                  <a:pt x="74276" y="628294"/>
                  <a:pt x="73571" y="631256"/>
                </a:cubicBezTo>
                <a:cubicBezTo>
                  <a:pt x="72714" y="629351"/>
                  <a:pt x="65332" y="631914"/>
                  <a:pt x="66237" y="633485"/>
                </a:cubicBezTo>
                <a:cubicBezTo>
                  <a:pt x="66237" y="633485"/>
                  <a:pt x="68142" y="634295"/>
                  <a:pt x="67189" y="634809"/>
                </a:cubicBezTo>
                <a:cubicBezTo>
                  <a:pt x="65456" y="635762"/>
                  <a:pt x="67037" y="635990"/>
                  <a:pt x="67932" y="637257"/>
                </a:cubicBezTo>
                <a:cubicBezTo>
                  <a:pt x="70209" y="640458"/>
                  <a:pt x="69066" y="640800"/>
                  <a:pt x="65656" y="643820"/>
                </a:cubicBezTo>
                <a:cubicBezTo>
                  <a:pt x="64865" y="645553"/>
                  <a:pt x="69218" y="648316"/>
                  <a:pt x="69980" y="645725"/>
                </a:cubicBezTo>
                <a:cubicBezTo>
                  <a:pt x="71506" y="649055"/>
                  <a:pt x="71284" y="652925"/>
                  <a:pt x="69390" y="656059"/>
                </a:cubicBezTo>
                <a:cubicBezTo>
                  <a:pt x="68028" y="657650"/>
                  <a:pt x="66370" y="656164"/>
                  <a:pt x="67485" y="660374"/>
                </a:cubicBezTo>
                <a:cubicBezTo>
                  <a:pt x="64922" y="661870"/>
                  <a:pt x="66065" y="660031"/>
                  <a:pt x="62970" y="659612"/>
                </a:cubicBezTo>
                <a:cubicBezTo>
                  <a:pt x="64665" y="663813"/>
                  <a:pt x="64408" y="666985"/>
                  <a:pt x="59379" y="667118"/>
                </a:cubicBezTo>
                <a:cubicBezTo>
                  <a:pt x="59560" y="669975"/>
                  <a:pt x="59379" y="673081"/>
                  <a:pt x="62941" y="673519"/>
                </a:cubicBezTo>
                <a:cubicBezTo>
                  <a:pt x="61989" y="674290"/>
                  <a:pt x="60665" y="676300"/>
                  <a:pt x="62360" y="676900"/>
                </a:cubicBezTo>
                <a:cubicBezTo>
                  <a:pt x="61698" y="678317"/>
                  <a:pt x="60094" y="679032"/>
                  <a:pt x="58598" y="678577"/>
                </a:cubicBezTo>
                <a:cubicBezTo>
                  <a:pt x="58598" y="679920"/>
                  <a:pt x="58007" y="680539"/>
                  <a:pt x="57083" y="680634"/>
                </a:cubicBezTo>
                <a:cubicBezTo>
                  <a:pt x="59112" y="684063"/>
                  <a:pt x="54435" y="686092"/>
                  <a:pt x="56874" y="688721"/>
                </a:cubicBezTo>
                <a:cubicBezTo>
                  <a:pt x="56874" y="692283"/>
                  <a:pt x="54073" y="688959"/>
                  <a:pt x="53311" y="689273"/>
                </a:cubicBezTo>
                <a:cubicBezTo>
                  <a:pt x="51606" y="689968"/>
                  <a:pt x="52835" y="691092"/>
                  <a:pt x="51606" y="692464"/>
                </a:cubicBezTo>
                <a:cubicBezTo>
                  <a:pt x="51321" y="692778"/>
                  <a:pt x="49701" y="691797"/>
                  <a:pt x="49349" y="692083"/>
                </a:cubicBezTo>
                <a:cubicBezTo>
                  <a:pt x="48397" y="692883"/>
                  <a:pt x="48673" y="694655"/>
                  <a:pt x="47654" y="695274"/>
                </a:cubicBezTo>
                <a:cubicBezTo>
                  <a:pt x="50978" y="696693"/>
                  <a:pt x="50340" y="692540"/>
                  <a:pt x="53664" y="693969"/>
                </a:cubicBezTo>
                <a:cubicBezTo>
                  <a:pt x="53302" y="696217"/>
                  <a:pt x="56521" y="695874"/>
                  <a:pt x="55150" y="698865"/>
                </a:cubicBezTo>
                <a:cubicBezTo>
                  <a:pt x="52130" y="697388"/>
                  <a:pt x="51968" y="699951"/>
                  <a:pt x="49330" y="699027"/>
                </a:cubicBezTo>
                <a:cubicBezTo>
                  <a:pt x="48501" y="705237"/>
                  <a:pt x="45101" y="705694"/>
                  <a:pt x="46101" y="711238"/>
                </a:cubicBezTo>
                <a:cubicBezTo>
                  <a:pt x="48101" y="711724"/>
                  <a:pt x="48711" y="710285"/>
                  <a:pt x="50797" y="710876"/>
                </a:cubicBezTo>
                <a:cubicBezTo>
                  <a:pt x="51483" y="715562"/>
                  <a:pt x="47215" y="713276"/>
                  <a:pt x="45530" y="714619"/>
                </a:cubicBezTo>
                <a:cubicBezTo>
                  <a:pt x="43862" y="714927"/>
                  <a:pt x="42413" y="715950"/>
                  <a:pt x="41567" y="717420"/>
                </a:cubicBezTo>
                <a:cubicBezTo>
                  <a:pt x="41634" y="718372"/>
                  <a:pt x="42520" y="718743"/>
                  <a:pt x="42320" y="719867"/>
                </a:cubicBezTo>
                <a:cubicBezTo>
                  <a:pt x="43596" y="720525"/>
                  <a:pt x="43215" y="717962"/>
                  <a:pt x="43825" y="717810"/>
                </a:cubicBezTo>
                <a:cubicBezTo>
                  <a:pt x="45777" y="717143"/>
                  <a:pt x="46968" y="721620"/>
                  <a:pt x="48339" y="718572"/>
                </a:cubicBezTo>
                <a:cubicBezTo>
                  <a:pt x="49882" y="719344"/>
                  <a:pt x="48054" y="719524"/>
                  <a:pt x="47958" y="720829"/>
                </a:cubicBezTo>
                <a:cubicBezTo>
                  <a:pt x="47263" y="724687"/>
                  <a:pt x="51083" y="724439"/>
                  <a:pt x="48120" y="726649"/>
                </a:cubicBezTo>
                <a:cubicBezTo>
                  <a:pt x="47254" y="727306"/>
                  <a:pt x="48406" y="729202"/>
                  <a:pt x="48863" y="729097"/>
                </a:cubicBezTo>
                <a:cubicBezTo>
                  <a:pt x="49187" y="730478"/>
                  <a:pt x="46672" y="729383"/>
                  <a:pt x="46425" y="729840"/>
                </a:cubicBezTo>
                <a:cubicBezTo>
                  <a:pt x="43663" y="734993"/>
                  <a:pt x="44806" y="741918"/>
                  <a:pt x="42243" y="747680"/>
                </a:cubicBezTo>
                <a:cubicBezTo>
                  <a:pt x="42167" y="747852"/>
                  <a:pt x="40215" y="747195"/>
                  <a:pt x="39986" y="747299"/>
                </a:cubicBezTo>
                <a:cubicBezTo>
                  <a:pt x="43205" y="755024"/>
                  <a:pt x="42272" y="769788"/>
                  <a:pt x="35395" y="774341"/>
                </a:cubicBezTo>
                <a:cubicBezTo>
                  <a:pt x="34985" y="775617"/>
                  <a:pt x="35300" y="776389"/>
                  <a:pt x="36138" y="776789"/>
                </a:cubicBezTo>
                <a:cubicBezTo>
                  <a:pt x="32995" y="779313"/>
                  <a:pt x="28394" y="775627"/>
                  <a:pt x="26746" y="777513"/>
                </a:cubicBezTo>
                <a:cubicBezTo>
                  <a:pt x="24308" y="776617"/>
                  <a:pt x="26880" y="771379"/>
                  <a:pt x="27889" y="770750"/>
                </a:cubicBezTo>
                <a:cubicBezTo>
                  <a:pt x="27718" y="769388"/>
                  <a:pt x="26384" y="767559"/>
                  <a:pt x="25822" y="769245"/>
                </a:cubicBezTo>
                <a:cubicBezTo>
                  <a:pt x="23222" y="768445"/>
                  <a:pt x="24394" y="764978"/>
                  <a:pt x="20765" y="764911"/>
                </a:cubicBezTo>
                <a:cubicBezTo>
                  <a:pt x="18755" y="768312"/>
                  <a:pt x="24260" y="766388"/>
                  <a:pt x="22250" y="769797"/>
                </a:cubicBezTo>
                <a:cubicBezTo>
                  <a:pt x="24584" y="768054"/>
                  <a:pt x="26194" y="770321"/>
                  <a:pt x="25108" y="773750"/>
                </a:cubicBezTo>
                <a:cubicBezTo>
                  <a:pt x="23260" y="771283"/>
                  <a:pt x="24451" y="769940"/>
                  <a:pt x="20984" y="770731"/>
                </a:cubicBezTo>
                <a:cubicBezTo>
                  <a:pt x="18469" y="771283"/>
                  <a:pt x="19688" y="773893"/>
                  <a:pt x="17602" y="770159"/>
                </a:cubicBezTo>
                <a:cubicBezTo>
                  <a:pt x="16650" y="770217"/>
                  <a:pt x="16288" y="771112"/>
                  <a:pt x="15154" y="770902"/>
                </a:cubicBezTo>
                <a:cubicBezTo>
                  <a:pt x="14783" y="773817"/>
                  <a:pt x="19050" y="773426"/>
                  <a:pt x="20222" y="775246"/>
                </a:cubicBezTo>
                <a:cubicBezTo>
                  <a:pt x="19945" y="777589"/>
                  <a:pt x="17002" y="775541"/>
                  <a:pt x="15326" y="776732"/>
                </a:cubicBezTo>
                <a:cubicBezTo>
                  <a:pt x="15049" y="776922"/>
                  <a:pt x="15250" y="778913"/>
                  <a:pt x="14945" y="778980"/>
                </a:cubicBezTo>
                <a:cubicBezTo>
                  <a:pt x="14183" y="779141"/>
                  <a:pt x="13926" y="777237"/>
                  <a:pt x="12878" y="777475"/>
                </a:cubicBezTo>
                <a:cubicBezTo>
                  <a:pt x="11535" y="777427"/>
                  <a:pt x="11592" y="779380"/>
                  <a:pt x="11182" y="780656"/>
                </a:cubicBezTo>
                <a:cubicBezTo>
                  <a:pt x="9896" y="780256"/>
                  <a:pt x="9125" y="780570"/>
                  <a:pt x="8744" y="781408"/>
                </a:cubicBezTo>
                <a:cubicBezTo>
                  <a:pt x="4686" y="777903"/>
                  <a:pt x="11039" y="775093"/>
                  <a:pt x="13649" y="772969"/>
                </a:cubicBezTo>
                <a:cubicBezTo>
                  <a:pt x="13135" y="772426"/>
                  <a:pt x="12906" y="767207"/>
                  <a:pt x="11744" y="770331"/>
                </a:cubicBezTo>
                <a:cubicBezTo>
                  <a:pt x="9020" y="769378"/>
                  <a:pt x="12421" y="765949"/>
                  <a:pt x="14602" y="767331"/>
                </a:cubicBezTo>
                <a:cubicBezTo>
                  <a:pt x="15059" y="765283"/>
                  <a:pt x="11240" y="766530"/>
                  <a:pt x="10287" y="765425"/>
                </a:cubicBezTo>
                <a:cubicBezTo>
                  <a:pt x="10363" y="765511"/>
                  <a:pt x="12192" y="762720"/>
                  <a:pt x="10868" y="762044"/>
                </a:cubicBezTo>
                <a:cubicBezTo>
                  <a:pt x="7766" y="761816"/>
                  <a:pt x="4752" y="760908"/>
                  <a:pt x="2038" y="759387"/>
                </a:cubicBezTo>
                <a:cubicBezTo>
                  <a:pt x="2269" y="756889"/>
                  <a:pt x="3499" y="754592"/>
                  <a:pt x="5448" y="753014"/>
                </a:cubicBezTo>
                <a:cubicBezTo>
                  <a:pt x="5048" y="749052"/>
                  <a:pt x="3439" y="752062"/>
                  <a:pt x="0" y="750928"/>
                </a:cubicBezTo>
                <a:cubicBezTo>
                  <a:pt x="2191" y="749376"/>
                  <a:pt x="5058" y="748747"/>
                  <a:pt x="5648" y="744928"/>
                </a:cubicBezTo>
                <a:lnTo>
                  <a:pt x="7906" y="745309"/>
                </a:lnTo>
                <a:cubicBezTo>
                  <a:pt x="9373" y="742289"/>
                  <a:pt x="6810" y="742127"/>
                  <a:pt x="7734" y="739489"/>
                </a:cubicBezTo>
                <a:cubicBezTo>
                  <a:pt x="11859" y="737346"/>
                  <a:pt x="10668" y="730640"/>
                  <a:pt x="11154" y="726154"/>
                </a:cubicBezTo>
                <a:cubicBezTo>
                  <a:pt x="11354" y="724249"/>
                  <a:pt x="12649" y="724430"/>
                  <a:pt x="12849" y="722963"/>
                </a:cubicBezTo>
                <a:cubicBezTo>
                  <a:pt x="13230" y="720172"/>
                  <a:pt x="12182" y="717410"/>
                  <a:pt x="13059" y="714886"/>
                </a:cubicBezTo>
                <a:cubicBezTo>
                  <a:pt x="18097" y="714991"/>
                  <a:pt x="18583" y="708704"/>
                  <a:pt x="22479" y="707209"/>
                </a:cubicBezTo>
                <a:cubicBezTo>
                  <a:pt x="21892" y="706116"/>
                  <a:pt x="21701" y="704854"/>
                  <a:pt x="21936" y="703637"/>
                </a:cubicBezTo>
                <a:cubicBezTo>
                  <a:pt x="21252" y="702797"/>
                  <a:pt x="20616" y="701919"/>
                  <a:pt x="20031" y="701008"/>
                </a:cubicBezTo>
                <a:cubicBezTo>
                  <a:pt x="19412" y="700294"/>
                  <a:pt x="18726" y="698922"/>
                  <a:pt x="18126" y="698370"/>
                </a:cubicBezTo>
                <a:cubicBezTo>
                  <a:pt x="16935" y="697207"/>
                  <a:pt x="13783" y="698370"/>
                  <a:pt x="15135" y="695512"/>
                </a:cubicBezTo>
                <a:cubicBezTo>
                  <a:pt x="16488" y="694817"/>
                  <a:pt x="17040" y="697017"/>
                  <a:pt x="17193" y="697026"/>
                </a:cubicBezTo>
                <a:cubicBezTo>
                  <a:pt x="20545" y="697122"/>
                  <a:pt x="18259" y="692797"/>
                  <a:pt x="22469" y="693283"/>
                </a:cubicBezTo>
                <a:lnTo>
                  <a:pt x="23041" y="689892"/>
                </a:lnTo>
                <a:cubicBezTo>
                  <a:pt x="23317" y="688254"/>
                  <a:pt x="20841" y="688987"/>
                  <a:pt x="19850" y="688197"/>
                </a:cubicBezTo>
                <a:cubicBezTo>
                  <a:pt x="18488" y="687111"/>
                  <a:pt x="19183" y="684472"/>
                  <a:pt x="17050" y="684244"/>
                </a:cubicBezTo>
                <a:cubicBezTo>
                  <a:pt x="16745" y="682853"/>
                  <a:pt x="19212" y="683977"/>
                  <a:pt x="19488" y="683491"/>
                </a:cubicBezTo>
                <a:cubicBezTo>
                  <a:pt x="20374" y="681996"/>
                  <a:pt x="15726" y="682129"/>
                  <a:pt x="19126" y="678805"/>
                </a:cubicBezTo>
                <a:cubicBezTo>
                  <a:pt x="18926" y="677043"/>
                  <a:pt x="17612" y="678996"/>
                  <a:pt x="15745" y="678234"/>
                </a:cubicBezTo>
                <a:cubicBezTo>
                  <a:pt x="19441" y="675490"/>
                  <a:pt x="12544" y="674671"/>
                  <a:pt x="14792" y="669956"/>
                </a:cubicBezTo>
                <a:cubicBezTo>
                  <a:pt x="16674" y="670694"/>
                  <a:pt x="18777" y="670632"/>
                  <a:pt x="20612" y="669785"/>
                </a:cubicBezTo>
                <a:cubicBezTo>
                  <a:pt x="20288" y="668699"/>
                  <a:pt x="19964" y="667604"/>
                  <a:pt x="18707" y="667147"/>
                </a:cubicBezTo>
                <a:cubicBezTo>
                  <a:pt x="20679" y="665842"/>
                  <a:pt x="24270" y="663803"/>
                  <a:pt x="25851" y="666042"/>
                </a:cubicBezTo>
                <a:cubicBezTo>
                  <a:pt x="25154" y="663723"/>
                  <a:pt x="24781" y="661319"/>
                  <a:pt x="24746" y="658898"/>
                </a:cubicBezTo>
                <a:cubicBezTo>
                  <a:pt x="26022" y="658288"/>
                  <a:pt x="27699" y="658317"/>
                  <a:pt x="29642" y="657412"/>
                </a:cubicBezTo>
                <a:cubicBezTo>
                  <a:pt x="30089" y="657193"/>
                  <a:pt x="30766" y="655450"/>
                  <a:pt x="31137" y="655345"/>
                </a:cubicBezTo>
                <a:cubicBezTo>
                  <a:pt x="31509" y="655240"/>
                  <a:pt x="33137" y="655993"/>
                  <a:pt x="33395" y="655726"/>
                </a:cubicBezTo>
                <a:cubicBezTo>
                  <a:pt x="34061" y="655069"/>
                  <a:pt x="33395" y="653097"/>
                  <a:pt x="33966" y="652354"/>
                </a:cubicBezTo>
                <a:cubicBezTo>
                  <a:pt x="35347" y="652030"/>
                  <a:pt x="34261" y="654554"/>
                  <a:pt x="34719" y="654793"/>
                </a:cubicBezTo>
                <a:cubicBezTo>
                  <a:pt x="37014" y="656012"/>
                  <a:pt x="37814" y="650725"/>
                  <a:pt x="35671" y="649154"/>
                </a:cubicBezTo>
                <a:cubicBezTo>
                  <a:pt x="32509" y="648639"/>
                  <a:pt x="37833" y="652688"/>
                  <a:pt x="33033" y="651059"/>
                </a:cubicBezTo>
                <a:cubicBezTo>
                  <a:pt x="33137" y="648363"/>
                  <a:pt x="31623" y="646030"/>
                  <a:pt x="34185" y="644296"/>
                </a:cubicBezTo>
                <a:cubicBezTo>
                  <a:pt x="34547" y="642058"/>
                  <a:pt x="31328" y="642391"/>
                  <a:pt x="32699" y="639410"/>
                </a:cubicBezTo>
                <a:cubicBezTo>
                  <a:pt x="31747" y="639038"/>
                  <a:pt x="31556" y="639667"/>
                  <a:pt x="31375" y="640362"/>
                </a:cubicBezTo>
                <a:cubicBezTo>
                  <a:pt x="29804" y="639829"/>
                  <a:pt x="31556" y="636933"/>
                  <a:pt x="29699" y="636600"/>
                </a:cubicBezTo>
                <a:cubicBezTo>
                  <a:pt x="31266" y="633635"/>
                  <a:pt x="33698" y="631216"/>
                  <a:pt x="36671" y="629666"/>
                </a:cubicBezTo>
                <a:cubicBezTo>
                  <a:pt x="36909" y="627484"/>
                  <a:pt x="32671" y="630351"/>
                  <a:pt x="29908" y="628523"/>
                </a:cubicBezTo>
                <a:cubicBezTo>
                  <a:pt x="30956" y="626275"/>
                  <a:pt x="33252" y="625779"/>
                  <a:pt x="33309" y="622141"/>
                </a:cubicBezTo>
                <a:cubicBezTo>
                  <a:pt x="31061" y="622227"/>
                  <a:pt x="32356" y="627284"/>
                  <a:pt x="28223" y="624760"/>
                </a:cubicBezTo>
                <a:cubicBezTo>
                  <a:pt x="31480" y="622170"/>
                  <a:pt x="29928" y="620950"/>
                  <a:pt x="32033" y="616121"/>
                </a:cubicBezTo>
                <a:cubicBezTo>
                  <a:pt x="33610" y="616182"/>
                  <a:pt x="34895" y="617407"/>
                  <a:pt x="35033" y="618979"/>
                </a:cubicBezTo>
                <a:cubicBezTo>
                  <a:pt x="36338" y="619560"/>
                  <a:pt x="39462" y="616378"/>
                  <a:pt x="36728" y="615788"/>
                </a:cubicBezTo>
                <a:cubicBezTo>
                  <a:pt x="38452" y="612502"/>
                  <a:pt x="38167" y="618550"/>
                  <a:pt x="39729" y="618645"/>
                </a:cubicBezTo>
                <a:cubicBezTo>
                  <a:pt x="42139" y="619255"/>
                  <a:pt x="40919" y="614740"/>
                  <a:pt x="41805" y="613206"/>
                </a:cubicBezTo>
                <a:cubicBezTo>
                  <a:pt x="42758" y="613873"/>
                  <a:pt x="43710" y="614540"/>
                  <a:pt x="43710" y="615835"/>
                </a:cubicBezTo>
                <a:cubicBezTo>
                  <a:pt x="48597" y="613873"/>
                  <a:pt x="50378" y="607587"/>
                  <a:pt x="52959" y="602329"/>
                </a:cubicBezTo>
                <a:cubicBezTo>
                  <a:pt x="50959" y="601853"/>
                  <a:pt x="50349" y="603281"/>
                  <a:pt x="48263" y="602700"/>
                </a:cubicBezTo>
                <a:cubicBezTo>
                  <a:pt x="46863" y="602634"/>
                  <a:pt x="46472" y="605406"/>
                  <a:pt x="45406" y="605701"/>
                </a:cubicBezTo>
                <a:cubicBezTo>
                  <a:pt x="43691" y="606177"/>
                  <a:pt x="40919" y="604748"/>
                  <a:pt x="42958" y="606444"/>
                </a:cubicBezTo>
                <a:cubicBezTo>
                  <a:pt x="42958" y="608787"/>
                  <a:pt x="39738" y="605663"/>
                  <a:pt x="39767" y="604739"/>
                </a:cubicBezTo>
                <a:cubicBezTo>
                  <a:pt x="40258" y="603227"/>
                  <a:pt x="39537" y="601587"/>
                  <a:pt x="38090" y="600929"/>
                </a:cubicBezTo>
                <a:cubicBezTo>
                  <a:pt x="39195" y="598767"/>
                  <a:pt x="43482" y="601081"/>
                  <a:pt x="44291" y="598509"/>
                </a:cubicBezTo>
                <a:cubicBezTo>
                  <a:pt x="44644" y="595728"/>
                  <a:pt x="40615" y="597633"/>
                  <a:pt x="40719" y="599062"/>
                </a:cubicBezTo>
                <a:cubicBezTo>
                  <a:pt x="39148" y="599367"/>
                  <a:pt x="41177" y="593347"/>
                  <a:pt x="43739" y="594938"/>
                </a:cubicBezTo>
                <a:cubicBezTo>
                  <a:pt x="42786" y="593099"/>
                  <a:pt x="42996" y="591975"/>
                  <a:pt x="45444" y="591747"/>
                </a:cubicBezTo>
                <a:cubicBezTo>
                  <a:pt x="45606" y="590642"/>
                  <a:pt x="44215" y="590642"/>
                  <a:pt x="43377" y="590232"/>
                </a:cubicBezTo>
                <a:cubicBezTo>
                  <a:pt x="43215" y="587937"/>
                  <a:pt x="49168" y="587479"/>
                  <a:pt x="49206" y="590061"/>
                </a:cubicBezTo>
                <a:cubicBezTo>
                  <a:pt x="50502" y="590651"/>
                  <a:pt x="50073" y="588289"/>
                  <a:pt x="50721" y="588003"/>
                </a:cubicBezTo>
                <a:cubicBezTo>
                  <a:pt x="52330" y="587270"/>
                  <a:pt x="55245" y="589546"/>
                  <a:pt x="56540" y="587832"/>
                </a:cubicBezTo>
                <a:cubicBezTo>
                  <a:pt x="56340" y="585184"/>
                  <a:pt x="54550" y="588899"/>
                  <a:pt x="53350" y="586127"/>
                </a:cubicBezTo>
                <a:cubicBezTo>
                  <a:pt x="54731" y="584160"/>
                  <a:pt x="55150" y="581676"/>
                  <a:pt x="54493" y="579364"/>
                </a:cubicBezTo>
                <a:cubicBezTo>
                  <a:pt x="54759" y="580641"/>
                  <a:pt x="56836" y="580174"/>
                  <a:pt x="57683" y="581069"/>
                </a:cubicBezTo>
                <a:cubicBezTo>
                  <a:pt x="57979" y="581374"/>
                  <a:pt x="58169" y="583355"/>
                  <a:pt x="58436" y="583517"/>
                </a:cubicBezTo>
                <a:cubicBezTo>
                  <a:pt x="59065" y="583898"/>
                  <a:pt x="60093" y="583003"/>
                  <a:pt x="59750" y="582565"/>
                </a:cubicBezTo>
                <a:cubicBezTo>
                  <a:pt x="60636" y="583650"/>
                  <a:pt x="60103" y="585565"/>
                  <a:pt x="61427" y="586317"/>
                </a:cubicBezTo>
                <a:cubicBezTo>
                  <a:pt x="64922" y="586155"/>
                  <a:pt x="60760" y="583736"/>
                  <a:pt x="62189" y="581812"/>
                </a:cubicBezTo>
                <a:cubicBezTo>
                  <a:pt x="63837" y="581326"/>
                  <a:pt x="64703" y="579764"/>
                  <a:pt x="65208" y="577688"/>
                </a:cubicBezTo>
                <a:cubicBezTo>
                  <a:pt x="63970" y="574830"/>
                  <a:pt x="62751" y="575507"/>
                  <a:pt x="59769" y="575602"/>
                </a:cubicBezTo>
                <a:cubicBezTo>
                  <a:pt x="60103" y="571887"/>
                  <a:pt x="62027" y="570411"/>
                  <a:pt x="65237" y="570744"/>
                </a:cubicBezTo>
                <a:cubicBezTo>
                  <a:pt x="64500" y="569549"/>
                  <a:pt x="63466" y="568564"/>
                  <a:pt x="62236" y="567887"/>
                </a:cubicBezTo>
                <a:cubicBezTo>
                  <a:pt x="62646" y="566610"/>
                  <a:pt x="62332" y="565848"/>
                  <a:pt x="61493" y="565448"/>
                </a:cubicBezTo>
                <a:cubicBezTo>
                  <a:pt x="61493" y="562648"/>
                  <a:pt x="63960" y="563343"/>
                  <a:pt x="63579" y="560000"/>
                </a:cubicBezTo>
                <a:cubicBezTo>
                  <a:pt x="65999" y="560619"/>
                  <a:pt x="67323" y="559685"/>
                  <a:pt x="67532" y="557142"/>
                </a:cubicBezTo>
                <a:cubicBezTo>
                  <a:pt x="67532" y="555799"/>
                  <a:pt x="65627" y="555847"/>
                  <a:pt x="64341" y="555447"/>
                </a:cubicBezTo>
                <a:cubicBezTo>
                  <a:pt x="63617" y="553170"/>
                  <a:pt x="68351" y="552256"/>
                  <a:pt x="65103" y="550942"/>
                </a:cubicBezTo>
                <a:cubicBezTo>
                  <a:pt x="65770" y="549427"/>
                  <a:pt x="67104" y="551180"/>
                  <a:pt x="67161" y="552446"/>
                </a:cubicBezTo>
                <a:cubicBezTo>
                  <a:pt x="70971" y="551761"/>
                  <a:pt x="70371" y="544826"/>
                  <a:pt x="75267" y="545712"/>
                </a:cubicBezTo>
                <a:cubicBezTo>
                  <a:pt x="74145" y="544286"/>
                  <a:pt x="74390" y="542220"/>
                  <a:pt x="75817" y="541097"/>
                </a:cubicBezTo>
                <a:cubicBezTo>
                  <a:pt x="76568" y="540507"/>
                  <a:pt x="77538" y="540272"/>
                  <a:pt x="78476" y="540455"/>
                </a:cubicBezTo>
                <a:cubicBezTo>
                  <a:pt x="78953" y="537807"/>
                  <a:pt x="77095" y="536806"/>
                  <a:pt x="78476" y="533501"/>
                </a:cubicBezTo>
                <a:cubicBezTo>
                  <a:pt x="82601" y="536064"/>
                  <a:pt x="79696" y="528739"/>
                  <a:pt x="82620" y="529567"/>
                </a:cubicBezTo>
                <a:cubicBezTo>
                  <a:pt x="79839" y="526920"/>
                  <a:pt x="83048" y="520042"/>
                  <a:pt x="77391" y="519404"/>
                </a:cubicBezTo>
                <a:cubicBezTo>
                  <a:pt x="78701" y="517623"/>
                  <a:pt x="80552" y="516313"/>
                  <a:pt x="82667" y="515670"/>
                </a:cubicBezTo>
                <a:cubicBezTo>
                  <a:pt x="82839" y="514051"/>
                  <a:pt x="83010" y="512441"/>
                  <a:pt x="84363" y="512470"/>
                </a:cubicBezTo>
                <a:cubicBezTo>
                  <a:pt x="89611" y="512470"/>
                  <a:pt x="82115" y="515328"/>
                  <a:pt x="87363" y="515328"/>
                </a:cubicBezTo>
                <a:cubicBezTo>
                  <a:pt x="86487" y="516899"/>
                  <a:pt x="85211" y="517890"/>
                  <a:pt x="84344" y="519452"/>
                </a:cubicBezTo>
                <a:cubicBezTo>
                  <a:pt x="87754" y="520071"/>
                  <a:pt x="87830" y="515975"/>
                  <a:pt x="88868" y="513270"/>
                </a:cubicBezTo>
                <a:cubicBezTo>
                  <a:pt x="90859" y="513175"/>
                  <a:pt x="90849" y="514508"/>
                  <a:pt x="90773" y="515909"/>
                </a:cubicBezTo>
                <a:cubicBezTo>
                  <a:pt x="94440" y="515728"/>
                  <a:pt x="92754" y="513146"/>
                  <a:pt x="92859" y="510460"/>
                </a:cubicBezTo>
                <a:cubicBezTo>
                  <a:pt x="94621" y="511089"/>
                  <a:pt x="94974" y="509727"/>
                  <a:pt x="96422" y="509908"/>
                </a:cubicBezTo>
                <a:cubicBezTo>
                  <a:pt x="96250" y="506403"/>
                  <a:pt x="93840" y="510575"/>
                  <a:pt x="91916" y="509146"/>
                </a:cubicBezTo>
                <a:cubicBezTo>
                  <a:pt x="91621" y="507374"/>
                  <a:pt x="90735" y="506022"/>
                  <a:pt x="90430" y="504250"/>
                </a:cubicBezTo>
                <a:cubicBezTo>
                  <a:pt x="89788" y="504254"/>
                  <a:pt x="89271" y="504777"/>
                  <a:pt x="89275" y="505419"/>
                </a:cubicBezTo>
                <a:cubicBezTo>
                  <a:pt x="89278" y="505908"/>
                  <a:pt x="89587" y="506344"/>
                  <a:pt x="90049" y="506507"/>
                </a:cubicBezTo>
                <a:cubicBezTo>
                  <a:pt x="88354" y="509774"/>
                  <a:pt x="87259" y="504698"/>
                  <a:pt x="85725" y="504602"/>
                </a:cubicBezTo>
                <a:cubicBezTo>
                  <a:pt x="86335" y="503459"/>
                  <a:pt x="87954" y="504174"/>
                  <a:pt x="88363" y="502697"/>
                </a:cubicBezTo>
                <a:cubicBezTo>
                  <a:pt x="89211" y="499840"/>
                  <a:pt x="86554" y="493230"/>
                  <a:pt x="92173" y="494058"/>
                </a:cubicBezTo>
                <a:cubicBezTo>
                  <a:pt x="92250" y="496497"/>
                  <a:pt x="90897" y="496916"/>
                  <a:pt x="90268" y="498373"/>
                </a:cubicBezTo>
                <a:cubicBezTo>
                  <a:pt x="93126" y="502355"/>
                  <a:pt x="97888" y="497897"/>
                  <a:pt x="98346" y="498592"/>
                </a:cubicBezTo>
                <a:cubicBezTo>
                  <a:pt x="98312" y="498971"/>
                  <a:pt x="98248" y="499347"/>
                  <a:pt x="98155" y="499716"/>
                </a:cubicBezTo>
                <a:cubicBezTo>
                  <a:pt x="104584" y="496697"/>
                  <a:pt x="102632" y="487076"/>
                  <a:pt x="108918" y="484152"/>
                </a:cubicBezTo>
                <a:cubicBezTo>
                  <a:pt x="110976" y="483466"/>
                  <a:pt x="106375" y="480514"/>
                  <a:pt x="108737" y="478323"/>
                </a:cubicBezTo>
                <a:cubicBezTo>
                  <a:pt x="109538" y="477589"/>
                  <a:pt x="109490" y="480780"/>
                  <a:pt x="109490" y="480771"/>
                </a:cubicBezTo>
                <a:cubicBezTo>
                  <a:pt x="110774" y="480282"/>
                  <a:pt x="112030" y="479722"/>
                  <a:pt x="113252" y="479094"/>
                </a:cubicBezTo>
                <a:cubicBezTo>
                  <a:pt x="113871" y="477513"/>
                  <a:pt x="110519" y="476656"/>
                  <a:pt x="110633" y="474008"/>
                </a:cubicBezTo>
                <a:cubicBezTo>
                  <a:pt x="110633" y="472741"/>
                  <a:pt x="111785" y="471827"/>
                  <a:pt x="113652" y="469884"/>
                </a:cubicBezTo>
                <a:cubicBezTo>
                  <a:pt x="115300" y="468169"/>
                  <a:pt x="116348" y="465998"/>
                  <a:pt x="120987" y="467655"/>
                </a:cubicBezTo>
                <a:cubicBezTo>
                  <a:pt x="119291" y="464559"/>
                  <a:pt x="121815" y="458473"/>
                  <a:pt x="122158" y="453939"/>
                </a:cubicBezTo>
                <a:cubicBezTo>
                  <a:pt x="126908" y="452166"/>
                  <a:pt x="130013" y="447578"/>
                  <a:pt x="129892" y="442509"/>
                </a:cubicBezTo>
                <a:lnTo>
                  <a:pt x="133274" y="443080"/>
                </a:lnTo>
                <a:cubicBezTo>
                  <a:pt x="131826" y="441461"/>
                  <a:pt x="132245" y="438527"/>
                  <a:pt x="130845" y="436880"/>
                </a:cubicBezTo>
                <a:cubicBezTo>
                  <a:pt x="131513" y="435442"/>
                  <a:pt x="133141" y="434721"/>
                  <a:pt x="134655" y="435194"/>
                </a:cubicBezTo>
                <a:cubicBezTo>
                  <a:pt x="135225" y="432537"/>
                  <a:pt x="135296" y="429799"/>
                  <a:pt x="134864" y="427117"/>
                </a:cubicBezTo>
                <a:cubicBezTo>
                  <a:pt x="134922" y="427021"/>
                  <a:pt x="137112" y="427555"/>
                  <a:pt x="137122" y="427498"/>
                </a:cubicBezTo>
                <a:cubicBezTo>
                  <a:pt x="137227" y="425793"/>
                  <a:pt x="134769" y="425383"/>
                  <a:pt x="135626" y="422611"/>
                </a:cubicBezTo>
                <a:cubicBezTo>
                  <a:pt x="137208" y="422973"/>
                  <a:pt x="138789" y="423335"/>
                  <a:pt x="139189" y="422049"/>
                </a:cubicBezTo>
                <a:cubicBezTo>
                  <a:pt x="141856" y="422154"/>
                  <a:pt x="139894" y="425526"/>
                  <a:pt x="142046" y="426002"/>
                </a:cubicBezTo>
                <a:cubicBezTo>
                  <a:pt x="143818" y="426631"/>
                  <a:pt x="144161" y="425269"/>
                  <a:pt x="145618" y="425450"/>
                </a:cubicBezTo>
                <a:cubicBezTo>
                  <a:pt x="144942" y="423621"/>
                  <a:pt x="142256" y="423211"/>
                  <a:pt x="140360" y="422240"/>
                </a:cubicBezTo>
                <a:cubicBezTo>
                  <a:pt x="144618" y="419011"/>
                  <a:pt x="143218" y="415306"/>
                  <a:pt x="138322" y="413782"/>
                </a:cubicBezTo>
                <a:cubicBezTo>
                  <a:pt x="138846" y="411724"/>
                  <a:pt x="142256" y="413782"/>
                  <a:pt x="143208" y="412296"/>
                </a:cubicBezTo>
                <a:cubicBezTo>
                  <a:pt x="144075" y="408705"/>
                  <a:pt x="142027" y="407190"/>
                  <a:pt x="143608" y="403085"/>
                </a:cubicBezTo>
                <a:cubicBezTo>
                  <a:pt x="144885" y="403495"/>
                  <a:pt x="145656" y="403180"/>
                  <a:pt x="146056" y="402342"/>
                </a:cubicBezTo>
                <a:cubicBezTo>
                  <a:pt x="147961" y="403504"/>
                  <a:pt x="145875" y="404418"/>
                  <a:pt x="145485" y="405723"/>
                </a:cubicBezTo>
                <a:cubicBezTo>
                  <a:pt x="146018" y="406990"/>
                  <a:pt x="147885" y="407333"/>
                  <a:pt x="147171" y="409486"/>
                </a:cubicBezTo>
                <a:cubicBezTo>
                  <a:pt x="149105" y="407997"/>
                  <a:pt x="150929" y="406371"/>
                  <a:pt x="152629" y="404618"/>
                </a:cubicBezTo>
                <a:cubicBezTo>
                  <a:pt x="152630" y="403977"/>
                  <a:pt x="152110" y="403455"/>
                  <a:pt x="151469" y="403454"/>
                </a:cubicBezTo>
                <a:cubicBezTo>
                  <a:pt x="150976" y="403453"/>
                  <a:pt x="150536" y="403763"/>
                  <a:pt x="150371" y="404228"/>
                </a:cubicBezTo>
                <a:cubicBezTo>
                  <a:pt x="146085" y="399894"/>
                  <a:pt x="157839" y="399104"/>
                  <a:pt x="154181" y="395598"/>
                </a:cubicBezTo>
                <a:cubicBezTo>
                  <a:pt x="154334" y="392550"/>
                  <a:pt x="160325" y="397732"/>
                  <a:pt x="159268" y="392988"/>
                </a:cubicBezTo>
                <a:cubicBezTo>
                  <a:pt x="161401" y="392198"/>
                  <a:pt x="161782" y="395722"/>
                  <a:pt x="162258" y="395846"/>
                </a:cubicBezTo>
                <a:cubicBezTo>
                  <a:pt x="164983" y="396360"/>
                  <a:pt x="166364" y="391941"/>
                  <a:pt x="169050" y="390045"/>
                </a:cubicBezTo>
                <a:cubicBezTo>
                  <a:pt x="169507" y="383444"/>
                  <a:pt x="165706" y="379863"/>
                  <a:pt x="167402" y="372376"/>
                </a:cubicBezTo>
                <a:cubicBezTo>
                  <a:pt x="168868" y="371664"/>
                  <a:pt x="170550" y="371534"/>
                  <a:pt x="172107" y="372014"/>
                </a:cubicBezTo>
                <a:cubicBezTo>
                  <a:pt x="173860" y="365537"/>
                  <a:pt x="170307" y="361975"/>
                  <a:pt x="173460" y="357174"/>
                </a:cubicBezTo>
                <a:cubicBezTo>
                  <a:pt x="173631" y="356917"/>
                  <a:pt x="175365" y="357727"/>
                  <a:pt x="175717" y="357555"/>
                </a:cubicBezTo>
                <a:cubicBezTo>
                  <a:pt x="176212" y="355565"/>
                  <a:pt x="174765" y="354946"/>
                  <a:pt x="175355" y="352860"/>
                </a:cubicBezTo>
                <a:cubicBezTo>
                  <a:pt x="177794" y="352441"/>
                  <a:pt x="180413" y="350078"/>
                  <a:pt x="182309" y="352860"/>
                </a:cubicBezTo>
                <a:cubicBezTo>
                  <a:pt x="182623" y="350955"/>
                  <a:pt x="182947" y="349107"/>
                  <a:pt x="183261" y="347221"/>
                </a:cubicBezTo>
                <a:cubicBezTo>
                  <a:pt x="185604" y="347668"/>
                  <a:pt x="186652" y="346516"/>
                  <a:pt x="188157" y="345735"/>
                </a:cubicBezTo>
                <a:cubicBezTo>
                  <a:pt x="189871" y="344849"/>
                  <a:pt x="190919" y="342706"/>
                  <a:pt x="193234" y="343116"/>
                </a:cubicBezTo>
                <a:cubicBezTo>
                  <a:pt x="193291" y="339477"/>
                  <a:pt x="197120" y="341153"/>
                  <a:pt x="196634" y="336743"/>
                </a:cubicBezTo>
                <a:cubicBezTo>
                  <a:pt x="198911" y="337610"/>
                  <a:pt x="199749" y="336477"/>
                  <a:pt x="201330" y="336381"/>
                </a:cubicBezTo>
                <a:cubicBezTo>
                  <a:pt x="202778" y="334591"/>
                  <a:pt x="199587" y="333143"/>
                  <a:pt x="199654" y="332619"/>
                </a:cubicBezTo>
                <a:cubicBezTo>
                  <a:pt x="199720" y="332095"/>
                  <a:pt x="202197" y="330304"/>
                  <a:pt x="202282" y="330714"/>
                </a:cubicBezTo>
                <a:cubicBezTo>
                  <a:pt x="202101" y="329809"/>
                  <a:pt x="198672" y="329323"/>
                  <a:pt x="198168" y="327695"/>
                </a:cubicBezTo>
                <a:cubicBezTo>
                  <a:pt x="198082" y="327418"/>
                  <a:pt x="199863" y="325666"/>
                  <a:pt x="199863" y="324504"/>
                </a:cubicBezTo>
                <a:cubicBezTo>
                  <a:pt x="199863" y="324418"/>
                  <a:pt x="198825" y="324075"/>
                  <a:pt x="198911" y="323189"/>
                </a:cubicBezTo>
                <a:cubicBezTo>
                  <a:pt x="199053" y="321980"/>
                  <a:pt x="201387" y="321284"/>
                  <a:pt x="200997" y="317750"/>
                </a:cubicBezTo>
                <a:cubicBezTo>
                  <a:pt x="202082" y="317960"/>
                  <a:pt x="201635" y="319274"/>
                  <a:pt x="201739" y="320189"/>
                </a:cubicBezTo>
                <a:cubicBezTo>
                  <a:pt x="204502" y="319922"/>
                  <a:pt x="208693" y="320598"/>
                  <a:pt x="209645" y="314579"/>
                </a:cubicBezTo>
                <a:cubicBezTo>
                  <a:pt x="211550" y="316836"/>
                  <a:pt x="211093" y="314712"/>
                  <a:pt x="214160" y="315341"/>
                </a:cubicBezTo>
                <a:cubicBezTo>
                  <a:pt x="215827" y="315674"/>
                  <a:pt x="215036" y="313074"/>
                  <a:pt x="215856" y="312150"/>
                </a:cubicBezTo>
                <a:cubicBezTo>
                  <a:pt x="216122" y="311855"/>
                  <a:pt x="217761" y="312721"/>
                  <a:pt x="218103" y="312531"/>
                </a:cubicBezTo>
                <a:cubicBezTo>
                  <a:pt x="218837" y="312178"/>
                  <a:pt x="218942" y="309616"/>
                  <a:pt x="219808" y="309340"/>
                </a:cubicBezTo>
                <a:cubicBezTo>
                  <a:pt x="221066" y="308321"/>
                  <a:pt x="224018" y="309702"/>
                  <a:pt x="223771" y="306540"/>
                </a:cubicBezTo>
                <a:cubicBezTo>
                  <a:pt x="226562" y="306540"/>
                  <a:pt x="225866" y="309016"/>
                  <a:pt x="229210" y="308626"/>
                </a:cubicBezTo>
                <a:cubicBezTo>
                  <a:pt x="233020" y="308426"/>
                  <a:pt x="229829" y="303282"/>
                  <a:pt x="234096" y="307130"/>
                </a:cubicBezTo>
                <a:cubicBezTo>
                  <a:pt x="235934" y="306463"/>
                  <a:pt x="236344" y="303777"/>
                  <a:pt x="237306" y="301882"/>
                </a:cubicBezTo>
                <a:cubicBezTo>
                  <a:pt x="236571" y="300688"/>
                  <a:pt x="235541" y="299703"/>
                  <a:pt x="234315" y="299024"/>
                </a:cubicBezTo>
                <a:cubicBezTo>
                  <a:pt x="233810" y="297824"/>
                  <a:pt x="235525" y="298310"/>
                  <a:pt x="235629" y="298072"/>
                </a:cubicBezTo>
                <a:cubicBezTo>
                  <a:pt x="236163" y="296872"/>
                  <a:pt x="233810" y="296024"/>
                  <a:pt x="233724" y="295433"/>
                </a:cubicBezTo>
                <a:cubicBezTo>
                  <a:pt x="233830" y="294293"/>
                  <a:pt x="234024" y="293163"/>
                  <a:pt x="234305" y="292052"/>
                </a:cubicBezTo>
                <a:cubicBezTo>
                  <a:pt x="234439" y="290033"/>
                  <a:pt x="233572" y="289452"/>
                  <a:pt x="233934" y="287356"/>
                </a:cubicBezTo>
                <a:cubicBezTo>
                  <a:pt x="233934" y="287613"/>
                  <a:pt x="235115" y="287023"/>
                  <a:pt x="235258" y="286404"/>
                </a:cubicBezTo>
                <a:cubicBezTo>
                  <a:pt x="235753" y="284194"/>
                  <a:pt x="235715" y="282832"/>
                  <a:pt x="238115" y="283413"/>
                </a:cubicBezTo>
                <a:cubicBezTo>
                  <a:pt x="238325" y="281613"/>
                  <a:pt x="239382" y="279203"/>
                  <a:pt x="237754" y="278708"/>
                </a:cubicBezTo>
                <a:cubicBezTo>
                  <a:pt x="238363" y="277241"/>
                  <a:pt x="240725" y="278250"/>
                  <a:pt x="242449" y="278346"/>
                </a:cubicBezTo>
                <a:cubicBezTo>
                  <a:pt x="242907" y="274183"/>
                  <a:pt x="241640" y="273764"/>
                  <a:pt x="243783" y="270459"/>
                </a:cubicBezTo>
                <a:cubicBezTo>
                  <a:pt x="246974" y="271230"/>
                  <a:pt x="249917" y="271640"/>
                  <a:pt x="250003" y="268039"/>
                </a:cubicBezTo>
                <a:cubicBezTo>
                  <a:pt x="251412" y="268678"/>
                  <a:pt x="251431" y="270316"/>
                  <a:pt x="252994" y="270897"/>
                </a:cubicBezTo>
                <a:cubicBezTo>
                  <a:pt x="255508" y="271183"/>
                  <a:pt x="254279" y="266201"/>
                  <a:pt x="255270" y="264334"/>
                </a:cubicBezTo>
                <a:cubicBezTo>
                  <a:pt x="258577" y="265912"/>
                  <a:pt x="261370" y="268391"/>
                  <a:pt x="263328" y="271488"/>
                </a:cubicBezTo>
                <a:cubicBezTo>
                  <a:pt x="264414" y="271164"/>
                  <a:pt x="265509" y="270849"/>
                  <a:pt x="265967" y="269583"/>
                </a:cubicBezTo>
                <a:cubicBezTo>
                  <a:pt x="265157" y="268144"/>
                  <a:pt x="263433" y="269230"/>
                  <a:pt x="261842" y="266563"/>
                </a:cubicBezTo>
                <a:cubicBezTo>
                  <a:pt x="262795" y="260200"/>
                  <a:pt x="261661" y="261467"/>
                  <a:pt x="262614" y="255133"/>
                </a:cubicBezTo>
                <a:cubicBezTo>
                  <a:pt x="263709" y="254544"/>
                  <a:pt x="264973" y="254348"/>
                  <a:pt x="266195" y="254581"/>
                </a:cubicBezTo>
                <a:cubicBezTo>
                  <a:pt x="266814" y="250771"/>
                  <a:pt x="267472" y="247065"/>
                  <a:pt x="271853" y="248580"/>
                </a:cubicBezTo>
                <a:cubicBezTo>
                  <a:pt x="271254" y="247491"/>
                  <a:pt x="271059" y="246226"/>
                  <a:pt x="271301" y="245008"/>
                </a:cubicBezTo>
                <a:cubicBezTo>
                  <a:pt x="274158" y="242570"/>
                  <a:pt x="275206" y="248609"/>
                  <a:pt x="278054" y="246161"/>
                </a:cubicBezTo>
                <a:cubicBezTo>
                  <a:pt x="278301" y="244008"/>
                  <a:pt x="274463" y="244751"/>
                  <a:pt x="275196" y="242208"/>
                </a:cubicBezTo>
                <a:cubicBezTo>
                  <a:pt x="275930" y="238112"/>
                  <a:pt x="279359" y="237817"/>
                  <a:pt x="283855" y="239036"/>
                </a:cubicBezTo>
                <a:cubicBezTo>
                  <a:pt x="285321" y="236007"/>
                  <a:pt x="282769" y="235845"/>
                  <a:pt x="283683" y="233207"/>
                </a:cubicBezTo>
                <a:cubicBezTo>
                  <a:pt x="285147" y="232499"/>
                  <a:pt x="286823" y="232370"/>
                  <a:pt x="288379" y="232845"/>
                </a:cubicBezTo>
                <a:cubicBezTo>
                  <a:pt x="288450" y="230652"/>
                  <a:pt x="289670" y="228658"/>
                  <a:pt x="291589" y="227596"/>
                </a:cubicBezTo>
                <a:cubicBezTo>
                  <a:pt x="292056" y="227349"/>
                  <a:pt x="292827" y="229301"/>
                  <a:pt x="293656" y="229101"/>
                </a:cubicBezTo>
                <a:cubicBezTo>
                  <a:pt x="295666" y="228635"/>
                  <a:pt x="299085" y="223110"/>
                  <a:pt x="302504" y="224806"/>
                </a:cubicBezTo>
                <a:cubicBezTo>
                  <a:pt x="302169" y="222876"/>
                  <a:pt x="302505" y="220889"/>
                  <a:pt x="303457" y="219176"/>
                </a:cubicBezTo>
                <a:cubicBezTo>
                  <a:pt x="303686" y="218871"/>
                  <a:pt x="305362" y="219795"/>
                  <a:pt x="305714" y="219557"/>
                </a:cubicBezTo>
                <a:cubicBezTo>
                  <a:pt x="306067" y="219319"/>
                  <a:pt x="305714" y="217528"/>
                  <a:pt x="306095" y="217300"/>
                </a:cubicBezTo>
                <a:cubicBezTo>
                  <a:pt x="306476" y="217071"/>
                  <a:pt x="308000" y="218005"/>
                  <a:pt x="308343" y="217681"/>
                </a:cubicBezTo>
                <a:cubicBezTo>
                  <a:pt x="308686" y="217357"/>
                  <a:pt x="310505" y="212356"/>
                  <a:pt x="311363" y="213556"/>
                </a:cubicBezTo>
                <a:cubicBezTo>
                  <a:pt x="312315" y="214919"/>
                  <a:pt x="312020" y="214195"/>
                  <a:pt x="312677" y="212604"/>
                </a:cubicBezTo>
                <a:cubicBezTo>
                  <a:pt x="315611" y="213499"/>
                  <a:pt x="315982" y="216204"/>
                  <a:pt x="316240" y="219005"/>
                </a:cubicBezTo>
                <a:cubicBezTo>
                  <a:pt x="315716" y="220729"/>
                  <a:pt x="318745" y="219824"/>
                  <a:pt x="319421" y="220710"/>
                </a:cubicBezTo>
                <a:cubicBezTo>
                  <a:pt x="319735" y="221119"/>
                  <a:pt x="318811" y="222472"/>
                  <a:pt x="319040" y="222958"/>
                </a:cubicBezTo>
                <a:cubicBezTo>
                  <a:pt x="320259" y="225587"/>
                  <a:pt x="323869" y="227349"/>
                  <a:pt x="326174" y="228806"/>
                </a:cubicBezTo>
                <a:cubicBezTo>
                  <a:pt x="326612" y="227501"/>
                  <a:pt x="324564" y="227958"/>
                  <a:pt x="324107" y="227301"/>
                </a:cubicBezTo>
                <a:cubicBezTo>
                  <a:pt x="324336" y="227634"/>
                  <a:pt x="323326" y="223996"/>
                  <a:pt x="323364" y="224853"/>
                </a:cubicBezTo>
                <a:cubicBezTo>
                  <a:pt x="323279" y="223091"/>
                  <a:pt x="328051" y="218462"/>
                  <a:pt x="323574" y="216776"/>
                </a:cubicBezTo>
                <a:cubicBezTo>
                  <a:pt x="324260" y="214480"/>
                  <a:pt x="328574" y="217309"/>
                  <a:pt x="329584" y="215471"/>
                </a:cubicBezTo>
                <a:cubicBezTo>
                  <a:pt x="331260" y="210975"/>
                  <a:pt x="324545" y="212442"/>
                  <a:pt x="326231" y="207946"/>
                </a:cubicBezTo>
                <a:cubicBezTo>
                  <a:pt x="328574" y="206194"/>
                  <a:pt x="329441" y="208994"/>
                  <a:pt x="331670" y="210032"/>
                </a:cubicBezTo>
                <a:cubicBezTo>
                  <a:pt x="331022" y="207721"/>
                  <a:pt x="331441" y="205240"/>
                  <a:pt x="332813" y="203269"/>
                </a:cubicBezTo>
                <a:lnTo>
                  <a:pt x="338452" y="204222"/>
                </a:lnTo>
                <a:cubicBezTo>
                  <a:pt x="341814" y="205108"/>
                  <a:pt x="340709" y="197507"/>
                  <a:pt x="343529" y="201612"/>
                </a:cubicBezTo>
                <a:cubicBezTo>
                  <a:pt x="343853" y="199707"/>
                  <a:pt x="344167" y="197859"/>
                  <a:pt x="344481" y="195973"/>
                </a:cubicBezTo>
                <a:cubicBezTo>
                  <a:pt x="348472" y="197878"/>
                  <a:pt x="348520" y="194221"/>
                  <a:pt x="350691" y="193554"/>
                </a:cubicBezTo>
                <a:cubicBezTo>
                  <a:pt x="353901" y="192973"/>
                  <a:pt x="351644" y="196135"/>
                  <a:pt x="352368" y="197316"/>
                </a:cubicBezTo>
                <a:cubicBezTo>
                  <a:pt x="353092" y="198497"/>
                  <a:pt x="355349" y="198497"/>
                  <a:pt x="355368" y="200174"/>
                </a:cubicBezTo>
                <a:cubicBezTo>
                  <a:pt x="359654" y="200060"/>
                  <a:pt x="355463" y="196707"/>
                  <a:pt x="358578" y="194926"/>
                </a:cubicBezTo>
                <a:cubicBezTo>
                  <a:pt x="358731" y="193830"/>
                  <a:pt x="357349" y="193821"/>
                  <a:pt x="356511" y="193421"/>
                </a:cubicBezTo>
                <a:cubicBezTo>
                  <a:pt x="356711" y="191373"/>
                  <a:pt x="358292" y="191268"/>
                  <a:pt x="358416" y="189106"/>
                </a:cubicBezTo>
                <a:cubicBezTo>
                  <a:pt x="361445" y="189258"/>
                  <a:pt x="360921" y="191963"/>
                  <a:pt x="361036" y="194183"/>
                </a:cubicBezTo>
                <a:cubicBezTo>
                  <a:pt x="364065" y="195192"/>
                  <a:pt x="362798" y="190163"/>
                  <a:pt x="365169" y="190249"/>
                </a:cubicBezTo>
                <a:cubicBezTo>
                  <a:pt x="368027" y="189011"/>
                  <a:pt x="366913" y="193792"/>
                  <a:pt x="367979" y="194202"/>
                </a:cubicBezTo>
                <a:cubicBezTo>
                  <a:pt x="369046" y="194611"/>
                  <a:pt x="371351" y="192240"/>
                  <a:pt x="369494" y="192144"/>
                </a:cubicBezTo>
                <a:cubicBezTo>
                  <a:pt x="369637" y="189087"/>
                  <a:pt x="375628" y="194259"/>
                  <a:pt x="374571" y="189525"/>
                </a:cubicBezTo>
                <a:cubicBezTo>
                  <a:pt x="375990" y="189411"/>
                  <a:pt x="374809" y="191430"/>
                  <a:pt x="375314" y="191973"/>
                </a:cubicBezTo>
                <a:cubicBezTo>
                  <a:pt x="375618" y="192268"/>
                  <a:pt x="378171" y="190325"/>
                  <a:pt x="377571" y="192354"/>
                </a:cubicBezTo>
                <a:cubicBezTo>
                  <a:pt x="380429" y="190735"/>
                  <a:pt x="379266" y="183562"/>
                  <a:pt x="381743" y="181467"/>
                </a:cubicBezTo>
                <a:cubicBezTo>
                  <a:pt x="384115" y="183076"/>
                  <a:pt x="388410" y="183372"/>
                  <a:pt x="390363" y="185277"/>
                </a:cubicBezTo>
                <a:cubicBezTo>
                  <a:pt x="389020" y="187115"/>
                  <a:pt x="386744" y="187610"/>
                  <a:pt x="386972" y="191659"/>
                </a:cubicBezTo>
                <a:cubicBezTo>
                  <a:pt x="390014" y="190445"/>
                  <a:pt x="392219" y="187754"/>
                  <a:pt x="392811" y="184534"/>
                </a:cubicBezTo>
                <a:cubicBezTo>
                  <a:pt x="397926" y="184534"/>
                  <a:pt x="396812" y="188963"/>
                  <a:pt x="399936" y="190373"/>
                </a:cubicBezTo>
                <a:cubicBezTo>
                  <a:pt x="407489" y="190544"/>
                  <a:pt x="407880" y="183972"/>
                  <a:pt x="408061" y="176685"/>
                </a:cubicBezTo>
                <a:cubicBezTo>
                  <a:pt x="403631" y="175733"/>
                  <a:pt x="408127" y="178476"/>
                  <a:pt x="405203" y="179676"/>
                </a:cubicBezTo>
                <a:cubicBezTo>
                  <a:pt x="401707" y="180429"/>
                  <a:pt x="403069" y="176819"/>
                  <a:pt x="402346" y="175723"/>
                </a:cubicBezTo>
                <a:cubicBezTo>
                  <a:pt x="401290" y="174120"/>
                  <a:pt x="399959" y="172717"/>
                  <a:pt x="398412" y="171580"/>
                </a:cubicBezTo>
                <a:cubicBezTo>
                  <a:pt x="398631" y="169103"/>
                  <a:pt x="402498" y="171751"/>
                  <a:pt x="404232" y="171408"/>
                </a:cubicBezTo>
                <a:cubicBezTo>
                  <a:pt x="405536" y="170265"/>
                  <a:pt x="403765" y="167684"/>
                  <a:pt x="403679" y="167836"/>
                </a:cubicBezTo>
                <a:cubicBezTo>
                  <a:pt x="404517" y="166084"/>
                  <a:pt x="407222" y="166884"/>
                  <a:pt x="407641" y="165036"/>
                </a:cubicBezTo>
                <a:cubicBezTo>
                  <a:pt x="408061" y="163188"/>
                  <a:pt x="411547" y="165036"/>
                  <a:pt x="411785" y="161093"/>
                </a:cubicBezTo>
                <a:cubicBezTo>
                  <a:pt x="416547" y="163122"/>
                  <a:pt x="416128" y="157911"/>
                  <a:pt x="420253" y="159054"/>
                </a:cubicBezTo>
                <a:cubicBezTo>
                  <a:pt x="420500" y="157559"/>
                  <a:pt x="420757" y="156054"/>
                  <a:pt x="421015" y="154549"/>
                </a:cubicBezTo>
                <a:cubicBezTo>
                  <a:pt x="424091" y="154206"/>
                  <a:pt x="428492" y="151539"/>
                  <a:pt x="431349" y="155140"/>
                </a:cubicBezTo>
                <a:cubicBezTo>
                  <a:pt x="433854" y="155425"/>
                  <a:pt x="432635" y="150444"/>
                  <a:pt x="433626" y="148577"/>
                </a:cubicBezTo>
                <a:cubicBezTo>
                  <a:pt x="434818" y="147837"/>
                  <a:pt x="435802" y="146803"/>
                  <a:pt x="436483" y="145577"/>
                </a:cubicBezTo>
                <a:cubicBezTo>
                  <a:pt x="438388" y="146139"/>
                  <a:pt x="439731" y="144148"/>
                  <a:pt x="439865" y="146148"/>
                </a:cubicBezTo>
                <a:cubicBezTo>
                  <a:pt x="442665" y="144043"/>
                  <a:pt x="444627" y="140766"/>
                  <a:pt x="449837" y="142043"/>
                </a:cubicBezTo>
                <a:lnTo>
                  <a:pt x="449066" y="146548"/>
                </a:lnTo>
                <a:cubicBezTo>
                  <a:pt x="450790" y="147091"/>
                  <a:pt x="449894" y="144005"/>
                  <a:pt x="450771" y="143367"/>
                </a:cubicBezTo>
                <a:cubicBezTo>
                  <a:pt x="451923" y="142519"/>
                  <a:pt x="454381" y="144034"/>
                  <a:pt x="455466" y="142995"/>
                </a:cubicBezTo>
                <a:cubicBezTo>
                  <a:pt x="456552" y="141957"/>
                  <a:pt x="455676" y="135613"/>
                  <a:pt x="459810" y="137938"/>
                </a:cubicBezTo>
                <a:cubicBezTo>
                  <a:pt x="461210" y="134632"/>
                  <a:pt x="458419" y="134289"/>
                  <a:pt x="459810" y="130984"/>
                </a:cubicBezTo>
                <a:lnTo>
                  <a:pt x="466573" y="132127"/>
                </a:lnTo>
                <a:cubicBezTo>
                  <a:pt x="468982" y="132737"/>
                  <a:pt x="467754" y="128222"/>
                  <a:pt x="468649" y="126688"/>
                </a:cubicBezTo>
                <a:cubicBezTo>
                  <a:pt x="471735" y="124412"/>
                  <a:pt x="471364" y="128955"/>
                  <a:pt x="473907" y="129898"/>
                </a:cubicBezTo>
                <a:cubicBezTo>
                  <a:pt x="473783" y="127670"/>
                  <a:pt x="471049" y="127308"/>
                  <a:pt x="472602" y="123879"/>
                </a:cubicBezTo>
                <a:cubicBezTo>
                  <a:pt x="473945" y="123879"/>
                  <a:pt x="474574" y="124469"/>
                  <a:pt x="474669" y="125393"/>
                </a:cubicBezTo>
                <a:cubicBezTo>
                  <a:pt x="477643" y="123842"/>
                  <a:pt x="480074" y="121424"/>
                  <a:pt x="481641" y="118459"/>
                </a:cubicBezTo>
                <a:cubicBezTo>
                  <a:pt x="482479" y="119374"/>
                  <a:pt x="483605" y="119976"/>
                  <a:pt x="484832" y="120164"/>
                </a:cubicBezTo>
                <a:cubicBezTo>
                  <a:pt x="486527" y="120564"/>
                  <a:pt x="485680" y="117792"/>
                  <a:pt x="486537" y="116973"/>
                </a:cubicBezTo>
                <a:cubicBezTo>
                  <a:pt x="488232" y="115325"/>
                  <a:pt x="492871" y="117059"/>
                  <a:pt x="492928" y="113420"/>
                </a:cubicBezTo>
                <a:cubicBezTo>
                  <a:pt x="494833" y="113420"/>
                  <a:pt x="494690" y="114811"/>
                  <a:pt x="496119" y="115116"/>
                </a:cubicBezTo>
                <a:cubicBezTo>
                  <a:pt x="498634" y="114258"/>
                  <a:pt x="497805" y="111439"/>
                  <a:pt x="499339" y="109867"/>
                </a:cubicBezTo>
                <a:cubicBezTo>
                  <a:pt x="500224" y="108915"/>
                  <a:pt x="502730" y="109810"/>
                  <a:pt x="503091" y="108191"/>
                </a:cubicBezTo>
                <a:cubicBezTo>
                  <a:pt x="503368" y="106962"/>
                  <a:pt x="505625" y="107839"/>
                  <a:pt x="505730" y="106286"/>
                </a:cubicBezTo>
                <a:cubicBezTo>
                  <a:pt x="507218" y="107118"/>
                  <a:pt x="508264" y="108564"/>
                  <a:pt x="508587" y="110239"/>
                </a:cubicBezTo>
                <a:cubicBezTo>
                  <a:pt x="511016" y="109486"/>
                  <a:pt x="513731" y="109115"/>
                  <a:pt x="514979" y="106686"/>
                </a:cubicBezTo>
                <a:cubicBezTo>
                  <a:pt x="519055" y="107753"/>
                  <a:pt x="523246" y="104781"/>
                  <a:pt x="525313" y="107286"/>
                </a:cubicBezTo>
                <a:cubicBezTo>
                  <a:pt x="524056" y="109353"/>
                  <a:pt x="520684" y="110667"/>
                  <a:pt x="519293" y="108581"/>
                </a:cubicBezTo>
                <a:cubicBezTo>
                  <a:pt x="517989" y="114601"/>
                  <a:pt x="525961" y="109629"/>
                  <a:pt x="527552" y="114620"/>
                </a:cubicBezTo>
                <a:cubicBezTo>
                  <a:pt x="530095" y="115401"/>
                  <a:pt x="529352" y="111572"/>
                  <a:pt x="531505" y="111810"/>
                </a:cubicBezTo>
                <a:cubicBezTo>
                  <a:pt x="535134" y="111877"/>
                  <a:pt x="533972" y="115344"/>
                  <a:pt x="536572" y="116144"/>
                </a:cubicBezTo>
                <a:cubicBezTo>
                  <a:pt x="539315" y="115830"/>
                  <a:pt x="538420" y="110382"/>
                  <a:pt x="542963" y="112591"/>
                </a:cubicBezTo>
                <a:cubicBezTo>
                  <a:pt x="542858" y="108381"/>
                  <a:pt x="540020" y="106095"/>
                  <a:pt x="540182" y="101685"/>
                </a:cubicBezTo>
                <a:cubicBezTo>
                  <a:pt x="543392" y="101390"/>
                  <a:pt x="542087" y="104314"/>
                  <a:pt x="544306" y="104705"/>
                </a:cubicBezTo>
                <a:cubicBezTo>
                  <a:pt x="545973" y="104705"/>
                  <a:pt x="545259" y="101409"/>
                  <a:pt x="547164" y="101714"/>
                </a:cubicBezTo>
                <a:cubicBezTo>
                  <a:pt x="544449" y="98609"/>
                  <a:pt x="547840" y="97332"/>
                  <a:pt x="544925" y="94370"/>
                </a:cubicBezTo>
                <a:cubicBezTo>
                  <a:pt x="547421" y="91322"/>
                  <a:pt x="549231" y="93818"/>
                  <a:pt x="553002" y="94580"/>
                </a:cubicBezTo>
                <a:cubicBezTo>
                  <a:pt x="554670" y="94272"/>
                  <a:pt x="556119" y="93249"/>
                  <a:pt x="556965" y="91779"/>
                </a:cubicBezTo>
                <a:cubicBezTo>
                  <a:pt x="555174" y="87579"/>
                  <a:pt x="551526" y="92379"/>
                  <a:pt x="548878" y="91570"/>
                </a:cubicBezTo>
                <a:cubicBezTo>
                  <a:pt x="548573" y="86598"/>
                  <a:pt x="541744" y="92008"/>
                  <a:pt x="542696" y="87036"/>
                </a:cubicBezTo>
                <a:cubicBezTo>
                  <a:pt x="541411" y="86407"/>
                  <a:pt x="541801" y="88865"/>
                  <a:pt x="541182" y="89103"/>
                </a:cubicBezTo>
                <a:cubicBezTo>
                  <a:pt x="539563" y="89712"/>
                  <a:pt x="538324" y="86703"/>
                  <a:pt x="535543" y="88150"/>
                </a:cubicBezTo>
                <a:cubicBezTo>
                  <a:pt x="532190" y="87560"/>
                  <a:pt x="532209" y="84569"/>
                  <a:pt x="529361" y="83616"/>
                </a:cubicBezTo>
                <a:cubicBezTo>
                  <a:pt x="526142" y="84197"/>
                  <a:pt x="523161" y="85121"/>
                  <a:pt x="519770" y="85521"/>
                </a:cubicBezTo>
                <a:cubicBezTo>
                  <a:pt x="517484" y="82759"/>
                  <a:pt x="514131" y="86960"/>
                  <a:pt x="514521" y="82302"/>
                </a:cubicBezTo>
                <a:cubicBezTo>
                  <a:pt x="509572" y="81260"/>
                  <a:pt x="504469" y="81182"/>
                  <a:pt x="499491" y="82073"/>
                </a:cubicBezTo>
                <a:cubicBezTo>
                  <a:pt x="499005" y="79806"/>
                  <a:pt x="496253" y="80721"/>
                  <a:pt x="498929" y="78502"/>
                </a:cubicBezTo>
                <a:cubicBezTo>
                  <a:pt x="496510" y="77882"/>
                  <a:pt x="495186" y="78816"/>
                  <a:pt x="494976" y="81359"/>
                </a:cubicBezTo>
                <a:cubicBezTo>
                  <a:pt x="492290" y="81702"/>
                  <a:pt x="492662" y="78787"/>
                  <a:pt x="490852" y="78340"/>
                </a:cubicBezTo>
                <a:cubicBezTo>
                  <a:pt x="486318" y="77225"/>
                  <a:pt x="481565" y="81083"/>
                  <a:pt x="478469" y="83188"/>
                </a:cubicBezTo>
                <a:cubicBezTo>
                  <a:pt x="477322" y="82032"/>
                  <a:pt x="475781" y="81352"/>
                  <a:pt x="474155" y="81283"/>
                </a:cubicBezTo>
                <a:cubicBezTo>
                  <a:pt x="475526" y="79316"/>
                  <a:pt x="475945" y="76838"/>
                  <a:pt x="475298" y="74530"/>
                </a:cubicBezTo>
                <a:cubicBezTo>
                  <a:pt x="473678" y="75968"/>
                  <a:pt x="470735" y="75558"/>
                  <a:pt x="469087" y="76949"/>
                </a:cubicBezTo>
                <a:cubicBezTo>
                  <a:pt x="467230" y="75568"/>
                  <a:pt x="468992" y="73901"/>
                  <a:pt x="464772" y="75044"/>
                </a:cubicBezTo>
                <a:cubicBezTo>
                  <a:pt x="462610" y="75634"/>
                  <a:pt x="461820" y="77501"/>
                  <a:pt x="459877" y="76530"/>
                </a:cubicBezTo>
                <a:lnTo>
                  <a:pt x="460648" y="72025"/>
                </a:lnTo>
                <a:cubicBezTo>
                  <a:pt x="457791" y="70729"/>
                  <a:pt x="458076" y="73987"/>
                  <a:pt x="456695" y="74834"/>
                </a:cubicBezTo>
                <a:cubicBezTo>
                  <a:pt x="452990" y="72929"/>
                  <a:pt x="442522" y="74025"/>
                  <a:pt x="440369" y="68586"/>
                </a:cubicBezTo>
                <a:cubicBezTo>
                  <a:pt x="434559" y="70653"/>
                  <a:pt x="431883" y="67976"/>
                  <a:pt x="426463" y="68538"/>
                </a:cubicBezTo>
                <a:cubicBezTo>
                  <a:pt x="426891" y="63938"/>
                  <a:pt x="421338" y="68443"/>
                  <a:pt x="421586" y="63081"/>
                </a:cubicBezTo>
                <a:cubicBezTo>
                  <a:pt x="419976" y="64528"/>
                  <a:pt x="417033" y="64109"/>
                  <a:pt x="415385" y="65500"/>
                </a:cubicBezTo>
                <a:cubicBezTo>
                  <a:pt x="412890" y="64290"/>
                  <a:pt x="412994" y="61242"/>
                  <a:pt x="410518" y="60033"/>
                </a:cubicBezTo>
                <a:cubicBezTo>
                  <a:pt x="406089" y="61109"/>
                  <a:pt x="412842" y="62166"/>
                  <a:pt x="410870" y="64738"/>
                </a:cubicBezTo>
                <a:cubicBezTo>
                  <a:pt x="409785" y="65062"/>
                  <a:pt x="408689" y="65386"/>
                  <a:pt x="408242" y="66643"/>
                </a:cubicBezTo>
                <a:cubicBezTo>
                  <a:pt x="407060" y="67681"/>
                  <a:pt x="403374" y="62166"/>
                  <a:pt x="400545" y="64185"/>
                </a:cubicBezTo>
                <a:cubicBezTo>
                  <a:pt x="398345" y="65728"/>
                  <a:pt x="400155" y="62909"/>
                  <a:pt x="396221" y="62280"/>
                </a:cubicBezTo>
                <a:cubicBezTo>
                  <a:pt x="396069" y="63376"/>
                  <a:pt x="397450" y="63385"/>
                  <a:pt x="398288" y="63785"/>
                </a:cubicBezTo>
                <a:cubicBezTo>
                  <a:pt x="396812" y="67872"/>
                  <a:pt x="394678" y="62319"/>
                  <a:pt x="393202" y="66405"/>
                </a:cubicBezTo>
                <a:cubicBezTo>
                  <a:pt x="391297" y="63547"/>
                  <a:pt x="389896" y="66405"/>
                  <a:pt x="386448" y="65252"/>
                </a:cubicBezTo>
                <a:lnTo>
                  <a:pt x="387020" y="61880"/>
                </a:lnTo>
                <a:cubicBezTo>
                  <a:pt x="383877" y="62099"/>
                  <a:pt x="382181" y="64376"/>
                  <a:pt x="379495" y="65233"/>
                </a:cubicBezTo>
                <a:cubicBezTo>
                  <a:pt x="375752" y="66129"/>
                  <a:pt x="373780" y="60842"/>
                  <a:pt x="371608" y="63900"/>
                </a:cubicBezTo>
                <a:cubicBezTo>
                  <a:pt x="368008" y="62814"/>
                  <a:pt x="369608" y="58042"/>
                  <a:pt x="368437" y="55251"/>
                </a:cubicBezTo>
                <a:cubicBezTo>
                  <a:pt x="366282" y="57177"/>
                  <a:pt x="365338" y="60117"/>
                  <a:pt x="365970" y="62938"/>
                </a:cubicBezTo>
                <a:cubicBezTo>
                  <a:pt x="363331" y="61985"/>
                  <a:pt x="363169" y="64585"/>
                  <a:pt x="360150" y="63119"/>
                </a:cubicBezTo>
                <a:cubicBezTo>
                  <a:pt x="360150" y="61052"/>
                  <a:pt x="361598" y="60985"/>
                  <a:pt x="361464" y="62166"/>
                </a:cubicBezTo>
                <a:cubicBezTo>
                  <a:pt x="364693" y="61671"/>
                  <a:pt x="359312" y="59213"/>
                  <a:pt x="359969" y="57280"/>
                </a:cubicBezTo>
                <a:cubicBezTo>
                  <a:pt x="358064" y="58766"/>
                  <a:pt x="353939" y="57175"/>
                  <a:pt x="353568" y="60833"/>
                </a:cubicBezTo>
                <a:cubicBezTo>
                  <a:pt x="351939" y="58375"/>
                  <a:pt x="350053" y="61614"/>
                  <a:pt x="348129" y="58747"/>
                </a:cubicBezTo>
                <a:cubicBezTo>
                  <a:pt x="346300" y="59423"/>
                  <a:pt x="345881" y="62099"/>
                  <a:pt x="344919" y="63995"/>
                </a:cubicBezTo>
                <a:cubicBezTo>
                  <a:pt x="343833" y="63785"/>
                  <a:pt x="344281" y="62471"/>
                  <a:pt x="344176" y="61557"/>
                </a:cubicBezTo>
                <a:cubicBezTo>
                  <a:pt x="340766" y="59547"/>
                  <a:pt x="342700" y="65052"/>
                  <a:pt x="339290" y="63042"/>
                </a:cubicBezTo>
                <a:lnTo>
                  <a:pt x="339671" y="60795"/>
                </a:lnTo>
                <a:cubicBezTo>
                  <a:pt x="336877" y="60325"/>
                  <a:pt x="334007" y="60655"/>
                  <a:pt x="331394" y="61747"/>
                </a:cubicBezTo>
                <a:cubicBezTo>
                  <a:pt x="329889" y="61080"/>
                  <a:pt x="331632" y="59747"/>
                  <a:pt x="332908" y="59680"/>
                </a:cubicBezTo>
                <a:cubicBezTo>
                  <a:pt x="333642" y="57451"/>
                  <a:pt x="329613" y="59356"/>
                  <a:pt x="329336" y="60233"/>
                </a:cubicBezTo>
                <a:cubicBezTo>
                  <a:pt x="327193" y="59185"/>
                  <a:pt x="328270" y="57213"/>
                  <a:pt x="328032" y="54222"/>
                </a:cubicBezTo>
                <a:cubicBezTo>
                  <a:pt x="327974" y="53432"/>
                  <a:pt x="327079" y="53003"/>
                  <a:pt x="327079" y="52898"/>
                </a:cubicBezTo>
                <a:cubicBezTo>
                  <a:pt x="327079" y="52098"/>
                  <a:pt x="328470" y="51879"/>
                  <a:pt x="328574" y="50831"/>
                </a:cubicBezTo>
                <a:cubicBezTo>
                  <a:pt x="328574" y="50584"/>
                  <a:pt x="327174" y="49422"/>
                  <a:pt x="327841" y="48393"/>
                </a:cubicBezTo>
                <a:cubicBezTo>
                  <a:pt x="328022" y="48098"/>
                  <a:pt x="330756" y="49041"/>
                  <a:pt x="330279" y="47650"/>
                </a:cubicBezTo>
                <a:cubicBezTo>
                  <a:pt x="330194" y="45402"/>
                  <a:pt x="326069" y="46012"/>
                  <a:pt x="327660" y="42564"/>
                </a:cubicBezTo>
                <a:lnTo>
                  <a:pt x="324288" y="41992"/>
                </a:lnTo>
                <a:cubicBezTo>
                  <a:pt x="320735" y="44431"/>
                  <a:pt x="322040" y="45602"/>
                  <a:pt x="321821" y="49688"/>
                </a:cubicBezTo>
                <a:cubicBezTo>
                  <a:pt x="320243" y="49631"/>
                  <a:pt x="318955" y="48405"/>
                  <a:pt x="318821" y="46831"/>
                </a:cubicBezTo>
                <a:cubicBezTo>
                  <a:pt x="315335" y="47250"/>
                  <a:pt x="321154" y="48964"/>
                  <a:pt x="319183" y="51536"/>
                </a:cubicBezTo>
                <a:cubicBezTo>
                  <a:pt x="314801" y="51012"/>
                  <a:pt x="313011" y="48679"/>
                  <a:pt x="313382" y="44754"/>
                </a:cubicBezTo>
                <a:cubicBezTo>
                  <a:pt x="314658" y="45154"/>
                  <a:pt x="315430" y="44840"/>
                  <a:pt x="315830" y="44002"/>
                </a:cubicBezTo>
                <a:cubicBezTo>
                  <a:pt x="316421" y="42297"/>
                  <a:pt x="313211" y="43183"/>
                  <a:pt x="312630" y="42307"/>
                </a:cubicBezTo>
                <a:cubicBezTo>
                  <a:pt x="311744" y="40963"/>
                  <a:pt x="316906" y="37925"/>
                  <a:pt x="310953" y="38544"/>
                </a:cubicBezTo>
                <a:cubicBezTo>
                  <a:pt x="312725" y="34467"/>
                  <a:pt x="311906" y="33267"/>
                  <a:pt x="313420" y="30848"/>
                </a:cubicBezTo>
                <a:cubicBezTo>
                  <a:pt x="315706" y="31905"/>
                  <a:pt x="318907" y="35763"/>
                  <a:pt x="320183" y="31991"/>
                </a:cubicBezTo>
                <a:cubicBezTo>
                  <a:pt x="321650" y="32601"/>
                  <a:pt x="320640" y="34972"/>
                  <a:pt x="320535" y="36687"/>
                </a:cubicBezTo>
                <a:cubicBezTo>
                  <a:pt x="323488" y="36182"/>
                  <a:pt x="323917" y="32134"/>
                  <a:pt x="328070" y="33334"/>
                </a:cubicBezTo>
                <a:lnTo>
                  <a:pt x="328841" y="28829"/>
                </a:lnTo>
                <a:cubicBezTo>
                  <a:pt x="333023" y="30543"/>
                  <a:pt x="333308" y="26752"/>
                  <a:pt x="336166" y="26590"/>
                </a:cubicBezTo>
                <a:cubicBezTo>
                  <a:pt x="335547" y="24028"/>
                  <a:pt x="331280" y="27943"/>
                  <a:pt x="328089" y="26381"/>
                </a:cubicBezTo>
                <a:cubicBezTo>
                  <a:pt x="328889" y="25485"/>
                  <a:pt x="332308" y="22018"/>
                  <a:pt x="329603" y="24314"/>
                </a:cubicBezTo>
                <a:cubicBezTo>
                  <a:pt x="326984" y="23142"/>
                  <a:pt x="329975" y="18523"/>
                  <a:pt x="332623" y="20189"/>
                </a:cubicBezTo>
                <a:cubicBezTo>
                  <a:pt x="333727" y="19075"/>
                  <a:pt x="331822" y="17932"/>
                  <a:pt x="331870" y="17742"/>
                </a:cubicBezTo>
                <a:cubicBezTo>
                  <a:pt x="332080" y="16856"/>
                  <a:pt x="334823" y="17037"/>
                  <a:pt x="334509" y="15837"/>
                </a:cubicBezTo>
                <a:cubicBezTo>
                  <a:pt x="334194" y="14636"/>
                  <a:pt x="332908" y="14455"/>
                  <a:pt x="331327" y="14141"/>
                </a:cubicBezTo>
                <a:cubicBezTo>
                  <a:pt x="331546" y="11655"/>
                  <a:pt x="335404" y="14303"/>
                  <a:pt x="337147" y="13960"/>
                </a:cubicBezTo>
                <a:cubicBezTo>
                  <a:pt x="338342" y="13228"/>
                  <a:pt x="339327" y="12197"/>
                  <a:pt x="340004" y="10969"/>
                </a:cubicBezTo>
                <a:cubicBezTo>
                  <a:pt x="344234" y="10874"/>
                  <a:pt x="349720" y="12560"/>
                  <a:pt x="351844" y="9502"/>
                </a:cubicBezTo>
                <a:cubicBezTo>
                  <a:pt x="354835" y="7283"/>
                  <a:pt x="350406" y="12303"/>
                  <a:pt x="350891" y="15132"/>
                </a:cubicBezTo>
                <a:cubicBezTo>
                  <a:pt x="354882" y="13455"/>
                  <a:pt x="355083" y="14522"/>
                  <a:pt x="359159" y="14179"/>
                </a:cubicBezTo>
                <a:cubicBezTo>
                  <a:pt x="362283" y="13465"/>
                  <a:pt x="364046" y="10817"/>
                  <a:pt x="367808" y="11007"/>
                </a:cubicBezTo>
                <a:cubicBezTo>
                  <a:pt x="367141" y="13798"/>
                  <a:pt x="368951" y="14817"/>
                  <a:pt x="370427" y="16094"/>
                </a:cubicBezTo>
                <a:cubicBezTo>
                  <a:pt x="371380" y="16027"/>
                  <a:pt x="371742" y="15141"/>
                  <a:pt x="372866" y="15341"/>
                </a:cubicBezTo>
                <a:cubicBezTo>
                  <a:pt x="374028" y="11884"/>
                  <a:pt x="371513" y="11017"/>
                  <a:pt x="373075" y="7264"/>
                </a:cubicBezTo>
                <a:cubicBezTo>
                  <a:pt x="373932" y="8645"/>
                  <a:pt x="377180" y="8321"/>
                  <a:pt x="375933" y="11217"/>
                </a:cubicBezTo>
                <a:cubicBezTo>
                  <a:pt x="377200" y="10198"/>
                  <a:pt x="380152" y="11579"/>
                  <a:pt x="379895" y="8417"/>
                </a:cubicBezTo>
                <a:cubicBezTo>
                  <a:pt x="380162" y="6740"/>
                  <a:pt x="378533" y="8055"/>
                  <a:pt x="378762" y="8226"/>
                </a:cubicBezTo>
                <a:cubicBezTo>
                  <a:pt x="376586" y="6140"/>
                  <a:pt x="376514" y="2685"/>
                  <a:pt x="378601" y="509"/>
                </a:cubicBezTo>
                <a:cubicBezTo>
                  <a:pt x="378722" y="383"/>
                  <a:pt x="378848" y="263"/>
                  <a:pt x="378981" y="149"/>
                </a:cubicBezTo>
                <a:cubicBezTo>
                  <a:pt x="381533" y="901"/>
                  <a:pt x="381048" y="3587"/>
                  <a:pt x="379343" y="4845"/>
                </a:cubicBezTo>
                <a:cubicBezTo>
                  <a:pt x="382667" y="6273"/>
                  <a:pt x="382029" y="2121"/>
                  <a:pt x="385353" y="3540"/>
                </a:cubicBezTo>
                <a:cubicBezTo>
                  <a:pt x="385201" y="4645"/>
                  <a:pt x="386591" y="4654"/>
                  <a:pt x="387420" y="5054"/>
                </a:cubicBezTo>
                <a:cubicBezTo>
                  <a:pt x="385201" y="9255"/>
                  <a:pt x="391087" y="8483"/>
                  <a:pt x="387591" y="10884"/>
                </a:cubicBezTo>
                <a:cubicBezTo>
                  <a:pt x="393306" y="9226"/>
                  <a:pt x="392992" y="16189"/>
                  <a:pt x="399793" y="14113"/>
                </a:cubicBezTo>
                <a:cubicBezTo>
                  <a:pt x="399720" y="12090"/>
                  <a:pt x="400469" y="10125"/>
                  <a:pt x="401869" y="8664"/>
                </a:cubicBezTo>
                <a:cubicBezTo>
                  <a:pt x="404574" y="11617"/>
                  <a:pt x="406698" y="8807"/>
                  <a:pt x="409575" y="11131"/>
                </a:cubicBezTo>
                <a:cubicBezTo>
                  <a:pt x="412270" y="11048"/>
                  <a:pt x="414966" y="11118"/>
                  <a:pt x="417652" y="11341"/>
                </a:cubicBezTo>
                <a:cubicBezTo>
                  <a:pt x="416995" y="13303"/>
                  <a:pt x="418328" y="13836"/>
                  <a:pt x="418605" y="12655"/>
                </a:cubicBezTo>
                <a:cubicBezTo>
                  <a:pt x="421634" y="13674"/>
                  <a:pt x="418052" y="16208"/>
                  <a:pt x="415966" y="14560"/>
                </a:cubicBezTo>
                <a:cubicBezTo>
                  <a:pt x="416862" y="16237"/>
                  <a:pt x="416357" y="18904"/>
                  <a:pt x="417262" y="20580"/>
                </a:cubicBezTo>
                <a:cubicBezTo>
                  <a:pt x="418625" y="19531"/>
                  <a:pt x="420580" y="19786"/>
                  <a:pt x="421630" y="21149"/>
                </a:cubicBezTo>
                <a:cubicBezTo>
                  <a:pt x="421677" y="21211"/>
                  <a:pt x="421724" y="21276"/>
                  <a:pt x="421767" y="21342"/>
                </a:cubicBezTo>
                <a:cubicBezTo>
                  <a:pt x="422409" y="21338"/>
                  <a:pt x="422926" y="20815"/>
                  <a:pt x="422922" y="20173"/>
                </a:cubicBezTo>
                <a:cubicBezTo>
                  <a:pt x="422920" y="19684"/>
                  <a:pt x="422610" y="19248"/>
                  <a:pt x="422148" y="19085"/>
                </a:cubicBezTo>
                <a:cubicBezTo>
                  <a:pt x="423624" y="16980"/>
                  <a:pt x="426911" y="17389"/>
                  <a:pt x="430416" y="18132"/>
                </a:cubicBezTo>
                <a:cubicBezTo>
                  <a:pt x="429682" y="18675"/>
                  <a:pt x="429558" y="19485"/>
                  <a:pt x="428911" y="20199"/>
                </a:cubicBezTo>
                <a:cubicBezTo>
                  <a:pt x="428151" y="21148"/>
                  <a:pt x="427576" y="22230"/>
                  <a:pt x="427215" y="23390"/>
                </a:cubicBezTo>
                <a:cubicBezTo>
                  <a:pt x="426977" y="23923"/>
                  <a:pt x="425853" y="24485"/>
                  <a:pt x="425891" y="24342"/>
                </a:cubicBezTo>
                <a:cubicBezTo>
                  <a:pt x="425253" y="26924"/>
                  <a:pt x="427711" y="29267"/>
                  <a:pt x="423624" y="30915"/>
                </a:cubicBezTo>
                <a:cubicBezTo>
                  <a:pt x="425380" y="32929"/>
                  <a:pt x="426191" y="35598"/>
                  <a:pt x="425853" y="38249"/>
                </a:cubicBezTo>
                <a:cubicBezTo>
                  <a:pt x="429978" y="39411"/>
                  <a:pt x="432626" y="38468"/>
                  <a:pt x="433378" y="34887"/>
                </a:cubicBezTo>
                <a:cubicBezTo>
                  <a:pt x="437188" y="36001"/>
                  <a:pt x="434330" y="38173"/>
                  <a:pt x="438817" y="36973"/>
                </a:cubicBezTo>
                <a:cubicBezTo>
                  <a:pt x="437236" y="41068"/>
                  <a:pt x="439284" y="42592"/>
                  <a:pt x="438417" y="46174"/>
                </a:cubicBezTo>
                <a:cubicBezTo>
                  <a:pt x="439179" y="46802"/>
                  <a:pt x="440931" y="42564"/>
                  <a:pt x="440322" y="41859"/>
                </a:cubicBezTo>
                <a:cubicBezTo>
                  <a:pt x="439036" y="40382"/>
                  <a:pt x="440407" y="41516"/>
                  <a:pt x="440512" y="40735"/>
                </a:cubicBezTo>
                <a:cubicBezTo>
                  <a:pt x="440646" y="39687"/>
                  <a:pt x="438750" y="34306"/>
                  <a:pt x="441855" y="32848"/>
                </a:cubicBezTo>
                <a:cubicBezTo>
                  <a:pt x="443265" y="32772"/>
                  <a:pt x="442093" y="34753"/>
                  <a:pt x="442598" y="35287"/>
                </a:cubicBezTo>
                <a:cubicBezTo>
                  <a:pt x="443646" y="36458"/>
                  <a:pt x="446494" y="35620"/>
                  <a:pt x="446913" y="37192"/>
                </a:cubicBezTo>
                <a:cubicBezTo>
                  <a:pt x="449066" y="36506"/>
                  <a:pt x="449637" y="33591"/>
                  <a:pt x="451247" y="32134"/>
                </a:cubicBezTo>
                <a:cubicBezTo>
                  <a:pt x="455057" y="33163"/>
                  <a:pt x="457095" y="35839"/>
                  <a:pt x="459515" y="31181"/>
                </a:cubicBezTo>
                <a:cubicBezTo>
                  <a:pt x="460810" y="31591"/>
                  <a:pt x="460124" y="33401"/>
                  <a:pt x="460077" y="34753"/>
                </a:cubicBezTo>
                <a:cubicBezTo>
                  <a:pt x="460077" y="36792"/>
                  <a:pt x="467097" y="41945"/>
                  <a:pt x="467773" y="37220"/>
                </a:cubicBezTo>
                <a:cubicBezTo>
                  <a:pt x="471583" y="36849"/>
                  <a:pt x="468678" y="41202"/>
                  <a:pt x="471707" y="41364"/>
                </a:cubicBezTo>
                <a:cubicBezTo>
                  <a:pt x="474002" y="40287"/>
                  <a:pt x="471840" y="35725"/>
                  <a:pt x="474155" y="40630"/>
                </a:cubicBezTo>
                <a:cubicBezTo>
                  <a:pt x="477393" y="40116"/>
                  <a:pt x="471497" y="38020"/>
                  <a:pt x="473974" y="34801"/>
                </a:cubicBezTo>
                <a:cubicBezTo>
                  <a:pt x="474726" y="35925"/>
                  <a:pt x="476945" y="35991"/>
                  <a:pt x="476974" y="37658"/>
                </a:cubicBezTo>
                <a:cubicBezTo>
                  <a:pt x="476483" y="39173"/>
                  <a:pt x="477209" y="40813"/>
                  <a:pt x="478660" y="41468"/>
                </a:cubicBezTo>
                <a:cubicBezTo>
                  <a:pt x="478250" y="42754"/>
                  <a:pt x="476441" y="42068"/>
                  <a:pt x="475078" y="42011"/>
                </a:cubicBezTo>
                <a:cubicBezTo>
                  <a:pt x="474202" y="44288"/>
                  <a:pt x="475345" y="45135"/>
                  <a:pt x="475440" y="46717"/>
                </a:cubicBezTo>
                <a:cubicBezTo>
                  <a:pt x="476545" y="46869"/>
                  <a:pt x="476555" y="45488"/>
                  <a:pt x="476955" y="44659"/>
                </a:cubicBezTo>
                <a:cubicBezTo>
                  <a:pt x="480603" y="44659"/>
                  <a:pt x="480936" y="47860"/>
                  <a:pt x="483718" y="45802"/>
                </a:cubicBezTo>
                <a:cubicBezTo>
                  <a:pt x="483899" y="43688"/>
                  <a:pt x="480012" y="44459"/>
                  <a:pt x="479593" y="42783"/>
                </a:cubicBezTo>
                <a:cubicBezTo>
                  <a:pt x="481394" y="41592"/>
                  <a:pt x="481498" y="38077"/>
                  <a:pt x="482060" y="35087"/>
                </a:cubicBezTo>
                <a:cubicBezTo>
                  <a:pt x="483475" y="35752"/>
                  <a:pt x="484187" y="37353"/>
                  <a:pt x="483737" y="38849"/>
                </a:cubicBezTo>
                <a:cubicBezTo>
                  <a:pt x="487204" y="38458"/>
                  <a:pt x="482784" y="35763"/>
                  <a:pt x="484689" y="33220"/>
                </a:cubicBezTo>
                <a:cubicBezTo>
                  <a:pt x="488994" y="35544"/>
                  <a:pt x="488671" y="31372"/>
                  <a:pt x="491842" y="32105"/>
                </a:cubicBezTo>
                <a:lnTo>
                  <a:pt x="490890" y="37744"/>
                </a:lnTo>
                <a:cubicBezTo>
                  <a:pt x="488499" y="36696"/>
                  <a:pt x="488918" y="39649"/>
                  <a:pt x="487128" y="39420"/>
                </a:cubicBezTo>
                <a:cubicBezTo>
                  <a:pt x="487128" y="42116"/>
                  <a:pt x="490137" y="39716"/>
                  <a:pt x="491642" y="40182"/>
                </a:cubicBezTo>
                <a:cubicBezTo>
                  <a:pt x="491557" y="40182"/>
                  <a:pt x="491642" y="42087"/>
                  <a:pt x="492595" y="41506"/>
                </a:cubicBezTo>
                <a:cubicBezTo>
                  <a:pt x="495024" y="40744"/>
                  <a:pt x="497729" y="40373"/>
                  <a:pt x="498986" y="37954"/>
                </a:cubicBezTo>
                <a:cubicBezTo>
                  <a:pt x="500646" y="39046"/>
                  <a:pt x="502689" y="39392"/>
                  <a:pt x="504615" y="38906"/>
                </a:cubicBezTo>
                <a:cubicBezTo>
                  <a:pt x="505209" y="39997"/>
                  <a:pt x="505407" y="41258"/>
                  <a:pt x="505177" y="42478"/>
                </a:cubicBezTo>
                <a:cubicBezTo>
                  <a:pt x="507883" y="42630"/>
                  <a:pt x="506711" y="37611"/>
                  <a:pt x="504806" y="37782"/>
                </a:cubicBezTo>
                <a:cubicBezTo>
                  <a:pt x="504873" y="35982"/>
                  <a:pt x="507483" y="37849"/>
                  <a:pt x="508387" y="37230"/>
                </a:cubicBezTo>
                <a:cubicBezTo>
                  <a:pt x="509464" y="36487"/>
                  <a:pt x="508787" y="33096"/>
                  <a:pt x="510292" y="32915"/>
                </a:cubicBezTo>
                <a:cubicBezTo>
                  <a:pt x="511164" y="34005"/>
                  <a:pt x="511742" y="35300"/>
                  <a:pt x="511969" y="36677"/>
                </a:cubicBezTo>
                <a:cubicBezTo>
                  <a:pt x="515636" y="36496"/>
                  <a:pt x="513950" y="33915"/>
                  <a:pt x="514045" y="31229"/>
                </a:cubicBezTo>
                <a:cubicBezTo>
                  <a:pt x="515836" y="33705"/>
                  <a:pt x="516903" y="31839"/>
                  <a:pt x="519684" y="32181"/>
                </a:cubicBezTo>
                <a:cubicBezTo>
                  <a:pt x="521341" y="33315"/>
                  <a:pt x="518493" y="37649"/>
                  <a:pt x="522303" y="37258"/>
                </a:cubicBezTo>
                <a:cubicBezTo>
                  <a:pt x="521970" y="40325"/>
                  <a:pt x="520313" y="38716"/>
                  <a:pt x="521541" y="41764"/>
                </a:cubicBezTo>
                <a:cubicBezTo>
                  <a:pt x="522703" y="44621"/>
                  <a:pt x="523103" y="42983"/>
                  <a:pt x="525656" y="44783"/>
                </a:cubicBezTo>
                <a:cubicBezTo>
                  <a:pt x="525932" y="44974"/>
                  <a:pt x="525008" y="46840"/>
                  <a:pt x="525275" y="47040"/>
                </a:cubicBezTo>
                <a:cubicBezTo>
                  <a:pt x="526380" y="47831"/>
                  <a:pt x="526228" y="46088"/>
                  <a:pt x="526599" y="46088"/>
                </a:cubicBezTo>
                <a:cubicBezTo>
                  <a:pt x="528180" y="45945"/>
                  <a:pt x="529076" y="51574"/>
                  <a:pt x="529971" y="46659"/>
                </a:cubicBezTo>
                <a:cubicBezTo>
                  <a:pt x="533648" y="48012"/>
                  <a:pt x="535210" y="50879"/>
                  <a:pt x="540858" y="50822"/>
                </a:cubicBezTo>
                <a:cubicBezTo>
                  <a:pt x="540003" y="48583"/>
                  <a:pt x="540003" y="46108"/>
                  <a:pt x="540858" y="43869"/>
                </a:cubicBezTo>
                <a:cubicBezTo>
                  <a:pt x="543763" y="45650"/>
                  <a:pt x="546887" y="46726"/>
                  <a:pt x="547078" y="41449"/>
                </a:cubicBezTo>
                <a:cubicBezTo>
                  <a:pt x="550288" y="41144"/>
                  <a:pt x="548983" y="44069"/>
                  <a:pt x="551193" y="44469"/>
                </a:cubicBezTo>
                <a:cubicBezTo>
                  <a:pt x="554165" y="45621"/>
                  <a:pt x="552841" y="41525"/>
                  <a:pt x="554212" y="40335"/>
                </a:cubicBezTo>
                <a:cubicBezTo>
                  <a:pt x="554593" y="40021"/>
                  <a:pt x="556022" y="40944"/>
                  <a:pt x="556470" y="40725"/>
                </a:cubicBezTo>
                <a:cubicBezTo>
                  <a:pt x="558737" y="39640"/>
                  <a:pt x="560280" y="35963"/>
                  <a:pt x="562127" y="34725"/>
                </a:cubicBezTo>
                <a:cubicBezTo>
                  <a:pt x="564680" y="35887"/>
                  <a:pt x="560765" y="41630"/>
                  <a:pt x="563080" y="42992"/>
                </a:cubicBezTo>
                <a:cubicBezTo>
                  <a:pt x="567157" y="44735"/>
                  <a:pt x="563566" y="39525"/>
                  <a:pt x="564985" y="38677"/>
                </a:cubicBezTo>
                <a:cubicBezTo>
                  <a:pt x="565261" y="38516"/>
                  <a:pt x="567957" y="44764"/>
                  <a:pt x="568376" y="39249"/>
                </a:cubicBezTo>
                <a:cubicBezTo>
                  <a:pt x="570776" y="40954"/>
                  <a:pt x="571433" y="39525"/>
                  <a:pt x="573624" y="42468"/>
                </a:cubicBezTo>
                <a:cubicBezTo>
                  <a:pt x="571195" y="45012"/>
                  <a:pt x="574243" y="46631"/>
                  <a:pt x="571538" y="47907"/>
                </a:cubicBezTo>
                <a:cubicBezTo>
                  <a:pt x="571748" y="49660"/>
                  <a:pt x="573053" y="47707"/>
                  <a:pt x="574920" y="48479"/>
                </a:cubicBezTo>
                <a:cubicBezTo>
                  <a:pt x="573967" y="50793"/>
                  <a:pt x="576158" y="50898"/>
                  <a:pt x="577920" y="51336"/>
                </a:cubicBezTo>
                <a:cubicBezTo>
                  <a:pt x="577606" y="53241"/>
                  <a:pt x="577282" y="55089"/>
                  <a:pt x="576967" y="56975"/>
                </a:cubicBezTo>
                <a:cubicBezTo>
                  <a:pt x="582454" y="59690"/>
                  <a:pt x="577329" y="53708"/>
                  <a:pt x="579977" y="52851"/>
                </a:cubicBezTo>
                <a:cubicBezTo>
                  <a:pt x="581587" y="52327"/>
                  <a:pt x="580101" y="56070"/>
                  <a:pt x="580530" y="56413"/>
                </a:cubicBezTo>
                <a:cubicBezTo>
                  <a:pt x="582492" y="58004"/>
                  <a:pt x="582930" y="54794"/>
                  <a:pt x="584492" y="53613"/>
                </a:cubicBezTo>
                <a:cubicBezTo>
                  <a:pt x="585302" y="52994"/>
                  <a:pt x="587550" y="54127"/>
                  <a:pt x="587121" y="51708"/>
                </a:cubicBezTo>
                <a:cubicBezTo>
                  <a:pt x="589607" y="51927"/>
                  <a:pt x="590560" y="53241"/>
                  <a:pt x="589931" y="55670"/>
                </a:cubicBezTo>
                <a:cubicBezTo>
                  <a:pt x="593541" y="54908"/>
                  <a:pt x="596475" y="57451"/>
                  <a:pt x="599523" y="53765"/>
                </a:cubicBezTo>
                <a:cubicBezTo>
                  <a:pt x="601580" y="54613"/>
                  <a:pt x="601942" y="56680"/>
                  <a:pt x="604771" y="56975"/>
                </a:cubicBezTo>
                <a:cubicBezTo>
                  <a:pt x="603599" y="58621"/>
                  <a:pt x="601315" y="59005"/>
                  <a:pt x="599670" y="57833"/>
                </a:cubicBezTo>
                <a:cubicBezTo>
                  <a:pt x="599397" y="57639"/>
                  <a:pt x="599152" y="57407"/>
                  <a:pt x="598942" y="57146"/>
                </a:cubicBezTo>
                <a:cubicBezTo>
                  <a:pt x="598479" y="58646"/>
                  <a:pt x="599201" y="60256"/>
                  <a:pt x="600627" y="60909"/>
                </a:cubicBezTo>
                <a:cubicBezTo>
                  <a:pt x="603152" y="59194"/>
                  <a:pt x="601866" y="59004"/>
                  <a:pt x="605333" y="60547"/>
                </a:cubicBezTo>
                <a:cubicBezTo>
                  <a:pt x="606903" y="60405"/>
                  <a:pt x="608125" y="59122"/>
                  <a:pt x="608190" y="57547"/>
                </a:cubicBezTo>
                <a:cubicBezTo>
                  <a:pt x="612572" y="58585"/>
                  <a:pt x="615744" y="59890"/>
                  <a:pt x="616058" y="65833"/>
                </a:cubicBezTo>
                <a:cubicBezTo>
                  <a:pt x="618173" y="66662"/>
                  <a:pt x="618582" y="60985"/>
                  <a:pt x="615515" y="62271"/>
                </a:cubicBezTo>
                <a:cubicBezTo>
                  <a:pt x="618487" y="57213"/>
                  <a:pt x="618439" y="65205"/>
                  <a:pt x="621887" y="65671"/>
                </a:cubicBezTo>
                <a:cubicBezTo>
                  <a:pt x="622840" y="61680"/>
                  <a:pt x="619201" y="60966"/>
                  <a:pt x="619839" y="57204"/>
                </a:cubicBezTo>
                <a:cubicBezTo>
                  <a:pt x="622697" y="57042"/>
                  <a:pt x="621421" y="59594"/>
                  <a:pt x="625278" y="59290"/>
                </a:cubicBezTo>
                <a:cubicBezTo>
                  <a:pt x="627059" y="59156"/>
                  <a:pt x="626897" y="58575"/>
                  <a:pt x="630927" y="60242"/>
                </a:cubicBezTo>
                <a:cubicBezTo>
                  <a:pt x="632601" y="61256"/>
                  <a:pt x="634442" y="61962"/>
                  <a:pt x="636365" y="62328"/>
                </a:cubicBezTo>
                <a:cubicBezTo>
                  <a:pt x="638594" y="63061"/>
                  <a:pt x="636689" y="59032"/>
                  <a:pt x="635803" y="58756"/>
                </a:cubicBezTo>
                <a:cubicBezTo>
                  <a:pt x="637527" y="55470"/>
                  <a:pt x="638661" y="60528"/>
                  <a:pt x="638813" y="61614"/>
                </a:cubicBezTo>
                <a:cubicBezTo>
                  <a:pt x="640966" y="60956"/>
                  <a:pt x="642709" y="58604"/>
                  <a:pt x="644643" y="61442"/>
                </a:cubicBezTo>
                <a:cubicBezTo>
                  <a:pt x="646395" y="61233"/>
                  <a:pt x="644433" y="59928"/>
                  <a:pt x="645214" y="58061"/>
                </a:cubicBezTo>
                <a:cubicBezTo>
                  <a:pt x="646166" y="59347"/>
                  <a:pt x="647919" y="59013"/>
                  <a:pt x="649719" y="58823"/>
                </a:cubicBezTo>
                <a:cubicBezTo>
                  <a:pt x="651520" y="58632"/>
                  <a:pt x="653777" y="58461"/>
                  <a:pt x="654606" y="57337"/>
                </a:cubicBezTo>
                <a:cubicBezTo>
                  <a:pt x="657158" y="58099"/>
                  <a:pt x="656692" y="60785"/>
                  <a:pt x="654968" y="62042"/>
                </a:cubicBezTo>
                <a:cubicBezTo>
                  <a:pt x="659330" y="63538"/>
                  <a:pt x="658921" y="58299"/>
                  <a:pt x="659730" y="54718"/>
                </a:cubicBezTo>
                <a:cubicBezTo>
                  <a:pt x="659730" y="55251"/>
                  <a:pt x="661711" y="55842"/>
                  <a:pt x="661787" y="56232"/>
                </a:cubicBezTo>
                <a:cubicBezTo>
                  <a:pt x="662121" y="57966"/>
                  <a:pt x="660397" y="57766"/>
                  <a:pt x="660283" y="58289"/>
                </a:cubicBezTo>
                <a:cubicBezTo>
                  <a:pt x="659616" y="61271"/>
                  <a:pt x="661549" y="61414"/>
                  <a:pt x="658197" y="63738"/>
                </a:cubicBezTo>
                <a:cubicBezTo>
                  <a:pt x="657368" y="64824"/>
                  <a:pt x="660264" y="64862"/>
                  <a:pt x="660264" y="65243"/>
                </a:cubicBezTo>
                <a:cubicBezTo>
                  <a:pt x="660264" y="66624"/>
                  <a:pt x="657939" y="66490"/>
                  <a:pt x="657625" y="67148"/>
                </a:cubicBezTo>
                <a:cubicBezTo>
                  <a:pt x="656720" y="68938"/>
                  <a:pt x="658911" y="69910"/>
                  <a:pt x="657987" y="71844"/>
                </a:cubicBezTo>
                <a:cubicBezTo>
                  <a:pt x="656339" y="72720"/>
                  <a:pt x="653434" y="69939"/>
                  <a:pt x="653663" y="69939"/>
                </a:cubicBezTo>
                <a:cubicBezTo>
                  <a:pt x="652082" y="70081"/>
                  <a:pt x="650634" y="74149"/>
                  <a:pt x="651605" y="68424"/>
                </a:cubicBezTo>
                <a:cubicBezTo>
                  <a:pt x="647976" y="69157"/>
                  <a:pt x="651358" y="73691"/>
                  <a:pt x="650462" y="75187"/>
                </a:cubicBezTo>
                <a:cubicBezTo>
                  <a:pt x="650300" y="75454"/>
                  <a:pt x="647510" y="74558"/>
                  <a:pt x="648014" y="75930"/>
                </a:cubicBezTo>
                <a:cubicBezTo>
                  <a:pt x="648100" y="77520"/>
                  <a:pt x="650681" y="77339"/>
                  <a:pt x="652329" y="77835"/>
                </a:cubicBezTo>
                <a:lnTo>
                  <a:pt x="651948" y="80092"/>
                </a:lnTo>
                <a:cubicBezTo>
                  <a:pt x="653434" y="81997"/>
                  <a:pt x="655387" y="83597"/>
                  <a:pt x="655501" y="86493"/>
                </a:cubicBezTo>
                <a:cubicBezTo>
                  <a:pt x="657558" y="86493"/>
                  <a:pt x="654891" y="84664"/>
                  <a:pt x="656073" y="83112"/>
                </a:cubicBezTo>
                <a:cubicBezTo>
                  <a:pt x="656654" y="82340"/>
                  <a:pt x="657330" y="84493"/>
                  <a:pt x="657025" y="84436"/>
                </a:cubicBezTo>
                <a:cubicBezTo>
                  <a:pt x="658158" y="84636"/>
                  <a:pt x="658730" y="81473"/>
                  <a:pt x="660778" y="82750"/>
                </a:cubicBezTo>
                <a:cubicBezTo>
                  <a:pt x="660159" y="84521"/>
                  <a:pt x="661511" y="84874"/>
                  <a:pt x="661330" y="86322"/>
                </a:cubicBezTo>
                <a:cubicBezTo>
                  <a:pt x="663235" y="87017"/>
                  <a:pt x="663807" y="83664"/>
                  <a:pt x="662845" y="84255"/>
                </a:cubicBezTo>
                <a:cubicBezTo>
                  <a:pt x="666274" y="82150"/>
                  <a:pt x="668874" y="85655"/>
                  <a:pt x="670379" y="80902"/>
                </a:cubicBezTo>
                <a:cubicBezTo>
                  <a:pt x="673856" y="82178"/>
                  <a:pt x="674189" y="79378"/>
                  <a:pt x="676008" y="81854"/>
                </a:cubicBezTo>
                <a:cubicBezTo>
                  <a:pt x="674903" y="84026"/>
                  <a:pt x="670608" y="81702"/>
                  <a:pt x="669798" y="84283"/>
                </a:cubicBezTo>
                <a:cubicBezTo>
                  <a:pt x="670598" y="85721"/>
                  <a:pt x="672560" y="84474"/>
                  <a:pt x="672598" y="88236"/>
                </a:cubicBezTo>
                <a:cubicBezTo>
                  <a:pt x="676475" y="86798"/>
                  <a:pt x="673122" y="88674"/>
                  <a:pt x="674284" y="91998"/>
                </a:cubicBezTo>
                <a:cubicBezTo>
                  <a:pt x="678237" y="91608"/>
                  <a:pt x="675237" y="89998"/>
                  <a:pt x="676370" y="86550"/>
                </a:cubicBezTo>
                <a:cubicBezTo>
                  <a:pt x="680942" y="91189"/>
                  <a:pt x="676875" y="96637"/>
                  <a:pt x="672951" y="99885"/>
                </a:cubicBezTo>
                <a:cubicBezTo>
                  <a:pt x="673903" y="104648"/>
                  <a:pt x="677523" y="106553"/>
                  <a:pt x="674408" y="111725"/>
                </a:cubicBezTo>
                <a:cubicBezTo>
                  <a:pt x="675694" y="111191"/>
                  <a:pt x="676018" y="109334"/>
                  <a:pt x="678218" y="110048"/>
                </a:cubicBezTo>
                <a:cubicBezTo>
                  <a:pt x="678418" y="111953"/>
                  <a:pt x="676580" y="111801"/>
                  <a:pt x="676513" y="113239"/>
                </a:cubicBezTo>
                <a:cubicBezTo>
                  <a:pt x="676113" y="114363"/>
                  <a:pt x="679009" y="114754"/>
                  <a:pt x="677847" y="116887"/>
                </a:cubicBezTo>
                <a:close/>
                <a:moveTo>
                  <a:pt x="321974" y="41440"/>
                </a:moveTo>
                <a:cubicBezTo>
                  <a:pt x="326736" y="37554"/>
                  <a:pt x="318802" y="38163"/>
                  <a:pt x="321974" y="41440"/>
                </a:cubicBezTo>
                <a:close/>
                <a:moveTo>
                  <a:pt x="343881" y="15008"/>
                </a:moveTo>
                <a:cubicBezTo>
                  <a:pt x="343700" y="15684"/>
                  <a:pt x="343491" y="16313"/>
                  <a:pt x="342567" y="15960"/>
                </a:cubicBezTo>
                <a:lnTo>
                  <a:pt x="342186" y="18218"/>
                </a:lnTo>
                <a:cubicBezTo>
                  <a:pt x="344624" y="20418"/>
                  <a:pt x="346110" y="14932"/>
                  <a:pt x="343843" y="15008"/>
                </a:cubicBezTo>
                <a:close/>
                <a:moveTo>
                  <a:pt x="360588" y="25962"/>
                </a:moveTo>
                <a:cubicBezTo>
                  <a:pt x="360455" y="26705"/>
                  <a:pt x="360331" y="27457"/>
                  <a:pt x="360207" y="28210"/>
                </a:cubicBezTo>
                <a:cubicBezTo>
                  <a:pt x="357205" y="28803"/>
                  <a:pt x="354485" y="30382"/>
                  <a:pt x="352482" y="32696"/>
                </a:cubicBezTo>
                <a:cubicBezTo>
                  <a:pt x="352711" y="30543"/>
                  <a:pt x="348891" y="31277"/>
                  <a:pt x="349625" y="28743"/>
                </a:cubicBezTo>
                <a:cubicBezTo>
                  <a:pt x="347348" y="29467"/>
                  <a:pt x="346434" y="24733"/>
                  <a:pt x="345119" y="27981"/>
                </a:cubicBezTo>
                <a:cubicBezTo>
                  <a:pt x="346700" y="30153"/>
                  <a:pt x="349768" y="31286"/>
                  <a:pt x="351111" y="33629"/>
                </a:cubicBezTo>
                <a:cubicBezTo>
                  <a:pt x="354700" y="33022"/>
                  <a:pt x="358107" y="31619"/>
                  <a:pt x="361083" y="29524"/>
                </a:cubicBezTo>
                <a:cubicBezTo>
                  <a:pt x="357511" y="29276"/>
                  <a:pt x="364512" y="26762"/>
                  <a:pt x="360550" y="25962"/>
                </a:cubicBezTo>
                <a:close/>
                <a:moveTo>
                  <a:pt x="403060" y="21571"/>
                </a:moveTo>
                <a:cubicBezTo>
                  <a:pt x="403003" y="22266"/>
                  <a:pt x="403003" y="22933"/>
                  <a:pt x="404012" y="22885"/>
                </a:cubicBezTo>
                <a:cubicBezTo>
                  <a:pt x="403765" y="20094"/>
                  <a:pt x="403393" y="17389"/>
                  <a:pt x="400460" y="16484"/>
                </a:cubicBezTo>
                <a:cubicBezTo>
                  <a:pt x="398793" y="19942"/>
                  <a:pt x="403860" y="18665"/>
                  <a:pt x="403022" y="21571"/>
                </a:cubicBezTo>
                <a:close/>
                <a:moveTo>
                  <a:pt x="395745" y="16808"/>
                </a:moveTo>
                <a:lnTo>
                  <a:pt x="398002" y="17199"/>
                </a:lnTo>
                <a:lnTo>
                  <a:pt x="398383" y="14941"/>
                </a:lnTo>
                <a:lnTo>
                  <a:pt x="396126" y="14560"/>
                </a:lnTo>
                <a:close/>
                <a:moveTo>
                  <a:pt x="394983" y="21323"/>
                </a:moveTo>
                <a:cubicBezTo>
                  <a:pt x="393706" y="20751"/>
                  <a:pt x="393154" y="14875"/>
                  <a:pt x="390858" y="18304"/>
                </a:cubicBezTo>
                <a:cubicBezTo>
                  <a:pt x="392030" y="18561"/>
                  <a:pt x="391497" y="19894"/>
                  <a:pt x="389534" y="19256"/>
                </a:cubicBezTo>
                <a:cubicBezTo>
                  <a:pt x="388068" y="23733"/>
                  <a:pt x="393525" y="23666"/>
                  <a:pt x="394945" y="21361"/>
                </a:cubicBezTo>
                <a:close/>
                <a:moveTo>
                  <a:pt x="383553" y="20532"/>
                </a:moveTo>
                <a:cubicBezTo>
                  <a:pt x="383779" y="21912"/>
                  <a:pt x="384359" y="23208"/>
                  <a:pt x="385239" y="24295"/>
                </a:cubicBezTo>
                <a:cubicBezTo>
                  <a:pt x="385591" y="22856"/>
                  <a:pt x="384448" y="17827"/>
                  <a:pt x="383477" y="20570"/>
                </a:cubicBezTo>
                <a:close/>
                <a:moveTo>
                  <a:pt x="378495" y="16198"/>
                </a:moveTo>
                <a:cubicBezTo>
                  <a:pt x="377542" y="19837"/>
                  <a:pt x="381476" y="20332"/>
                  <a:pt x="381495" y="19056"/>
                </a:cubicBezTo>
                <a:cubicBezTo>
                  <a:pt x="381457" y="18551"/>
                  <a:pt x="378647" y="16865"/>
                  <a:pt x="378419" y="16237"/>
                </a:cubicBezTo>
                <a:close/>
                <a:moveTo>
                  <a:pt x="379800" y="22218"/>
                </a:moveTo>
                <a:lnTo>
                  <a:pt x="379228" y="25590"/>
                </a:lnTo>
                <a:cubicBezTo>
                  <a:pt x="381219" y="26085"/>
                  <a:pt x="382086" y="24923"/>
                  <a:pt x="382086" y="22599"/>
                </a:cubicBezTo>
                <a:close/>
                <a:moveTo>
                  <a:pt x="381248" y="41011"/>
                </a:moveTo>
                <a:lnTo>
                  <a:pt x="378990" y="40630"/>
                </a:lnTo>
                <a:lnTo>
                  <a:pt x="378600" y="42878"/>
                </a:lnTo>
                <a:lnTo>
                  <a:pt x="380857" y="43269"/>
                </a:lnTo>
                <a:close/>
                <a:moveTo>
                  <a:pt x="400574" y="50088"/>
                </a:moveTo>
                <a:cubicBezTo>
                  <a:pt x="399063" y="49615"/>
                  <a:pt x="397435" y="50331"/>
                  <a:pt x="396764" y="51765"/>
                </a:cubicBezTo>
                <a:cubicBezTo>
                  <a:pt x="398244" y="52202"/>
                  <a:pt x="399824" y="51511"/>
                  <a:pt x="400507" y="50127"/>
                </a:cubicBezTo>
                <a:close/>
                <a:moveTo>
                  <a:pt x="407156" y="45402"/>
                </a:moveTo>
                <a:cubicBezTo>
                  <a:pt x="402965" y="43221"/>
                  <a:pt x="403708" y="47993"/>
                  <a:pt x="401888" y="49145"/>
                </a:cubicBezTo>
                <a:lnTo>
                  <a:pt x="406394" y="49917"/>
                </a:lnTo>
                <a:cubicBezTo>
                  <a:pt x="406575" y="48431"/>
                  <a:pt x="406832" y="46945"/>
                  <a:pt x="407079" y="45440"/>
                </a:cubicBezTo>
                <a:close/>
                <a:moveTo>
                  <a:pt x="406270" y="30162"/>
                </a:moveTo>
                <a:cubicBezTo>
                  <a:pt x="406270" y="30162"/>
                  <a:pt x="408041" y="29476"/>
                  <a:pt x="407775" y="28105"/>
                </a:cubicBezTo>
                <a:cubicBezTo>
                  <a:pt x="407699" y="27714"/>
                  <a:pt x="405736" y="27152"/>
                  <a:pt x="405717" y="26590"/>
                </a:cubicBezTo>
                <a:cubicBezTo>
                  <a:pt x="404612" y="28829"/>
                  <a:pt x="402441" y="27305"/>
                  <a:pt x="400822" y="28086"/>
                </a:cubicBezTo>
                <a:cubicBezTo>
                  <a:pt x="400174" y="28390"/>
                  <a:pt x="400622" y="30715"/>
                  <a:pt x="399307" y="30143"/>
                </a:cubicBezTo>
                <a:cubicBezTo>
                  <a:pt x="398621" y="25695"/>
                  <a:pt x="393916" y="27047"/>
                  <a:pt x="392001" y="25428"/>
                </a:cubicBezTo>
                <a:cubicBezTo>
                  <a:pt x="391173" y="27990"/>
                  <a:pt x="390020" y="30086"/>
                  <a:pt x="387658" y="30486"/>
                </a:cubicBezTo>
                <a:cubicBezTo>
                  <a:pt x="385991" y="26876"/>
                  <a:pt x="380571" y="29686"/>
                  <a:pt x="377523" y="28771"/>
                </a:cubicBezTo>
                <a:cubicBezTo>
                  <a:pt x="375823" y="30523"/>
                  <a:pt x="373995" y="32147"/>
                  <a:pt x="372056" y="33629"/>
                </a:cubicBezTo>
                <a:cubicBezTo>
                  <a:pt x="372132" y="31924"/>
                  <a:pt x="369503" y="32143"/>
                  <a:pt x="367741" y="31724"/>
                </a:cubicBezTo>
                <a:cubicBezTo>
                  <a:pt x="366893" y="34639"/>
                  <a:pt x="369646" y="35029"/>
                  <a:pt x="371675" y="35868"/>
                </a:cubicBezTo>
                <a:cubicBezTo>
                  <a:pt x="371225" y="37364"/>
                  <a:pt x="371937" y="38964"/>
                  <a:pt x="373351" y="39630"/>
                </a:cubicBezTo>
                <a:cubicBezTo>
                  <a:pt x="374297" y="37514"/>
                  <a:pt x="376318" y="36080"/>
                  <a:pt x="378628" y="35887"/>
                </a:cubicBezTo>
                <a:cubicBezTo>
                  <a:pt x="379505" y="36020"/>
                  <a:pt x="380067" y="37487"/>
                  <a:pt x="380686" y="37401"/>
                </a:cubicBezTo>
                <a:cubicBezTo>
                  <a:pt x="381038" y="37354"/>
                  <a:pt x="381343" y="35496"/>
                  <a:pt x="382200" y="35334"/>
                </a:cubicBezTo>
                <a:cubicBezTo>
                  <a:pt x="383238" y="35115"/>
                  <a:pt x="384524" y="36049"/>
                  <a:pt x="385582" y="35906"/>
                </a:cubicBezTo>
                <a:cubicBezTo>
                  <a:pt x="385182" y="39830"/>
                  <a:pt x="388096" y="41392"/>
                  <a:pt x="391382" y="42688"/>
                </a:cubicBezTo>
                <a:cubicBezTo>
                  <a:pt x="390430" y="35772"/>
                  <a:pt x="397002" y="39439"/>
                  <a:pt x="401164" y="39716"/>
                </a:cubicBezTo>
                <a:cubicBezTo>
                  <a:pt x="402993" y="36953"/>
                  <a:pt x="400126" y="32715"/>
                  <a:pt x="402307" y="32953"/>
                </a:cubicBezTo>
                <a:cubicBezTo>
                  <a:pt x="403784" y="34858"/>
                  <a:pt x="404689" y="37211"/>
                  <a:pt x="407175" y="38420"/>
                </a:cubicBezTo>
                <a:cubicBezTo>
                  <a:pt x="409175" y="34591"/>
                  <a:pt x="406498" y="32591"/>
                  <a:pt x="406222" y="30219"/>
                </a:cubicBezTo>
                <a:close/>
                <a:moveTo>
                  <a:pt x="416404" y="31886"/>
                </a:moveTo>
                <a:cubicBezTo>
                  <a:pt x="416804" y="35353"/>
                  <a:pt x="419491" y="30934"/>
                  <a:pt x="422043" y="32839"/>
                </a:cubicBezTo>
                <a:cubicBezTo>
                  <a:pt x="422148" y="30667"/>
                  <a:pt x="423739" y="30572"/>
                  <a:pt x="423948" y="28524"/>
                </a:cubicBezTo>
                <a:cubicBezTo>
                  <a:pt x="420738" y="29972"/>
                  <a:pt x="420224" y="26562"/>
                  <a:pt x="418128" y="28695"/>
                </a:cubicBezTo>
                <a:cubicBezTo>
                  <a:pt x="418733" y="28910"/>
                  <a:pt x="419050" y="29573"/>
                  <a:pt x="418836" y="30178"/>
                </a:cubicBezTo>
                <a:cubicBezTo>
                  <a:pt x="418671" y="30643"/>
                  <a:pt x="418231" y="30954"/>
                  <a:pt x="417738" y="30953"/>
                </a:cubicBezTo>
                <a:cubicBezTo>
                  <a:pt x="418338" y="28543"/>
                  <a:pt x="413833" y="29762"/>
                  <a:pt x="412290" y="28867"/>
                </a:cubicBezTo>
                <a:cubicBezTo>
                  <a:pt x="412128" y="27809"/>
                  <a:pt x="411004" y="22761"/>
                  <a:pt x="409289" y="26009"/>
                </a:cubicBezTo>
                <a:cubicBezTo>
                  <a:pt x="410575" y="26428"/>
                  <a:pt x="410242" y="28000"/>
                  <a:pt x="409842" y="29581"/>
                </a:cubicBezTo>
                <a:cubicBezTo>
                  <a:pt x="415919" y="28571"/>
                  <a:pt x="410385" y="35810"/>
                  <a:pt x="414528" y="36172"/>
                </a:cubicBezTo>
                <a:cubicBezTo>
                  <a:pt x="417462" y="35229"/>
                  <a:pt x="412985" y="32515"/>
                  <a:pt x="416328" y="31943"/>
                </a:cubicBezTo>
                <a:close/>
                <a:moveTo>
                  <a:pt x="425587" y="39239"/>
                </a:moveTo>
                <a:cubicBezTo>
                  <a:pt x="423577" y="38906"/>
                  <a:pt x="419557" y="35096"/>
                  <a:pt x="417700" y="37896"/>
                </a:cubicBezTo>
                <a:cubicBezTo>
                  <a:pt x="420853" y="39420"/>
                  <a:pt x="415795" y="40487"/>
                  <a:pt x="416747" y="43535"/>
                </a:cubicBezTo>
                <a:cubicBezTo>
                  <a:pt x="421510" y="45821"/>
                  <a:pt x="422281" y="38925"/>
                  <a:pt x="425015" y="42583"/>
                </a:cubicBezTo>
                <a:close/>
                <a:moveTo>
                  <a:pt x="429720" y="42259"/>
                </a:moveTo>
                <a:cubicBezTo>
                  <a:pt x="433130" y="43383"/>
                  <a:pt x="434483" y="39944"/>
                  <a:pt x="431425" y="39068"/>
                </a:cubicBezTo>
                <a:cubicBezTo>
                  <a:pt x="431232" y="40326"/>
                  <a:pt x="430601" y="41477"/>
                  <a:pt x="429644" y="42316"/>
                </a:cubicBezTo>
                <a:close/>
                <a:moveTo>
                  <a:pt x="434045" y="44164"/>
                </a:moveTo>
                <a:lnTo>
                  <a:pt x="431787" y="43773"/>
                </a:lnTo>
                <a:lnTo>
                  <a:pt x="431406" y="46031"/>
                </a:lnTo>
                <a:lnTo>
                  <a:pt x="433664" y="46412"/>
                </a:lnTo>
                <a:close/>
                <a:moveTo>
                  <a:pt x="451685" y="49469"/>
                </a:moveTo>
                <a:lnTo>
                  <a:pt x="448304" y="48898"/>
                </a:lnTo>
                <a:cubicBezTo>
                  <a:pt x="447551" y="51412"/>
                  <a:pt x="447846" y="53184"/>
                  <a:pt x="449799" y="53794"/>
                </a:cubicBezTo>
                <a:cubicBezTo>
                  <a:pt x="450333" y="52374"/>
                  <a:pt x="451685" y="51955"/>
                  <a:pt x="451609" y="49517"/>
                </a:cubicBezTo>
                <a:close/>
                <a:moveTo>
                  <a:pt x="455105" y="36134"/>
                </a:moveTo>
                <a:cubicBezTo>
                  <a:pt x="455514" y="37144"/>
                  <a:pt x="452076" y="37449"/>
                  <a:pt x="452476" y="38039"/>
                </a:cubicBezTo>
                <a:cubicBezTo>
                  <a:pt x="453123" y="39078"/>
                  <a:pt x="458553" y="38763"/>
                  <a:pt x="455028" y="36191"/>
                </a:cubicBezTo>
                <a:close/>
                <a:moveTo>
                  <a:pt x="465582" y="49469"/>
                </a:moveTo>
                <a:cubicBezTo>
                  <a:pt x="466449" y="47907"/>
                  <a:pt x="467725" y="46917"/>
                  <a:pt x="468601" y="45345"/>
                </a:cubicBezTo>
                <a:cubicBezTo>
                  <a:pt x="466354" y="44631"/>
                  <a:pt x="466906" y="41926"/>
                  <a:pt x="464658" y="41202"/>
                </a:cubicBezTo>
                <a:cubicBezTo>
                  <a:pt x="465963" y="45526"/>
                  <a:pt x="463448" y="43850"/>
                  <a:pt x="462391" y="47774"/>
                </a:cubicBezTo>
                <a:cubicBezTo>
                  <a:pt x="463604" y="47997"/>
                  <a:pt x="464706" y="48624"/>
                  <a:pt x="465515" y="49555"/>
                </a:cubicBezTo>
                <a:close/>
                <a:moveTo>
                  <a:pt x="468944" y="57004"/>
                </a:moveTo>
                <a:lnTo>
                  <a:pt x="466687" y="56623"/>
                </a:lnTo>
                <a:lnTo>
                  <a:pt x="466306" y="58880"/>
                </a:lnTo>
                <a:lnTo>
                  <a:pt x="468563" y="59261"/>
                </a:lnTo>
                <a:close/>
                <a:moveTo>
                  <a:pt x="503301" y="66310"/>
                </a:moveTo>
                <a:cubicBezTo>
                  <a:pt x="502510" y="67995"/>
                  <a:pt x="499586" y="66671"/>
                  <a:pt x="500282" y="70434"/>
                </a:cubicBezTo>
                <a:cubicBezTo>
                  <a:pt x="502863" y="72186"/>
                  <a:pt x="505854" y="67567"/>
                  <a:pt x="503234" y="66395"/>
                </a:cubicBezTo>
                <a:close/>
                <a:moveTo>
                  <a:pt x="512778" y="37735"/>
                </a:moveTo>
                <a:cubicBezTo>
                  <a:pt x="512416" y="40382"/>
                  <a:pt x="509816" y="49641"/>
                  <a:pt x="513731" y="46012"/>
                </a:cubicBezTo>
                <a:cubicBezTo>
                  <a:pt x="511797" y="44354"/>
                  <a:pt x="515960" y="40363"/>
                  <a:pt x="512712" y="37858"/>
                </a:cubicBezTo>
                <a:close/>
                <a:moveTo>
                  <a:pt x="543906" y="59251"/>
                </a:moveTo>
                <a:cubicBezTo>
                  <a:pt x="543973" y="64128"/>
                  <a:pt x="539439" y="59509"/>
                  <a:pt x="539210" y="59613"/>
                </a:cubicBezTo>
                <a:cubicBezTo>
                  <a:pt x="538353" y="59994"/>
                  <a:pt x="538039" y="63195"/>
                  <a:pt x="537305" y="63928"/>
                </a:cubicBezTo>
                <a:cubicBezTo>
                  <a:pt x="536010" y="65181"/>
                  <a:pt x="534192" y="65733"/>
                  <a:pt x="532419" y="65414"/>
                </a:cubicBezTo>
                <a:cubicBezTo>
                  <a:pt x="532019" y="69005"/>
                  <a:pt x="532067" y="72272"/>
                  <a:pt x="535772" y="72939"/>
                </a:cubicBezTo>
                <a:cubicBezTo>
                  <a:pt x="537210" y="69615"/>
                  <a:pt x="533057" y="70253"/>
                  <a:pt x="534486" y="66929"/>
                </a:cubicBezTo>
                <a:cubicBezTo>
                  <a:pt x="536829" y="66929"/>
                  <a:pt x="537867" y="65176"/>
                  <a:pt x="539563" y="64309"/>
                </a:cubicBezTo>
                <a:cubicBezTo>
                  <a:pt x="542906" y="63919"/>
                  <a:pt x="542211" y="66395"/>
                  <a:pt x="545011" y="66395"/>
                </a:cubicBezTo>
                <a:cubicBezTo>
                  <a:pt x="546671" y="64403"/>
                  <a:pt x="546402" y="61441"/>
                  <a:pt x="544409" y="59782"/>
                </a:cubicBezTo>
                <a:cubicBezTo>
                  <a:pt x="544229" y="59632"/>
                  <a:pt x="544039" y="59496"/>
                  <a:pt x="543839" y="59375"/>
                </a:cubicBezTo>
                <a:close/>
                <a:moveTo>
                  <a:pt x="547888" y="49488"/>
                </a:moveTo>
                <a:cubicBezTo>
                  <a:pt x="545649" y="49603"/>
                  <a:pt x="542963" y="49069"/>
                  <a:pt x="542801" y="52108"/>
                </a:cubicBezTo>
                <a:cubicBezTo>
                  <a:pt x="544030" y="52284"/>
                  <a:pt x="545159" y="52883"/>
                  <a:pt x="545992" y="53803"/>
                </a:cubicBezTo>
                <a:cubicBezTo>
                  <a:pt x="546030" y="51755"/>
                  <a:pt x="547611" y="51660"/>
                  <a:pt x="547821" y="49612"/>
                </a:cubicBezTo>
                <a:close/>
                <a:moveTo>
                  <a:pt x="51454" y="597243"/>
                </a:moveTo>
                <a:cubicBezTo>
                  <a:pt x="50787" y="597062"/>
                  <a:pt x="50159" y="596843"/>
                  <a:pt x="50502" y="595919"/>
                </a:cubicBezTo>
                <a:lnTo>
                  <a:pt x="48244" y="595538"/>
                </a:lnTo>
                <a:cubicBezTo>
                  <a:pt x="46053" y="598024"/>
                  <a:pt x="51530" y="599500"/>
                  <a:pt x="51454" y="597243"/>
                </a:cubicBezTo>
                <a:close/>
                <a:moveTo>
                  <a:pt x="9658" y="754767"/>
                </a:moveTo>
                <a:cubicBezTo>
                  <a:pt x="8915" y="757291"/>
                  <a:pt x="9211" y="759053"/>
                  <a:pt x="11154" y="759663"/>
                </a:cubicBezTo>
                <a:cubicBezTo>
                  <a:pt x="11887" y="757148"/>
                  <a:pt x="11592" y="755377"/>
                  <a:pt x="9658" y="754767"/>
                </a:cubicBezTo>
                <a:close/>
                <a:moveTo>
                  <a:pt x="20355" y="760063"/>
                </a:moveTo>
                <a:cubicBezTo>
                  <a:pt x="19149" y="759610"/>
                  <a:pt x="17796" y="759820"/>
                  <a:pt x="16783" y="760615"/>
                </a:cubicBezTo>
                <a:cubicBezTo>
                  <a:pt x="16002" y="760968"/>
                  <a:pt x="15021" y="762187"/>
                  <a:pt x="14145" y="762520"/>
                </a:cubicBezTo>
                <a:cubicBezTo>
                  <a:pt x="16650" y="766026"/>
                  <a:pt x="18555" y="761596"/>
                  <a:pt x="20355" y="760063"/>
                </a:cubicBezTo>
                <a:close/>
                <a:moveTo>
                  <a:pt x="26813" y="674214"/>
                </a:moveTo>
                <a:cubicBezTo>
                  <a:pt x="25317" y="673947"/>
                  <a:pt x="26108" y="672061"/>
                  <a:pt x="24908" y="671566"/>
                </a:cubicBezTo>
                <a:cubicBezTo>
                  <a:pt x="25098" y="673909"/>
                  <a:pt x="18240" y="673100"/>
                  <a:pt x="21888" y="675700"/>
                </a:cubicBezTo>
                <a:cubicBezTo>
                  <a:pt x="21631" y="672500"/>
                  <a:pt x="27127" y="677405"/>
                  <a:pt x="26813" y="674224"/>
                </a:cubicBezTo>
                <a:close/>
                <a:moveTo>
                  <a:pt x="26175" y="691492"/>
                </a:moveTo>
                <a:cubicBezTo>
                  <a:pt x="26108" y="692674"/>
                  <a:pt x="20926" y="692950"/>
                  <a:pt x="24470" y="694683"/>
                </a:cubicBezTo>
                <a:cubicBezTo>
                  <a:pt x="24165" y="692959"/>
                  <a:pt x="29347" y="692683"/>
                  <a:pt x="26175" y="691492"/>
                </a:cubicBezTo>
                <a:close/>
                <a:moveTo>
                  <a:pt x="27889" y="681348"/>
                </a:moveTo>
                <a:cubicBezTo>
                  <a:pt x="27436" y="682848"/>
                  <a:pt x="28154" y="684452"/>
                  <a:pt x="29575" y="685111"/>
                </a:cubicBezTo>
                <a:cubicBezTo>
                  <a:pt x="29785" y="683320"/>
                  <a:pt x="30413" y="681234"/>
                  <a:pt x="27908" y="681348"/>
                </a:cubicBezTo>
                <a:close/>
                <a:moveTo>
                  <a:pt x="40072" y="637076"/>
                </a:moveTo>
                <a:cubicBezTo>
                  <a:pt x="39472" y="639934"/>
                  <a:pt x="35042" y="637448"/>
                  <a:pt x="35728" y="642143"/>
                </a:cubicBezTo>
                <a:cubicBezTo>
                  <a:pt x="38633" y="643267"/>
                  <a:pt x="42253" y="638438"/>
                  <a:pt x="40072" y="637076"/>
                </a:cubicBezTo>
                <a:close/>
                <a:moveTo>
                  <a:pt x="44929" y="710943"/>
                </a:moveTo>
                <a:cubicBezTo>
                  <a:pt x="44139" y="708009"/>
                  <a:pt x="38786" y="711714"/>
                  <a:pt x="41167" y="712619"/>
                </a:cubicBezTo>
                <a:cubicBezTo>
                  <a:pt x="41491" y="710723"/>
                  <a:pt x="44396" y="712486"/>
                  <a:pt x="44929" y="710904"/>
                </a:cubicBezTo>
                <a:close/>
                <a:moveTo>
                  <a:pt x="57998" y="674900"/>
                </a:moveTo>
                <a:cubicBezTo>
                  <a:pt x="54559" y="673785"/>
                  <a:pt x="52797" y="675024"/>
                  <a:pt x="52730" y="678643"/>
                </a:cubicBezTo>
                <a:cubicBezTo>
                  <a:pt x="56378" y="680015"/>
                  <a:pt x="57169" y="677414"/>
                  <a:pt x="57998" y="674862"/>
                </a:cubicBezTo>
                <a:close/>
                <a:moveTo>
                  <a:pt x="58579" y="603120"/>
                </a:moveTo>
                <a:cubicBezTo>
                  <a:pt x="57331" y="601405"/>
                  <a:pt x="54635" y="600919"/>
                  <a:pt x="53883" y="603481"/>
                </a:cubicBezTo>
                <a:cubicBezTo>
                  <a:pt x="55607" y="603539"/>
                  <a:pt x="57969" y="604548"/>
                  <a:pt x="58560" y="603081"/>
                </a:cubicBezTo>
                <a:close/>
                <a:moveTo>
                  <a:pt x="65780" y="649554"/>
                </a:moveTo>
                <a:cubicBezTo>
                  <a:pt x="68828" y="649706"/>
                  <a:pt x="63646" y="655688"/>
                  <a:pt x="68399" y="654640"/>
                </a:cubicBezTo>
                <a:cubicBezTo>
                  <a:pt x="68790" y="652545"/>
                  <a:pt x="67237" y="646982"/>
                  <a:pt x="65780" y="649516"/>
                </a:cubicBezTo>
                <a:close/>
                <a:moveTo>
                  <a:pt x="96965" y="520366"/>
                </a:moveTo>
                <a:cubicBezTo>
                  <a:pt x="95736" y="520183"/>
                  <a:pt x="94609" y="519580"/>
                  <a:pt x="93774" y="518661"/>
                </a:cubicBezTo>
                <a:cubicBezTo>
                  <a:pt x="95450" y="522662"/>
                  <a:pt x="88716" y="521433"/>
                  <a:pt x="91869" y="522976"/>
                </a:cubicBezTo>
                <a:cubicBezTo>
                  <a:pt x="93689" y="522351"/>
                  <a:pt x="95407" y="521459"/>
                  <a:pt x="96965" y="520328"/>
                </a:cubicBezTo>
                <a:close/>
                <a:moveTo>
                  <a:pt x="124587" y="514651"/>
                </a:moveTo>
                <a:cubicBezTo>
                  <a:pt x="122492" y="512965"/>
                  <a:pt x="118920" y="515509"/>
                  <a:pt x="121958" y="516556"/>
                </a:cubicBezTo>
                <a:cubicBezTo>
                  <a:pt x="122234" y="514966"/>
                  <a:pt x="124120" y="515756"/>
                  <a:pt x="124606" y="514585"/>
                </a:cubicBezTo>
                <a:close/>
                <a:moveTo>
                  <a:pt x="136827" y="442528"/>
                </a:moveTo>
                <a:lnTo>
                  <a:pt x="134579" y="442147"/>
                </a:lnTo>
                <a:lnTo>
                  <a:pt x="134198" y="444404"/>
                </a:lnTo>
                <a:lnTo>
                  <a:pt x="136436" y="444785"/>
                </a:lnTo>
                <a:close/>
                <a:moveTo>
                  <a:pt x="141170" y="498916"/>
                </a:moveTo>
                <a:cubicBezTo>
                  <a:pt x="140494" y="498735"/>
                  <a:pt x="139865" y="498516"/>
                  <a:pt x="140218" y="497592"/>
                </a:cubicBezTo>
                <a:lnTo>
                  <a:pt x="137960" y="497211"/>
                </a:lnTo>
                <a:cubicBezTo>
                  <a:pt x="135779" y="499621"/>
                  <a:pt x="141265" y="501107"/>
                  <a:pt x="141189" y="498849"/>
                </a:cubicBezTo>
                <a:close/>
                <a:moveTo>
                  <a:pt x="144370" y="432241"/>
                </a:moveTo>
                <a:cubicBezTo>
                  <a:pt x="142284" y="431003"/>
                  <a:pt x="142561" y="433622"/>
                  <a:pt x="141732" y="434146"/>
                </a:cubicBezTo>
                <a:cubicBezTo>
                  <a:pt x="140903" y="434670"/>
                  <a:pt x="139351" y="433546"/>
                  <a:pt x="139284" y="434898"/>
                </a:cubicBezTo>
                <a:cubicBezTo>
                  <a:pt x="140512" y="435084"/>
                  <a:pt x="141641" y="435682"/>
                  <a:pt x="142484" y="436594"/>
                </a:cubicBezTo>
                <a:cubicBezTo>
                  <a:pt x="143113" y="435003"/>
                  <a:pt x="144466" y="434584"/>
                  <a:pt x="144389" y="432146"/>
                </a:cubicBezTo>
                <a:close/>
                <a:moveTo>
                  <a:pt x="178146" y="383483"/>
                </a:moveTo>
                <a:cubicBezTo>
                  <a:pt x="178232" y="383483"/>
                  <a:pt x="176803" y="387178"/>
                  <a:pt x="176451" y="386673"/>
                </a:cubicBezTo>
                <a:cubicBezTo>
                  <a:pt x="178708" y="389750"/>
                  <a:pt x="180013" y="383378"/>
                  <a:pt x="178165" y="383387"/>
                </a:cubicBezTo>
                <a:close/>
                <a:moveTo>
                  <a:pt x="190414" y="365852"/>
                </a:moveTo>
                <a:cubicBezTo>
                  <a:pt x="189862" y="364661"/>
                  <a:pt x="190843" y="361223"/>
                  <a:pt x="187614" y="361908"/>
                </a:cubicBezTo>
                <a:cubicBezTo>
                  <a:pt x="184309" y="365537"/>
                  <a:pt x="185099" y="367481"/>
                  <a:pt x="185890" y="372043"/>
                </a:cubicBezTo>
                <a:cubicBezTo>
                  <a:pt x="190957" y="373777"/>
                  <a:pt x="188185" y="368004"/>
                  <a:pt x="190033" y="368109"/>
                </a:cubicBezTo>
                <a:cubicBezTo>
                  <a:pt x="191519" y="368376"/>
                  <a:pt x="190729" y="370262"/>
                  <a:pt x="191938" y="370748"/>
                </a:cubicBezTo>
                <a:cubicBezTo>
                  <a:pt x="193738" y="368033"/>
                  <a:pt x="191157" y="367328"/>
                  <a:pt x="190433" y="365756"/>
                </a:cubicBezTo>
                <a:close/>
                <a:moveTo>
                  <a:pt x="195177" y="399132"/>
                </a:moveTo>
                <a:cubicBezTo>
                  <a:pt x="194043" y="398942"/>
                  <a:pt x="193996" y="397989"/>
                  <a:pt x="193110" y="397627"/>
                </a:cubicBezTo>
                <a:cubicBezTo>
                  <a:pt x="192919" y="399408"/>
                  <a:pt x="192300" y="401504"/>
                  <a:pt x="194796" y="401389"/>
                </a:cubicBezTo>
                <a:cubicBezTo>
                  <a:pt x="194967" y="400542"/>
                  <a:pt x="195091" y="399789"/>
                  <a:pt x="195224" y="399037"/>
                </a:cubicBezTo>
                <a:close/>
                <a:moveTo>
                  <a:pt x="198844" y="363813"/>
                </a:moveTo>
                <a:cubicBezTo>
                  <a:pt x="199244" y="362975"/>
                  <a:pt x="200015" y="362661"/>
                  <a:pt x="201292" y="363070"/>
                </a:cubicBezTo>
                <a:lnTo>
                  <a:pt x="201673" y="360823"/>
                </a:lnTo>
                <a:cubicBezTo>
                  <a:pt x="200446" y="360635"/>
                  <a:pt x="199320" y="360033"/>
                  <a:pt x="198482" y="359118"/>
                </a:cubicBezTo>
                <a:cubicBezTo>
                  <a:pt x="198434" y="360737"/>
                  <a:pt x="197434" y="363109"/>
                  <a:pt x="198892" y="363709"/>
                </a:cubicBezTo>
                <a:close/>
                <a:moveTo>
                  <a:pt x="203359" y="364585"/>
                </a:moveTo>
                <a:cubicBezTo>
                  <a:pt x="202694" y="366025"/>
                  <a:pt x="201059" y="366744"/>
                  <a:pt x="199549" y="366261"/>
                </a:cubicBezTo>
                <a:lnTo>
                  <a:pt x="198977" y="369643"/>
                </a:lnTo>
                <a:cubicBezTo>
                  <a:pt x="202692" y="372072"/>
                  <a:pt x="200311" y="365928"/>
                  <a:pt x="202940" y="366833"/>
                </a:cubicBezTo>
                <a:cubicBezTo>
                  <a:pt x="202940" y="368176"/>
                  <a:pt x="204511" y="368357"/>
                  <a:pt x="206121" y="368528"/>
                </a:cubicBezTo>
                <a:cubicBezTo>
                  <a:pt x="207502" y="365537"/>
                  <a:pt x="204245" y="365861"/>
                  <a:pt x="203406" y="364490"/>
                </a:cubicBezTo>
                <a:close/>
                <a:moveTo>
                  <a:pt x="209074" y="344678"/>
                </a:moveTo>
                <a:cubicBezTo>
                  <a:pt x="207931" y="344487"/>
                  <a:pt x="207883" y="343535"/>
                  <a:pt x="207007" y="343173"/>
                </a:cubicBezTo>
                <a:cubicBezTo>
                  <a:pt x="206816" y="344963"/>
                  <a:pt x="206188" y="347049"/>
                  <a:pt x="208693" y="346935"/>
                </a:cubicBezTo>
                <a:close/>
                <a:moveTo>
                  <a:pt x="210645" y="321760"/>
                </a:moveTo>
                <a:cubicBezTo>
                  <a:pt x="208636" y="320198"/>
                  <a:pt x="210217" y="326018"/>
                  <a:pt x="211198" y="325332"/>
                </a:cubicBezTo>
                <a:cubicBezTo>
                  <a:pt x="212179" y="324647"/>
                  <a:pt x="210960" y="321884"/>
                  <a:pt x="210674" y="321665"/>
                </a:cubicBezTo>
                <a:close/>
                <a:moveTo>
                  <a:pt x="225266" y="331200"/>
                </a:moveTo>
                <a:cubicBezTo>
                  <a:pt x="221961" y="329800"/>
                  <a:pt x="220961" y="331647"/>
                  <a:pt x="218323" y="331200"/>
                </a:cubicBezTo>
                <a:cubicBezTo>
                  <a:pt x="218042" y="332091"/>
                  <a:pt x="218337" y="333063"/>
                  <a:pt x="219065" y="333648"/>
                </a:cubicBezTo>
                <a:cubicBezTo>
                  <a:pt x="219742" y="334410"/>
                  <a:pt x="217675" y="334724"/>
                  <a:pt x="217741" y="334600"/>
                </a:cubicBezTo>
                <a:cubicBezTo>
                  <a:pt x="217922" y="334229"/>
                  <a:pt x="217370" y="332695"/>
                  <a:pt x="216789" y="333276"/>
                </a:cubicBezTo>
                <a:cubicBezTo>
                  <a:pt x="215400" y="334906"/>
                  <a:pt x="215596" y="337353"/>
                  <a:pt x="217225" y="338742"/>
                </a:cubicBezTo>
                <a:cubicBezTo>
                  <a:pt x="217486" y="338964"/>
                  <a:pt x="217775" y="339150"/>
                  <a:pt x="218084" y="339296"/>
                </a:cubicBezTo>
                <a:cubicBezTo>
                  <a:pt x="219265" y="336877"/>
                  <a:pt x="222428" y="334219"/>
                  <a:pt x="224295" y="336867"/>
                </a:cubicBezTo>
                <a:cubicBezTo>
                  <a:pt x="224695" y="333914"/>
                  <a:pt x="222828" y="332886"/>
                  <a:pt x="225295" y="331105"/>
                </a:cubicBezTo>
                <a:close/>
                <a:moveTo>
                  <a:pt x="239535" y="295252"/>
                </a:moveTo>
                <a:cubicBezTo>
                  <a:pt x="240487" y="291623"/>
                  <a:pt x="239116" y="289604"/>
                  <a:pt x="235982" y="288852"/>
                </a:cubicBezTo>
                <a:cubicBezTo>
                  <a:pt x="235725" y="290357"/>
                  <a:pt x="235477" y="291862"/>
                  <a:pt x="235220" y="293357"/>
                </a:cubicBezTo>
                <a:cubicBezTo>
                  <a:pt x="236847" y="293419"/>
                  <a:pt x="238389" y="294096"/>
                  <a:pt x="239535" y="295252"/>
                </a:cubicBezTo>
                <a:close/>
                <a:moveTo>
                  <a:pt x="244040" y="296014"/>
                </a:moveTo>
                <a:cubicBezTo>
                  <a:pt x="241630" y="295557"/>
                  <a:pt x="235849" y="297329"/>
                  <a:pt x="238763" y="299758"/>
                </a:cubicBezTo>
                <a:cubicBezTo>
                  <a:pt x="239535" y="297176"/>
                  <a:pt x="242640" y="297834"/>
                  <a:pt x="244002" y="296014"/>
                </a:cubicBezTo>
                <a:close/>
                <a:moveTo>
                  <a:pt x="253565" y="315064"/>
                </a:moveTo>
                <a:cubicBezTo>
                  <a:pt x="253115" y="316561"/>
                  <a:pt x="253827" y="318161"/>
                  <a:pt x="255241" y="318827"/>
                </a:cubicBezTo>
                <a:cubicBezTo>
                  <a:pt x="255403" y="317036"/>
                  <a:pt x="256032" y="314903"/>
                  <a:pt x="253536" y="315026"/>
                </a:cubicBezTo>
                <a:close/>
                <a:moveTo>
                  <a:pt x="257585" y="291395"/>
                </a:moveTo>
                <a:cubicBezTo>
                  <a:pt x="254803" y="290757"/>
                  <a:pt x="252146" y="290261"/>
                  <a:pt x="251555" y="292700"/>
                </a:cubicBezTo>
                <a:cubicBezTo>
                  <a:pt x="254298" y="293300"/>
                  <a:pt x="256956" y="293795"/>
                  <a:pt x="257556" y="291319"/>
                </a:cubicBezTo>
                <a:close/>
                <a:moveTo>
                  <a:pt x="290570" y="254095"/>
                </a:moveTo>
                <a:cubicBezTo>
                  <a:pt x="290087" y="255651"/>
                  <a:pt x="290212" y="257333"/>
                  <a:pt x="290922" y="258800"/>
                </a:cubicBezTo>
                <a:cubicBezTo>
                  <a:pt x="294075" y="259515"/>
                  <a:pt x="294294" y="256086"/>
                  <a:pt x="296199" y="255057"/>
                </a:cubicBezTo>
                <a:close/>
                <a:moveTo>
                  <a:pt x="292646" y="248656"/>
                </a:moveTo>
                <a:cubicBezTo>
                  <a:pt x="292951" y="247227"/>
                  <a:pt x="294361" y="247342"/>
                  <a:pt x="294351" y="245465"/>
                </a:cubicBezTo>
                <a:cubicBezTo>
                  <a:pt x="291846" y="243208"/>
                  <a:pt x="290360" y="248694"/>
                  <a:pt x="292618" y="248618"/>
                </a:cubicBezTo>
                <a:close/>
                <a:moveTo>
                  <a:pt x="293599" y="236074"/>
                </a:moveTo>
                <a:cubicBezTo>
                  <a:pt x="295951" y="234102"/>
                  <a:pt x="293132" y="233721"/>
                  <a:pt x="295504" y="231749"/>
                </a:cubicBezTo>
                <a:lnTo>
                  <a:pt x="289874" y="230797"/>
                </a:lnTo>
                <a:cubicBezTo>
                  <a:pt x="288731" y="234169"/>
                  <a:pt x="292151" y="234416"/>
                  <a:pt x="293599" y="236074"/>
                </a:cubicBezTo>
                <a:close/>
                <a:moveTo>
                  <a:pt x="286045" y="246380"/>
                </a:moveTo>
                <a:cubicBezTo>
                  <a:pt x="287179" y="246561"/>
                  <a:pt x="287236" y="247523"/>
                  <a:pt x="288112" y="247885"/>
                </a:cubicBezTo>
                <a:cubicBezTo>
                  <a:pt x="288303" y="246761"/>
                  <a:pt x="289246" y="246704"/>
                  <a:pt x="289627" y="245827"/>
                </a:cubicBezTo>
                <a:cubicBezTo>
                  <a:pt x="288493" y="245646"/>
                  <a:pt x="288436" y="244694"/>
                  <a:pt x="287560" y="244322"/>
                </a:cubicBezTo>
                <a:cubicBezTo>
                  <a:pt x="287369" y="245418"/>
                  <a:pt x="286426" y="245465"/>
                  <a:pt x="286045" y="246342"/>
                </a:cubicBezTo>
                <a:close/>
                <a:moveTo>
                  <a:pt x="272272" y="266068"/>
                </a:moveTo>
                <a:cubicBezTo>
                  <a:pt x="271823" y="267566"/>
                  <a:pt x="272541" y="269168"/>
                  <a:pt x="273958" y="269830"/>
                </a:cubicBezTo>
                <a:cubicBezTo>
                  <a:pt x="274149" y="268011"/>
                  <a:pt x="274777" y="265915"/>
                  <a:pt x="272272" y="266030"/>
                </a:cubicBezTo>
                <a:close/>
                <a:moveTo>
                  <a:pt x="292751" y="268382"/>
                </a:moveTo>
                <a:cubicBezTo>
                  <a:pt x="290151" y="264572"/>
                  <a:pt x="285055" y="262610"/>
                  <a:pt x="284178" y="257648"/>
                </a:cubicBezTo>
                <a:cubicBezTo>
                  <a:pt x="280368" y="257295"/>
                  <a:pt x="280368" y="255743"/>
                  <a:pt x="278930" y="254438"/>
                </a:cubicBezTo>
                <a:cubicBezTo>
                  <a:pt x="276073" y="251818"/>
                  <a:pt x="275654" y="252952"/>
                  <a:pt x="277435" y="249551"/>
                </a:cubicBezTo>
                <a:cubicBezTo>
                  <a:pt x="272225" y="249504"/>
                  <a:pt x="275082" y="252771"/>
                  <a:pt x="273844" y="257057"/>
                </a:cubicBezTo>
                <a:cubicBezTo>
                  <a:pt x="272139" y="258676"/>
                  <a:pt x="268576" y="258305"/>
                  <a:pt x="267633" y="259477"/>
                </a:cubicBezTo>
                <a:cubicBezTo>
                  <a:pt x="267138" y="260096"/>
                  <a:pt x="267700" y="262410"/>
                  <a:pt x="267062" y="262858"/>
                </a:cubicBezTo>
                <a:cubicBezTo>
                  <a:pt x="266186" y="263487"/>
                  <a:pt x="263528" y="261610"/>
                  <a:pt x="263490" y="263410"/>
                </a:cubicBezTo>
                <a:cubicBezTo>
                  <a:pt x="265862" y="265525"/>
                  <a:pt x="265186" y="266154"/>
                  <a:pt x="268938" y="265496"/>
                </a:cubicBezTo>
                <a:cubicBezTo>
                  <a:pt x="270615" y="265068"/>
                  <a:pt x="269834" y="261191"/>
                  <a:pt x="271948" y="261372"/>
                </a:cubicBezTo>
                <a:cubicBezTo>
                  <a:pt x="270320" y="265506"/>
                  <a:pt x="277044" y="263706"/>
                  <a:pt x="279463" y="264963"/>
                </a:cubicBezTo>
                <a:cubicBezTo>
                  <a:pt x="280206" y="267401"/>
                  <a:pt x="280587" y="270106"/>
                  <a:pt x="283007" y="271364"/>
                </a:cubicBezTo>
                <a:cubicBezTo>
                  <a:pt x="283826" y="268802"/>
                  <a:pt x="284988" y="266706"/>
                  <a:pt x="287350" y="266306"/>
                </a:cubicBezTo>
                <a:cubicBezTo>
                  <a:pt x="284988" y="269411"/>
                  <a:pt x="292637" y="270221"/>
                  <a:pt x="292751" y="268344"/>
                </a:cubicBezTo>
                <a:close/>
                <a:moveTo>
                  <a:pt x="295408" y="259562"/>
                </a:moveTo>
                <a:cubicBezTo>
                  <a:pt x="295208" y="266668"/>
                  <a:pt x="292779" y="258362"/>
                  <a:pt x="291598" y="261248"/>
                </a:cubicBezTo>
                <a:cubicBezTo>
                  <a:pt x="293284" y="262029"/>
                  <a:pt x="291951" y="264953"/>
                  <a:pt x="295723" y="264258"/>
                </a:cubicBezTo>
                <a:cubicBezTo>
                  <a:pt x="296170" y="262744"/>
                  <a:pt x="297332" y="256076"/>
                  <a:pt x="295408" y="259524"/>
                </a:cubicBezTo>
                <a:close/>
                <a:moveTo>
                  <a:pt x="297933" y="230987"/>
                </a:moveTo>
                <a:cubicBezTo>
                  <a:pt x="299723" y="231178"/>
                  <a:pt x="301809" y="231797"/>
                  <a:pt x="301695" y="229301"/>
                </a:cubicBezTo>
                <a:lnTo>
                  <a:pt x="299447" y="228920"/>
                </a:lnTo>
                <a:cubicBezTo>
                  <a:pt x="299256" y="230035"/>
                  <a:pt x="298304" y="230092"/>
                  <a:pt x="297933" y="230968"/>
                </a:cubicBezTo>
                <a:close/>
                <a:moveTo>
                  <a:pt x="297704" y="246018"/>
                </a:moveTo>
                <a:cubicBezTo>
                  <a:pt x="297249" y="247514"/>
                  <a:pt x="297963" y="249118"/>
                  <a:pt x="299380" y="249780"/>
                </a:cubicBezTo>
                <a:cubicBezTo>
                  <a:pt x="299542" y="247980"/>
                  <a:pt x="300190" y="245884"/>
                  <a:pt x="297704" y="245999"/>
                </a:cubicBezTo>
                <a:close/>
                <a:moveTo>
                  <a:pt x="302171" y="260686"/>
                </a:moveTo>
                <a:cubicBezTo>
                  <a:pt x="304076" y="258143"/>
                  <a:pt x="299657" y="255457"/>
                  <a:pt x="303124" y="255057"/>
                </a:cubicBezTo>
                <a:cubicBezTo>
                  <a:pt x="304619" y="255324"/>
                  <a:pt x="303819" y="257210"/>
                  <a:pt x="305029" y="257695"/>
                </a:cubicBezTo>
                <a:cubicBezTo>
                  <a:pt x="307391" y="256105"/>
                  <a:pt x="305438" y="253200"/>
                  <a:pt x="302409" y="252609"/>
                </a:cubicBezTo>
                <a:cubicBezTo>
                  <a:pt x="302019" y="253447"/>
                  <a:pt x="301247" y="253762"/>
                  <a:pt x="299971" y="253352"/>
                </a:cubicBezTo>
                <a:cubicBezTo>
                  <a:pt x="299048" y="256009"/>
                  <a:pt x="299936" y="258959"/>
                  <a:pt x="302171" y="260667"/>
                </a:cubicBezTo>
                <a:close/>
                <a:moveTo>
                  <a:pt x="307210" y="271983"/>
                </a:moveTo>
                <a:cubicBezTo>
                  <a:pt x="305171" y="271897"/>
                  <a:pt x="301752" y="269887"/>
                  <a:pt x="302324" y="273469"/>
                </a:cubicBezTo>
                <a:cubicBezTo>
                  <a:pt x="304105" y="273892"/>
                  <a:pt x="305975" y="273316"/>
                  <a:pt x="307210" y="271964"/>
                </a:cubicBezTo>
                <a:close/>
                <a:moveTo>
                  <a:pt x="307210" y="278927"/>
                </a:moveTo>
                <a:cubicBezTo>
                  <a:pt x="306457" y="281441"/>
                  <a:pt x="306762" y="283213"/>
                  <a:pt x="308696" y="283822"/>
                </a:cubicBezTo>
                <a:cubicBezTo>
                  <a:pt x="309108" y="282036"/>
                  <a:pt x="308521" y="280167"/>
                  <a:pt x="307162" y="278936"/>
                </a:cubicBezTo>
                <a:close/>
                <a:moveTo>
                  <a:pt x="316392" y="224844"/>
                </a:moveTo>
                <a:cubicBezTo>
                  <a:pt x="316392" y="223482"/>
                  <a:pt x="317125" y="221672"/>
                  <a:pt x="315839" y="221272"/>
                </a:cubicBezTo>
                <a:cubicBezTo>
                  <a:pt x="315659" y="221948"/>
                  <a:pt x="315439" y="222577"/>
                  <a:pt x="314516" y="222224"/>
                </a:cubicBezTo>
                <a:cubicBezTo>
                  <a:pt x="314620" y="221596"/>
                  <a:pt x="313820" y="220786"/>
                  <a:pt x="313392" y="222034"/>
                </a:cubicBezTo>
                <a:cubicBezTo>
                  <a:pt x="314925" y="222539"/>
                  <a:pt x="314954" y="224167"/>
                  <a:pt x="316373" y="224825"/>
                </a:cubicBezTo>
                <a:close/>
                <a:moveTo>
                  <a:pt x="318735" y="258857"/>
                </a:moveTo>
                <a:cubicBezTo>
                  <a:pt x="319165" y="257078"/>
                  <a:pt x="318592" y="255205"/>
                  <a:pt x="317240" y="253971"/>
                </a:cubicBezTo>
                <a:cubicBezTo>
                  <a:pt x="316039" y="254851"/>
                  <a:pt x="315779" y="256538"/>
                  <a:pt x="316659" y="257738"/>
                </a:cubicBezTo>
                <a:cubicBezTo>
                  <a:pt x="317143" y="258398"/>
                  <a:pt x="317899" y="258803"/>
                  <a:pt x="318716" y="258838"/>
                </a:cubicBezTo>
                <a:close/>
                <a:moveTo>
                  <a:pt x="334080" y="216252"/>
                </a:moveTo>
                <a:cubicBezTo>
                  <a:pt x="335032" y="219319"/>
                  <a:pt x="329022" y="219024"/>
                  <a:pt x="332175" y="220567"/>
                </a:cubicBezTo>
                <a:cubicBezTo>
                  <a:pt x="332356" y="219891"/>
                  <a:pt x="332565" y="219262"/>
                  <a:pt x="333489" y="219614"/>
                </a:cubicBezTo>
                <a:cubicBezTo>
                  <a:pt x="333185" y="222472"/>
                  <a:pt x="337252" y="220567"/>
                  <a:pt x="337995" y="220376"/>
                </a:cubicBezTo>
                <a:cubicBezTo>
                  <a:pt x="339033" y="222281"/>
                  <a:pt x="338614" y="225225"/>
                  <a:pt x="340424" y="226577"/>
                </a:cubicBezTo>
                <a:cubicBezTo>
                  <a:pt x="342574" y="223673"/>
                  <a:pt x="341964" y="219575"/>
                  <a:pt x="339059" y="217425"/>
                </a:cubicBezTo>
                <a:cubicBezTo>
                  <a:pt x="337625" y="216363"/>
                  <a:pt x="335819" y="215932"/>
                  <a:pt x="334061" y="216233"/>
                </a:cubicBezTo>
                <a:close/>
                <a:moveTo>
                  <a:pt x="352282" y="225129"/>
                </a:moveTo>
                <a:lnTo>
                  <a:pt x="352882" y="221786"/>
                </a:lnTo>
                <a:cubicBezTo>
                  <a:pt x="354006" y="221967"/>
                  <a:pt x="354063" y="222920"/>
                  <a:pt x="354940" y="223291"/>
                </a:cubicBezTo>
                <a:cubicBezTo>
                  <a:pt x="355054" y="220672"/>
                  <a:pt x="355892" y="219100"/>
                  <a:pt x="357959" y="219167"/>
                </a:cubicBezTo>
                <a:cubicBezTo>
                  <a:pt x="358073" y="221396"/>
                  <a:pt x="359864" y="222405"/>
                  <a:pt x="359254" y="225177"/>
                </a:cubicBezTo>
                <a:cubicBezTo>
                  <a:pt x="367827" y="224853"/>
                  <a:pt x="360502" y="219310"/>
                  <a:pt x="360597" y="217290"/>
                </a:cubicBezTo>
                <a:cubicBezTo>
                  <a:pt x="360502" y="219138"/>
                  <a:pt x="366855" y="213556"/>
                  <a:pt x="362293" y="214109"/>
                </a:cubicBezTo>
                <a:cubicBezTo>
                  <a:pt x="361731" y="216576"/>
                  <a:pt x="357435" y="213776"/>
                  <a:pt x="355349" y="214109"/>
                </a:cubicBezTo>
                <a:cubicBezTo>
                  <a:pt x="355302" y="218309"/>
                  <a:pt x="349758" y="221958"/>
                  <a:pt x="352263" y="225110"/>
                </a:cubicBezTo>
                <a:close/>
                <a:moveTo>
                  <a:pt x="346853" y="216100"/>
                </a:moveTo>
                <a:cubicBezTo>
                  <a:pt x="350301" y="217690"/>
                  <a:pt x="350663" y="214966"/>
                  <a:pt x="351930" y="213480"/>
                </a:cubicBezTo>
                <a:cubicBezTo>
                  <a:pt x="350377" y="212937"/>
                  <a:pt x="350349" y="211309"/>
                  <a:pt x="348929" y="210623"/>
                </a:cubicBezTo>
                <a:cubicBezTo>
                  <a:pt x="347522" y="212080"/>
                  <a:pt x="346766" y="214046"/>
                  <a:pt x="346834" y="216071"/>
                </a:cubicBezTo>
                <a:close/>
                <a:moveTo>
                  <a:pt x="350177" y="237531"/>
                </a:moveTo>
                <a:cubicBezTo>
                  <a:pt x="348615" y="236988"/>
                  <a:pt x="348586" y="235350"/>
                  <a:pt x="347177" y="234673"/>
                </a:cubicBezTo>
                <a:cubicBezTo>
                  <a:pt x="345500" y="238493"/>
                  <a:pt x="348901" y="241093"/>
                  <a:pt x="350158" y="237512"/>
                </a:cubicBezTo>
                <a:close/>
                <a:moveTo>
                  <a:pt x="358750" y="248266"/>
                </a:moveTo>
                <a:cubicBezTo>
                  <a:pt x="358169" y="243179"/>
                  <a:pt x="355530" y="245722"/>
                  <a:pt x="351425" y="243503"/>
                </a:cubicBezTo>
                <a:cubicBezTo>
                  <a:pt x="351260" y="245542"/>
                  <a:pt x="349472" y="247063"/>
                  <a:pt x="347433" y="246898"/>
                </a:cubicBezTo>
                <a:cubicBezTo>
                  <a:pt x="346610" y="246831"/>
                  <a:pt x="345832" y="246491"/>
                  <a:pt x="345224" y="245932"/>
                </a:cubicBezTo>
                <a:cubicBezTo>
                  <a:pt x="344100" y="249380"/>
                  <a:pt x="347520" y="249590"/>
                  <a:pt x="348967" y="251209"/>
                </a:cubicBezTo>
                <a:cubicBezTo>
                  <a:pt x="349682" y="247180"/>
                  <a:pt x="349225" y="247170"/>
                  <a:pt x="351987" y="247084"/>
                </a:cubicBezTo>
                <a:cubicBezTo>
                  <a:pt x="350339" y="247084"/>
                  <a:pt x="354759" y="253123"/>
                  <a:pt x="355178" y="248780"/>
                </a:cubicBezTo>
                <a:cubicBezTo>
                  <a:pt x="353949" y="248323"/>
                  <a:pt x="353635" y="247227"/>
                  <a:pt x="353273" y="246142"/>
                </a:cubicBezTo>
                <a:cubicBezTo>
                  <a:pt x="355316" y="246059"/>
                  <a:pt x="357304" y="246821"/>
                  <a:pt x="358769" y="248247"/>
                </a:cubicBezTo>
                <a:close/>
                <a:moveTo>
                  <a:pt x="366522" y="222920"/>
                </a:moveTo>
                <a:cubicBezTo>
                  <a:pt x="362531" y="225034"/>
                  <a:pt x="365998" y="228997"/>
                  <a:pt x="362712" y="231549"/>
                </a:cubicBezTo>
                <a:cubicBezTo>
                  <a:pt x="362493" y="230156"/>
                  <a:pt x="361916" y="228842"/>
                  <a:pt x="361036" y="227739"/>
                </a:cubicBezTo>
                <a:cubicBezTo>
                  <a:pt x="361807" y="232549"/>
                  <a:pt x="358340" y="231387"/>
                  <a:pt x="356692" y="232807"/>
                </a:cubicBezTo>
                <a:cubicBezTo>
                  <a:pt x="360207" y="233273"/>
                  <a:pt x="359312" y="236893"/>
                  <a:pt x="364198" y="236397"/>
                </a:cubicBezTo>
                <a:cubicBezTo>
                  <a:pt x="364817" y="234311"/>
                  <a:pt x="363360" y="233692"/>
                  <a:pt x="363836" y="231692"/>
                </a:cubicBezTo>
                <a:cubicBezTo>
                  <a:pt x="366351" y="231978"/>
                  <a:pt x="365131" y="226996"/>
                  <a:pt x="366112" y="225129"/>
                </a:cubicBezTo>
                <a:cubicBezTo>
                  <a:pt x="366754" y="225112"/>
                  <a:pt x="367260" y="224578"/>
                  <a:pt x="367243" y="223937"/>
                </a:cubicBezTo>
                <a:cubicBezTo>
                  <a:pt x="367231" y="223484"/>
                  <a:pt x="366957" y="223080"/>
                  <a:pt x="366541" y="222901"/>
                </a:cubicBezTo>
                <a:close/>
                <a:moveTo>
                  <a:pt x="380810" y="227682"/>
                </a:moveTo>
                <a:cubicBezTo>
                  <a:pt x="382400" y="225110"/>
                  <a:pt x="381600" y="225339"/>
                  <a:pt x="383086" y="221110"/>
                </a:cubicBezTo>
                <a:cubicBezTo>
                  <a:pt x="378857" y="219462"/>
                  <a:pt x="375037" y="227101"/>
                  <a:pt x="380810" y="227644"/>
                </a:cubicBezTo>
                <a:close/>
                <a:moveTo>
                  <a:pt x="383591" y="238579"/>
                </a:moveTo>
                <a:cubicBezTo>
                  <a:pt x="381133" y="235855"/>
                  <a:pt x="378000" y="230130"/>
                  <a:pt x="374771" y="235931"/>
                </a:cubicBezTo>
                <a:cubicBezTo>
                  <a:pt x="378276" y="234350"/>
                  <a:pt x="379752" y="239341"/>
                  <a:pt x="378905" y="238950"/>
                </a:cubicBezTo>
                <a:cubicBezTo>
                  <a:pt x="380352" y="239569"/>
                  <a:pt x="383181" y="239579"/>
                  <a:pt x="383591" y="238541"/>
                </a:cubicBezTo>
                <a:close/>
                <a:moveTo>
                  <a:pt x="385801" y="191430"/>
                </a:moveTo>
                <a:lnTo>
                  <a:pt x="386182" y="189172"/>
                </a:lnTo>
                <a:lnTo>
                  <a:pt x="383934" y="188791"/>
                </a:lnTo>
                <a:lnTo>
                  <a:pt x="383543" y="191039"/>
                </a:lnTo>
                <a:close/>
                <a:moveTo>
                  <a:pt x="386258" y="229759"/>
                </a:moveTo>
                <a:cubicBezTo>
                  <a:pt x="384781" y="232787"/>
                  <a:pt x="387344" y="232949"/>
                  <a:pt x="386429" y="235588"/>
                </a:cubicBezTo>
                <a:cubicBezTo>
                  <a:pt x="393249" y="237921"/>
                  <a:pt x="391992" y="229282"/>
                  <a:pt x="386220" y="229720"/>
                </a:cubicBezTo>
                <a:close/>
                <a:moveTo>
                  <a:pt x="391354" y="220234"/>
                </a:moveTo>
                <a:cubicBezTo>
                  <a:pt x="388934" y="219598"/>
                  <a:pt x="387617" y="220532"/>
                  <a:pt x="387401" y="223034"/>
                </a:cubicBezTo>
                <a:cubicBezTo>
                  <a:pt x="390306" y="224253"/>
                  <a:pt x="390030" y="221005"/>
                  <a:pt x="391354" y="220157"/>
                </a:cubicBezTo>
                <a:close/>
                <a:moveTo>
                  <a:pt x="391897" y="230711"/>
                </a:moveTo>
                <a:cubicBezTo>
                  <a:pt x="391097" y="234369"/>
                  <a:pt x="395888" y="232006"/>
                  <a:pt x="397145" y="233930"/>
                </a:cubicBezTo>
                <a:lnTo>
                  <a:pt x="398097" y="228292"/>
                </a:lnTo>
                <a:cubicBezTo>
                  <a:pt x="393754" y="227701"/>
                  <a:pt x="392420" y="228234"/>
                  <a:pt x="391935" y="230673"/>
                </a:cubicBezTo>
                <a:close/>
                <a:moveTo>
                  <a:pt x="395859" y="220957"/>
                </a:moveTo>
                <a:cubicBezTo>
                  <a:pt x="395411" y="221586"/>
                  <a:pt x="392325" y="224825"/>
                  <a:pt x="395097" y="225463"/>
                </a:cubicBezTo>
                <a:cubicBezTo>
                  <a:pt x="396421" y="223605"/>
                  <a:pt x="399459" y="222577"/>
                  <a:pt x="395859" y="220919"/>
                </a:cubicBezTo>
                <a:close/>
                <a:moveTo>
                  <a:pt x="404365" y="205013"/>
                </a:moveTo>
                <a:cubicBezTo>
                  <a:pt x="401336" y="203536"/>
                  <a:pt x="401174" y="206108"/>
                  <a:pt x="398536" y="205184"/>
                </a:cubicBezTo>
                <a:cubicBezTo>
                  <a:pt x="398355" y="209108"/>
                  <a:pt x="401336" y="207089"/>
                  <a:pt x="398707" y="211004"/>
                </a:cubicBezTo>
                <a:cubicBezTo>
                  <a:pt x="402908" y="211575"/>
                  <a:pt x="401822" y="209851"/>
                  <a:pt x="401726" y="206879"/>
                </a:cubicBezTo>
                <a:cubicBezTo>
                  <a:pt x="403127" y="206946"/>
                  <a:pt x="404460" y="206956"/>
                  <a:pt x="404365" y="204974"/>
                </a:cubicBezTo>
                <a:close/>
                <a:moveTo>
                  <a:pt x="410385" y="203717"/>
                </a:moveTo>
                <a:cubicBezTo>
                  <a:pt x="408899" y="203450"/>
                  <a:pt x="409689" y="201565"/>
                  <a:pt x="408480" y="201079"/>
                </a:cubicBezTo>
                <a:cubicBezTo>
                  <a:pt x="407870" y="202536"/>
                  <a:pt x="406517" y="202984"/>
                  <a:pt x="406575" y="205394"/>
                </a:cubicBezTo>
                <a:lnTo>
                  <a:pt x="408823" y="205775"/>
                </a:lnTo>
                <a:cubicBezTo>
                  <a:pt x="409080" y="204641"/>
                  <a:pt x="410032" y="204555"/>
                  <a:pt x="410385" y="203689"/>
                </a:cubicBezTo>
                <a:close/>
                <a:moveTo>
                  <a:pt x="410385" y="217624"/>
                </a:moveTo>
                <a:cubicBezTo>
                  <a:pt x="412661" y="217624"/>
                  <a:pt x="412366" y="219529"/>
                  <a:pt x="413375" y="220481"/>
                </a:cubicBezTo>
                <a:cubicBezTo>
                  <a:pt x="414719" y="218252"/>
                  <a:pt x="411280" y="214852"/>
                  <a:pt x="410347" y="217586"/>
                </a:cubicBezTo>
                <a:close/>
                <a:moveTo>
                  <a:pt x="416614" y="208242"/>
                </a:moveTo>
                <a:cubicBezTo>
                  <a:pt x="415383" y="208065"/>
                  <a:pt x="414254" y="207461"/>
                  <a:pt x="413423" y="206537"/>
                </a:cubicBezTo>
                <a:cubicBezTo>
                  <a:pt x="414528" y="210127"/>
                  <a:pt x="411432" y="210508"/>
                  <a:pt x="414709" y="212556"/>
                </a:cubicBezTo>
                <a:cubicBezTo>
                  <a:pt x="415195" y="211232"/>
                  <a:pt x="416090" y="212080"/>
                  <a:pt x="416966" y="212937"/>
                </a:cubicBezTo>
                <a:cubicBezTo>
                  <a:pt x="417547" y="210813"/>
                  <a:pt x="416090" y="210204"/>
                  <a:pt x="416576" y="208203"/>
                </a:cubicBezTo>
                <a:close/>
                <a:moveTo>
                  <a:pt x="415890" y="198840"/>
                </a:moveTo>
                <a:cubicBezTo>
                  <a:pt x="416576" y="198898"/>
                  <a:pt x="417243" y="198898"/>
                  <a:pt x="417195" y="197888"/>
                </a:cubicBezTo>
                <a:cubicBezTo>
                  <a:pt x="414099" y="195573"/>
                  <a:pt x="413242" y="203212"/>
                  <a:pt x="415119" y="203336"/>
                </a:cubicBezTo>
                <a:cubicBezTo>
                  <a:pt x="415719" y="201622"/>
                  <a:pt x="417719" y="202965"/>
                  <a:pt x="418500" y="203908"/>
                </a:cubicBezTo>
                <a:cubicBezTo>
                  <a:pt x="420062" y="200431"/>
                  <a:pt x="415938" y="201050"/>
                  <a:pt x="415852" y="198802"/>
                </a:cubicBezTo>
                <a:close/>
                <a:moveTo>
                  <a:pt x="489737" y="132537"/>
                </a:moveTo>
                <a:cubicBezTo>
                  <a:pt x="494624" y="130727"/>
                  <a:pt x="494500" y="135709"/>
                  <a:pt x="496862" y="138385"/>
                </a:cubicBezTo>
                <a:cubicBezTo>
                  <a:pt x="497586" y="136147"/>
                  <a:pt x="500291" y="136690"/>
                  <a:pt x="501005" y="134451"/>
                </a:cubicBezTo>
                <a:cubicBezTo>
                  <a:pt x="499824" y="133966"/>
                  <a:pt x="498615" y="132137"/>
                  <a:pt x="500263" y="132003"/>
                </a:cubicBezTo>
                <a:cubicBezTo>
                  <a:pt x="502539" y="132003"/>
                  <a:pt x="502244" y="133908"/>
                  <a:pt x="503263" y="134861"/>
                </a:cubicBezTo>
                <a:cubicBezTo>
                  <a:pt x="504339" y="132080"/>
                  <a:pt x="505425" y="131165"/>
                  <a:pt x="503091" y="129032"/>
                </a:cubicBezTo>
                <a:cubicBezTo>
                  <a:pt x="502901" y="131318"/>
                  <a:pt x="499796" y="128746"/>
                  <a:pt x="498386" y="129394"/>
                </a:cubicBezTo>
                <a:cubicBezTo>
                  <a:pt x="497738" y="129698"/>
                  <a:pt x="498177" y="132042"/>
                  <a:pt x="496881" y="131461"/>
                </a:cubicBezTo>
                <a:cubicBezTo>
                  <a:pt x="495129" y="131051"/>
                  <a:pt x="496481" y="128441"/>
                  <a:pt x="493881" y="128603"/>
                </a:cubicBezTo>
                <a:cubicBezTo>
                  <a:pt x="492385" y="128365"/>
                  <a:pt x="492519" y="130403"/>
                  <a:pt x="491242" y="130508"/>
                </a:cubicBezTo>
                <a:cubicBezTo>
                  <a:pt x="490290" y="130537"/>
                  <a:pt x="489737" y="131165"/>
                  <a:pt x="489699" y="132499"/>
                </a:cubicBezTo>
                <a:close/>
                <a:moveTo>
                  <a:pt x="457086" y="181486"/>
                </a:moveTo>
                <a:cubicBezTo>
                  <a:pt x="456648" y="180533"/>
                  <a:pt x="455343" y="181352"/>
                  <a:pt x="455028" y="179981"/>
                </a:cubicBezTo>
                <a:cubicBezTo>
                  <a:pt x="455143" y="180476"/>
                  <a:pt x="457800" y="177047"/>
                  <a:pt x="454276" y="177533"/>
                </a:cubicBezTo>
                <a:cubicBezTo>
                  <a:pt x="451914" y="178362"/>
                  <a:pt x="453866" y="186334"/>
                  <a:pt x="449189" y="187058"/>
                </a:cubicBezTo>
                <a:cubicBezTo>
                  <a:pt x="449047" y="185484"/>
                  <a:pt x="447759" y="184261"/>
                  <a:pt x="446180" y="184200"/>
                </a:cubicBezTo>
                <a:cubicBezTo>
                  <a:pt x="445703" y="191278"/>
                  <a:pt x="452085" y="185801"/>
                  <a:pt x="456133" y="187058"/>
                </a:cubicBezTo>
                <a:cubicBezTo>
                  <a:pt x="455676" y="185534"/>
                  <a:pt x="457657" y="182896"/>
                  <a:pt x="457048" y="181448"/>
                </a:cubicBezTo>
                <a:close/>
                <a:moveTo>
                  <a:pt x="473278" y="181905"/>
                </a:moveTo>
                <a:cubicBezTo>
                  <a:pt x="470421" y="181314"/>
                  <a:pt x="472907" y="176885"/>
                  <a:pt x="468220" y="177571"/>
                </a:cubicBezTo>
                <a:cubicBezTo>
                  <a:pt x="468544" y="174037"/>
                  <a:pt x="464810" y="173380"/>
                  <a:pt x="462210" y="171913"/>
                </a:cubicBezTo>
                <a:cubicBezTo>
                  <a:pt x="460943" y="174599"/>
                  <a:pt x="460305" y="176361"/>
                  <a:pt x="462210" y="178876"/>
                </a:cubicBezTo>
                <a:cubicBezTo>
                  <a:pt x="463534" y="176066"/>
                  <a:pt x="466201" y="179505"/>
                  <a:pt x="466725" y="179638"/>
                </a:cubicBezTo>
                <a:cubicBezTo>
                  <a:pt x="466658" y="179638"/>
                  <a:pt x="469154" y="177733"/>
                  <a:pt x="468982" y="180019"/>
                </a:cubicBezTo>
                <a:cubicBezTo>
                  <a:pt x="468030" y="180124"/>
                  <a:pt x="467506" y="180733"/>
                  <a:pt x="467468" y="182076"/>
                </a:cubicBezTo>
                <a:cubicBezTo>
                  <a:pt x="465830" y="179628"/>
                  <a:pt x="463953" y="182867"/>
                  <a:pt x="462020" y="180000"/>
                </a:cubicBezTo>
                <a:cubicBezTo>
                  <a:pt x="460134" y="185220"/>
                  <a:pt x="473069" y="186458"/>
                  <a:pt x="473212" y="181867"/>
                </a:cubicBezTo>
                <a:close/>
                <a:moveTo>
                  <a:pt x="485089" y="166541"/>
                </a:moveTo>
                <a:cubicBezTo>
                  <a:pt x="486042" y="169589"/>
                  <a:pt x="480993" y="170665"/>
                  <a:pt x="484137" y="172180"/>
                </a:cubicBezTo>
                <a:cubicBezTo>
                  <a:pt x="485280" y="170018"/>
                  <a:pt x="488842" y="167979"/>
                  <a:pt x="485089" y="166541"/>
                </a:cubicBezTo>
                <a:close/>
                <a:moveTo>
                  <a:pt x="493900" y="176152"/>
                </a:moveTo>
                <a:cubicBezTo>
                  <a:pt x="497948" y="171304"/>
                  <a:pt x="490661" y="172799"/>
                  <a:pt x="493900" y="176152"/>
                </a:cubicBezTo>
                <a:close/>
                <a:moveTo>
                  <a:pt x="495100" y="148529"/>
                </a:moveTo>
                <a:cubicBezTo>
                  <a:pt x="493538" y="147653"/>
                  <a:pt x="492547" y="146377"/>
                  <a:pt x="490976" y="145500"/>
                </a:cubicBezTo>
                <a:cubicBezTo>
                  <a:pt x="490566" y="146805"/>
                  <a:pt x="490633" y="148739"/>
                  <a:pt x="489280" y="148701"/>
                </a:cubicBezTo>
                <a:cubicBezTo>
                  <a:pt x="487023" y="146996"/>
                  <a:pt x="486120" y="144032"/>
                  <a:pt x="487042" y="141357"/>
                </a:cubicBezTo>
                <a:cubicBezTo>
                  <a:pt x="484937" y="139395"/>
                  <a:pt x="483813" y="142376"/>
                  <a:pt x="482155" y="142852"/>
                </a:cubicBezTo>
                <a:cubicBezTo>
                  <a:pt x="480241" y="143276"/>
                  <a:pt x="478263" y="143334"/>
                  <a:pt x="476326" y="143024"/>
                </a:cubicBezTo>
                <a:cubicBezTo>
                  <a:pt x="475507" y="142833"/>
                  <a:pt x="475374" y="141709"/>
                  <a:pt x="475374" y="141709"/>
                </a:cubicBezTo>
                <a:cubicBezTo>
                  <a:pt x="473783" y="141214"/>
                  <a:pt x="470611" y="143719"/>
                  <a:pt x="470868" y="140938"/>
                </a:cubicBezTo>
                <a:cubicBezTo>
                  <a:pt x="472145" y="140881"/>
                  <a:pt x="473888" y="139538"/>
                  <a:pt x="472373" y="138871"/>
                </a:cubicBezTo>
                <a:cubicBezTo>
                  <a:pt x="470097" y="140290"/>
                  <a:pt x="469430" y="142948"/>
                  <a:pt x="466906" y="143748"/>
                </a:cubicBezTo>
                <a:cubicBezTo>
                  <a:pt x="467201" y="143662"/>
                  <a:pt x="466087" y="141843"/>
                  <a:pt x="465782" y="143557"/>
                </a:cubicBezTo>
                <a:cubicBezTo>
                  <a:pt x="466620" y="143948"/>
                  <a:pt x="466935" y="144719"/>
                  <a:pt x="466525" y="146005"/>
                </a:cubicBezTo>
                <a:cubicBezTo>
                  <a:pt x="462934" y="143233"/>
                  <a:pt x="462715" y="146224"/>
                  <a:pt x="459381" y="147110"/>
                </a:cubicBezTo>
                <a:cubicBezTo>
                  <a:pt x="458038" y="147110"/>
                  <a:pt x="456219" y="146367"/>
                  <a:pt x="455819" y="147663"/>
                </a:cubicBezTo>
                <a:cubicBezTo>
                  <a:pt x="456648" y="148063"/>
                  <a:pt x="458029" y="148072"/>
                  <a:pt x="457876" y="149167"/>
                </a:cubicBezTo>
                <a:cubicBezTo>
                  <a:pt x="457724" y="150263"/>
                  <a:pt x="456743" y="150358"/>
                  <a:pt x="456362" y="151234"/>
                </a:cubicBezTo>
                <a:cubicBezTo>
                  <a:pt x="459305" y="152577"/>
                  <a:pt x="459019" y="149329"/>
                  <a:pt x="461258" y="149749"/>
                </a:cubicBezTo>
                <a:cubicBezTo>
                  <a:pt x="462363" y="151273"/>
                  <a:pt x="465020" y="151654"/>
                  <a:pt x="467830" y="152015"/>
                </a:cubicBezTo>
                <a:cubicBezTo>
                  <a:pt x="468220" y="150720"/>
                  <a:pt x="468173" y="148786"/>
                  <a:pt x="469525" y="148825"/>
                </a:cubicBezTo>
                <a:cubicBezTo>
                  <a:pt x="469525" y="150815"/>
                  <a:pt x="473183" y="148386"/>
                  <a:pt x="473659" y="151844"/>
                </a:cubicBezTo>
                <a:cubicBezTo>
                  <a:pt x="472164" y="151606"/>
                  <a:pt x="472288" y="153644"/>
                  <a:pt x="471021" y="153749"/>
                </a:cubicBezTo>
                <a:cubicBezTo>
                  <a:pt x="469878" y="153559"/>
                  <a:pt x="469821" y="152606"/>
                  <a:pt x="468954" y="152235"/>
                </a:cubicBezTo>
                <a:cubicBezTo>
                  <a:pt x="467554" y="153520"/>
                  <a:pt x="467154" y="156206"/>
                  <a:pt x="465744" y="157483"/>
                </a:cubicBezTo>
                <a:cubicBezTo>
                  <a:pt x="470945" y="157759"/>
                  <a:pt x="469973" y="153673"/>
                  <a:pt x="471764" y="156197"/>
                </a:cubicBezTo>
                <a:cubicBezTo>
                  <a:pt x="472802" y="158138"/>
                  <a:pt x="474811" y="159363"/>
                  <a:pt x="477012" y="159397"/>
                </a:cubicBezTo>
                <a:cubicBezTo>
                  <a:pt x="476559" y="160897"/>
                  <a:pt x="477277" y="162501"/>
                  <a:pt x="478698" y="163160"/>
                </a:cubicBezTo>
                <a:cubicBezTo>
                  <a:pt x="480603" y="160588"/>
                  <a:pt x="478698" y="159540"/>
                  <a:pt x="480603" y="158845"/>
                </a:cubicBezTo>
                <a:cubicBezTo>
                  <a:pt x="482060" y="159464"/>
                  <a:pt x="482508" y="160817"/>
                  <a:pt x="484908" y="160750"/>
                </a:cubicBezTo>
                <a:cubicBezTo>
                  <a:pt x="485470" y="159216"/>
                  <a:pt x="487604" y="159883"/>
                  <a:pt x="488671" y="159073"/>
                </a:cubicBezTo>
                <a:cubicBezTo>
                  <a:pt x="489071" y="157769"/>
                  <a:pt x="489023" y="155835"/>
                  <a:pt x="490376" y="155883"/>
                </a:cubicBezTo>
                <a:cubicBezTo>
                  <a:pt x="493528" y="156626"/>
                  <a:pt x="493719" y="152073"/>
                  <a:pt x="496195" y="155711"/>
                </a:cubicBezTo>
                <a:cubicBezTo>
                  <a:pt x="497662" y="151692"/>
                  <a:pt x="490757" y="151558"/>
                  <a:pt x="495100" y="148491"/>
                </a:cubicBezTo>
                <a:close/>
                <a:moveTo>
                  <a:pt x="501634" y="164722"/>
                </a:moveTo>
                <a:cubicBezTo>
                  <a:pt x="502244" y="163398"/>
                  <a:pt x="503539" y="163912"/>
                  <a:pt x="504263" y="162817"/>
                </a:cubicBezTo>
                <a:cubicBezTo>
                  <a:pt x="497967" y="161864"/>
                  <a:pt x="499110" y="165065"/>
                  <a:pt x="497491" y="168618"/>
                </a:cubicBezTo>
                <a:cubicBezTo>
                  <a:pt x="499777" y="169675"/>
                  <a:pt x="502968" y="173542"/>
                  <a:pt x="504244" y="169770"/>
                </a:cubicBezTo>
                <a:cubicBezTo>
                  <a:pt x="502587" y="168932"/>
                  <a:pt x="500834" y="166398"/>
                  <a:pt x="501634" y="164636"/>
                </a:cubicBezTo>
                <a:close/>
                <a:moveTo>
                  <a:pt x="505625" y="148005"/>
                </a:moveTo>
                <a:cubicBezTo>
                  <a:pt x="503063" y="152692"/>
                  <a:pt x="499072" y="144996"/>
                  <a:pt x="496414" y="147605"/>
                </a:cubicBezTo>
                <a:cubicBezTo>
                  <a:pt x="499481" y="149958"/>
                  <a:pt x="501548" y="154101"/>
                  <a:pt x="505987" y="152711"/>
                </a:cubicBezTo>
                <a:cubicBezTo>
                  <a:pt x="506082" y="150939"/>
                  <a:pt x="507101" y="148567"/>
                  <a:pt x="505625" y="147948"/>
                </a:cubicBezTo>
                <a:close/>
                <a:moveTo>
                  <a:pt x="509435" y="125469"/>
                </a:moveTo>
                <a:cubicBezTo>
                  <a:pt x="508121" y="123400"/>
                  <a:pt x="506480" y="121557"/>
                  <a:pt x="504577" y="120011"/>
                </a:cubicBezTo>
                <a:lnTo>
                  <a:pt x="503806" y="124517"/>
                </a:lnTo>
                <a:cubicBezTo>
                  <a:pt x="504396" y="125231"/>
                  <a:pt x="508721" y="128003"/>
                  <a:pt x="509445" y="125412"/>
                </a:cubicBezTo>
                <a:close/>
                <a:moveTo>
                  <a:pt x="514055" y="152920"/>
                </a:moveTo>
                <a:cubicBezTo>
                  <a:pt x="511140" y="152073"/>
                  <a:pt x="510750" y="154825"/>
                  <a:pt x="509921" y="156854"/>
                </a:cubicBezTo>
                <a:cubicBezTo>
                  <a:pt x="512978" y="157235"/>
                  <a:pt x="515760" y="155111"/>
                  <a:pt x="514064" y="152863"/>
                </a:cubicBezTo>
                <a:close/>
                <a:moveTo>
                  <a:pt x="517417" y="160445"/>
                </a:moveTo>
                <a:cubicBezTo>
                  <a:pt x="519160" y="160836"/>
                  <a:pt x="518760" y="157302"/>
                  <a:pt x="517617" y="159321"/>
                </a:cubicBezTo>
                <a:cubicBezTo>
                  <a:pt x="515179" y="159940"/>
                  <a:pt x="517274" y="164341"/>
                  <a:pt x="518360" y="161769"/>
                </a:cubicBezTo>
                <a:cubicBezTo>
                  <a:pt x="517665" y="161531"/>
                  <a:pt x="517055" y="161312"/>
                  <a:pt x="517427" y="160388"/>
                </a:cubicBezTo>
                <a:close/>
                <a:moveTo>
                  <a:pt x="526152" y="129470"/>
                </a:moveTo>
                <a:cubicBezTo>
                  <a:pt x="522389" y="129822"/>
                  <a:pt x="522970" y="127098"/>
                  <a:pt x="520903" y="126260"/>
                </a:cubicBezTo>
                <a:cubicBezTo>
                  <a:pt x="520251" y="127687"/>
                  <a:pt x="518638" y="128405"/>
                  <a:pt x="517141" y="127936"/>
                </a:cubicBezTo>
                <a:cubicBezTo>
                  <a:pt x="518484" y="124012"/>
                  <a:pt x="514388" y="123945"/>
                  <a:pt x="510950" y="123412"/>
                </a:cubicBezTo>
                <a:cubicBezTo>
                  <a:pt x="510321" y="127822"/>
                  <a:pt x="515150" y="128365"/>
                  <a:pt x="519198" y="129451"/>
                </a:cubicBezTo>
                <a:cubicBezTo>
                  <a:pt x="519429" y="130829"/>
                  <a:pt x="520009" y="132124"/>
                  <a:pt x="520884" y="133213"/>
                </a:cubicBezTo>
                <a:cubicBezTo>
                  <a:pt x="520932" y="129498"/>
                  <a:pt x="526552" y="133689"/>
                  <a:pt x="526161" y="129394"/>
                </a:cubicBezTo>
                <a:close/>
                <a:moveTo>
                  <a:pt x="544592" y="123317"/>
                </a:moveTo>
                <a:cubicBezTo>
                  <a:pt x="547697" y="125641"/>
                  <a:pt x="548545" y="117992"/>
                  <a:pt x="546668" y="117878"/>
                </a:cubicBezTo>
                <a:cubicBezTo>
                  <a:pt x="547068" y="121164"/>
                  <a:pt x="544592" y="120469"/>
                  <a:pt x="544601" y="123259"/>
                </a:cubicBezTo>
                <a:close/>
                <a:moveTo>
                  <a:pt x="541934" y="132146"/>
                </a:moveTo>
                <a:cubicBezTo>
                  <a:pt x="541573" y="132213"/>
                  <a:pt x="543030" y="133642"/>
                  <a:pt x="543992" y="133651"/>
                </a:cubicBezTo>
                <a:cubicBezTo>
                  <a:pt x="544382" y="133651"/>
                  <a:pt x="545163" y="131832"/>
                  <a:pt x="546430" y="132908"/>
                </a:cubicBezTo>
                <a:cubicBezTo>
                  <a:pt x="547040" y="130476"/>
                  <a:pt x="546641" y="127900"/>
                  <a:pt x="545325" y="125765"/>
                </a:cubicBezTo>
                <a:cubicBezTo>
                  <a:pt x="544544" y="127612"/>
                  <a:pt x="543916" y="125279"/>
                  <a:pt x="541953" y="125193"/>
                </a:cubicBezTo>
                <a:cubicBezTo>
                  <a:pt x="540465" y="127531"/>
                  <a:pt x="538545" y="129564"/>
                  <a:pt x="536296" y="131184"/>
                </a:cubicBezTo>
                <a:cubicBezTo>
                  <a:pt x="534610" y="130403"/>
                  <a:pt x="535934" y="127479"/>
                  <a:pt x="532171" y="128174"/>
                </a:cubicBezTo>
                <a:cubicBezTo>
                  <a:pt x="529819" y="131432"/>
                  <a:pt x="532400" y="135118"/>
                  <a:pt x="528771" y="134547"/>
                </a:cubicBezTo>
                <a:cubicBezTo>
                  <a:pt x="529371" y="137090"/>
                  <a:pt x="527666" y="141281"/>
                  <a:pt x="532324" y="140947"/>
                </a:cubicBezTo>
                <a:cubicBezTo>
                  <a:pt x="533457" y="138366"/>
                  <a:pt x="532324" y="132537"/>
                  <a:pt x="534981" y="132127"/>
                </a:cubicBezTo>
                <a:cubicBezTo>
                  <a:pt x="536734" y="132527"/>
                  <a:pt x="535372" y="135147"/>
                  <a:pt x="537972" y="134985"/>
                </a:cubicBezTo>
                <a:cubicBezTo>
                  <a:pt x="539896" y="134061"/>
                  <a:pt x="540525" y="132356"/>
                  <a:pt x="541944" y="132089"/>
                </a:cubicBezTo>
                <a:close/>
                <a:moveTo>
                  <a:pt x="546240" y="134051"/>
                </a:moveTo>
                <a:cubicBezTo>
                  <a:pt x="545868" y="139471"/>
                  <a:pt x="544487" y="135956"/>
                  <a:pt x="542677" y="134613"/>
                </a:cubicBezTo>
                <a:cubicBezTo>
                  <a:pt x="543630" y="137661"/>
                  <a:pt x="538572" y="138719"/>
                  <a:pt x="541725" y="140243"/>
                </a:cubicBezTo>
                <a:cubicBezTo>
                  <a:pt x="543563" y="138442"/>
                  <a:pt x="551088" y="136709"/>
                  <a:pt x="546240" y="133975"/>
                </a:cubicBezTo>
                <a:close/>
                <a:moveTo>
                  <a:pt x="552326" y="111906"/>
                </a:moveTo>
                <a:cubicBezTo>
                  <a:pt x="553593" y="115763"/>
                  <a:pt x="547354" y="115792"/>
                  <a:pt x="550240" y="117344"/>
                </a:cubicBezTo>
                <a:cubicBezTo>
                  <a:pt x="550659" y="116059"/>
                  <a:pt x="552240" y="116392"/>
                  <a:pt x="553812" y="116792"/>
                </a:cubicBezTo>
                <a:cubicBezTo>
                  <a:pt x="554574" y="114201"/>
                  <a:pt x="554269" y="112430"/>
                  <a:pt x="552336" y="111829"/>
                </a:cubicBezTo>
                <a:close/>
                <a:moveTo>
                  <a:pt x="559460" y="49345"/>
                </a:moveTo>
                <a:cubicBezTo>
                  <a:pt x="557975" y="49079"/>
                  <a:pt x="558765" y="47193"/>
                  <a:pt x="557555" y="46707"/>
                </a:cubicBezTo>
                <a:cubicBezTo>
                  <a:pt x="557155" y="47545"/>
                  <a:pt x="556384" y="47860"/>
                  <a:pt x="555108" y="47460"/>
                </a:cubicBezTo>
                <a:cubicBezTo>
                  <a:pt x="553964" y="51508"/>
                  <a:pt x="557936" y="51422"/>
                  <a:pt x="559470" y="49269"/>
                </a:cubicBezTo>
                <a:close/>
                <a:moveTo>
                  <a:pt x="558270" y="70015"/>
                </a:moveTo>
                <a:cubicBezTo>
                  <a:pt x="559118" y="67948"/>
                  <a:pt x="561832" y="68519"/>
                  <a:pt x="561480" y="64766"/>
                </a:cubicBezTo>
                <a:cubicBezTo>
                  <a:pt x="558822" y="64871"/>
                  <a:pt x="555346" y="66024"/>
                  <a:pt x="553593" y="63423"/>
                </a:cubicBezTo>
                <a:cubicBezTo>
                  <a:pt x="553193" y="64719"/>
                  <a:pt x="553241" y="66652"/>
                  <a:pt x="551898" y="66614"/>
                </a:cubicBezTo>
                <a:cubicBezTo>
                  <a:pt x="552374" y="71377"/>
                  <a:pt x="555708" y="71853"/>
                  <a:pt x="552431" y="77139"/>
                </a:cubicBezTo>
                <a:cubicBezTo>
                  <a:pt x="557584" y="79197"/>
                  <a:pt x="557670" y="74149"/>
                  <a:pt x="558279" y="69939"/>
                </a:cubicBezTo>
                <a:close/>
                <a:moveTo>
                  <a:pt x="563385" y="121897"/>
                </a:moveTo>
                <a:cubicBezTo>
                  <a:pt x="562070" y="120507"/>
                  <a:pt x="560299" y="119459"/>
                  <a:pt x="559441" y="117745"/>
                </a:cubicBezTo>
                <a:cubicBezTo>
                  <a:pt x="562099" y="118183"/>
                  <a:pt x="559556" y="114601"/>
                  <a:pt x="557536" y="115106"/>
                </a:cubicBezTo>
                <a:cubicBezTo>
                  <a:pt x="558287" y="117804"/>
                  <a:pt x="557794" y="120695"/>
                  <a:pt x="556193" y="122993"/>
                </a:cubicBezTo>
                <a:cubicBezTo>
                  <a:pt x="558650" y="123589"/>
                  <a:pt x="561244" y="123167"/>
                  <a:pt x="563385" y="121821"/>
                </a:cubicBezTo>
                <a:close/>
                <a:moveTo>
                  <a:pt x="571129" y="42049"/>
                </a:moveTo>
                <a:cubicBezTo>
                  <a:pt x="568271" y="39716"/>
                  <a:pt x="567195" y="46393"/>
                  <a:pt x="569224" y="46374"/>
                </a:cubicBezTo>
                <a:cubicBezTo>
                  <a:pt x="569274" y="44715"/>
                  <a:pt x="569959" y="43140"/>
                  <a:pt x="571138" y="41973"/>
                </a:cubicBezTo>
                <a:close/>
                <a:moveTo>
                  <a:pt x="592274" y="74625"/>
                </a:moveTo>
                <a:cubicBezTo>
                  <a:pt x="594055" y="74815"/>
                  <a:pt x="596151" y="75434"/>
                  <a:pt x="596027" y="72939"/>
                </a:cubicBezTo>
                <a:lnTo>
                  <a:pt x="593779" y="72558"/>
                </a:lnTo>
                <a:cubicBezTo>
                  <a:pt x="593598" y="73615"/>
                  <a:pt x="592646" y="73672"/>
                  <a:pt x="592284" y="74549"/>
                </a:cubicBezTo>
                <a:close/>
                <a:moveTo>
                  <a:pt x="584873" y="97713"/>
                </a:moveTo>
                <a:cubicBezTo>
                  <a:pt x="584959" y="95675"/>
                  <a:pt x="586969" y="92265"/>
                  <a:pt x="583387" y="92827"/>
                </a:cubicBezTo>
                <a:cubicBezTo>
                  <a:pt x="582644" y="95266"/>
                  <a:pt x="582949" y="97009"/>
                  <a:pt x="584883" y="97637"/>
                </a:cubicBezTo>
                <a:close/>
                <a:moveTo>
                  <a:pt x="572767" y="128117"/>
                </a:moveTo>
                <a:lnTo>
                  <a:pt x="575015" y="128498"/>
                </a:lnTo>
                <a:cubicBezTo>
                  <a:pt x="575148" y="127755"/>
                  <a:pt x="575272" y="127003"/>
                  <a:pt x="575405" y="126250"/>
                </a:cubicBezTo>
                <a:lnTo>
                  <a:pt x="573148" y="125869"/>
                </a:lnTo>
                <a:cubicBezTo>
                  <a:pt x="573024" y="126536"/>
                  <a:pt x="572910" y="127289"/>
                  <a:pt x="572776" y="128041"/>
                </a:cubicBezTo>
                <a:close/>
                <a:moveTo>
                  <a:pt x="574224" y="139966"/>
                </a:moveTo>
                <a:cubicBezTo>
                  <a:pt x="571005" y="135899"/>
                  <a:pt x="570109" y="143548"/>
                  <a:pt x="574224" y="139966"/>
                </a:cubicBezTo>
                <a:close/>
                <a:moveTo>
                  <a:pt x="578034" y="131327"/>
                </a:moveTo>
                <a:cubicBezTo>
                  <a:pt x="573100" y="130708"/>
                  <a:pt x="575643" y="132937"/>
                  <a:pt x="574815" y="136585"/>
                </a:cubicBezTo>
                <a:cubicBezTo>
                  <a:pt x="579311" y="137442"/>
                  <a:pt x="578282" y="134156"/>
                  <a:pt x="578025" y="131299"/>
                </a:cubicBezTo>
                <a:close/>
                <a:moveTo>
                  <a:pt x="594455" y="102724"/>
                </a:moveTo>
                <a:cubicBezTo>
                  <a:pt x="591598" y="102419"/>
                  <a:pt x="591255" y="100361"/>
                  <a:pt x="589198" y="99504"/>
                </a:cubicBezTo>
                <a:cubicBezTo>
                  <a:pt x="589521" y="103590"/>
                  <a:pt x="586807" y="103076"/>
                  <a:pt x="585435" y="101190"/>
                </a:cubicBezTo>
                <a:cubicBezTo>
                  <a:pt x="583997" y="103095"/>
                  <a:pt x="588178" y="105524"/>
                  <a:pt x="584673" y="105695"/>
                </a:cubicBezTo>
                <a:cubicBezTo>
                  <a:pt x="583721" y="102733"/>
                  <a:pt x="580673" y="101266"/>
                  <a:pt x="577548" y="99857"/>
                </a:cubicBezTo>
                <a:cubicBezTo>
                  <a:pt x="576929" y="101943"/>
                  <a:pt x="578396" y="102552"/>
                  <a:pt x="577901" y="104552"/>
                </a:cubicBezTo>
                <a:cubicBezTo>
                  <a:pt x="579558" y="105029"/>
                  <a:pt x="582139" y="104857"/>
                  <a:pt x="582225" y="106457"/>
                </a:cubicBezTo>
                <a:cubicBezTo>
                  <a:pt x="580141" y="108984"/>
                  <a:pt x="578484" y="111835"/>
                  <a:pt x="577320" y="114897"/>
                </a:cubicBezTo>
                <a:cubicBezTo>
                  <a:pt x="580320" y="116392"/>
                  <a:pt x="581330" y="119316"/>
                  <a:pt x="585759" y="119802"/>
                </a:cubicBezTo>
                <a:cubicBezTo>
                  <a:pt x="586159" y="118973"/>
                  <a:pt x="586169" y="117583"/>
                  <a:pt x="587264" y="117745"/>
                </a:cubicBezTo>
                <a:cubicBezTo>
                  <a:pt x="588187" y="115075"/>
                  <a:pt x="587287" y="112115"/>
                  <a:pt x="585035" y="110410"/>
                </a:cubicBezTo>
                <a:cubicBezTo>
                  <a:pt x="583349" y="110829"/>
                  <a:pt x="584130" y="114716"/>
                  <a:pt x="582016" y="114535"/>
                </a:cubicBezTo>
                <a:cubicBezTo>
                  <a:pt x="582206" y="113401"/>
                  <a:pt x="581330" y="113039"/>
                  <a:pt x="581273" y="112087"/>
                </a:cubicBezTo>
                <a:cubicBezTo>
                  <a:pt x="583178" y="110515"/>
                  <a:pt x="583635" y="107038"/>
                  <a:pt x="585607" y="107029"/>
                </a:cubicBezTo>
                <a:cubicBezTo>
                  <a:pt x="585692" y="107029"/>
                  <a:pt x="586350" y="109239"/>
                  <a:pt x="587664" y="108534"/>
                </a:cubicBezTo>
                <a:cubicBezTo>
                  <a:pt x="588521" y="108077"/>
                  <a:pt x="587664" y="104657"/>
                  <a:pt x="589369" y="105343"/>
                </a:cubicBezTo>
                <a:cubicBezTo>
                  <a:pt x="589845" y="107248"/>
                  <a:pt x="588664" y="110782"/>
                  <a:pt x="592369" y="108200"/>
                </a:cubicBezTo>
                <a:cubicBezTo>
                  <a:pt x="587864" y="105867"/>
                  <a:pt x="593865" y="105743"/>
                  <a:pt x="594455" y="102724"/>
                </a:cubicBezTo>
                <a:close/>
                <a:moveTo>
                  <a:pt x="606838" y="97866"/>
                </a:moveTo>
                <a:cubicBezTo>
                  <a:pt x="602723" y="96475"/>
                  <a:pt x="590293" y="89627"/>
                  <a:pt x="592922" y="97866"/>
                </a:cubicBezTo>
                <a:cubicBezTo>
                  <a:pt x="595084" y="98580"/>
                  <a:pt x="595417" y="96723"/>
                  <a:pt x="596732" y="96189"/>
                </a:cubicBezTo>
                <a:cubicBezTo>
                  <a:pt x="596541" y="97980"/>
                  <a:pt x="595913" y="100066"/>
                  <a:pt x="598408" y="99952"/>
                </a:cubicBezTo>
                <a:cubicBezTo>
                  <a:pt x="599180" y="98047"/>
                  <a:pt x="597218" y="96780"/>
                  <a:pt x="598989" y="96570"/>
                </a:cubicBezTo>
                <a:cubicBezTo>
                  <a:pt x="604190" y="96504"/>
                  <a:pt x="597294" y="105029"/>
                  <a:pt x="602151" y="105229"/>
                </a:cubicBezTo>
                <a:cubicBezTo>
                  <a:pt x="604628" y="103438"/>
                  <a:pt x="601828" y="103066"/>
                  <a:pt x="603104" y="99590"/>
                </a:cubicBezTo>
                <a:cubicBezTo>
                  <a:pt x="604487" y="99355"/>
                  <a:pt x="605785" y="98767"/>
                  <a:pt x="606876" y="97885"/>
                </a:cubicBezTo>
                <a:close/>
                <a:moveTo>
                  <a:pt x="487289" y="379025"/>
                </a:moveTo>
                <a:cubicBezTo>
                  <a:pt x="487509" y="380225"/>
                  <a:pt x="486337" y="379653"/>
                  <a:pt x="485975" y="379977"/>
                </a:cubicBezTo>
                <a:cubicBezTo>
                  <a:pt x="483822" y="381635"/>
                  <a:pt x="486127" y="384816"/>
                  <a:pt x="487651" y="383787"/>
                </a:cubicBezTo>
                <a:cubicBezTo>
                  <a:pt x="488528" y="383102"/>
                  <a:pt x="488137" y="378806"/>
                  <a:pt x="487289" y="379025"/>
                </a:cubicBezTo>
                <a:close/>
                <a:moveTo>
                  <a:pt x="491185" y="397046"/>
                </a:moveTo>
                <a:cubicBezTo>
                  <a:pt x="487756" y="395055"/>
                  <a:pt x="488899" y="402952"/>
                  <a:pt x="491738" y="400628"/>
                </a:cubicBezTo>
                <a:cubicBezTo>
                  <a:pt x="492776" y="399799"/>
                  <a:pt x="491595" y="397313"/>
                  <a:pt x="491185" y="397046"/>
                </a:cubicBezTo>
                <a:close/>
                <a:moveTo>
                  <a:pt x="511121" y="388845"/>
                </a:moveTo>
                <a:cubicBezTo>
                  <a:pt x="510950" y="389521"/>
                  <a:pt x="510730" y="390150"/>
                  <a:pt x="509807" y="389798"/>
                </a:cubicBezTo>
                <a:cubicBezTo>
                  <a:pt x="509683" y="390550"/>
                  <a:pt x="509559" y="391293"/>
                  <a:pt x="509426" y="392045"/>
                </a:cubicBezTo>
                <a:cubicBezTo>
                  <a:pt x="512226" y="392674"/>
                  <a:pt x="512588" y="394798"/>
                  <a:pt x="514121" y="391684"/>
                </a:cubicBezTo>
                <a:cubicBezTo>
                  <a:pt x="511854" y="391655"/>
                  <a:pt x="512150" y="389798"/>
                  <a:pt x="511121" y="388874"/>
                </a:cubicBezTo>
                <a:close/>
                <a:moveTo>
                  <a:pt x="520303" y="334753"/>
                </a:moveTo>
                <a:cubicBezTo>
                  <a:pt x="517084" y="331790"/>
                  <a:pt x="513969" y="335010"/>
                  <a:pt x="512026" y="335705"/>
                </a:cubicBezTo>
                <a:cubicBezTo>
                  <a:pt x="512521" y="335534"/>
                  <a:pt x="510473" y="333800"/>
                  <a:pt x="510721" y="336658"/>
                </a:cubicBezTo>
                <a:cubicBezTo>
                  <a:pt x="510473" y="338153"/>
                  <a:pt x="512521" y="338020"/>
                  <a:pt x="512626" y="339296"/>
                </a:cubicBezTo>
                <a:cubicBezTo>
                  <a:pt x="515760" y="338629"/>
                  <a:pt x="519313" y="338496"/>
                  <a:pt x="520303" y="334781"/>
                </a:cubicBezTo>
                <a:close/>
                <a:moveTo>
                  <a:pt x="535486" y="347764"/>
                </a:moveTo>
                <a:cubicBezTo>
                  <a:pt x="534762" y="345478"/>
                  <a:pt x="539506" y="344563"/>
                  <a:pt x="536258" y="343249"/>
                </a:cubicBezTo>
                <a:cubicBezTo>
                  <a:pt x="535810" y="343916"/>
                  <a:pt x="532714" y="347145"/>
                  <a:pt x="535486" y="347792"/>
                </a:cubicBezTo>
                <a:close/>
                <a:moveTo>
                  <a:pt x="530247" y="337601"/>
                </a:moveTo>
                <a:cubicBezTo>
                  <a:pt x="530123" y="338353"/>
                  <a:pt x="530000" y="339096"/>
                  <a:pt x="529866" y="339848"/>
                </a:cubicBezTo>
                <a:cubicBezTo>
                  <a:pt x="525904" y="338896"/>
                  <a:pt x="522989" y="339467"/>
                  <a:pt x="521408" y="341896"/>
                </a:cubicBezTo>
                <a:cubicBezTo>
                  <a:pt x="522265" y="343801"/>
                  <a:pt x="523970" y="342001"/>
                  <a:pt x="524789" y="342468"/>
                </a:cubicBezTo>
                <a:cubicBezTo>
                  <a:pt x="525609" y="342935"/>
                  <a:pt x="525409" y="345802"/>
                  <a:pt x="527790" y="345325"/>
                </a:cubicBezTo>
                <a:cubicBezTo>
                  <a:pt x="530247" y="342544"/>
                  <a:pt x="535762" y="340782"/>
                  <a:pt x="530247" y="337629"/>
                </a:cubicBezTo>
                <a:close/>
                <a:moveTo>
                  <a:pt x="553964" y="259305"/>
                </a:moveTo>
                <a:cubicBezTo>
                  <a:pt x="551374" y="258505"/>
                  <a:pt x="554203" y="253857"/>
                  <a:pt x="550231" y="254038"/>
                </a:cubicBezTo>
                <a:cubicBezTo>
                  <a:pt x="548545" y="258172"/>
                  <a:pt x="546973" y="262172"/>
                  <a:pt x="550755" y="264515"/>
                </a:cubicBezTo>
                <a:cubicBezTo>
                  <a:pt x="551069" y="261791"/>
                  <a:pt x="553126" y="261401"/>
                  <a:pt x="553964" y="259334"/>
                </a:cubicBezTo>
                <a:close/>
                <a:moveTo>
                  <a:pt x="561480" y="255981"/>
                </a:moveTo>
                <a:cubicBezTo>
                  <a:pt x="558622" y="253638"/>
                  <a:pt x="557536" y="260315"/>
                  <a:pt x="559575" y="260296"/>
                </a:cubicBezTo>
                <a:cubicBezTo>
                  <a:pt x="560222" y="258829"/>
                  <a:pt x="561575" y="258419"/>
                  <a:pt x="561480" y="255981"/>
                </a:cubicBezTo>
                <a:close/>
                <a:moveTo>
                  <a:pt x="567509" y="247723"/>
                </a:moveTo>
                <a:lnTo>
                  <a:pt x="565261" y="247342"/>
                </a:lnTo>
                <a:lnTo>
                  <a:pt x="564880" y="249599"/>
                </a:lnTo>
                <a:lnTo>
                  <a:pt x="567128" y="249980"/>
                </a:lnTo>
                <a:close/>
                <a:moveTo>
                  <a:pt x="581882" y="224644"/>
                </a:moveTo>
                <a:cubicBezTo>
                  <a:pt x="578425" y="223043"/>
                  <a:pt x="579025" y="227177"/>
                  <a:pt x="576805" y="227263"/>
                </a:cubicBezTo>
                <a:cubicBezTo>
                  <a:pt x="576853" y="226568"/>
                  <a:pt x="576863" y="225901"/>
                  <a:pt x="575853" y="225949"/>
                </a:cubicBezTo>
                <a:cubicBezTo>
                  <a:pt x="575758" y="227663"/>
                  <a:pt x="574739" y="230035"/>
                  <a:pt x="576215" y="230644"/>
                </a:cubicBezTo>
                <a:cubicBezTo>
                  <a:pt x="577444" y="227720"/>
                  <a:pt x="581416" y="228644"/>
                  <a:pt x="581882" y="224644"/>
                </a:cubicBezTo>
                <a:close/>
                <a:moveTo>
                  <a:pt x="609905" y="216652"/>
                </a:moveTo>
                <a:cubicBezTo>
                  <a:pt x="609705" y="216262"/>
                  <a:pt x="608000" y="216566"/>
                  <a:pt x="607657" y="216271"/>
                </a:cubicBezTo>
                <a:cubicBezTo>
                  <a:pt x="607505" y="216138"/>
                  <a:pt x="607104" y="214366"/>
                  <a:pt x="606523" y="216071"/>
                </a:cubicBezTo>
                <a:cubicBezTo>
                  <a:pt x="606628" y="215776"/>
                  <a:pt x="608276" y="218710"/>
                  <a:pt x="608428" y="218710"/>
                </a:cubicBezTo>
                <a:cubicBezTo>
                  <a:pt x="608858" y="217984"/>
                  <a:pt x="609351" y="217298"/>
                  <a:pt x="609905" y="216662"/>
                </a:cubicBezTo>
                <a:close/>
                <a:moveTo>
                  <a:pt x="660387" y="103486"/>
                </a:moveTo>
                <a:cubicBezTo>
                  <a:pt x="662454" y="101337"/>
                  <a:pt x="664726" y="99394"/>
                  <a:pt x="667169" y="97685"/>
                </a:cubicBezTo>
                <a:cubicBezTo>
                  <a:pt x="664283" y="97866"/>
                  <a:pt x="657463" y="99704"/>
                  <a:pt x="660406" y="103495"/>
                </a:cubicBezTo>
                <a:close/>
                <a:moveTo>
                  <a:pt x="662292" y="92218"/>
                </a:moveTo>
                <a:lnTo>
                  <a:pt x="657787" y="91456"/>
                </a:lnTo>
                <a:cubicBezTo>
                  <a:pt x="656949" y="95104"/>
                  <a:pt x="662340" y="96799"/>
                  <a:pt x="662321" y="92246"/>
                </a:cubicBezTo>
                <a:close/>
                <a:moveTo>
                  <a:pt x="650862" y="91427"/>
                </a:moveTo>
                <a:lnTo>
                  <a:pt x="653120" y="91817"/>
                </a:lnTo>
                <a:cubicBezTo>
                  <a:pt x="653434" y="90389"/>
                  <a:pt x="654834" y="90503"/>
                  <a:pt x="654825" y="88627"/>
                </a:cubicBezTo>
                <a:lnTo>
                  <a:pt x="651434" y="88055"/>
                </a:lnTo>
                <a:close/>
                <a:moveTo>
                  <a:pt x="650653" y="99514"/>
                </a:moveTo>
                <a:cubicBezTo>
                  <a:pt x="651311" y="98067"/>
                  <a:pt x="652949" y="97342"/>
                  <a:pt x="654463" y="97828"/>
                </a:cubicBezTo>
                <a:cubicBezTo>
                  <a:pt x="654384" y="95807"/>
                  <a:pt x="655134" y="93842"/>
                  <a:pt x="656539" y="92389"/>
                </a:cubicBezTo>
                <a:cubicBezTo>
                  <a:pt x="655806" y="92389"/>
                  <a:pt x="655015" y="91932"/>
                  <a:pt x="654291" y="92008"/>
                </a:cubicBezTo>
                <a:cubicBezTo>
                  <a:pt x="652739" y="92151"/>
                  <a:pt x="653625" y="92913"/>
                  <a:pt x="652777" y="94065"/>
                </a:cubicBezTo>
                <a:cubicBezTo>
                  <a:pt x="652177" y="94885"/>
                  <a:pt x="651615" y="93818"/>
                  <a:pt x="652586" y="95199"/>
                </a:cubicBezTo>
                <a:cubicBezTo>
                  <a:pt x="652977" y="95751"/>
                  <a:pt x="650129" y="96694"/>
                  <a:pt x="649948" y="97104"/>
                </a:cubicBezTo>
                <a:cubicBezTo>
                  <a:pt x="649557" y="97780"/>
                  <a:pt x="649910" y="99476"/>
                  <a:pt x="650643" y="99523"/>
                </a:cubicBezTo>
                <a:close/>
                <a:moveTo>
                  <a:pt x="648157" y="66624"/>
                </a:moveTo>
                <a:cubicBezTo>
                  <a:pt x="652196" y="61776"/>
                  <a:pt x="644928" y="63271"/>
                  <a:pt x="648157" y="66624"/>
                </a:cubicBezTo>
                <a:close/>
                <a:moveTo>
                  <a:pt x="647481" y="104724"/>
                </a:moveTo>
                <a:cubicBezTo>
                  <a:pt x="647176" y="106153"/>
                  <a:pt x="645776" y="106038"/>
                  <a:pt x="645776" y="107915"/>
                </a:cubicBezTo>
                <a:cubicBezTo>
                  <a:pt x="648681" y="108277"/>
                  <a:pt x="650072" y="106515"/>
                  <a:pt x="651996" y="105486"/>
                </a:cubicBezTo>
                <a:cubicBezTo>
                  <a:pt x="649748" y="104438"/>
                  <a:pt x="649243" y="102152"/>
                  <a:pt x="645614" y="102085"/>
                </a:cubicBezTo>
                <a:cubicBezTo>
                  <a:pt x="643909" y="106934"/>
                  <a:pt x="647957" y="101609"/>
                  <a:pt x="647433" y="104771"/>
                </a:cubicBezTo>
                <a:close/>
                <a:moveTo>
                  <a:pt x="645204" y="111296"/>
                </a:moveTo>
                <a:cubicBezTo>
                  <a:pt x="645500" y="112068"/>
                  <a:pt x="649214" y="111353"/>
                  <a:pt x="648395" y="113001"/>
                </a:cubicBezTo>
                <a:cubicBezTo>
                  <a:pt x="647700" y="112944"/>
                  <a:pt x="647043" y="112934"/>
                  <a:pt x="647081" y="113954"/>
                </a:cubicBezTo>
                <a:cubicBezTo>
                  <a:pt x="650205" y="115859"/>
                  <a:pt x="652729" y="110029"/>
                  <a:pt x="650291" y="108705"/>
                </a:cubicBezTo>
                <a:cubicBezTo>
                  <a:pt x="650234" y="111982"/>
                  <a:pt x="644414" y="109324"/>
                  <a:pt x="645157" y="111344"/>
                </a:cubicBezTo>
                <a:close/>
                <a:moveTo>
                  <a:pt x="631384" y="83445"/>
                </a:moveTo>
                <a:cubicBezTo>
                  <a:pt x="635270" y="82664"/>
                  <a:pt x="631622" y="87255"/>
                  <a:pt x="635508" y="86464"/>
                </a:cubicBezTo>
                <a:cubicBezTo>
                  <a:pt x="636232" y="84302"/>
                  <a:pt x="634365" y="83969"/>
                  <a:pt x="633832" y="82702"/>
                </a:cubicBezTo>
                <a:cubicBezTo>
                  <a:pt x="634917" y="79921"/>
                  <a:pt x="635994" y="79006"/>
                  <a:pt x="633660" y="76873"/>
                </a:cubicBezTo>
                <a:cubicBezTo>
                  <a:pt x="633742" y="79292"/>
                  <a:pt x="632912" y="81655"/>
                  <a:pt x="631336" y="83493"/>
                </a:cubicBezTo>
                <a:close/>
                <a:moveTo>
                  <a:pt x="617392" y="97361"/>
                </a:moveTo>
                <a:lnTo>
                  <a:pt x="617782" y="95104"/>
                </a:lnTo>
                <a:cubicBezTo>
                  <a:pt x="617668" y="94151"/>
                  <a:pt x="618115" y="92875"/>
                  <a:pt x="617030" y="92656"/>
                </a:cubicBezTo>
                <a:cubicBezTo>
                  <a:pt x="616944" y="94370"/>
                  <a:pt x="615925" y="96751"/>
                  <a:pt x="617392" y="97361"/>
                </a:cubicBezTo>
                <a:close/>
                <a:moveTo>
                  <a:pt x="613248" y="101295"/>
                </a:moveTo>
                <a:cubicBezTo>
                  <a:pt x="613172" y="103981"/>
                  <a:pt x="613581" y="106343"/>
                  <a:pt x="615677" y="107505"/>
                </a:cubicBezTo>
                <a:cubicBezTo>
                  <a:pt x="615934" y="106000"/>
                  <a:pt x="616182" y="104495"/>
                  <a:pt x="616439" y="102990"/>
                </a:cubicBezTo>
                <a:cubicBezTo>
                  <a:pt x="615213" y="102805"/>
                  <a:pt x="614088" y="102206"/>
                  <a:pt x="613248" y="101295"/>
                </a:cubicBezTo>
                <a:close/>
                <a:moveTo>
                  <a:pt x="611343" y="119516"/>
                </a:moveTo>
                <a:cubicBezTo>
                  <a:pt x="609171" y="119402"/>
                  <a:pt x="609076" y="117821"/>
                  <a:pt x="607028" y="117611"/>
                </a:cubicBezTo>
                <a:cubicBezTo>
                  <a:pt x="606924" y="119011"/>
                  <a:pt x="606914" y="120335"/>
                  <a:pt x="608933" y="120250"/>
                </a:cubicBezTo>
                <a:cubicBezTo>
                  <a:pt x="608829" y="121650"/>
                  <a:pt x="608819" y="122974"/>
                  <a:pt x="610838" y="122878"/>
                </a:cubicBezTo>
                <a:close/>
                <a:moveTo>
                  <a:pt x="612800" y="199755"/>
                </a:moveTo>
                <a:cubicBezTo>
                  <a:pt x="612924" y="199002"/>
                  <a:pt x="613058" y="198250"/>
                  <a:pt x="613181" y="197497"/>
                </a:cubicBezTo>
                <a:cubicBezTo>
                  <a:pt x="614515" y="191382"/>
                  <a:pt x="609562" y="199440"/>
                  <a:pt x="612772" y="199755"/>
                </a:cubicBezTo>
                <a:close/>
                <a:moveTo>
                  <a:pt x="613572" y="126850"/>
                </a:moveTo>
                <a:cubicBezTo>
                  <a:pt x="612229" y="130060"/>
                  <a:pt x="611276" y="132175"/>
                  <a:pt x="612429" y="133604"/>
                </a:cubicBezTo>
                <a:cubicBezTo>
                  <a:pt x="614514" y="132575"/>
                  <a:pt x="615371" y="130051"/>
                  <a:pt x="614342" y="127966"/>
                </a:cubicBezTo>
                <a:cubicBezTo>
                  <a:pt x="614139" y="127552"/>
                  <a:pt x="613869" y="127176"/>
                  <a:pt x="613543" y="126850"/>
                </a:cubicBezTo>
                <a:close/>
                <a:moveTo>
                  <a:pt x="615867" y="113325"/>
                </a:moveTo>
                <a:cubicBezTo>
                  <a:pt x="616153" y="112763"/>
                  <a:pt x="619677" y="112306"/>
                  <a:pt x="617372" y="111258"/>
                </a:cubicBezTo>
                <a:cubicBezTo>
                  <a:pt x="617201" y="111934"/>
                  <a:pt x="616982" y="112563"/>
                  <a:pt x="616058" y="112210"/>
                </a:cubicBezTo>
                <a:cubicBezTo>
                  <a:pt x="615840" y="110816"/>
                  <a:pt x="615262" y="109503"/>
                  <a:pt x="614382" y="108400"/>
                </a:cubicBezTo>
                <a:cubicBezTo>
                  <a:pt x="615086" y="113582"/>
                  <a:pt x="609619" y="110058"/>
                  <a:pt x="609857" y="114592"/>
                </a:cubicBezTo>
                <a:cubicBezTo>
                  <a:pt x="612648" y="114592"/>
                  <a:pt x="611953" y="117068"/>
                  <a:pt x="615296" y="116678"/>
                </a:cubicBezTo>
                <a:cubicBezTo>
                  <a:pt x="617172" y="115773"/>
                  <a:pt x="615382" y="114239"/>
                  <a:pt x="615839" y="113325"/>
                </a:cubicBezTo>
                <a:close/>
                <a:moveTo>
                  <a:pt x="621468" y="189630"/>
                </a:moveTo>
                <a:cubicBezTo>
                  <a:pt x="621659" y="188953"/>
                  <a:pt x="621868" y="188325"/>
                  <a:pt x="622802" y="188677"/>
                </a:cubicBezTo>
                <a:cubicBezTo>
                  <a:pt x="622618" y="189908"/>
                  <a:pt x="622011" y="191036"/>
                  <a:pt x="621087" y="191868"/>
                </a:cubicBezTo>
                <a:cubicBezTo>
                  <a:pt x="623345" y="192916"/>
                  <a:pt x="623830" y="195211"/>
                  <a:pt x="627469" y="195268"/>
                </a:cubicBezTo>
                <a:cubicBezTo>
                  <a:pt x="628079" y="193802"/>
                  <a:pt x="629441" y="193363"/>
                  <a:pt x="629374" y="190954"/>
                </a:cubicBezTo>
                <a:cubicBezTo>
                  <a:pt x="628231" y="190049"/>
                  <a:pt x="626278" y="191830"/>
                  <a:pt x="625802" y="191506"/>
                </a:cubicBezTo>
                <a:cubicBezTo>
                  <a:pt x="625107" y="191030"/>
                  <a:pt x="625802" y="188401"/>
                  <a:pt x="625250" y="187934"/>
                </a:cubicBezTo>
                <a:cubicBezTo>
                  <a:pt x="623392" y="186315"/>
                  <a:pt x="618896" y="185934"/>
                  <a:pt x="621487" y="189630"/>
                </a:cubicBezTo>
                <a:close/>
                <a:moveTo>
                  <a:pt x="632584" y="117316"/>
                </a:moveTo>
                <a:cubicBezTo>
                  <a:pt x="632651" y="116087"/>
                  <a:pt x="633679" y="113973"/>
                  <a:pt x="633355" y="112811"/>
                </a:cubicBezTo>
                <a:cubicBezTo>
                  <a:pt x="633174" y="112220"/>
                  <a:pt x="630603" y="112553"/>
                  <a:pt x="631288" y="111296"/>
                </a:cubicBezTo>
                <a:cubicBezTo>
                  <a:pt x="633032" y="112125"/>
                  <a:pt x="634146" y="105476"/>
                  <a:pt x="632241" y="105667"/>
                </a:cubicBezTo>
                <a:cubicBezTo>
                  <a:pt x="630993" y="108391"/>
                  <a:pt x="629193" y="100961"/>
                  <a:pt x="627536" y="106029"/>
                </a:cubicBezTo>
                <a:cubicBezTo>
                  <a:pt x="629603" y="106553"/>
                  <a:pt x="627593" y="109963"/>
                  <a:pt x="629031" y="110915"/>
                </a:cubicBezTo>
                <a:cubicBezTo>
                  <a:pt x="626040" y="110420"/>
                  <a:pt x="622668" y="109401"/>
                  <a:pt x="620954" y="110706"/>
                </a:cubicBezTo>
                <a:cubicBezTo>
                  <a:pt x="620773" y="106600"/>
                  <a:pt x="624764" y="106162"/>
                  <a:pt x="626040" y="108096"/>
                </a:cubicBezTo>
                <a:cubicBezTo>
                  <a:pt x="627298" y="105238"/>
                  <a:pt x="624326" y="106419"/>
                  <a:pt x="623040" y="105238"/>
                </a:cubicBezTo>
                <a:cubicBezTo>
                  <a:pt x="622373" y="104648"/>
                  <a:pt x="622564" y="102724"/>
                  <a:pt x="621135" y="102600"/>
                </a:cubicBezTo>
                <a:cubicBezTo>
                  <a:pt x="620249" y="104667"/>
                  <a:pt x="623792" y="108039"/>
                  <a:pt x="619230" y="106915"/>
                </a:cubicBezTo>
                <a:cubicBezTo>
                  <a:pt x="617811" y="110248"/>
                  <a:pt x="621963" y="109610"/>
                  <a:pt x="620535" y="112934"/>
                </a:cubicBezTo>
                <a:cubicBezTo>
                  <a:pt x="620182" y="118707"/>
                  <a:pt x="614410" y="121412"/>
                  <a:pt x="618049" y="127584"/>
                </a:cubicBezTo>
                <a:cubicBezTo>
                  <a:pt x="620106" y="127231"/>
                  <a:pt x="618858" y="122221"/>
                  <a:pt x="621259" y="122336"/>
                </a:cubicBezTo>
                <a:cubicBezTo>
                  <a:pt x="621259" y="123736"/>
                  <a:pt x="622392" y="123240"/>
                  <a:pt x="623516" y="122717"/>
                </a:cubicBezTo>
                <a:cubicBezTo>
                  <a:pt x="623328" y="123943"/>
                  <a:pt x="622726" y="125069"/>
                  <a:pt x="621811" y="125907"/>
                </a:cubicBezTo>
                <a:cubicBezTo>
                  <a:pt x="625764" y="125336"/>
                  <a:pt x="625621" y="126908"/>
                  <a:pt x="629888" y="126117"/>
                </a:cubicBezTo>
                <a:cubicBezTo>
                  <a:pt x="630326" y="124726"/>
                  <a:pt x="630250" y="121535"/>
                  <a:pt x="631793" y="121793"/>
                </a:cubicBezTo>
                <a:cubicBezTo>
                  <a:pt x="634165" y="122231"/>
                  <a:pt x="632479" y="118668"/>
                  <a:pt x="632555" y="117316"/>
                </a:cubicBezTo>
                <a:close/>
                <a:moveTo>
                  <a:pt x="641633" y="97961"/>
                </a:moveTo>
                <a:cubicBezTo>
                  <a:pt x="640075" y="97481"/>
                  <a:pt x="638393" y="97611"/>
                  <a:pt x="636927" y="98323"/>
                </a:cubicBezTo>
                <a:cubicBezTo>
                  <a:pt x="636823" y="97371"/>
                  <a:pt x="637280" y="96094"/>
                  <a:pt x="636194" y="95885"/>
                </a:cubicBezTo>
                <a:cubicBezTo>
                  <a:pt x="635641" y="97437"/>
                  <a:pt x="634003" y="97466"/>
                  <a:pt x="633336" y="98875"/>
                </a:cubicBezTo>
                <a:cubicBezTo>
                  <a:pt x="637108" y="98133"/>
                  <a:pt x="638108" y="100333"/>
                  <a:pt x="641633" y="97961"/>
                </a:cubicBezTo>
                <a:close/>
                <a:moveTo>
                  <a:pt x="646843" y="115106"/>
                </a:moveTo>
                <a:cubicBezTo>
                  <a:pt x="644242" y="114306"/>
                  <a:pt x="645414" y="110839"/>
                  <a:pt x="641785" y="110772"/>
                </a:cubicBezTo>
                <a:cubicBezTo>
                  <a:pt x="639937" y="114982"/>
                  <a:pt x="645004" y="119354"/>
                  <a:pt x="646843" y="115106"/>
                </a:cubicBezTo>
                <a:close/>
                <a:moveTo>
                  <a:pt x="653691" y="149891"/>
                </a:moveTo>
                <a:cubicBezTo>
                  <a:pt x="653053" y="152663"/>
                  <a:pt x="649824" y="149568"/>
                  <a:pt x="649186" y="149120"/>
                </a:cubicBezTo>
                <a:cubicBezTo>
                  <a:pt x="648395" y="151692"/>
                  <a:pt x="645957" y="153568"/>
                  <a:pt x="649357" y="154949"/>
                </a:cubicBezTo>
                <a:cubicBezTo>
                  <a:pt x="649643" y="152425"/>
                  <a:pt x="657196" y="153139"/>
                  <a:pt x="653691" y="149891"/>
                </a:cubicBezTo>
                <a:close/>
                <a:moveTo>
                  <a:pt x="651634" y="148386"/>
                </a:moveTo>
                <a:cubicBezTo>
                  <a:pt x="655358" y="141538"/>
                  <a:pt x="648091" y="144681"/>
                  <a:pt x="651634" y="148386"/>
                </a:cubicBezTo>
                <a:close/>
                <a:moveTo>
                  <a:pt x="654863" y="136175"/>
                </a:moveTo>
                <a:cubicBezTo>
                  <a:pt x="652777" y="135566"/>
                  <a:pt x="652158" y="137023"/>
                  <a:pt x="650167" y="136537"/>
                </a:cubicBezTo>
                <a:cubicBezTo>
                  <a:pt x="653186" y="134280"/>
                  <a:pt x="648910" y="131603"/>
                  <a:pt x="645290" y="131070"/>
                </a:cubicBezTo>
                <a:cubicBezTo>
                  <a:pt x="644157" y="134880"/>
                  <a:pt x="648091" y="135032"/>
                  <a:pt x="648843" y="137471"/>
                </a:cubicBezTo>
                <a:cubicBezTo>
                  <a:pt x="650224" y="139547"/>
                  <a:pt x="654987" y="140214"/>
                  <a:pt x="654825" y="136175"/>
                </a:cubicBezTo>
                <a:close/>
                <a:moveTo>
                  <a:pt x="655434" y="132794"/>
                </a:moveTo>
                <a:cubicBezTo>
                  <a:pt x="652643" y="132175"/>
                  <a:pt x="652262" y="130041"/>
                  <a:pt x="650739" y="133156"/>
                </a:cubicBezTo>
                <a:cubicBezTo>
                  <a:pt x="651967" y="134880"/>
                  <a:pt x="654015" y="134423"/>
                  <a:pt x="655434" y="132794"/>
                </a:cubicBezTo>
                <a:close/>
                <a:moveTo>
                  <a:pt x="662607" y="124736"/>
                </a:moveTo>
                <a:cubicBezTo>
                  <a:pt x="662026" y="122917"/>
                  <a:pt x="659530" y="124241"/>
                  <a:pt x="657901" y="125098"/>
                </a:cubicBezTo>
                <a:cubicBezTo>
                  <a:pt x="657387" y="125374"/>
                  <a:pt x="656149" y="124412"/>
                  <a:pt x="655644" y="124717"/>
                </a:cubicBezTo>
                <a:cubicBezTo>
                  <a:pt x="655310" y="124917"/>
                  <a:pt x="655644" y="127517"/>
                  <a:pt x="656387" y="127155"/>
                </a:cubicBezTo>
                <a:cubicBezTo>
                  <a:pt x="657292" y="124707"/>
                  <a:pt x="662540" y="128374"/>
                  <a:pt x="662607" y="124736"/>
                </a:cubicBezTo>
                <a:close/>
                <a:moveTo>
                  <a:pt x="667703" y="115211"/>
                </a:moveTo>
                <a:cubicBezTo>
                  <a:pt x="667112" y="118592"/>
                  <a:pt x="665369" y="109934"/>
                  <a:pt x="663188" y="114449"/>
                </a:cubicBezTo>
                <a:cubicBezTo>
                  <a:pt x="667169" y="115249"/>
                  <a:pt x="660168" y="117764"/>
                  <a:pt x="663750" y="118021"/>
                </a:cubicBezTo>
                <a:cubicBezTo>
                  <a:pt x="664064" y="116354"/>
                  <a:pt x="671122" y="117468"/>
                  <a:pt x="667703" y="115163"/>
                </a:cubicBezTo>
                <a:close/>
                <a:moveTo>
                  <a:pt x="670560" y="91398"/>
                </a:moveTo>
                <a:cubicBezTo>
                  <a:pt x="666702" y="85731"/>
                  <a:pt x="669207" y="95208"/>
                  <a:pt x="666055" y="90627"/>
                </a:cubicBezTo>
                <a:cubicBezTo>
                  <a:pt x="664559" y="94675"/>
                  <a:pt x="669522" y="94113"/>
                  <a:pt x="670922" y="96094"/>
                </a:cubicBezTo>
                <a:cubicBezTo>
                  <a:pt x="671450" y="94513"/>
                  <a:pt x="671330" y="92787"/>
                  <a:pt x="670589" y="91294"/>
                </a:cubicBezTo>
                <a:close/>
                <a:moveTo>
                  <a:pt x="660816" y="80473"/>
                </a:moveTo>
                <a:lnTo>
                  <a:pt x="660435" y="82721"/>
                </a:lnTo>
                <a:cubicBezTo>
                  <a:pt x="661080" y="82834"/>
                  <a:pt x="661693" y="82404"/>
                  <a:pt x="661807" y="81759"/>
                </a:cubicBezTo>
                <a:cubicBezTo>
                  <a:pt x="661920" y="81114"/>
                  <a:pt x="661488" y="80501"/>
                  <a:pt x="660845" y="80387"/>
                </a:cubicBezTo>
                <a:close/>
                <a:moveTo>
                  <a:pt x="50940" y="586717"/>
                </a:moveTo>
                <a:cubicBezTo>
                  <a:pt x="51216" y="583317"/>
                  <a:pt x="56340" y="581955"/>
                  <a:pt x="52083" y="579955"/>
                </a:cubicBezTo>
                <a:cubicBezTo>
                  <a:pt x="49063" y="580983"/>
                  <a:pt x="53531" y="583698"/>
                  <a:pt x="50178" y="584270"/>
                </a:cubicBezTo>
                <a:cubicBezTo>
                  <a:pt x="50178" y="582926"/>
                  <a:pt x="48606" y="582746"/>
                  <a:pt x="46977" y="582565"/>
                </a:cubicBezTo>
                <a:cubicBezTo>
                  <a:pt x="46177" y="585479"/>
                  <a:pt x="48854" y="585870"/>
                  <a:pt x="50940" y="586717"/>
                </a:cubicBezTo>
                <a:close/>
                <a:moveTo>
                  <a:pt x="676008" y="100342"/>
                </a:moveTo>
                <a:cubicBezTo>
                  <a:pt x="675832" y="101571"/>
                  <a:pt x="675233" y="102700"/>
                  <a:pt x="674313" y="103533"/>
                </a:cubicBezTo>
                <a:cubicBezTo>
                  <a:pt x="677085" y="104190"/>
                  <a:pt x="678123" y="102362"/>
                  <a:pt x="680333" y="102238"/>
                </a:cubicBezTo>
                <a:cubicBezTo>
                  <a:pt x="680218" y="102857"/>
                  <a:pt x="681028" y="103676"/>
                  <a:pt x="681457" y="102428"/>
                </a:cubicBezTo>
                <a:cubicBezTo>
                  <a:pt x="680133" y="101962"/>
                  <a:pt x="680971" y="101057"/>
                  <a:pt x="681838" y="100180"/>
                </a:cubicBezTo>
                <a:cubicBezTo>
                  <a:pt x="679199" y="99256"/>
                  <a:pt x="679037" y="101819"/>
                  <a:pt x="676008" y="100342"/>
                </a:cubicBezTo>
                <a:close/>
                <a:moveTo>
                  <a:pt x="637280" y="171446"/>
                </a:moveTo>
                <a:cubicBezTo>
                  <a:pt x="638394" y="174304"/>
                  <a:pt x="633660" y="175199"/>
                  <a:pt x="636518" y="175961"/>
                </a:cubicBezTo>
                <a:cubicBezTo>
                  <a:pt x="636699" y="175276"/>
                  <a:pt x="636908" y="174647"/>
                  <a:pt x="637832" y="175009"/>
                </a:cubicBezTo>
                <a:cubicBezTo>
                  <a:pt x="637737" y="176723"/>
                  <a:pt x="636727" y="179095"/>
                  <a:pt x="638194" y="179705"/>
                </a:cubicBezTo>
                <a:cubicBezTo>
                  <a:pt x="638556" y="178352"/>
                  <a:pt x="638994" y="177095"/>
                  <a:pt x="640842" y="177800"/>
                </a:cubicBezTo>
                <a:cubicBezTo>
                  <a:pt x="641956" y="174075"/>
                  <a:pt x="641585" y="171370"/>
                  <a:pt x="637280" y="171446"/>
                </a:cubicBezTo>
                <a:close/>
                <a:moveTo>
                  <a:pt x="654082" y="79235"/>
                </a:moveTo>
                <a:cubicBezTo>
                  <a:pt x="654158" y="78063"/>
                  <a:pt x="659330" y="77778"/>
                  <a:pt x="655787" y="76044"/>
                </a:cubicBezTo>
                <a:cubicBezTo>
                  <a:pt x="656120" y="77778"/>
                  <a:pt x="650929" y="78054"/>
                  <a:pt x="654082" y="79235"/>
                </a:cubicBezTo>
                <a:close/>
                <a:moveTo>
                  <a:pt x="469363" y="402647"/>
                </a:moveTo>
                <a:cubicBezTo>
                  <a:pt x="467154" y="407200"/>
                  <a:pt x="472602" y="406304"/>
                  <a:pt x="472926" y="409048"/>
                </a:cubicBezTo>
                <a:cubicBezTo>
                  <a:pt x="470828" y="410076"/>
                  <a:pt x="469963" y="412610"/>
                  <a:pt x="470991" y="414707"/>
                </a:cubicBezTo>
                <a:cubicBezTo>
                  <a:pt x="471191" y="415114"/>
                  <a:pt x="471455" y="415486"/>
                  <a:pt x="471773" y="415810"/>
                </a:cubicBezTo>
                <a:cubicBezTo>
                  <a:pt x="472240" y="414496"/>
                  <a:pt x="473135" y="415334"/>
                  <a:pt x="474031" y="416201"/>
                </a:cubicBezTo>
                <a:cubicBezTo>
                  <a:pt x="473574" y="410905"/>
                  <a:pt x="474859" y="404380"/>
                  <a:pt x="469363" y="402647"/>
                </a:cubicBezTo>
                <a:close/>
                <a:moveTo>
                  <a:pt x="483251" y="149958"/>
                </a:moveTo>
                <a:cubicBezTo>
                  <a:pt x="480936" y="147101"/>
                  <a:pt x="482441" y="147558"/>
                  <a:pt x="479879" y="149377"/>
                </a:cubicBezTo>
                <a:cubicBezTo>
                  <a:pt x="478844" y="150163"/>
                  <a:pt x="477368" y="149960"/>
                  <a:pt x="476582" y="148926"/>
                </a:cubicBezTo>
                <a:cubicBezTo>
                  <a:pt x="476553" y="148887"/>
                  <a:pt x="476524" y="148847"/>
                  <a:pt x="476498" y="148806"/>
                </a:cubicBezTo>
                <a:cubicBezTo>
                  <a:pt x="477222" y="151092"/>
                  <a:pt x="472478" y="152006"/>
                  <a:pt x="475736" y="153311"/>
                </a:cubicBezTo>
                <a:cubicBezTo>
                  <a:pt x="476469" y="149006"/>
                  <a:pt x="478460" y="152692"/>
                  <a:pt x="480431" y="152958"/>
                </a:cubicBezTo>
                <a:cubicBezTo>
                  <a:pt x="480098" y="152911"/>
                  <a:pt x="481336" y="152063"/>
                  <a:pt x="481755" y="152006"/>
                </a:cubicBezTo>
                <a:cubicBezTo>
                  <a:pt x="482832" y="151873"/>
                  <a:pt x="484041" y="152654"/>
                  <a:pt x="485127" y="152587"/>
                </a:cubicBezTo>
                <a:cubicBezTo>
                  <a:pt x="486232" y="150425"/>
                  <a:pt x="484003" y="150872"/>
                  <a:pt x="483251" y="149958"/>
                </a:cubicBezTo>
                <a:close/>
                <a:moveTo>
                  <a:pt x="470992" y="30791"/>
                </a:moveTo>
                <a:cubicBezTo>
                  <a:pt x="472669" y="28952"/>
                  <a:pt x="471526" y="33544"/>
                  <a:pt x="475498" y="31553"/>
                </a:cubicBezTo>
                <a:cubicBezTo>
                  <a:pt x="473478" y="34410"/>
                  <a:pt x="479308" y="36172"/>
                  <a:pt x="476241" y="33991"/>
                </a:cubicBezTo>
                <a:cubicBezTo>
                  <a:pt x="475059" y="30086"/>
                  <a:pt x="477469" y="27628"/>
                  <a:pt x="481898" y="28000"/>
                </a:cubicBezTo>
                <a:cubicBezTo>
                  <a:pt x="480870" y="23285"/>
                  <a:pt x="485223" y="26162"/>
                  <a:pt x="486042" y="24066"/>
                </a:cubicBezTo>
                <a:cubicBezTo>
                  <a:pt x="484556" y="23799"/>
                  <a:pt x="485346" y="21913"/>
                  <a:pt x="484137" y="21428"/>
                </a:cubicBezTo>
                <a:cubicBezTo>
                  <a:pt x="482577" y="22543"/>
                  <a:pt x="480864" y="23425"/>
                  <a:pt x="479050" y="24047"/>
                </a:cubicBezTo>
                <a:cubicBezTo>
                  <a:pt x="479917" y="22475"/>
                  <a:pt x="481203" y="21485"/>
                  <a:pt x="482070" y="19923"/>
                </a:cubicBezTo>
                <a:cubicBezTo>
                  <a:pt x="479620" y="20971"/>
                  <a:pt x="476775" y="19985"/>
                  <a:pt x="475498" y="17646"/>
                </a:cubicBezTo>
                <a:cubicBezTo>
                  <a:pt x="474688" y="21618"/>
                  <a:pt x="473173" y="24600"/>
                  <a:pt x="469649" y="24771"/>
                </a:cubicBezTo>
                <a:cubicBezTo>
                  <a:pt x="468852" y="26866"/>
                  <a:pt x="469381" y="29233"/>
                  <a:pt x="470992" y="30791"/>
                </a:cubicBezTo>
                <a:close/>
                <a:moveTo>
                  <a:pt x="467839" y="15179"/>
                </a:moveTo>
                <a:cubicBezTo>
                  <a:pt x="466049" y="15617"/>
                  <a:pt x="465506" y="16132"/>
                  <a:pt x="466335" y="17246"/>
                </a:cubicBezTo>
                <a:cubicBezTo>
                  <a:pt x="468687" y="20561"/>
                  <a:pt x="463010" y="21713"/>
                  <a:pt x="466506" y="23066"/>
                </a:cubicBezTo>
                <a:cubicBezTo>
                  <a:pt x="468211" y="21628"/>
                  <a:pt x="471688" y="20466"/>
                  <a:pt x="469706" y="17818"/>
                </a:cubicBezTo>
                <a:cubicBezTo>
                  <a:pt x="471068" y="17818"/>
                  <a:pt x="472878" y="18551"/>
                  <a:pt x="473288" y="17265"/>
                </a:cubicBezTo>
                <a:cubicBezTo>
                  <a:pt x="471504" y="15954"/>
                  <a:pt x="470188" y="14104"/>
                  <a:pt x="469535" y="11988"/>
                </a:cubicBezTo>
                <a:cubicBezTo>
                  <a:pt x="470173" y="12103"/>
                  <a:pt x="470973" y="11293"/>
                  <a:pt x="469725" y="10864"/>
                </a:cubicBezTo>
                <a:cubicBezTo>
                  <a:pt x="469030" y="13131"/>
                  <a:pt x="464696" y="10283"/>
                  <a:pt x="464649" y="13484"/>
                </a:cubicBezTo>
                <a:cubicBezTo>
                  <a:pt x="465973" y="13874"/>
                  <a:pt x="467916" y="13836"/>
                  <a:pt x="467868" y="15179"/>
                </a:cubicBezTo>
                <a:close/>
                <a:moveTo>
                  <a:pt x="462124" y="35077"/>
                </a:moveTo>
                <a:cubicBezTo>
                  <a:pt x="466887" y="37468"/>
                  <a:pt x="464620" y="26505"/>
                  <a:pt x="462896" y="30572"/>
                </a:cubicBezTo>
                <a:cubicBezTo>
                  <a:pt x="465792" y="31334"/>
                  <a:pt x="461067" y="32239"/>
                  <a:pt x="462172" y="35096"/>
                </a:cubicBezTo>
                <a:close/>
                <a:moveTo>
                  <a:pt x="449847" y="12122"/>
                </a:moveTo>
                <a:cubicBezTo>
                  <a:pt x="452390" y="13922"/>
                  <a:pt x="446808" y="15989"/>
                  <a:pt x="450009" y="17942"/>
                </a:cubicBezTo>
                <a:cubicBezTo>
                  <a:pt x="451797" y="15300"/>
                  <a:pt x="452354" y="12013"/>
                  <a:pt x="451533" y="8931"/>
                </a:cubicBezTo>
                <a:cubicBezTo>
                  <a:pt x="447570" y="10922"/>
                  <a:pt x="448675" y="6331"/>
                  <a:pt x="447037" y="8169"/>
                </a:cubicBezTo>
                <a:cubicBezTo>
                  <a:pt x="446227" y="10703"/>
                  <a:pt x="450037" y="9969"/>
                  <a:pt x="449847" y="12122"/>
                </a:cubicBezTo>
                <a:close/>
                <a:moveTo>
                  <a:pt x="444570" y="15865"/>
                </a:moveTo>
                <a:cubicBezTo>
                  <a:pt x="441227" y="16437"/>
                  <a:pt x="445694" y="19151"/>
                  <a:pt x="442665" y="20180"/>
                </a:cubicBezTo>
                <a:cubicBezTo>
                  <a:pt x="444751" y="20799"/>
                  <a:pt x="445370" y="19332"/>
                  <a:pt x="447361" y="19818"/>
                </a:cubicBezTo>
                <a:cubicBezTo>
                  <a:pt x="447980" y="17732"/>
                  <a:pt x="446513" y="17113"/>
                  <a:pt x="447008" y="15122"/>
                </a:cubicBezTo>
                <a:cubicBezTo>
                  <a:pt x="443474" y="15856"/>
                  <a:pt x="443732" y="9007"/>
                  <a:pt x="441750" y="11912"/>
                </a:cubicBezTo>
                <a:cubicBezTo>
                  <a:pt x="442722" y="13189"/>
                  <a:pt x="443665" y="14522"/>
                  <a:pt x="444570" y="15865"/>
                </a:cubicBezTo>
                <a:close/>
                <a:moveTo>
                  <a:pt x="335985" y="266373"/>
                </a:moveTo>
                <a:cubicBezTo>
                  <a:pt x="336642" y="270754"/>
                  <a:pt x="331784" y="268135"/>
                  <a:pt x="333346" y="268278"/>
                </a:cubicBezTo>
                <a:cubicBezTo>
                  <a:pt x="330241" y="268078"/>
                  <a:pt x="326393" y="269106"/>
                  <a:pt x="327689" y="274269"/>
                </a:cubicBezTo>
                <a:cubicBezTo>
                  <a:pt x="328755" y="275583"/>
                  <a:pt x="330975" y="272469"/>
                  <a:pt x="332775" y="271659"/>
                </a:cubicBezTo>
                <a:cubicBezTo>
                  <a:pt x="334051" y="271087"/>
                  <a:pt x="333261" y="270326"/>
                  <a:pt x="334289" y="269592"/>
                </a:cubicBezTo>
                <a:cubicBezTo>
                  <a:pt x="334566" y="269402"/>
                  <a:pt x="336375" y="270240"/>
                  <a:pt x="336547" y="269983"/>
                </a:cubicBezTo>
                <a:cubicBezTo>
                  <a:pt x="337147" y="268973"/>
                  <a:pt x="336823" y="266554"/>
                  <a:pt x="335975" y="266411"/>
                </a:cubicBezTo>
                <a:close/>
                <a:moveTo>
                  <a:pt x="358750" y="63871"/>
                </a:moveTo>
                <a:cubicBezTo>
                  <a:pt x="360293" y="61299"/>
                  <a:pt x="354320" y="59280"/>
                  <a:pt x="354625" y="60852"/>
                </a:cubicBezTo>
                <a:cubicBezTo>
                  <a:pt x="356854" y="61280"/>
                  <a:pt x="355530" y="64204"/>
                  <a:pt x="358740" y="63909"/>
                </a:cubicBezTo>
                <a:close/>
                <a:moveTo>
                  <a:pt x="363436" y="2063"/>
                </a:moveTo>
                <a:cubicBezTo>
                  <a:pt x="364569" y="2263"/>
                  <a:pt x="364941" y="1378"/>
                  <a:pt x="365884" y="1320"/>
                </a:cubicBezTo>
                <a:cubicBezTo>
                  <a:pt x="365779" y="2711"/>
                  <a:pt x="365770" y="4045"/>
                  <a:pt x="367789" y="3949"/>
                </a:cubicBezTo>
                <a:lnTo>
                  <a:pt x="368370" y="568"/>
                </a:lnTo>
                <a:cubicBezTo>
                  <a:pt x="364855" y="-1918"/>
                  <a:pt x="360778" y="4721"/>
                  <a:pt x="363426" y="2101"/>
                </a:cubicBezTo>
                <a:close/>
                <a:moveTo>
                  <a:pt x="337118" y="6874"/>
                </a:moveTo>
                <a:cubicBezTo>
                  <a:pt x="337014" y="8264"/>
                  <a:pt x="337004" y="9598"/>
                  <a:pt x="339023" y="9502"/>
                </a:cubicBezTo>
                <a:cubicBezTo>
                  <a:pt x="341443" y="7874"/>
                  <a:pt x="339328" y="5969"/>
                  <a:pt x="337537" y="4616"/>
                </a:cubicBezTo>
                <a:cubicBezTo>
                  <a:pt x="337442" y="7274"/>
                  <a:pt x="334070" y="5311"/>
                  <a:pt x="333575" y="7426"/>
                </a:cubicBezTo>
                <a:cubicBezTo>
                  <a:pt x="335737" y="10141"/>
                  <a:pt x="334832" y="7388"/>
                  <a:pt x="337109" y="6912"/>
                </a:cubicBezTo>
                <a:close/>
                <a:moveTo>
                  <a:pt x="180280" y="432441"/>
                </a:moveTo>
                <a:cubicBezTo>
                  <a:pt x="182309" y="433775"/>
                  <a:pt x="182185" y="430946"/>
                  <a:pt x="182918" y="430536"/>
                </a:cubicBezTo>
                <a:cubicBezTo>
                  <a:pt x="183337" y="430317"/>
                  <a:pt x="184823" y="431231"/>
                  <a:pt x="185166" y="430917"/>
                </a:cubicBezTo>
                <a:cubicBezTo>
                  <a:pt x="186118" y="429964"/>
                  <a:pt x="186528" y="427488"/>
                  <a:pt x="185737" y="427526"/>
                </a:cubicBezTo>
                <a:cubicBezTo>
                  <a:pt x="184537" y="430060"/>
                  <a:pt x="181489" y="429955"/>
                  <a:pt x="180280" y="432441"/>
                </a:cubicBezTo>
                <a:close/>
                <a:moveTo>
                  <a:pt x="439360" y="12655"/>
                </a:moveTo>
                <a:cubicBezTo>
                  <a:pt x="439255" y="14055"/>
                  <a:pt x="439236" y="15379"/>
                  <a:pt x="441265" y="15294"/>
                </a:cubicBezTo>
                <a:cubicBezTo>
                  <a:pt x="440200" y="11891"/>
                  <a:pt x="440413" y="8216"/>
                  <a:pt x="441865" y="4959"/>
                </a:cubicBezTo>
                <a:cubicBezTo>
                  <a:pt x="438160" y="2530"/>
                  <a:pt x="440531" y="8674"/>
                  <a:pt x="437912" y="7769"/>
                </a:cubicBezTo>
                <a:cubicBezTo>
                  <a:pt x="437817" y="6816"/>
                  <a:pt x="437188" y="6302"/>
                  <a:pt x="435845" y="6254"/>
                </a:cubicBezTo>
                <a:cubicBezTo>
                  <a:pt x="435845" y="9045"/>
                  <a:pt x="433378" y="8359"/>
                  <a:pt x="433769" y="11693"/>
                </a:cubicBezTo>
                <a:cubicBezTo>
                  <a:pt x="436464" y="12293"/>
                  <a:pt x="436817" y="14408"/>
                  <a:pt x="439322" y="12655"/>
                </a:cubicBezTo>
                <a:close/>
              </a:path>
            </a:pathLst>
          </a:custGeom>
          <a:solidFill>
            <a:schemeClr val="bg2"/>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E25A8A1A-9060-8918-404F-DE4693C0C8B5}"/>
              </a:ext>
            </a:extLst>
          </p:cNvPr>
          <p:cNvSpPr>
            <a:spLocks noChangeAspect="1"/>
          </p:cNvSpPr>
          <p:nvPr/>
        </p:nvSpPr>
        <p:spPr>
          <a:xfrm rot="10124770" flipH="1">
            <a:off x="1773502" y="5589987"/>
            <a:ext cx="590293" cy="502948"/>
          </a:xfrm>
          <a:custGeom>
            <a:avLst/>
            <a:gdLst>
              <a:gd name="connsiteX0" fmla="*/ 681704 w 682417"/>
              <a:gd name="connsiteY0" fmla="*/ 80445 h 798267"/>
              <a:gd name="connsiteX1" fmla="*/ 677580 w 682417"/>
              <a:gd name="connsiteY1" fmla="*/ 77425 h 798267"/>
              <a:gd name="connsiteX2" fmla="*/ 681704 w 682417"/>
              <a:gd name="connsiteY2" fmla="*/ 80445 h 798267"/>
              <a:gd name="connsiteX3" fmla="*/ 630488 w 682417"/>
              <a:gd name="connsiteY3" fmla="*/ 184210 h 798267"/>
              <a:gd name="connsiteX4" fmla="*/ 635946 w 682417"/>
              <a:gd name="connsiteY4" fmla="*/ 179343 h 798267"/>
              <a:gd name="connsiteX5" fmla="*/ 630488 w 682417"/>
              <a:gd name="connsiteY5" fmla="*/ 184210 h 798267"/>
              <a:gd name="connsiteX6" fmla="*/ 627859 w 682417"/>
              <a:gd name="connsiteY6" fmla="*/ 117678 h 798267"/>
              <a:gd name="connsiteX7" fmla="*/ 628221 w 682417"/>
              <a:gd name="connsiteY7" fmla="*/ 122383 h 798267"/>
              <a:gd name="connsiteX8" fmla="*/ 627859 w 682417"/>
              <a:gd name="connsiteY8" fmla="*/ 117678 h 798267"/>
              <a:gd name="connsiteX9" fmla="*/ 577253 w 682417"/>
              <a:gd name="connsiteY9" fmla="*/ 265601 h 798267"/>
              <a:gd name="connsiteX10" fmla="*/ 579301 w 682417"/>
              <a:gd name="connsiteY10" fmla="*/ 274059 h 798267"/>
              <a:gd name="connsiteX11" fmla="*/ 577253 w 682417"/>
              <a:gd name="connsiteY11" fmla="*/ 265601 h 798267"/>
              <a:gd name="connsiteX12" fmla="*/ 610753 w 682417"/>
              <a:gd name="connsiteY12" fmla="*/ 54489 h 798267"/>
              <a:gd name="connsiteX13" fmla="*/ 606992 w 682417"/>
              <a:gd name="connsiteY13" fmla="*/ 53866 h 798267"/>
              <a:gd name="connsiteX14" fmla="*/ 605866 w 682417"/>
              <a:gd name="connsiteY14" fmla="*/ 55975 h 798267"/>
              <a:gd name="connsiteX15" fmla="*/ 610753 w 682417"/>
              <a:gd name="connsiteY15" fmla="*/ 54499 h 798267"/>
              <a:gd name="connsiteX16" fmla="*/ 564032 w 682417"/>
              <a:gd name="connsiteY16" fmla="*/ 288871 h 798267"/>
              <a:gd name="connsiteX17" fmla="*/ 567414 w 682417"/>
              <a:gd name="connsiteY17" fmla="*/ 289442 h 798267"/>
              <a:gd name="connsiteX18" fmla="*/ 564032 w 682417"/>
              <a:gd name="connsiteY18" fmla="*/ 288871 h 798267"/>
              <a:gd name="connsiteX19" fmla="*/ 561956 w 682417"/>
              <a:gd name="connsiteY19" fmla="*/ 294309 h 798267"/>
              <a:gd name="connsiteX20" fmla="*/ 562127 w 682417"/>
              <a:gd name="connsiteY20" fmla="*/ 300139 h 798267"/>
              <a:gd name="connsiteX21" fmla="*/ 564985 w 682417"/>
              <a:gd name="connsiteY21" fmla="*/ 297138 h 798267"/>
              <a:gd name="connsiteX22" fmla="*/ 561956 w 682417"/>
              <a:gd name="connsiteY22" fmla="*/ 294309 h 798267"/>
              <a:gd name="connsiteX23" fmla="*/ 538144 w 682417"/>
              <a:gd name="connsiteY23" fmla="*/ 352869 h 798267"/>
              <a:gd name="connsiteX24" fmla="*/ 537381 w 682417"/>
              <a:gd name="connsiteY24" fmla="*/ 357374 h 798267"/>
              <a:gd name="connsiteX25" fmla="*/ 538096 w 682417"/>
              <a:gd name="connsiteY25" fmla="*/ 352869 h 798267"/>
              <a:gd name="connsiteX26" fmla="*/ 514179 w 682417"/>
              <a:gd name="connsiteY26" fmla="*/ 323294 h 798267"/>
              <a:gd name="connsiteX27" fmla="*/ 510997 w 682417"/>
              <a:gd name="connsiteY27" fmla="*/ 321599 h 798267"/>
              <a:gd name="connsiteX28" fmla="*/ 510616 w 682417"/>
              <a:gd name="connsiteY28" fmla="*/ 323846 h 798267"/>
              <a:gd name="connsiteX29" fmla="*/ 514131 w 682417"/>
              <a:gd name="connsiteY29" fmla="*/ 323294 h 798267"/>
              <a:gd name="connsiteX30" fmla="*/ 539267 w 682417"/>
              <a:gd name="connsiteY30" fmla="*/ 100323 h 798267"/>
              <a:gd name="connsiteX31" fmla="*/ 535134 w 682417"/>
              <a:gd name="connsiteY31" fmla="*/ 97304 h 798267"/>
              <a:gd name="connsiteX32" fmla="*/ 539220 w 682417"/>
              <a:gd name="connsiteY32" fmla="*/ 100323 h 798267"/>
              <a:gd name="connsiteX33" fmla="*/ 532286 w 682417"/>
              <a:gd name="connsiteY33" fmla="*/ 107257 h 798267"/>
              <a:gd name="connsiteX34" fmla="*/ 536096 w 682417"/>
              <a:gd name="connsiteY34" fmla="*/ 105572 h 798267"/>
              <a:gd name="connsiteX35" fmla="*/ 532895 w 682417"/>
              <a:gd name="connsiteY35" fmla="*/ 103876 h 798267"/>
              <a:gd name="connsiteX36" fmla="*/ 489423 w 682417"/>
              <a:gd name="connsiteY36" fmla="*/ 366633 h 798267"/>
              <a:gd name="connsiteX37" fmla="*/ 487166 w 682417"/>
              <a:gd name="connsiteY37" fmla="*/ 366252 h 798267"/>
              <a:gd name="connsiteX38" fmla="*/ 486785 w 682417"/>
              <a:gd name="connsiteY38" fmla="*/ 368500 h 798267"/>
              <a:gd name="connsiteX39" fmla="*/ 489042 w 682417"/>
              <a:gd name="connsiteY39" fmla="*/ 368881 h 798267"/>
              <a:gd name="connsiteX40" fmla="*/ 501082 w 682417"/>
              <a:gd name="connsiteY40" fmla="*/ 31286 h 798267"/>
              <a:gd name="connsiteX41" fmla="*/ 498081 w 682417"/>
              <a:gd name="connsiteY41" fmla="*/ 28429 h 798267"/>
              <a:gd name="connsiteX42" fmla="*/ 501082 w 682417"/>
              <a:gd name="connsiteY42" fmla="*/ 31286 h 798267"/>
              <a:gd name="connsiteX43" fmla="*/ 494348 w 682417"/>
              <a:gd name="connsiteY43" fmla="*/ 23190 h 798267"/>
              <a:gd name="connsiteX44" fmla="*/ 497338 w 682417"/>
              <a:gd name="connsiteY44" fmla="*/ 26047 h 798267"/>
              <a:gd name="connsiteX45" fmla="*/ 491528 w 682417"/>
              <a:gd name="connsiteY45" fmla="*/ 19275 h 798267"/>
              <a:gd name="connsiteX46" fmla="*/ 493024 w 682417"/>
              <a:gd name="connsiteY46" fmla="*/ 24161 h 798267"/>
              <a:gd name="connsiteX47" fmla="*/ 494348 w 682417"/>
              <a:gd name="connsiteY47" fmla="*/ 23152 h 798267"/>
              <a:gd name="connsiteX48" fmla="*/ 485851 w 682417"/>
              <a:gd name="connsiteY48" fmla="*/ 32181 h 798267"/>
              <a:gd name="connsiteX49" fmla="*/ 486623 w 682417"/>
              <a:gd name="connsiteY49" fmla="*/ 27676 h 798267"/>
              <a:gd name="connsiteX50" fmla="*/ 485851 w 682417"/>
              <a:gd name="connsiteY50" fmla="*/ 32143 h 798267"/>
              <a:gd name="connsiteX51" fmla="*/ 430263 w 682417"/>
              <a:gd name="connsiteY51" fmla="*/ 216328 h 798267"/>
              <a:gd name="connsiteX52" fmla="*/ 434578 w 682417"/>
              <a:gd name="connsiteY52" fmla="*/ 218233 h 798267"/>
              <a:gd name="connsiteX53" fmla="*/ 435150 w 682417"/>
              <a:gd name="connsiteY53" fmla="*/ 214852 h 798267"/>
              <a:gd name="connsiteX54" fmla="*/ 430263 w 682417"/>
              <a:gd name="connsiteY54" fmla="*/ 216328 h 798267"/>
              <a:gd name="connsiteX55" fmla="*/ 430092 w 682417"/>
              <a:gd name="connsiteY55" fmla="*/ 210499 h 798267"/>
              <a:gd name="connsiteX56" fmla="*/ 430092 w 682417"/>
              <a:gd name="connsiteY56" fmla="*/ 210499 h 798267"/>
              <a:gd name="connsiteX57" fmla="*/ 456705 w 682417"/>
              <a:gd name="connsiteY57" fmla="*/ 26047 h 798267"/>
              <a:gd name="connsiteX58" fmla="*/ 461810 w 682417"/>
              <a:gd name="connsiteY58" fmla="*/ 16522 h 798267"/>
              <a:gd name="connsiteX59" fmla="*/ 458810 w 682417"/>
              <a:gd name="connsiteY59" fmla="*/ 13665 h 798267"/>
              <a:gd name="connsiteX60" fmla="*/ 455057 w 682417"/>
              <a:gd name="connsiteY60" fmla="*/ 15341 h 798267"/>
              <a:gd name="connsiteX61" fmla="*/ 453371 w 682417"/>
              <a:gd name="connsiteY61" fmla="*/ 11579 h 798267"/>
              <a:gd name="connsiteX62" fmla="*/ 456705 w 682417"/>
              <a:gd name="connsiteY62" fmla="*/ 26047 h 798267"/>
              <a:gd name="connsiteX63" fmla="*/ 426882 w 682417"/>
              <a:gd name="connsiteY63" fmla="*/ 215747 h 798267"/>
              <a:gd name="connsiteX64" fmla="*/ 424815 w 682417"/>
              <a:gd name="connsiteY64" fmla="*/ 214242 h 798267"/>
              <a:gd name="connsiteX65" fmla="*/ 422205 w 682417"/>
              <a:gd name="connsiteY65" fmla="*/ 209156 h 798267"/>
              <a:gd name="connsiteX66" fmla="*/ 421062 w 682417"/>
              <a:gd name="connsiteY66" fmla="*/ 215919 h 798267"/>
              <a:gd name="connsiteX67" fmla="*/ 427434 w 682417"/>
              <a:gd name="connsiteY67" fmla="*/ 219319 h 798267"/>
              <a:gd name="connsiteX68" fmla="*/ 426882 w 682417"/>
              <a:gd name="connsiteY68" fmla="*/ 215747 h 798267"/>
              <a:gd name="connsiteX69" fmla="*/ 445837 w 682417"/>
              <a:gd name="connsiteY69" fmla="*/ 28829 h 798267"/>
              <a:gd name="connsiteX70" fmla="*/ 447551 w 682417"/>
              <a:gd name="connsiteY70" fmla="*/ 25647 h 798267"/>
              <a:gd name="connsiteX71" fmla="*/ 445837 w 682417"/>
              <a:gd name="connsiteY71" fmla="*/ 28829 h 798267"/>
              <a:gd name="connsiteX72" fmla="*/ 404812 w 682417"/>
              <a:gd name="connsiteY72" fmla="*/ 181857 h 798267"/>
              <a:gd name="connsiteX73" fmla="*/ 396345 w 682417"/>
              <a:gd name="connsiteY73" fmla="*/ 183905 h 798267"/>
              <a:gd name="connsiteX74" fmla="*/ 400279 w 682417"/>
              <a:gd name="connsiteY74" fmla="*/ 188049 h 798267"/>
              <a:gd name="connsiteX75" fmla="*/ 404812 w 682417"/>
              <a:gd name="connsiteY75" fmla="*/ 181857 h 798267"/>
              <a:gd name="connsiteX76" fmla="*/ 420910 w 682417"/>
              <a:gd name="connsiteY76" fmla="*/ 11855 h 798267"/>
              <a:gd name="connsiteX77" fmla="*/ 417157 w 682417"/>
              <a:gd name="connsiteY77" fmla="*/ 6578 h 798267"/>
              <a:gd name="connsiteX78" fmla="*/ 420910 w 682417"/>
              <a:gd name="connsiteY78" fmla="*/ 11855 h 798267"/>
              <a:gd name="connsiteX79" fmla="*/ 388125 w 682417"/>
              <a:gd name="connsiteY79" fmla="*/ 34144 h 798267"/>
              <a:gd name="connsiteX80" fmla="*/ 389801 w 682417"/>
              <a:gd name="connsiteY80" fmla="*/ 37906 h 798267"/>
              <a:gd name="connsiteX81" fmla="*/ 388125 w 682417"/>
              <a:gd name="connsiteY81" fmla="*/ 34144 h 798267"/>
              <a:gd name="connsiteX82" fmla="*/ 337833 w 682417"/>
              <a:gd name="connsiteY82" fmla="*/ 269078 h 798267"/>
              <a:gd name="connsiteX83" fmla="*/ 341786 w 682417"/>
              <a:gd name="connsiteY83" fmla="*/ 266220 h 798267"/>
              <a:gd name="connsiteX84" fmla="*/ 337852 w 682417"/>
              <a:gd name="connsiteY84" fmla="*/ 269049 h 798267"/>
              <a:gd name="connsiteX85" fmla="*/ 334289 w 682417"/>
              <a:gd name="connsiteY85" fmla="*/ 9902 h 798267"/>
              <a:gd name="connsiteX86" fmla="*/ 332032 w 682417"/>
              <a:gd name="connsiteY86" fmla="*/ 9521 h 798267"/>
              <a:gd name="connsiteX87" fmla="*/ 331651 w 682417"/>
              <a:gd name="connsiteY87" fmla="*/ 11779 h 798267"/>
              <a:gd name="connsiteX88" fmla="*/ 333899 w 682417"/>
              <a:gd name="connsiteY88" fmla="*/ 12160 h 798267"/>
              <a:gd name="connsiteX89" fmla="*/ 334289 w 682417"/>
              <a:gd name="connsiteY89" fmla="*/ 9902 h 798267"/>
              <a:gd name="connsiteX90" fmla="*/ 322945 w 682417"/>
              <a:gd name="connsiteY90" fmla="*/ 28857 h 798267"/>
              <a:gd name="connsiteX91" fmla="*/ 327650 w 682417"/>
              <a:gd name="connsiteY91" fmla="*/ 28486 h 798267"/>
              <a:gd name="connsiteX92" fmla="*/ 328412 w 682417"/>
              <a:gd name="connsiteY92" fmla="*/ 23980 h 798267"/>
              <a:gd name="connsiteX93" fmla="*/ 319192 w 682417"/>
              <a:gd name="connsiteY93" fmla="*/ 30534 h 798267"/>
              <a:gd name="connsiteX94" fmla="*/ 322945 w 682417"/>
              <a:gd name="connsiteY94" fmla="*/ 28857 h 798267"/>
              <a:gd name="connsiteX95" fmla="*/ 318364 w 682417"/>
              <a:gd name="connsiteY95" fmla="*/ 55899 h 798267"/>
              <a:gd name="connsiteX96" fmla="*/ 315363 w 682417"/>
              <a:gd name="connsiteY96" fmla="*/ 53041 h 798267"/>
              <a:gd name="connsiteX97" fmla="*/ 318364 w 682417"/>
              <a:gd name="connsiteY97" fmla="*/ 55899 h 798267"/>
              <a:gd name="connsiteX98" fmla="*/ 278120 w 682417"/>
              <a:gd name="connsiteY98" fmla="*/ 258934 h 798267"/>
              <a:gd name="connsiteX99" fmla="*/ 280740 w 682417"/>
              <a:gd name="connsiteY99" fmla="*/ 264010 h 798267"/>
              <a:gd name="connsiteX100" fmla="*/ 278120 w 682417"/>
              <a:gd name="connsiteY100" fmla="*/ 258934 h 798267"/>
              <a:gd name="connsiteX101" fmla="*/ 316382 w 682417"/>
              <a:gd name="connsiteY101" fmla="*/ 26600 h 798267"/>
              <a:gd name="connsiteX102" fmla="*/ 316744 w 682417"/>
              <a:gd name="connsiteY102" fmla="*/ 31296 h 798267"/>
              <a:gd name="connsiteX103" fmla="*/ 316382 w 682417"/>
              <a:gd name="connsiteY103" fmla="*/ 26581 h 798267"/>
              <a:gd name="connsiteX104" fmla="*/ 312572 w 682417"/>
              <a:gd name="connsiteY104" fmla="*/ 49136 h 798267"/>
              <a:gd name="connsiteX105" fmla="*/ 308762 w 682417"/>
              <a:gd name="connsiteY105" fmla="*/ 50812 h 798267"/>
              <a:gd name="connsiteX106" fmla="*/ 312553 w 682417"/>
              <a:gd name="connsiteY106" fmla="*/ 49117 h 798267"/>
              <a:gd name="connsiteX107" fmla="*/ 243288 w 682417"/>
              <a:gd name="connsiteY107" fmla="*/ 348069 h 798267"/>
              <a:gd name="connsiteX108" fmla="*/ 242907 w 682417"/>
              <a:gd name="connsiteY108" fmla="*/ 350316 h 798267"/>
              <a:gd name="connsiteX109" fmla="*/ 243859 w 682417"/>
              <a:gd name="connsiteY109" fmla="*/ 351640 h 798267"/>
              <a:gd name="connsiteX110" fmla="*/ 245183 w 682417"/>
              <a:gd name="connsiteY110" fmla="*/ 350688 h 798267"/>
              <a:gd name="connsiteX111" fmla="*/ 245916 w 682417"/>
              <a:gd name="connsiteY111" fmla="*/ 353136 h 798267"/>
              <a:gd name="connsiteX112" fmla="*/ 243288 w 682417"/>
              <a:gd name="connsiteY112" fmla="*/ 348069 h 798267"/>
              <a:gd name="connsiteX113" fmla="*/ 230476 w 682417"/>
              <a:gd name="connsiteY113" fmla="*/ 293719 h 798267"/>
              <a:gd name="connsiteX114" fmla="*/ 230476 w 682417"/>
              <a:gd name="connsiteY114" fmla="*/ 293719 h 798267"/>
              <a:gd name="connsiteX115" fmla="*/ 153857 w 682417"/>
              <a:gd name="connsiteY115" fmla="*/ 472008 h 798267"/>
              <a:gd name="connsiteX116" fmla="*/ 160620 w 682417"/>
              <a:gd name="connsiteY116" fmla="*/ 473160 h 798267"/>
              <a:gd name="connsiteX117" fmla="*/ 161573 w 682417"/>
              <a:gd name="connsiteY117" fmla="*/ 467522 h 798267"/>
              <a:gd name="connsiteX118" fmla="*/ 153857 w 682417"/>
              <a:gd name="connsiteY118" fmla="*/ 472008 h 798267"/>
              <a:gd name="connsiteX119" fmla="*/ 154010 w 682417"/>
              <a:gd name="connsiteY119" fmla="*/ 484790 h 798267"/>
              <a:gd name="connsiteX120" fmla="*/ 160220 w 682417"/>
              <a:gd name="connsiteY120" fmla="*/ 482362 h 798267"/>
              <a:gd name="connsiteX121" fmla="*/ 154010 w 682417"/>
              <a:gd name="connsiteY121" fmla="*/ 484790 h 798267"/>
              <a:gd name="connsiteX122" fmla="*/ 163335 w 682417"/>
              <a:gd name="connsiteY122" fmla="*/ 388978 h 798267"/>
              <a:gd name="connsiteX123" fmla="*/ 167478 w 682417"/>
              <a:gd name="connsiteY123" fmla="*/ 385054 h 798267"/>
              <a:gd name="connsiteX124" fmla="*/ 163335 w 682417"/>
              <a:gd name="connsiteY124" fmla="*/ 388978 h 798267"/>
              <a:gd name="connsiteX125" fmla="*/ 163935 w 682417"/>
              <a:gd name="connsiteY125" fmla="*/ 378653 h 798267"/>
              <a:gd name="connsiteX126" fmla="*/ 163935 w 682417"/>
              <a:gd name="connsiteY126" fmla="*/ 378653 h 798267"/>
              <a:gd name="connsiteX127" fmla="*/ 128521 w 682417"/>
              <a:gd name="connsiteY127" fmla="*/ 525681 h 798267"/>
              <a:gd name="connsiteX128" fmla="*/ 131521 w 682417"/>
              <a:gd name="connsiteY128" fmla="*/ 528539 h 798267"/>
              <a:gd name="connsiteX129" fmla="*/ 128521 w 682417"/>
              <a:gd name="connsiteY129" fmla="*/ 525681 h 798267"/>
              <a:gd name="connsiteX130" fmla="*/ 135607 w 682417"/>
              <a:gd name="connsiteY130" fmla="*/ 415582 h 798267"/>
              <a:gd name="connsiteX131" fmla="*/ 140475 w 682417"/>
              <a:gd name="connsiteY131" fmla="*/ 421049 h 798267"/>
              <a:gd name="connsiteX132" fmla="*/ 135607 w 682417"/>
              <a:gd name="connsiteY132" fmla="*/ 415582 h 798267"/>
              <a:gd name="connsiteX133" fmla="*/ 125378 w 682417"/>
              <a:gd name="connsiteY133" fmla="*/ 441671 h 798267"/>
              <a:gd name="connsiteX134" fmla="*/ 129188 w 682417"/>
              <a:gd name="connsiteY134" fmla="*/ 439994 h 798267"/>
              <a:gd name="connsiteX135" fmla="*/ 128435 w 682417"/>
              <a:gd name="connsiteY135" fmla="*/ 437546 h 798267"/>
              <a:gd name="connsiteX136" fmla="*/ 125378 w 682417"/>
              <a:gd name="connsiteY136" fmla="*/ 441671 h 798267"/>
              <a:gd name="connsiteX137" fmla="*/ 105156 w 682417"/>
              <a:gd name="connsiteY137" fmla="*/ 485771 h 798267"/>
              <a:gd name="connsiteX138" fmla="*/ 102537 w 682417"/>
              <a:gd name="connsiteY138" fmla="*/ 480695 h 798267"/>
              <a:gd name="connsiteX139" fmla="*/ 105156 w 682417"/>
              <a:gd name="connsiteY139" fmla="*/ 485771 h 798267"/>
              <a:gd name="connsiteX140" fmla="*/ 103070 w 682417"/>
              <a:gd name="connsiteY140" fmla="*/ 491220 h 798267"/>
              <a:gd name="connsiteX141" fmla="*/ 102899 w 682417"/>
              <a:gd name="connsiteY141" fmla="*/ 485390 h 798267"/>
              <a:gd name="connsiteX142" fmla="*/ 99708 w 682417"/>
              <a:gd name="connsiteY142" fmla="*/ 483695 h 798267"/>
              <a:gd name="connsiteX143" fmla="*/ 97431 w 682417"/>
              <a:gd name="connsiteY143" fmla="*/ 490267 h 798267"/>
              <a:gd name="connsiteX144" fmla="*/ 103070 w 682417"/>
              <a:gd name="connsiteY144" fmla="*/ 491220 h 798267"/>
              <a:gd name="connsiteX145" fmla="*/ 37014 w 682417"/>
              <a:gd name="connsiteY145" fmla="*/ 784914 h 798267"/>
              <a:gd name="connsiteX146" fmla="*/ 30794 w 682417"/>
              <a:gd name="connsiteY146" fmla="*/ 787343 h 798267"/>
              <a:gd name="connsiteX147" fmla="*/ 23851 w 682417"/>
              <a:gd name="connsiteY147" fmla="*/ 787343 h 798267"/>
              <a:gd name="connsiteX148" fmla="*/ 26460 w 682417"/>
              <a:gd name="connsiteY148" fmla="*/ 792419 h 798267"/>
              <a:gd name="connsiteX149" fmla="*/ 29318 w 682417"/>
              <a:gd name="connsiteY149" fmla="*/ 789419 h 798267"/>
              <a:gd name="connsiteX150" fmla="*/ 33614 w 682417"/>
              <a:gd name="connsiteY150" fmla="*/ 798268 h 798267"/>
              <a:gd name="connsiteX151" fmla="*/ 33442 w 682417"/>
              <a:gd name="connsiteY151" fmla="*/ 792438 h 798267"/>
              <a:gd name="connsiteX152" fmla="*/ 34957 w 682417"/>
              <a:gd name="connsiteY152" fmla="*/ 790381 h 798267"/>
              <a:gd name="connsiteX153" fmla="*/ 37586 w 682417"/>
              <a:gd name="connsiteY153" fmla="*/ 788476 h 798267"/>
              <a:gd name="connsiteX154" fmla="*/ 37014 w 682417"/>
              <a:gd name="connsiteY154" fmla="*/ 784914 h 798267"/>
              <a:gd name="connsiteX155" fmla="*/ 29127 w 682417"/>
              <a:gd name="connsiteY155" fmla="*/ 783580 h 798267"/>
              <a:gd name="connsiteX156" fmla="*/ 36452 w 682417"/>
              <a:gd name="connsiteY156" fmla="*/ 781342 h 798267"/>
              <a:gd name="connsiteX157" fmla="*/ 37776 w 682417"/>
              <a:gd name="connsiteY157" fmla="*/ 780389 h 798267"/>
              <a:gd name="connsiteX158" fmla="*/ 29127 w 682417"/>
              <a:gd name="connsiteY158" fmla="*/ 783580 h 798267"/>
              <a:gd name="connsiteX159" fmla="*/ 27061 w 682417"/>
              <a:gd name="connsiteY159" fmla="*/ 782066 h 798267"/>
              <a:gd name="connsiteX160" fmla="*/ 24422 w 682417"/>
              <a:gd name="connsiteY160" fmla="*/ 783971 h 798267"/>
              <a:gd name="connsiteX161" fmla="*/ 27061 w 682417"/>
              <a:gd name="connsiteY161" fmla="*/ 782066 h 798267"/>
              <a:gd name="connsiteX162" fmla="*/ 678799 w 682417"/>
              <a:gd name="connsiteY162" fmla="*/ 111296 h 798267"/>
              <a:gd name="connsiteX163" fmla="*/ 679752 w 682417"/>
              <a:gd name="connsiteY163" fmla="*/ 112620 h 798267"/>
              <a:gd name="connsiteX164" fmla="*/ 679561 w 682417"/>
              <a:gd name="connsiteY164" fmla="*/ 113744 h 798267"/>
              <a:gd name="connsiteX165" fmla="*/ 678799 w 682417"/>
              <a:gd name="connsiteY165" fmla="*/ 111296 h 798267"/>
              <a:gd name="connsiteX166" fmla="*/ 677847 w 682417"/>
              <a:gd name="connsiteY166" fmla="*/ 116935 h 798267"/>
              <a:gd name="connsiteX167" fmla="*/ 676142 w 682417"/>
              <a:gd name="connsiteY167" fmla="*/ 120126 h 798267"/>
              <a:gd name="connsiteX168" fmla="*/ 669569 w 682417"/>
              <a:gd name="connsiteY168" fmla="*/ 117849 h 798267"/>
              <a:gd name="connsiteX169" fmla="*/ 664293 w 682417"/>
              <a:gd name="connsiteY169" fmla="*/ 121593 h 798267"/>
              <a:gd name="connsiteX170" fmla="*/ 663531 w 682417"/>
              <a:gd name="connsiteY170" fmla="*/ 126098 h 798267"/>
              <a:gd name="connsiteX171" fmla="*/ 668045 w 682417"/>
              <a:gd name="connsiteY171" fmla="*/ 126869 h 798267"/>
              <a:gd name="connsiteX172" fmla="*/ 666702 w 682417"/>
              <a:gd name="connsiteY172" fmla="*/ 134756 h 798267"/>
              <a:gd name="connsiteX173" fmla="*/ 659940 w 682417"/>
              <a:gd name="connsiteY173" fmla="*/ 133604 h 798267"/>
              <a:gd name="connsiteX174" fmla="*/ 661045 w 682417"/>
              <a:gd name="connsiteY174" fmla="*/ 140747 h 798267"/>
              <a:gd name="connsiteX175" fmla="*/ 663683 w 682417"/>
              <a:gd name="connsiteY175" fmla="*/ 138842 h 798267"/>
              <a:gd name="connsiteX176" fmla="*/ 658406 w 682417"/>
              <a:gd name="connsiteY176" fmla="*/ 142586 h 798267"/>
              <a:gd name="connsiteX177" fmla="*/ 661406 w 682417"/>
              <a:gd name="connsiteY177" fmla="*/ 145443 h 798267"/>
              <a:gd name="connsiteX178" fmla="*/ 658778 w 682417"/>
              <a:gd name="connsiteY178" fmla="*/ 147348 h 798267"/>
              <a:gd name="connsiteX179" fmla="*/ 656139 w 682417"/>
              <a:gd name="connsiteY179" fmla="*/ 149253 h 798267"/>
              <a:gd name="connsiteX180" fmla="*/ 659321 w 682417"/>
              <a:gd name="connsiteY180" fmla="*/ 150949 h 798267"/>
              <a:gd name="connsiteX181" fmla="*/ 660073 w 682417"/>
              <a:gd name="connsiteY181" fmla="*/ 153397 h 798267"/>
              <a:gd name="connsiteX182" fmla="*/ 654806 w 682417"/>
              <a:gd name="connsiteY182" fmla="*/ 157140 h 798267"/>
              <a:gd name="connsiteX183" fmla="*/ 654053 w 682417"/>
              <a:gd name="connsiteY183" fmla="*/ 154692 h 798267"/>
              <a:gd name="connsiteX184" fmla="*/ 645595 w 682417"/>
              <a:gd name="connsiteY184" fmla="*/ 156740 h 798267"/>
              <a:gd name="connsiteX185" fmla="*/ 644071 w 682417"/>
              <a:gd name="connsiteY185" fmla="*/ 165751 h 798267"/>
              <a:gd name="connsiteX186" fmla="*/ 639366 w 682417"/>
              <a:gd name="connsiteY186" fmla="*/ 166112 h 798267"/>
              <a:gd name="connsiteX187" fmla="*/ 639728 w 682417"/>
              <a:gd name="connsiteY187" fmla="*/ 170808 h 798267"/>
              <a:gd name="connsiteX188" fmla="*/ 636175 w 682417"/>
              <a:gd name="connsiteY188" fmla="*/ 164417 h 798267"/>
              <a:gd name="connsiteX189" fmla="*/ 631117 w 682417"/>
              <a:gd name="connsiteY189" fmla="*/ 160074 h 798267"/>
              <a:gd name="connsiteX190" fmla="*/ 636556 w 682417"/>
              <a:gd name="connsiteY190" fmla="*/ 162160 h 798267"/>
              <a:gd name="connsiteX191" fmla="*/ 639194 w 682417"/>
              <a:gd name="connsiteY191" fmla="*/ 160255 h 798267"/>
              <a:gd name="connsiteX192" fmla="*/ 635813 w 682417"/>
              <a:gd name="connsiteY192" fmla="*/ 159683 h 798267"/>
              <a:gd name="connsiteX193" fmla="*/ 635260 w 682417"/>
              <a:gd name="connsiteY193" fmla="*/ 156111 h 798267"/>
              <a:gd name="connsiteX194" fmla="*/ 633946 w 682417"/>
              <a:gd name="connsiteY194" fmla="*/ 157064 h 798267"/>
              <a:gd name="connsiteX195" fmla="*/ 629431 w 682417"/>
              <a:gd name="connsiteY195" fmla="*/ 156302 h 798267"/>
              <a:gd name="connsiteX196" fmla="*/ 624145 w 682417"/>
              <a:gd name="connsiteY196" fmla="*/ 166998 h 798267"/>
              <a:gd name="connsiteX197" fmla="*/ 623192 w 682417"/>
              <a:gd name="connsiteY197" fmla="*/ 172637 h 798267"/>
              <a:gd name="connsiteX198" fmla="*/ 628079 w 682417"/>
              <a:gd name="connsiteY198" fmla="*/ 171142 h 798267"/>
              <a:gd name="connsiteX199" fmla="*/ 628821 w 682417"/>
              <a:gd name="connsiteY199" fmla="*/ 173590 h 798267"/>
              <a:gd name="connsiteX200" fmla="*/ 634641 w 682417"/>
              <a:gd name="connsiteY200" fmla="*/ 173418 h 798267"/>
              <a:gd name="connsiteX201" fmla="*/ 630698 w 682417"/>
              <a:gd name="connsiteY201" fmla="*/ 176276 h 798267"/>
              <a:gd name="connsiteX202" fmla="*/ 625993 w 682417"/>
              <a:gd name="connsiteY202" fmla="*/ 176638 h 798267"/>
              <a:gd name="connsiteX203" fmla="*/ 626545 w 682417"/>
              <a:gd name="connsiteY203" fmla="*/ 180209 h 798267"/>
              <a:gd name="connsiteX204" fmla="*/ 627097 w 682417"/>
              <a:gd name="connsiteY204" fmla="*/ 183772 h 798267"/>
              <a:gd name="connsiteX205" fmla="*/ 630098 w 682417"/>
              <a:gd name="connsiteY205" fmla="*/ 186629 h 798267"/>
              <a:gd name="connsiteX206" fmla="*/ 633289 w 682417"/>
              <a:gd name="connsiteY206" fmla="*/ 188325 h 798267"/>
              <a:gd name="connsiteX207" fmla="*/ 637242 w 682417"/>
              <a:gd name="connsiteY207" fmla="*/ 185515 h 798267"/>
              <a:gd name="connsiteX208" fmla="*/ 635337 w 682417"/>
              <a:gd name="connsiteY208" fmla="*/ 189830 h 798267"/>
              <a:gd name="connsiteX209" fmla="*/ 629707 w 682417"/>
              <a:gd name="connsiteY209" fmla="*/ 188877 h 798267"/>
              <a:gd name="connsiteX210" fmla="*/ 632127 w 682417"/>
              <a:gd name="connsiteY210" fmla="*/ 195088 h 798267"/>
              <a:gd name="connsiteX211" fmla="*/ 628564 w 682417"/>
              <a:gd name="connsiteY211" fmla="*/ 195640 h 798267"/>
              <a:gd name="connsiteX212" fmla="*/ 623097 w 682417"/>
              <a:gd name="connsiteY212" fmla="*/ 200507 h 798267"/>
              <a:gd name="connsiteX213" fmla="*/ 619906 w 682417"/>
              <a:gd name="connsiteY213" fmla="*/ 198812 h 798267"/>
              <a:gd name="connsiteX214" fmla="*/ 619506 w 682417"/>
              <a:gd name="connsiteY214" fmla="*/ 208013 h 798267"/>
              <a:gd name="connsiteX215" fmla="*/ 616887 w 682417"/>
              <a:gd name="connsiteY215" fmla="*/ 202936 h 798267"/>
              <a:gd name="connsiteX216" fmla="*/ 617058 w 682417"/>
              <a:gd name="connsiteY216" fmla="*/ 208765 h 798267"/>
              <a:gd name="connsiteX217" fmla="*/ 613677 w 682417"/>
              <a:gd name="connsiteY217" fmla="*/ 208184 h 798267"/>
              <a:gd name="connsiteX218" fmla="*/ 616677 w 682417"/>
              <a:gd name="connsiteY218" fmla="*/ 211042 h 798267"/>
              <a:gd name="connsiteX219" fmla="*/ 612724 w 682417"/>
              <a:gd name="connsiteY219" fmla="*/ 213852 h 798267"/>
              <a:gd name="connsiteX220" fmla="*/ 611381 w 682417"/>
              <a:gd name="connsiteY220" fmla="*/ 221738 h 798267"/>
              <a:gd name="connsiteX221" fmla="*/ 605752 w 682417"/>
              <a:gd name="connsiteY221" fmla="*/ 220786 h 798267"/>
              <a:gd name="connsiteX222" fmla="*/ 603114 w 682417"/>
              <a:gd name="connsiteY222" fmla="*/ 222691 h 798267"/>
              <a:gd name="connsiteX223" fmla="*/ 593503 w 682417"/>
              <a:gd name="connsiteY223" fmla="*/ 231492 h 798267"/>
              <a:gd name="connsiteX224" fmla="*/ 586750 w 682417"/>
              <a:gd name="connsiteY224" fmla="*/ 230349 h 798267"/>
              <a:gd name="connsiteX225" fmla="*/ 590864 w 682417"/>
              <a:gd name="connsiteY225" fmla="*/ 233368 h 798267"/>
              <a:gd name="connsiteX226" fmla="*/ 595751 w 682417"/>
              <a:gd name="connsiteY226" fmla="*/ 231873 h 798267"/>
              <a:gd name="connsiteX227" fmla="*/ 595922 w 682417"/>
              <a:gd name="connsiteY227" fmla="*/ 237702 h 798267"/>
              <a:gd name="connsiteX228" fmla="*/ 595179 w 682417"/>
              <a:gd name="connsiteY228" fmla="*/ 235254 h 798267"/>
              <a:gd name="connsiteX229" fmla="*/ 593674 w 682417"/>
              <a:gd name="connsiteY229" fmla="*/ 237321 h 798267"/>
              <a:gd name="connsiteX230" fmla="*/ 587845 w 682417"/>
              <a:gd name="connsiteY230" fmla="*/ 237493 h 798267"/>
              <a:gd name="connsiteX231" fmla="*/ 588407 w 682417"/>
              <a:gd name="connsiteY231" fmla="*/ 241065 h 798267"/>
              <a:gd name="connsiteX232" fmla="*/ 595351 w 682417"/>
              <a:gd name="connsiteY232" fmla="*/ 241065 h 798267"/>
              <a:gd name="connsiteX233" fmla="*/ 592493 w 682417"/>
              <a:gd name="connsiteY233" fmla="*/ 244065 h 798267"/>
              <a:gd name="connsiteX234" fmla="*/ 587407 w 682417"/>
              <a:gd name="connsiteY234" fmla="*/ 246675 h 798267"/>
              <a:gd name="connsiteX235" fmla="*/ 588540 w 682417"/>
              <a:gd name="connsiteY235" fmla="*/ 246865 h 798267"/>
              <a:gd name="connsiteX236" fmla="*/ 587588 w 682417"/>
              <a:gd name="connsiteY236" fmla="*/ 252504 h 798267"/>
              <a:gd name="connsiteX237" fmla="*/ 580615 w 682417"/>
              <a:gd name="connsiteY237" fmla="*/ 259438 h 798267"/>
              <a:gd name="connsiteX238" fmla="*/ 577425 w 682417"/>
              <a:gd name="connsiteY238" fmla="*/ 257733 h 798267"/>
              <a:gd name="connsiteX239" fmla="*/ 573472 w 682417"/>
              <a:gd name="connsiteY239" fmla="*/ 260543 h 798267"/>
              <a:gd name="connsiteX240" fmla="*/ 574958 w 682417"/>
              <a:gd name="connsiteY240" fmla="*/ 265439 h 798267"/>
              <a:gd name="connsiteX241" fmla="*/ 573624 w 682417"/>
              <a:gd name="connsiteY241" fmla="*/ 273316 h 798267"/>
              <a:gd name="connsiteX242" fmla="*/ 577005 w 682417"/>
              <a:gd name="connsiteY242" fmla="*/ 273897 h 798267"/>
              <a:gd name="connsiteX243" fmla="*/ 575100 w 682417"/>
              <a:gd name="connsiteY243" fmla="*/ 278212 h 798267"/>
              <a:gd name="connsiteX244" fmla="*/ 573396 w 682417"/>
              <a:gd name="connsiteY244" fmla="*/ 281403 h 798267"/>
              <a:gd name="connsiteX245" fmla="*/ 570538 w 682417"/>
              <a:gd name="connsiteY245" fmla="*/ 277450 h 798267"/>
              <a:gd name="connsiteX246" fmla="*/ 568633 w 682417"/>
              <a:gd name="connsiteY246" fmla="*/ 281765 h 798267"/>
              <a:gd name="connsiteX247" fmla="*/ 571633 w 682417"/>
              <a:gd name="connsiteY247" fmla="*/ 284623 h 798267"/>
              <a:gd name="connsiteX248" fmla="*/ 564299 w 682417"/>
              <a:gd name="connsiteY248" fmla="*/ 286851 h 798267"/>
              <a:gd name="connsiteX249" fmla="*/ 562813 w 682417"/>
              <a:gd name="connsiteY249" fmla="*/ 281965 h 798267"/>
              <a:gd name="connsiteX250" fmla="*/ 558298 w 682417"/>
              <a:gd name="connsiteY250" fmla="*/ 281194 h 798267"/>
              <a:gd name="connsiteX251" fmla="*/ 557727 w 682417"/>
              <a:gd name="connsiteY251" fmla="*/ 284575 h 798267"/>
              <a:gd name="connsiteX252" fmla="*/ 554355 w 682417"/>
              <a:gd name="connsiteY252" fmla="*/ 284003 h 798267"/>
              <a:gd name="connsiteX253" fmla="*/ 555098 w 682417"/>
              <a:gd name="connsiteY253" fmla="*/ 286451 h 798267"/>
              <a:gd name="connsiteX254" fmla="*/ 562242 w 682417"/>
              <a:gd name="connsiteY254" fmla="*/ 285346 h 798267"/>
              <a:gd name="connsiteX255" fmla="*/ 560537 w 682417"/>
              <a:gd name="connsiteY255" fmla="*/ 288528 h 798267"/>
              <a:gd name="connsiteX256" fmla="*/ 558089 w 682417"/>
              <a:gd name="connsiteY256" fmla="*/ 289280 h 798267"/>
              <a:gd name="connsiteX257" fmla="*/ 556031 w 682417"/>
              <a:gd name="connsiteY257" fmla="*/ 287766 h 798267"/>
              <a:gd name="connsiteX258" fmla="*/ 550202 w 682417"/>
              <a:gd name="connsiteY258" fmla="*/ 287937 h 798267"/>
              <a:gd name="connsiteX259" fmla="*/ 558641 w 682417"/>
              <a:gd name="connsiteY259" fmla="*/ 292843 h 798267"/>
              <a:gd name="connsiteX260" fmla="*/ 558260 w 682417"/>
              <a:gd name="connsiteY260" fmla="*/ 295100 h 798267"/>
              <a:gd name="connsiteX261" fmla="*/ 560165 w 682417"/>
              <a:gd name="connsiteY261" fmla="*/ 297738 h 798267"/>
              <a:gd name="connsiteX262" fmla="*/ 559403 w 682417"/>
              <a:gd name="connsiteY262" fmla="*/ 302244 h 798267"/>
              <a:gd name="connsiteX263" fmla="*/ 553383 w 682417"/>
              <a:gd name="connsiteY263" fmla="*/ 303549 h 798267"/>
              <a:gd name="connsiteX264" fmla="*/ 549812 w 682417"/>
              <a:gd name="connsiteY264" fmla="*/ 304101 h 798267"/>
              <a:gd name="connsiteX265" fmla="*/ 550174 w 682417"/>
              <a:gd name="connsiteY265" fmla="*/ 308797 h 798267"/>
              <a:gd name="connsiteX266" fmla="*/ 546964 w 682417"/>
              <a:gd name="connsiteY266" fmla="*/ 314055 h 798267"/>
              <a:gd name="connsiteX267" fmla="*/ 553164 w 682417"/>
              <a:gd name="connsiteY267" fmla="*/ 311626 h 798267"/>
              <a:gd name="connsiteX268" fmla="*/ 547516 w 682417"/>
              <a:gd name="connsiteY268" fmla="*/ 317617 h 798267"/>
              <a:gd name="connsiteX269" fmla="*/ 547516 w 682417"/>
              <a:gd name="connsiteY269" fmla="*/ 324570 h 798267"/>
              <a:gd name="connsiteX270" fmla="*/ 539439 w 682417"/>
              <a:gd name="connsiteY270" fmla="*/ 324361 h 798267"/>
              <a:gd name="connsiteX271" fmla="*/ 542049 w 682417"/>
              <a:gd name="connsiteY271" fmla="*/ 329438 h 798267"/>
              <a:gd name="connsiteX272" fmla="*/ 547878 w 682417"/>
              <a:gd name="connsiteY272" fmla="*/ 329266 h 798267"/>
              <a:gd name="connsiteX273" fmla="*/ 545430 w 682417"/>
              <a:gd name="connsiteY273" fmla="*/ 330019 h 798267"/>
              <a:gd name="connsiteX274" fmla="*/ 542411 w 682417"/>
              <a:gd name="connsiteY274" fmla="*/ 334143 h 798267"/>
              <a:gd name="connsiteX275" fmla="*/ 539410 w 682417"/>
              <a:gd name="connsiteY275" fmla="*/ 331285 h 798267"/>
              <a:gd name="connsiteX276" fmla="*/ 532438 w 682417"/>
              <a:gd name="connsiteY276" fmla="*/ 338220 h 798267"/>
              <a:gd name="connsiteX277" fmla="*/ 534124 w 682417"/>
              <a:gd name="connsiteY277" fmla="*/ 342030 h 798267"/>
              <a:gd name="connsiteX278" fmla="*/ 536572 w 682417"/>
              <a:gd name="connsiteY278" fmla="*/ 341287 h 798267"/>
              <a:gd name="connsiteX279" fmla="*/ 538477 w 682417"/>
              <a:gd name="connsiteY279" fmla="*/ 343925 h 798267"/>
              <a:gd name="connsiteX280" fmla="*/ 539782 w 682417"/>
              <a:gd name="connsiteY280" fmla="*/ 342973 h 798267"/>
              <a:gd name="connsiteX281" fmla="*/ 543163 w 682417"/>
              <a:gd name="connsiteY281" fmla="*/ 343544 h 798267"/>
              <a:gd name="connsiteX282" fmla="*/ 540525 w 682417"/>
              <a:gd name="connsiteY282" fmla="*/ 345449 h 798267"/>
              <a:gd name="connsiteX283" fmla="*/ 536762 w 682417"/>
              <a:gd name="connsiteY283" fmla="*/ 347126 h 798267"/>
              <a:gd name="connsiteX284" fmla="*/ 536000 w 682417"/>
              <a:gd name="connsiteY284" fmla="*/ 351631 h 798267"/>
              <a:gd name="connsiteX285" fmla="*/ 535229 w 682417"/>
              <a:gd name="connsiteY285" fmla="*/ 356146 h 798267"/>
              <a:gd name="connsiteX286" fmla="*/ 529962 w 682417"/>
              <a:gd name="connsiteY286" fmla="*/ 359889 h 798267"/>
              <a:gd name="connsiteX287" fmla="*/ 525199 w 682417"/>
              <a:gd name="connsiteY287" fmla="*/ 367204 h 798267"/>
              <a:gd name="connsiteX288" fmla="*/ 521084 w 682417"/>
              <a:gd name="connsiteY288" fmla="*/ 364185 h 798267"/>
              <a:gd name="connsiteX289" fmla="*/ 520684 w 682417"/>
              <a:gd name="connsiteY289" fmla="*/ 373386 h 798267"/>
              <a:gd name="connsiteX290" fmla="*/ 515045 w 682417"/>
              <a:gd name="connsiteY290" fmla="*/ 372434 h 798267"/>
              <a:gd name="connsiteX291" fmla="*/ 517665 w 682417"/>
              <a:gd name="connsiteY291" fmla="*/ 377510 h 798267"/>
              <a:gd name="connsiteX292" fmla="*/ 513702 w 682417"/>
              <a:gd name="connsiteY292" fmla="*/ 380368 h 798267"/>
              <a:gd name="connsiteX293" fmla="*/ 513131 w 682417"/>
              <a:gd name="connsiteY293" fmla="*/ 383749 h 798267"/>
              <a:gd name="connsiteX294" fmla="*/ 519894 w 682417"/>
              <a:gd name="connsiteY294" fmla="*/ 384902 h 798267"/>
              <a:gd name="connsiteX295" fmla="*/ 515007 w 682417"/>
              <a:gd name="connsiteY295" fmla="*/ 386388 h 798267"/>
              <a:gd name="connsiteX296" fmla="*/ 517627 w 682417"/>
              <a:gd name="connsiteY296" fmla="*/ 391474 h 798267"/>
              <a:gd name="connsiteX297" fmla="*/ 514598 w 682417"/>
              <a:gd name="connsiteY297" fmla="*/ 395598 h 798267"/>
              <a:gd name="connsiteX298" fmla="*/ 514217 w 682417"/>
              <a:gd name="connsiteY298" fmla="*/ 397846 h 798267"/>
              <a:gd name="connsiteX299" fmla="*/ 510645 w 682417"/>
              <a:gd name="connsiteY299" fmla="*/ 398399 h 798267"/>
              <a:gd name="connsiteX300" fmla="*/ 507082 w 682417"/>
              <a:gd name="connsiteY300" fmla="*/ 398951 h 798267"/>
              <a:gd name="connsiteX301" fmla="*/ 506520 w 682417"/>
              <a:gd name="connsiteY301" fmla="*/ 395379 h 798267"/>
              <a:gd name="connsiteX302" fmla="*/ 503663 w 682417"/>
              <a:gd name="connsiteY302" fmla="*/ 391426 h 798267"/>
              <a:gd name="connsiteX303" fmla="*/ 501758 w 682417"/>
              <a:gd name="connsiteY303" fmla="*/ 395741 h 798267"/>
              <a:gd name="connsiteX304" fmla="*/ 503663 w 682417"/>
              <a:gd name="connsiteY304" fmla="*/ 398380 h 798267"/>
              <a:gd name="connsiteX305" fmla="*/ 501968 w 682417"/>
              <a:gd name="connsiteY305" fmla="*/ 401570 h 798267"/>
              <a:gd name="connsiteX306" fmla="*/ 502139 w 682417"/>
              <a:gd name="connsiteY306" fmla="*/ 407400 h 798267"/>
              <a:gd name="connsiteX307" fmla="*/ 493509 w 682417"/>
              <a:gd name="connsiteY307" fmla="*/ 403590 h 798267"/>
              <a:gd name="connsiteX308" fmla="*/ 498567 w 682417"/>
              <a:gd name="connsiteY308" fmla="*/ 407924 h 798267"/>
              <a:gd name="connsiteX309" fmla="*/ 496853 w 682417"/>
              <a:gd name="connsiteY309" fmla="*/ 418068 h 798267"/>
              <a:gd name="connsiteX310" fmla="*/ 487251 w 682417"/>
              <a:gd name="connsiteY310" fmla="*/ 419973 h 798267"/>
              <a:gd name="connsiteX311" fmla="*/ 490842 w 682417"/>
              <a:gd name="connsiteY311" fmla="*/ 412467 h 798267"/>
              <a:gd name="connsiteX312" fmla="*/ 488594 w 682417"/>
              <a:gd name="connsiteY312" fmla="*/ 412077 h 798267"/>
              <a:gd name="connsiteX313" fmla="*/ 488404 w 682417"/>
              <a:gd name="connsiteY313" fmla="*/ 413210 h 798267"/>
              <a:gd name="connsiteX314" fmla="*/ 484451 w 682417"/>
              <a:gd name="connsiteY314" fmla="*/ 416010 h 798267"/>
              <a:gd name="connsiteX315" fmla="*/ 480641 w 682417"/>
              <a:gd name="connsiteY315" fmla="*/ 417696 h 798267"/>
              <a:gd name="connsiteX316" fmla="*/ 479336 w 682417"/>
              <a:gd name="connsiteY316" fmla="*/ 411677 h 798267"/>
              <a:gd name="connsiteX317" fmla="*/ 483680 w 682417"/>
              <a:gd name="connsiteY317" fmla="*/ 406619 h 798267"/>
              <a:gd name="connsiteX318" fmla="*/ 478050 w 682417"/>
              <a:gd name="connsiteY318" fmla="*/ 405666 h 798267"/>
              <a:gd name="connsiteX319" fmla="*/ 476364 w 682417"/>
              <a:gd name="connsiteY319" fmla="*/ 401856 h 798267"/>
              <a:gd name="connsiteX320" fmla="*/ 479384 w 682417"/>
              <a:gd name="connsiteY320" fmla="*/ 397741 h 798267"/>
              <a:gd name="connsiteX321" fmla="*/ 480698 w 682417"/>
              <a:gd name="connsiteY321" fmla="*/ 396789 h 798267"/>
              <a:gd name="connsiteX322" fmla="*/ 480146 w 682417"/>
              <a:gd name="connsiteY322" fmla="*/ 393217 h 798267"/>
              <a:gd name="connsiteX323" fmla="*/ 483156 w 682417"/>
              <a:gd name="connsiteY323" fmla="*/ 389093 h 798267"/>
              <a:gd name="connsiteX324" fmla="*/ 480298 w 682417"/>
              <a:gd name="connsiteY324" fmla="*/ 392093 h 798267"/>
              <a:gd name="connsiteX325" fmla="*/ 478393 w 682417"/>
              <a:gd name="connsiteY325" fmla="*/ 389455 h 798267"/>
              <a:gd name="connsiteX326" fmla="*/ 473688 w 682417"/>
              <a:gd name="connsiteY326" fmla="*/ 389817 h 798267"/>
              <a:gd name="connsiteX327" fmla="*/ 476326 w 682417"/>
              <a:gd name="connsiteY327" fmla="*/ 387912 h 798267"/>
              <a:gd name="connsiteX328" fmla="*/ 477469 w 682417"/>
              <a:gd name="connsiteY328" fmla="*/ 381149 h 798267"/>
              <a:gd name="connsiteX329" fmla="*/ 484803 w 682417"/>
              <a:gd name="connsiteY329" fmla="*/ 378910 h 798267"/>
              <a:gd name="connsiteX330" fmla="*/ 487251 w 682417"/>
              <a:gd name="connsiteY330" fmla="*/ 378168 h 798267"/>
              <a:gd name="connsiteX331" fmla="*/ 486299 w 682417"/>
              <a:gd name="connsiteY331" fmla="*/ 376844 h 798267"/>
              <a:gd name="connsiteX332" fmla="*/ 493271 w 682417"/>
              <a:gd name="connsiteY332" fmla="*/ 369919 h 798267"/>
              <a:gd name="connsiteX333" fmla="*/ 492142 w 682417"/>
              <a:gd name="connsiteY333" fmla="*/ 368744 h 798267"/>
              <a:gd name="connsiteX334" fmla="*/ 491023 w 682417"/>
              <a:gd name="connsiteY334" fmla="*/ 369538 h 798267"/>
              <a:gd name="connsiteX335" fmla="*/ 491404 w 682417"/>
              <a:gd name="connsiteY335" fmla="*/ 367280 h 798267"/>
              <a:gd name="connsiteX336" fmla="*/ 490452 w 682417"/>
              <a:gd name="connsiteY336" fmla="*/ 365966 h 798267"/>
              <a:gd name="connsiteX337" fmla="*/ 493862 w 682417"/>
              <a:gd name="connsiteY337" fmla="*/ 359584 h 798267"/>
              <a:gd name="connsiteX338" fmla="*/ 493690 w 682417"/>
              <a:gd name="connsiteY338" fmla="*/ 353764 h 798267"/>
              <a:gd name="connsiteX339" fmla="*/ 495595 w 682417"/>
              <a:gd name="connsiteY339" fmla="*/ 349440 h 798267"/>
              <a:gd name="connsiteX340" fmla="*/ 498805 w 682417"/>
              <a:gd name="connsiteY340" fmla="*/ 344192 h 798267"/>
              <a:gd name="connsiteX341" fmla="*/ 506139 w 682417"/>
              <a:gd name="connsiteY341" fmla="*/ 341954 h 798267"/>
              <a:gd name="connsiteX342" fmla="*/ 503282 w 682417"/>
              <a:gd name="connsiteY342" fmla="*/ 338001 h 798267"/>
              <a:gd name="connsiteX343" fmla="*/ 505558 w 682417"/>
              <a:gd name="connsiteY343" fmla="*/ 331438 h 798267"/>
              <a:gd name="connsiteX344" fmla="*/ 508940 w 682417"/>
              <a:gd name="connsiteY344" fmla="*/ 332009 h 798267"/>
              <a:gd name="connsiteX345" fmla="*/ 509711 w 682417"/>
              <a:gd name="connsiteY345" fmla="*/ 327504 h 798267"/>
              <a:gd name="connsiteX346" fmla="*/ 515722 w 682417"/>
              <a:gd name="connsiteY346" fmla="*/ 326199 h 798267"/>
              <a:gd name="connsiteX347" fmla="*/ 516674 w 682417"/>
              <a:gd name="connsiteY347" fmla="*/ 320570 h 798267"/>
              <a:gd name="connsiteX348" fmla="*/ 520636 w 682417"/>
              <a:gd name="connsiteY348" fmla="*/ 317712 h 798267"/>
              <a:gd name="connsiteX349" fmla="*/ 528161 w 682417"/>
              <a:gd name="connsiteY349" fmla="*/ 314350 h 798267"/>
              <a:gd name="connsiteX350" fmla="*/ 525523 w 682417"/>
              <a:gd name="connsiteY350" fmla="*/ 316255 h 798267"/>
              <a:gd name="connsiteX351" fmla="*/ 519522 w 682417"/>
              <a:gd name="connsiteY351" fmla="*/ 310607 h 798267"/>
              <a:gd name="connsiteX352" fmla="*/ 515407 w 682417"/>
              <a:gd name="connsiteY352" fmla="*/ 307587 h 798267"/>
              <a:gd name="connsiteX353" fmla="*/ 513912 w 682417"/>
              <a:gd name="connsiteY353" fmla="*/ 302701 h 798267"/>
              <a:gd name="connsiteX354" fmla="*/ 520694 w 682417"/>
              <a:gd name="connsiteY354" fmla="*/ 296891 h 798267"/>
              <a:gd name="connsiteX355" fmla="*/ 529152 w 682417"/>
              <a:gd name="connsiteY355" fmla="*/ 294852 h 798267"/>
              <a:gd name="connsiteX356" fmla="*/ 520713 w 682417"/>
              <a:gd name="connsiteY356" fmla="*/ 289937 h 798267"/>
              <a:gd name="connsiteX357" fmla="*/ 528980 w 682417"/>
              <a:gd name="connsiteY357" fmla="*/ 288985 h 798267"/>
              <a:gd name="connsiteX358" fmla="*/ 526923 w 682417"/>
              <a:gd name="connsiteY358" fmla="*/ 287470 h 798267"/>
              <a:gd name="connsiteX359" fmla="*/ 528619 w 682417"/>
              <a:gd name="connsiteY359" fmla="*/ 284289 h 798267"/>
              <a:gd name="connsiteX360" fmla="*/ 526713 w 682417"/>
              <a:gd name="connsiteY360" fmla="*/ 281651 h 798267"/>
              <a:gd name="connsiteX361" fmla="*/ 527285 w 682417"/>
              <a:gd name="connsiteY361" fmla="*/ 278269 h 798267"/>
              <a:gd name="connsiteX362" fmla="*/ 530495 w 682417"/>
              <a:gd name="connsiteY362" fmla="*/ 273021 h 798267"/>
              <a:gd name="connsiteX363" fmla="*/ 532933 w 682417"/>
              <a:gd name="connsiteY363" fmla="*/ 272278 h 798267"/>
              <a:gd name="connsiteX364" fmla="*/ 532381 w 682417"/>
              <a:gd name="connsiteY364" fmla="*/ 268697 h 798267"/>
              <a:gd name="connsiteX365" fmla="*/ 539744 w 682417"/>
              <a:gd name="connsiteY365" fmla="*/ 259515 h 798267"/>
              <a:gd name="connsiteX366" fmla="*/ 544058 w 682417"/>
              <a:gd name="connsiteY366" fmla="*/ 261420 h 798267"/>
              <a:gd name="connsiteX367" fmla="*/ 541068 w 682417"/>
              <a:gd name="connsiteY367" fmla="*/ 258562 h 798267"/>
              <a:gd name="connsiteX368" fmla="*/ 544078 w 682417"/>
              <a:gd name="connsiteY368" fmla="*/ 254438 h 798267"/>
              <a:gd name="connsiteX369" fmla="*/ 547097 w 682417"/>
              <a:gd name="connsiteY369" fmla="*/ 250313 h 798267"/>
              <a:gd name="connsiteX370" fmla="*/ 552726 w 682417"/>
              <a:gd name="connsiteY370" fmla="*/ 251266 h 798267"/>
              <a:gd name="connsiteX371" fmla="*/ 552726 w 682417"/>
              <a:gd name="connsiteY371" fmla="*/ 244313 h 798267"/>
              <a:gd name="connsiteX372" fmla="*/ 549707 w 682417"/>
              <a:gd name="connsiteY372" fmla="*/ 248437 h 798267"/>
              <a:gd name="connsiteX373" fmla="*/ 548964 w 682417"/>
              <a:gd name="connsiteY373" fmla="*/ 245999 h 798267"/>
              <a:gd name="connsiteX374" fmla="*/ 544268 w 682417"/>
              <a:gd name="connsiteY374" fmla="*/ 246361 h 798267"/>
              <a:gd name="connsiteX375" fmla="*/ 551793 w 682417"/>
              <a:gd name="connsiteY375" fmla="*/ 242998 h 798267"/>
              <a:gd name="connsiteX376" fmla="*/ 554803 w 682417"/>
              <a:gd name="connsiteY376" fmla="*/ 238864 h 798267"/>
              <a:gd name="connsiteX377" fmla="*/ 553126 w 682417"/>
              <a:gd name="connsiteY377" fmla="*/ 235112 h 798267"/>
              <a:gd name="connsiteX378" fmla="*/ 562166 w 682417"/>
              <a:gd name="connsiteY378" fmla="*/ 229682 h 798267"/>
              <a:gd name="connsiteX379" fmla="*/ 571691 w 682417"/>
              <a:gd name="connsiteY379" fmla="*/ 234788 h 798267"/>
              <a:gd name="connsiteX380" fmla="*/ 567947 w 682417"/>
              <a:gd name="connsiteY380" fmla="*/ 229511 h 798267"/>
              <a:gd name="connsiteX381" fmla="*/ 568709 w 682417"/>
              <a:gd name="connsiteY381" fmla="*/ 225006 h 798267"/>
              <a:gd name="connsiteX382" fmla="*/ 567585 w 682417"/>
              <a:gd name="connsiteY382" fmla="*/ 224815 h 798267"/>
              <a:gd name="connsiteX383" fmla="*/ 566099 w 682417"/>
              <a:gd name="connsiteY383" fmla="*/ 219929 h 798267"/>
              <a:gd name="connsiteX384" fmla="*/ 578539 w 682417"/>
              <a:gd name="connsiteY384" fmla="*/ 208127 h 798267"/>
              <a:gd name="connsiteX385" fmla="*/ 580254 w 682417"/>
              <a:gd name="connsiteY385" fmla="*/ 197983 h 798267"/>
              <a:gd name="connsiteX386" fmla="*/ 585330 w 682417"/>
              <a:gd name="connsiteY386" fmla="*/ 195364 h 798267"/>
              <a:gd name="connsiteX387" fmla="*/ 587054 w 682417"/>
              <a:gd name="connsiteY387" fmla="*/ 185229 h 798267"/>
              <a:gd name="connsiteX388" fmla="*/ 585759 w 682417"/>
              <a:gd name="connsiteY388" fmla="*/ 179209 h 798267"/>
              <a:gd name="connsiteX389" fmla="*/ 588207 w 682417"/>
              <a:gd name="connsiteY389" fmla="*/ 178457 h 798267"/>
              <a:gd name="connsiteX390" fmla="*/ 592712 w 682417"/>
              <a:gd name="connsiteY390" fmla="*/ 179228 h 798267"/>
              <a:gd name="connsiteX391" fmla="*/ 595570 w 682417"/>
              <a:gd name="connsiteY391" fmla="*/ 176228 h 798267"/>
              <a:gd name="connsiteX392" fmla="*/ 597818 w 682417"/>
              <a:gd name="connsiteY392" fmla="*/ 176609 h 798267"/>
              <a:gd name="connsiteX393" fmla="*/ 598199 w 682417"/>
              <a:gd name="connsiteY393" fmla="*/ 174352 h 798267"/>
              <a:gd name="connsiteX394" fmla="*/ 600475 w 682417"/>
              <a:gd name="connsiteY394" fmla="*/ 167789 h 798267"/>
              <a:gd name="connsiteX395" fmla="*/ 602923 w 682417"/>
              <a:gd name="connsiteY395" fmla="*/ 167046 h 798267"/>
              <a:gd name="connsiteX396" fmla="*/ 604647 w 682417"/>
              <a:gd name="connsiteY396" fmla="*/ 156902 h 798267"/>
              <a:gd name="connsiteX397" fmla="*/ 607505 w 682417"/>
              <a:gd name="connsiteY397" fmla="*/ 153901 h 798267"/>
              <a:gd name="connsiteX398" fmla="*/ 611257 w 682417"/>
              <a:gd name="connsiteY398" fmla="*/ 152215 h 798267"/>
              <a:gd name="connsiteX399" fmla="*/ 605438 w 682417"/>
              <a:gd name="connsiteY399" fmla="*/ 152396 h 798267"/>
              <a:gd name="connsiteX400" fmla="*/ 609390 w 682417"/>
              <a:gd name="connsiteY400" fmla="*/ 149587 h 798267"/>
              <a:gd name="connsiteX401" fmla="*/ 609029 w 682417"/>
              <a:gd name="connsiteY401" fmla="*/ 144891 h 798267"/>
              <a:gd name="connsiteX402" fmla="*/ 606171 w 682417"/>
              <a:gd name="connsiteY402" fmla="*/ 147882 h 798267"/>
              <a:gd name="connsiteX403" fmla="*/ 600732 w 682417"/>
              <a:gd name="connsiteY403" fmla="*/ 145805 h 798267"/>
              <a:gd name="connsiteX404" fmla="*/ 598827 w 682417"/>
              <a:gd name="connsiteY404" fmla="*/ 150110 h 798267"/>
              <a:gd name="connsiteX405" fmla="*/ 594322 w 682417"/>
              <a:gd name="connsiteY405" fmla="*/ 149348 h 798267"/>
              <a:gd name="connsiteX406" fmla="*/ 597179 w 682417"/>
              <a:gd name="connsiteY406" fmla="*/ 146358 h 798267"/>
              <a:gd name="connsiteX407" fmla="*/ 587778 w 682417"/>
              <a:gd name="connsiteY407" fmla="*/ 147082 h 798267"/>
              <a:gd name="connsiteX408" fmla="*/ 586273 w 682417"/>
              <a:gd name="connsiteY408" fmla="*/ 149139 h 798267"/>
              <a:gd name="connsiteX409" fmla="*/ 583635 w 682417"/>
              <a:gd name="connsiteY409" fmla="*/ 151044 h 798267"/>
              <a:gd name="connsiteX410" fmla="*/ 573872 w 682417"/>
              <a:gd name="connsiteY410" fmla="*/ 147062 h 798267"/>
              <a:gd name="connsiteX411" fmla="*/ 567290 w 682417"/>
              <a:gd name="connsiteY411" fmla="*/ 151749 h 798267"/>
              <a:gd name="connsiteX412" fmla="*/ 561642 w 682417"/>
              <a:gd name="connsiteY412" fmla="*/ 150796 h 798267"/>
              <a:gd name="connsiteX413" fmla="*/ 557698 w 682417"/>
              <a:gd name="connsiteY413" fmla="*/ 153654 h 798267"/>
              <a:gd name="connsiteX414" fmla="*/ 550926 w 682417"/>
              <a:gd name="connsiteY414" fmla="*/ 152501 h 798267"/>
              <a:gd name="connsiteX415" fmla="*/ 549431 w 682417"/>
              <a:gd name="connsiteY415" fmla="*/ 154568 h 798267"/>
              <a:gd name="connsiteX416" fmla="*/ 543020 w 682417"/>
              <a:gd name="connsiteY416" fmla="*/ 158121 h 798267"/>
              <a:gd name="connsiteX417" fmla="*/ 533800 w 682417"/>
              <a:gd name="connsiteY417" fmla="*/ 164674 h 798267"/>
              <a:gd name="connsiteX418" fmla="*/ 528914 w 682417"/>
              <a:gd name="connsiteY418" fmla="*/ 166160 h 798267"/>
              <a:gd name="connsiteX419" fmla="*/ 527228 w 682417"/>
              <a:gd name="connsiteY419" fmla="*/ 162398 h 798267"/>
              <a:gd name="connsiteX420" fmla="*/ 522141 w 682417"/>
              <a:gd name="connsiteY420" fmla="*/ 165017 h 798267"/>
              <a:gd name="connsiteX421" fmla="*/ 517265 w 682417"/>
              <a:gd name="connsiteY421" fmla="*/ 166503 h 798267"/>
              <a:gd name="connsiteX422" fmla="*/ 514407 w 682417"/>
              <a:gd name="connsiteY422" fmla="*/ 169494 h 798267"/>
              <a:gd name="connsiteX423" fmla="*/ 506911 w 682417"/>
              <a:gd name="connsiteY423" fmla="*/ 165912 h 798267"/>
              <a:gd name="connsiteX424" fmla="*/ 506330 w 682417"/>
              <a:gd name="connsiteY424" fmla="*/ 169284 h 798267"/>
              <a:gd name="connsiteX425" fmla="*/ 510073 w 682417"/>
              <a:gd name="connsiteY425" fmla="*/ 174561 h 798267"/>
              <a:gd name="connsiteX426" fmla="*/ 505535 w 682417"/>
              <a:gd name="connsiteY426" fmla="*/ 173564 h 798267"/>
              <a:gd name="connsiteX427" fmla="*/ 504053 w 682417"/>
              <a:gd name="connsiteY427" fmla="*/ 175857 h 798267"/>
              <a:gd name="connsiteX428" fmla="*/ 501053 w 682417"/>
              <a:gd name="connsiteY428" fmla="*/ 172999 h 798267"/>
              <a:gd name="connsiteX429" fmla="*/ 494091 w 682417"/>
              <a:gd name="connsiteY429" fmla="*/ 178952 h 798267"/>
              <a:gd name="connsiteX430" fmla="*/ 494090 w 682417"/>
              <a:gd name="connsiteY430" fmla="*/ 179943 h 798267"/>
              <a:gd name="connsiteX431" fmla="*/ 493347 w 682417"/>
              <a:gd name="connsiteY431" fmla="*/ 177495 h 798267"/>
              <a:gd name="connsiteX432" fmla="*/ 489385 w 682417"/>
              <a:gd name="connsiteY432" fmla="*/ 180295 h 798267"/>
              <a:gd name="connsiteX433" fmla="*/ 485261 w 682417"/>
              <a:gd name="connsiteY433" fmla="*/ 177276 h 798267"/>
              <a:gd name="connsiteX434" fmla="*/ 485813 w 682417"/>
              <a:gd name="connsiteY434" fmla="*/ 180848 h 798267"/>
              <a:gd name="connsiteX435" fmla="*/ 484861 w 682417"/>
              <a:gd name="connsiteY435" fmla="*/ 179533 h 798267"/>
              <a:gd name="connsiteX436" fmla="*/ 478469 w 682417"/>
              <a:gd name="connsiteY436" fmla="*/ 183086 h 798267"/>
              <a:gd name="connsiteX437" fmla="*/ 479231 w 682417"/>
              <a:gd name="connsiteY437" fmla="*/ 178581 h 798267"/>
              <a:gd name="connsiteX438" fmla="*/ 475278 w 682417"/>
              <a:gd name="connsiteY438" fmla="*/ 181391 h 798267"/>
              <a:gd name="connsiteX439" fmla="*/ 471468 w 682417"/>
              <a:gd name="connsiteY439" fmla="*/ 190020 h 798267"/>
              <a:gd name="connsiteX440" fmla="*/ 466030 w 682417"/>
              <a:gd name="connsiteY440" fmla="*/ 187934 h 798267"/>
              <a:gd name="connsiteX441" fmla="*/ 463944 w 682417"/>
              <a:gd name="connsiteY441" fmla="*/ 193383 h 798267"/>
              <a:gd name="connsiteX442" fmla="*/ 462820 w 682417"/>
              <a:gd name="connsiteY442" fmla="*/ 193192 h 798267"/>
              <a:gd name="connsiteX443" fmla="*/ 460753 w 682417"/>
              <a:gd name="connsiteY443" fmla="*/ 191678 h 798267"/>
              <a:gd name="connsiteX444" fmla="*/ 457895 w 682417"/>
              <a:gd name="connsiteY444" fmla="*/ 194678 h 798267"/>
              <a:gd name="connsiteX445" fmla="*/ 453009 w 682417"/>
              <a:gd name="connsiteY445" fmla="*/ 196164 h 798267"/>
              <a:gd name="connsiteX446" fmla="*/ 459772 w 682417"/>
              <a:gd name="connsiteY446" fmla="*/ 197316 h 798267"/>
              <a:gd name="connsiteX447" fmla="*/ 456752 w 682417"/>
              <a:gd name="connsiteY447" fmla="*/ 201441 h 798267"/>
              <a:gd name="connsiteX448" fmla="*/ 450561 w 682417"/>
              <a:gd name="connsiteY448" fmla="*/ 196907 h 798267"/>
              <a:gd name="connsiteX449" fmla="*/ 440760 w 682417"/>
              <a:gd name="connsiteY449" fmla="*/ 206841 h 798267"/>
              <a:gd name="connsiteX450" fmla="*/ 433816 w 682417"/>
              <a:gd name="connsiteY450" fmla="*/ 206841 h 798267"/>
              <a:gd name="connsiteX451" fmla="*/ 432111 w 682417"/>
              <a:gd name="connsiteY451" fmla="*/ 210032 h 798267"/>
              <a:gd name="connsiteX452" fmla="*/ 430425 w 682417"/>
              <a:gd name="connsiteY452" fmla="*/ 206270 h 798267"/>
              <a:gd name="connsiteX453" fmla="*/ 428730 w 682417"/>
              <a:gd name="connsiteY453" fmla="*/ 209451 h 798267"/>
              <a:gd name="connsiteX454" fmla="*/ 426472 w 682417"/>
              <a:gd name="connsiteY454" fmla="*/ 209070 h 798267"/>
              <a:gd name="connsiteX455" fmla="*/ 423120 w 682417"/>
              <a:gd name="connsiteY455" fmla="*/ 201545 h 798267"/>
              <a:gd name="connsiteX456" fmla="*/ 422348 w 682417"/>
              <a:gd name="connsiteY456" fmla="*/ 206051 h 798267"/>
              <a:gd name="connsiteX457" fmla="*/ 417652 w 682417"/>
              <a:gd name="connsiteY457" fmla="*/ 206413 h 798267"/>
              <a:gd name="connsiteX458" fmla="*/ 417652 w 682417"/>
              <a:gd name="connsiteY458" fmla="*/ 213366 h 798267"/>
              <a:gd name="connsiteX459" fmla="*/ 420824 w 682417"/>
              <a:gd name="connsiteY459" fmla="*/ 222024 h 798267"/>
              <a:gd name="connsiteX460" fmla="*/ 419310 w 682417"/>
              <a:gd name="connsiteY460" fmla="*/ 224082 h 798267"/>
              <a:gd name="connsiteX461" fmla="*/ 414223 w 682417"/>
              <a:gd name="connsiteY461" fmla="*/ 226701 h 798267"/>
              <a:gd name="connsiteX462" fmla="*/ 413490 w 682417"/>
              <a:gd name="connsiteY462" fmla="*/ 224263 h 798267"/>
              <a:gd name="connsiteX463" fmla="*/ 409746 w 682417"/>
              <a:gd name="connsiteY463" fmla="*/ 218976 h 798267"/>
              <a:gd name="connsiteX464" fmla="*/ 404470 w 682417"/>
              <a:gd name="connsiteY464" fmla="*/ 222729 h 798267"/>
              <a:gd name="connsiteX465" fmla="*/ 397135 w 682417"/>
              <a:gd name="connsiteY465" fmla="*/ 224958 h 798267"/>
              <a:gd name="connsiteX466" fmla="*/ 401450 w 682417"/>
              <a:gd name="connsiteY466" fmla="*/ 226863 h 798267"/>
              <a:gd name="connsiteX467" fmla="*/ 407641 w 682417"/>
              <a:gd name="connsiteY467" fmla="*/ 231387 h 798267"/>
              <a:gd name="connsiteX468" fmla="*/ 405555 w 682417"/>
              <a:gd name="connsiteY468" fmla="*/ 236836 h 798267"/>
              <a:gd name="connsiteX469" fmla="*/ 403489 w 682417"/>
              <a:gd name="connsiteY469" fmla="*/ 235321 h 798267"/>
              <a:gd name="connsiteX470" fmla="*/ 401984 w 682417"/>
              <a:gd name="connsiteY470" fmla="*/ 237379 h 798267"/>
              <a:gd name="connsiteX471" fmla="*/ 398174 w 682417"/>
              <a:gd name="connsiteY471" fmla="*/ 239064 h 798267"/>
              <a:gd name="connsiteX472" fmla="*/ 397221 w 682417"/>
              <a:gd name="connsiteY472" fmla="*/ 237750 h 798267"/>
              <a:gd name="connsiteX473" fmla="*/ 394202 w 682417"/>
              <a:gd name="connsiteY473" fmla="*/ 241874 h 798267"/>
              <a:gd name="connsiteX474" fmla="*/ 387439 w 682417"/>
              <a:gd name="connsiteY474" fmla="*/ 240722 h 798267"/>
              <a:gd name="connsiteX475" fmla="*/ 383677 w 682417"/>
              <a:gd name="connsiteY475" fmla="*/ 242408 h 798267"/>
              <a:gd name="connsiteX476" fmla="*/ 381591 w 682417"/>
              <a:gd name="connsiteY476" fmla="*/ 247846 h 798267"/>
              <a:gd name="connsiteX477" fmla="*/ 375771 w 682417"/>
              <a:gd name="connsiteY477" fmla="*/ 248018 h 798267"/>
              <a:gd name="connsiteX478" fmla="*/ 374447 w 682417"/>
              <a:gd name="connsiteY478" fmla="*/ 248970 h 798267"/>
              <a:gd name="connsiteX479" fmla="*/ 368437 w 682417"/>
              <a:gd name="connsiteY479" fmla="*/ 250275 h 798267"/>
              <a:gd name="connsiteX480" fmla="*/ 370494 w 682417"/>
              <a:gd name="connsiteY480" fmla="*/ 251780 h 798267"/>
              <a:gd name="connsiteX481" fmla="*/ 366684 w 682417"/>
              <a:gd name="connsiteY481" fmla="*/ 253466 h 798267"/>
              <a:gd name="connsiteX482" fmla="*/ 360836 w 682417"/>
              <a:gd name="connsiteY482" fmla="*/ 260581 h 798267"/>
              <a:gd name="connsiteX483" fmla="*/ 353692 w 682417"/>
              <a:gd name="connsiteY483" fmla="*/ 261696 h 798267"/>
              <a:gd name="connsiteX484" fmla="*/ 354273 w 682417"/>
              <a:gd name="connsiteY484" fmla="*/ 258305 h 798267"/>
              <a:gd name="connsiteX485" fmla="*/ 348053 w 682417"/>
              <a:gd name="connsiteY485" fmla="*/ 260734 h 798267"/>
              <a:gd name="connsiteX486" fmla="*/ 340357 w 682417"/>
              <a:gd name="connsiteY486" fmla="*/ 258267 h 798267"/>
              <a:gd name="connsiteX487" fmla="*/ 338861 w 682417"/>
              <a:gd name="connsiteY487" fmla="*/ 260334 h 798267"/>
              <a:gd name="connsiteX488" fmla="*/ 335832 w 682417"/>
              <a:gd name="connsiteY488" fmla="*/ 264458 h 798267"/>
              <a:gd name="connsiteX489" fmla="*/ 327755 w 682417"/>
              <a:gd name="connsiteY489" fmla="*/ 264249 h 798267"/>
              <a:gd name="connsiteX490" fmla="*/ 324545 w 682417"/>
              <a:gd name="connsiteY490" fmla="*/ 269497 h 798267"/>
              <a:gd name="connsiteX491" fmla="*/ 321688 w 682417"/>
              <a:gd name="connsiteY491" fmla="*/ 265544 h 798267"/>
              <a:gd name="connsiteX492" fmla="*/ 316421 w 682417"/>
              <a:gd name="connsiteY492" fmla="*/ 269287 h 798267"/>
              <a:gd name="connsiteX493" fmla="*/ 310801 w 682417"/>
              <a:gd name="connsiteY493" fmla="*/ 261382 h 798267"/>
              <a:gd name="connsiteX494" fmla="*/ 315487 w 682417"/>
              <a:gd name="connsiteY494" fmla="*/ 267973 h 798267"/>
              <a:gd name="connsiteX495" fmla="*/ 312630 w 682417"/>
              <a:gd name="connsiteY495" fmla="*/ 270964 h 798267"/>
              <a:gd name="connsiteX496" fmla="*/ 315249 w 682417"/>
              <a:gd name="connsiteY496" fmla="*/ 276050 h 798267"/>
              <a:gd name="connsiteX497" fmla="*/ 309439 w 682417"/>
              <a:gd name="connsiteY497" fmla="*/ 269268 h 798267"/>
              <a:gd name="connsiteX498" fmla="*/ 306991 w 682417"/>
              <a:gd name="connsiteY498" fmla="*/ 270011 h 798267"/>
              <a:gd name="connsiteX499" fmla="*/ 313734 w 682417"/>
              <a:gd name="connsiteY499" fmla="*/ 278107 h 798267"/>
              <a:gd name="connsiteX500" fmla="*/ 316744 w 682417"/>
              <a:gd name="connsiteY500" fmla="*/ 273983 h 798267"/>
              <a:gd name="connsiteX501" fmla="*/ 321069 w 682417"/>
              <a:gd name="connsiteY501" fmla="*/ 275888 h 798267"/>
              <a:gd name="connsiteX502" fmla="*/ 321831 w 682417"/>
              <a:gd name="connsiteY502" fmla="*/ 271383 h 798267"/>
              <a:gd name="connsiteX503" fmla="*/ 324450 w 682417"/>
              <a:gd name="connsiteY503" fmla="*/ 276460 h 798267"/>
              <a:gd name="connsiteX504" fmla="*/ 326126 w 682417"/>
              <a:gd name="connsiteY504" fmla="*/ 280222 h 798267"/>
              <a:gd name="connsiteX505" fmla="*/ 323688 w 682417"/>
              <a:gd name="connsiteY505" fmla="*/ 280974 h 798267"/>
              <a:gd name="connsiteX506" fmla="*/ 320688 w 682417"/>
              <a:gd name="connsiteY506" fmla="*/ 278117 h 798267"/>
              <a:gd name="connsiteX507" fmla="*/ 315925 w 682417"/>
              <a:gd name="connsiteY507" fmla="*/ 285432 h 798267"/>
              <a:gd name="connsiteX508" fmla="*/ 311991 w 682417"/>
              <a:gd name="connsiteY508" fmla="*/ 281289 h 798267"/>
              <a:gd name="connsiteX509" fmla="*/ 307838 w 682417"/>
              <a:gd name="connsiteY509" fmla="*/ 285223 h 798267"/>
              <a:gd name="connsiteX510" fmla="*/ 301076 w 682417"/>
              <a:gd name="connsiteY510" fmla="*/ 284080 h 798267"/>
              <a:gd name="connsiteX511" fmla="*/ 298094 w 682417"/>
              <a:gd name="connsiteY511" fmla="*/ 274297 h 798267"/>
              <a:gd name="connsiteX512" fmla="*/ 295237 w 682417"/>
              <a:gd name="connsiteY512" fmla="*/ 277298 h 798267"/>
              <a:gd name="connsiteX513" fmla="*/ 297294 w 682417"/>
              <a:gd name="connsiteY513" fmla="*/ 278803 h 798267"/>
              <a:gd name="connsiteX514" fmla="*/ 298780 w 682417"/>
              <a:gd name="connsiteY514" fmla="*/ 283699 h 798267"/>
              <a:gd name="connsiteX515" fmla="*/ 298399 w 682417"/>
              <a:gd name="connsiteY515" fmla="*/ 285947 h 798267"/>
              <a:gd name="connsiteX516" fmla="*/ 294999 w 682417"/>
              <a:gd name="connsiteY516" fmla="*/ 292328 h 798267"/>
              <a:gd name="connsiteX517" fmla="*/ 298809 w 682417"/>
              <a:gd name="connsiteY517" fmla="*/ 290652 h 798267"/>
              <a:gd name="connsiteX518" fmla="*/ 297094 w 682417"/>
              <a:gd name="connsiteY518" fmla="*/ 300796 h 798267"/>
              <a:gd name="connsiteX519" fmla="*/ 295599 w 682417"/>
              <a:gd name="connsiteY519" fmla="*/ 295900 h 798267"/>
              <a:gd name="connsiteX520" fmla="*/ 291275 w 682417"/>
              <a:gd name="connsiteY520" fmla="*/ 300958 h 798267"/>
              <a:gd name="connsiteX521" fmla="*/ 288417 w 682417"/>
              <a:gd name="connsiteY521" fmla="*/ 303958 h 798267"/>
              <a:gd name="connsiteX522" fmla="*/ 288246 w 682417"/>
              <a:gd name="connsiteY522" fmla="*/ 298138 h 798267"/>
              <a:gd name="connsiteX523" fmla="*/ 286169 w 682417"/>
              <a:gd name="connsiteY523" fmla="*/ 303577 h 798267"/>
              <a:gd name="connsiteX524" fmla="*/ 283169 w 682417"/>
              <a:gd name="connsiteY524" fmla="*/ 300720 h 798267"/>
              <a:gd name="connsiteX525" fmla="*/ 280311 w 682417"/>
              <a:gd name="connsiteY525" fmla="*/ 303720 h 798267"/>
              <a:gd name="connsiteX526" fmla="*/ 275996 w 682417"/>
              <a:gd name="connsiteY526" fmla="*/ 301815 h 798267"/>
              <a:gd name="connsiteX527" fmla="*/ 271663 w 682417"/>
              <a:gd name="connsiteY527" fmla="*/ 306873 h 798267"/>
              <a:gd name="connsiteX528" fmla="*/ 269986 w 682417"/>
              <a:gd name="connsiteY528" fmla="*/ 303111 h 798267"/>
              <a:gd name="connsiteX529" fmla="*/ 263766 w 682417"/>
              <a:gd name="connsiteY529" fmla="*/ 305539 h 798267"/>
              <a:gd name="connsiteX530" fmla="*/ 265671 w 682417"/>
              <a:gd name="connsiteY530" fmla="*/ 308178 h 798267"/>
              <a:gd name="connsiteX531" fmla="*/ 263966 w 682417"/>
              <a:gd name="connsiteY531" fmla="*/ 311369 h 798267"/>
              <a:gd name="connsiteX532" fmla="*/ 260614 w 682417"/>
              <a:gd name="connsiteY532" fmla="*/ 303844 h 798267"/>
              <a:gd name="connsiteX533" fmla="*/ 256651 w 682417"/>
              <a:gd name="connsiteY533" fmla="*/ 306644 h 798267"/>
              <a:gd name="connsiteX534" fmla="*/ 259832 w 682417"/>
              <a:gd name="connsiteY534" fmla="*/ 315303 h 798267"/>
              <a:gd name="connsiteX535" fmla="*/ 266224 w 682417"/>
              <a:gd name="connsiteY535" fmla="*/ 311750 h 798267"/>
              <a:gd name="connsiteX536" fmla="*/ 268862 w 682417"/>
              <a:gd name="connsiteY536" fmla="*/ 309845 h 798267"/>
              <a:gd name="connsiteX537" fmla="*/ 266005 w 682417"/>
              <a:gd name="connsiteY537" fmla="*/ 312836 h 798267"/>
              <a:gd name="connsiteX538" fmla="*/ 273529 w 682417"/>
              <a:gd name="connsiteY538" fmla="*/ 309473 h 798267"/>
              <a:gd name="connsiteX539" fmla="*/ 270901 w 682417"/>
              <a:gd name="connsiteY539" fmla="*/ 311378 h 798267"/>
              <a:gd name="connsiteX540" fmla="*/ 275958 w 682417"/>
              <a:gd name="connsiteY540" fmla="*/ 315712 h 798267"/>
              <a:gd name="connsiteX541" fmla="*/ 275187 w 682417"/>
              <a:gd name="connsiteY541" fmla="*/ 320217 h 798267"/>
              <a:gd name="connsiteX542" fmla="*/ 273282 w 682417"/>
              <a:gd name="connsiteY542" fmla="*/ 317579 h 798267"/>
              <a:gd name="connsiteX543" fmla="*/ 271577 w 682417"/>
              <a:gd name="connsiteY543" fmla="*/ 320779 h 798267"/>
              <a:gd name="connsiteX544" fmla="*/ 266881 w 682417"/>
              <a:gd name="connsiteY544" fmla="*/ 321132 h 798267"/>
              <a:gd name="connsiteX545" fmla="*/ 268567 w 682417"/>
              <a:gd name="connsiteY545" fmla="*/ 324942 h 798267"/>
              <a:gd name="connsiteX546" fmla="*/ 265186 w 682417"/>
              <a:gd name="connsiteY546" fmla="*/ 324370 h 798267"/>
              <a:gd name="connsiteX547" fmla="*/ 263281 w 682417"/>
              <a:gd name="connsiteY547" fmla="*/ 328685 h 798267"/>
              <a:gd name="connsiteX548" fmla="*/ 264966 w 682417"/>
              <a:gd name="connsiteY548" fmla="*/ 332495 h 798267"/>
              <a:gd name="connsiteX549" fmla="*/ 260642 w 682417"/>
              <a:gd name="connsiteY549" fmla="*/ 330590 h 798267"/>
              <a:gd name="connsiteX550" fmla="*/ 261004 w 682417"/>
              <a:gd name="connsiteY550" fmla="*/ 335286 h 798267"/>
              <a:gd name="connsiteX551" fmla="*/ 254060 w 682417"/>
              <a:gd name="connsiteY551" fmla="*/ 335286 h 798267"/>
              <a:gd name="connsiteX552" fmla="*/ 251031 w 682417"/>
              <a:gd name="connsiteY552" fmla="*/ 339410 h 798267"/>
              <a:gd name="connsiteX553" fmla="*/ 255737 w 682417"/>
              <a:gd name="connsiteY553" fmla="*/ 339048 h 798267"/>
              <a:gd name="connsiteX554" fmla="*/ 248402 w 682417"/>
              <a:gd name="connsiteY554" fmla="*/ 341287 h 798267"/>
              <a:gd name="connsiteX555" fmla="*/ 251422 w 682417"/>
              <a:gd name="connsiteY555" fmla="*/ 337153 h 798267"/>
              <a:gd name="connsiteX556" fmla="*/ 246726 w 682417"/>
              <a:gd name="connsiteY556" fmla="*/ 337524 h 798267"/>
              <a:gd name="connsiteX557" fmla="*/ 249336 w 682417"/>
              <a:gd name="connsiteY557" fmla="*/ 342601 h 798267"/>
              <a:gd name="connsiteX558" fmla="*/ 247259 w 682417"/>
              <a:gd name="connsiteY558" fmla="*/ 348050 h 798267"/>
              <a:gd name="connsiteX559" fmla="*/ 242383 w 682417"/>
              <a:gd name="connsiteY559" fmla="*/ 342582 h 798267"/>
              <a:gd name="connsiteX560" fmla="*/ 238573 w 682417"/>
              <a:gd name="connsiteY560" fmla="*/ 344268 h 798267"/>
              <a:gd name="connsiteX561" fmla="*/ 241192 w 682417"/>
              <a:gd name="connsiteY561" fmla="*/ 349345 h 798267"/>
              <a:gd name="connsiteX562" fmla="*/ 238744 w 682417"/>
              <a:gd name="connsiteY562" fmla="*/ 350088 h 798267"/>
              <a:gd name="connsiteX563" fmla="*/ 237230 w 682417"/>
              <a:gd name="connsiteY563" fmla="*/ 352155 h 798267"/>
              <a:gd name="connsiteX564" fmla="*/ 237020 w 682417"/>
              <a:gd name="connsiteY564" fmla="*/ 360232 h 798267"/>
              <a:gd name="connsiteX565" fmla="*/ 232134 w 682417"/>
              <a:gd name="connsiteY565" fmla="*/ 361718 h 798267"/>
              <a:gd name="connsiteX566" fmla="*/ 225523 w 682417"/>
              <a:gd name="connsiteY566" fmla="*/ 373348 h 798267"/>
              <a:gd name="connsiteX567" fmla="*/ 220275 w 682417"/>
              <a:gd name="connsiteY567" fmla="*/ 370138 h 798267"/>
              <a:gd name="connsiteX568" fmla="*/ 221761 w 682417"/>
              <a:gd name="connsiteY568" fmla="*/ 375034 h 798267"/>
              <a:gd name="connsiteX569" fmla="*/ 223818 w 682417"/>
              <a:gd name="connsiteY569" fmla="*/ 376539 h 798267"/>
              <a:gd name="connsiteX570" fmla="*/ 215913 w 682417"/>
              <a:gd name="connsiteY570" fmla="*/ 382159 h 798267"/>
              <a:gd name="connsiteX571" fmla="*/ 214008 w 682417"/>
              <a:gd name="connsiteY571" fmla="*/ 386473 h 798267"/>
              <a:gd name="connsiteX572" fmla="*/ 210817 w 682417"/>
              <a:gd name="connsiteY572" fmla="*/ 384768 h 798267"/>
              <a:gd name="connsiteX573" fmla="*/ 209864 w 682417"/>
              <a:gd name="connsiteY573" fmla="*/ 390407 h 798267"/>
              <a:gd name="connsiteX574" fmla="*/ 204426 w 682417"/>
              <a:gd name="connsiteY574" fmla="*/ 388321 h 798267"/>
              <a:gd name="connsiteX575" fmla="*/ 198958 w 682417"/>
              <a:gd name="connsiteY575" fmla="*/ 393188 h 798267"/>
              <a:gd name="connsiteX576" fmla="*/ 199139 w 682417"/>
              <a:gd name="connsiteY576" fmla="*/ 399018 h 798267"/>
              <a:gd name="connsiteX577" fmla="*/ 202873 w 682417"/>
              <a:gd name="connsiteY577" fmla="*/ 404295 h 798267"/>
              <a:gd name="connsiteX578" fmla="*/ 197244 w 682417"/>
              <a:gd name="connsiteY578" fmla="*/ 403342 h 798267"/>
              <a:gd name="connsiteX579" fmla="*/ 197415 w 682417"/>
              <a:gd name="connsiteY579" fmla="*/ 409171 h 798267"/>
              <a:gd name="connsiteX580" fmla="*/ 193843 w 682417"/>
              <a:gd name="connsiteY580" fmla="*/ 409724 h 798267"/>
              <a:gd name="connsiteX581" fmla="*/ 194205 w 682417"/>
              <a:gd name="connsiteY581" fmla="*/ 414420 h 798267"/>
              <a:gd name="connsiteX582" fmla="*/ 190395 w 682417"/>
              <a:gd name="connsiteY582" fmla="*/ 416096 h 798267"/>
              <a:gd name="connsiteX583" fmla="*/ 190567 w 682417"/>
              <a:gd name="connsiteY583" fmla="*/ 421925 h 798267"/>
              <a:gd name="connsiteX584" fmla="*/ 185871 w 682417"/>
              <a:gd name="connsiteY584" fmla="*/ 422287 h 798267"/>
              <a:gd name="connsiteX585" fmla="*/ 185099 w 682417"/>
              <a:gd name="connsiteY585" fmla="*/ 426802 h 798267"/>
              <a:gd name="connsiteX586" fmla="*/ 181537 w 682417"/>
              <a:gd name="connsiteY586" fmla="*/ 427345 h 798267"/>
              <a:gd name="connsiteX587" fmla="*/ 177022 w 682417"/>
              <a:gd name="connsiteY587" fmla="*/ 426583 h 798267"/>
              <a:gd name="connsiteX588" fmla="*/ 178689 w 682417"/>
              <a:gd name="connsiteY588" fmla="*/ 437299 h 798267"/>
              <a:gd name="connsiteX589" fmla="*/ 174374 w 682417"/>
              <a:gd name="connsiteY589" fmla="*/ 435394 h 798267"/>
              <a:gd name="connsiteX590" fmla="*/ 169288 w 682417"/>
              <a:gd name="connsiteY590" fmla="*/ 438013 h 798267"/>
              <a:gd name="connsiteX591" fmla="*/ 170593 w 682417"/>
              <a:gd name="connsiteY591" fmla="*/ 444033 h 798267"/>
              <a:gd name="connsiteX592" fmla="*/ 160239 w 682417"/>
              <a:gd name="connsiteY592" fmla="*/ 450396 h 798267"/>
              <a:gd name="connsiteX593" fmla="*/ 162144 w 682417"/>
              <a:gd name="connsiteY593" fmla="*/ 453025 h 798267"/>
              <a:gd name="connsiteX594" fmla="*/ 163820 w 682417"/>
              <a:gd name="connsiteY594" fmla="*/ 456835 h 798267"/>
              <a:gd name="connsiteX595" fmla="*/ 162487 w 682417"/>
              <a:gd name="connsiteY595" fmla="*/ 464721 h 798267"/>
              <a:gd name="connsiteX596" fmla="*/ 155534 w 682417"/>
              <a:gd name="connsiteY596" fmla="*/ 464721 h 798267"/>
              <a:gd name="connsiteX597" fmla="*/ 151771 w 682417"/>
              <a:gd name="connsiteY597" fmla="*/ 466398 h 798267"/>
              <a:gd name="connsiteX598" fmla="*/ 149114 w 682417"/>
              <a:gd name="connsiteY598" fmla="*/ 475218 h 798267"/>
              <a:gd name="connsiteX599" fmla="*/ 150600 w 682417"/>
              <a:gd name="connsiteY599" fmla="*/ 480104 h 798267"/>
              <a:gd name="connsiteX600" fmla="*/ 146647 w 682417"/>
              <a:gd name="connsiteY600" fmla="*/ 482914 h 798267"/>
              <a:gd name="connsiteX601" fmla="*/ 144285 w 682417"/>
              <a:gd name="connsiteY601" fmla="*/ 480866 h 798267"/>
              <a:gd name="connsiteX602" fmla="*/ 142761 w 682417"/>
              <a:gd name="connsiteY602" fmla="*/ 489877 h 798267"/>
              <a:gd name="connsiteX603" fmla="*/ 147285 w 682417"/>
              <a:gd name="connsiteY603" fmla="*/ 483685 h 798267"/>
              <a:gd name="connsiteX604" fmla="*/ 155924 w 682417"/>
              <a:gd name="connsiteY604" fmla="*/ 487495 h 798267"/>
              <a:gd name="connsiteX605" fmla="*/ 154772 w 682417"/>
              <a:gd name="connsiteY605" fmla="*/ 494258 h 798267"/>
              <a:gd name="connsiteX606" fmla="*/ 149304 w 682417"/>
              <a:gd name="connsiteY606" fmla="*/ 499126 h 798267"/>
              <a:gd name="connsiteX607" fmla="*/ 142913 w 682417"/>
              <a:gd name="connsiteY607" fmla="*/ 502678 h 798267"/>
              <a:gd name="connsiteX608" fmla="*/ 144818 w 682417"/>
              <a:gd name="connsiteY608" fmla="*/ 505317 h 798267"/>
              <a:gd name="connsiteX609" fmla="*/ 144047 w 682417"/>
              <a:gd name="connsiteY609" fmla="*/ 509822 h 798267"/>
              <a:gd name="connsiteX610" fmla="*/ 142923 w 682417"/>
              <a:gd name="connsiteY610" fmla="*/ 509632 h 798267"/>
              <a:gd name="connsiteX611" fmla="*/ 138160 w 682417"/>
              <a:gd name="connsiteY611" fmla="*/ 516947 h 798267"/>
              <a:gd name="connsiteX612" fmla="*/ 134969 w 682417"/>
              <a:gd name="connsiteY612" fmla="*/ 515242 h 798267"/>
              <a:gd name="connsiteX613" fmla="*/ 128568 w 682417"/>
              <a:gd name="connsiteY613" fmla="*/ 518795 h 798267"/>
              <a:gd name="connsiteX614" fmla="*/ 121215 w 682417"/>
              <a:gd name="connsiteY614" fmla="*/ 527977 h 798267"/>
              <a:gd name="connsiteX615" fmla="*/ 125339 w 682417"/>
              <a:gd name="connsiteY615" fmla="*/ 530996 h 798267"/>
              <a:gd name="connsiteX616" fmla="*/ 122130 w 682417"/>
              <a:gd name="connsiteY616" fmla="*/ 536254 h 798267"/>
              <a:gd name="connsiteX617" fmla="*/ 124749 w 682417"/>
              <a:gd name="connsiteY617" fmla="*/ 541331 h 798267"/>
              <a:gd name="connsiteX618" fmla="*/ 121368 w 682417"/>
              <a:gd name="connsiteY618" fmla="*/ 540759 h 798267"/>
              <a:gd name="connsiteX619" fmla="*/ 117605 w 682417"/>
              <a:gd name="connsiteY619" fmla="*/ 542436 h 798267"/>
              <a:gd name="connsiteX620" fmla="*/ 119263 w 682417"/>
              <a:gd name="connsiteY620" fmla="*/ 553151 h 798267"/>
              <a:gd name="connsiteX621" fmla="*/ 114376 w 682417"/>
              <a:gd name="connsiteY621" fmla="*/ 554637 h 798267"/>
              <a:gd name="connsiteX622" fmla="*/ 114548 w 682417"/>
              <a:gd name="connsiteY622" fmla="*/ 560467 h 798267"/>
              <a:gd name="connsiteX623" fmla="*/ 110785 w 682417"/>
              <a:gd name="connsiteY623" fmla="*/ 562152 h 798267"/>
              <a:gd name="connsiteX624" fmla="*/ 108147 w 682417"/>
              <a:gd name="connsiteY624" fmla="*/ 564057 h 798267"/>
              <a:gd name="connsiteX625" fmla="*/ 104565 w 682417"/>
              <a:gd name="connsiteY625" fmla="*/ 564610 h 798267"/>
              <a:gd name="connsiteX626" fmla="*/ 98936 w 682417"/>
              <a:gd name="connsiteY626" fmla="*/ 563657 h 798267"/>
              <a:gd name="connsiteX627" fmla="*/ 98936 w 682417"/>
              <a:gd name="connsiteY627" fmla="*/ 570611 h 798267"/>
              <a:gd name="connsiteX628" fmla="*/ 101956 w 682417"/>
              <a:gd name="connsiteY628" fmla="*/ 566486 h 798267"/>
              <a:gd name="connsiteX629" fmla="*/ 109652 w 682417"/>
              <a:gd name="connsiteY629" fmla="*/ 568944 h 798267"/>
              <a:gd name="connsiteX630" fmla="*/ 106994 w 682417"/>
              <a:gd name="connsiteY630" fmla="*/ 577773 h 798267"/>
              <a:gd name="connsiteX631" fmla="*/ 105089 w 682417"/>
              <a:gd name="connsiteY631" fmla="*/ 575135 h 798267"/>
              <a:gd name="connsiteX632" fmla="*/ 100927 w 682417"/>
              <a:gd name="connsiteY632" fmla="*/ 586022 h 798267"/>
              <a:gd name="connsiteX633" fmla="*/ 101689 w 682417"/>
              <a:gd name="connsiteY633" fmla="*/ 581507 h 798267"/>
              <a:gd name="connsiteX634" fmla="*/ 95126 w 682417"/>
              <a:gd name="connsiteY634" fmla="*/ 579240 h 798267"/>
              <a:gd name="connsiteX635" fmla="*/ 99422 w 682417"/>
              <a:gd name="connsiteY635" fmla="*/ 588089 h 798267"/>
              <a:gd name="connsiteX636" fmla="*/ 95660 w 682417"/>
              <a:gd name="connsiteY636" fmla="*/ 589765 h 798267"/>
              <a:gd name="connsiteX637" fmla="*/ 93574 w 682417"/>
              <a:gd name="connsiteY637" fmla="*/ 595204 h 798267"/>
              <a:gd name="connsiteX638" fmla="*/ 90011 w 682417"/>
              <a:gd name="connsiteY638" fmla="*/ 595766 h 798267"/>
              <a:gd name="connsiteX639" fmla="*/ 86439 w 682417"/>
              <a:gd name="connsiteY639" fmla="*/ 596319 h 798267"/>
              <a:gd name="connsiteX640" fmla="*/ 84734 w 682417"/>
              <a:gd name="connsiteY640" fmla="*/ 599500 h 798267"/>
              <a:gd name="connsiteX641" fmla="*/ 77591 w 682417"/>
              <a:gd name="connsiteY641" fmla="*/ 600614 h 798267"/>
              <a:gd name="connsiteX642" fmla="*/ 80010 w 682417"/>
              <a:gd name="connsiteY642" fmla="*/ 606815 h 798267"/>
              <a:gd name="connsiteX643" fmla="*/ 84773 w 682417"/>
              <a:gd name="connsiteY643" fmla="*/ 599500 h 798267"/>
              <a:gd name="connsiteX644" fmla="*/ 89449 w 682417"/>
              <a:gd name="connsiteY644" fmla="*/ 606091 h 798267"/>
              <a:gd name="connsiteX645" fmla="*/ 83239 w 682417"/>
              <a:gd name="connsiteY645" fmla="*/ 608520 h 798267"/>
              <a:gd name="connsiteX646" fmla="*/ 86420 w 682417"/>
              <a:gd name="connsiteY646" fmla="*/ 610216 h 798267"/>
              <a:gd name="connsiteX647" fmla="*/ 87916 w 682417"/>
              <a:gd name="connsiteY647" fmla="*/ 615111 h 798267"/>
              <a:gd name="connsiteX648" fmla="*/ 85058 w 682417"/>
              <a:gd name="connsiteY648" fmla="*/ 618102 h 798267"/>
              <a:gd name="connsiteX649" fmla="*/ 84106 w 682417"/>
              <a:gd name="connsiteY649" fmla="*/ 616797 h 798267"/>
              <a:gd name="connsiteX650" fmla="*/ 82782 w 682417"/>
              <a:gd name="connsiteY650" fmla="*/ 617750 h 798267"/>
              <a:gd name="connsiteX651" fmla="*/ 84687 w 682417"/>
              <a:gd name="connsiteY651" fmla="*/ 620388 h 798267"/>
              <a:gd name="connsiteX652" fmla="*/ 82248 w 682417"/>
              <a:gd name="connsiteY652" fmla="*/ 621141 h 798267"/>
              <a:gd name="connsiteX653" fmla="*/ 81867 w 682417"/>
              <a:gd name="connsiteY653" fmla="*/ 623389 h 798267"/>
              <a:gd name="connsiteX654" fmla="*/ 79419 w 682417"/>
              <a:gd name="connsiteY654" fmla="*/ 624132 h 798267"/>
              <a:gd name="connsiteX655" fmla="*/ 79038 w 682417"/>
              <a:gd name="connsiteY655" fmla="*/ 626389 h 798267"/>
              <a:gd name="connsiteX656" fmla="*/ 73571 w 682417"/>
              <a:gd name="connsiteY656" fmla="*/ 631256 h 798267"/>
              <a:gd name="connsiteX657" fmla="*/ 66237 w 682417"/>
              <a:gd name="connsiteY657" fmla="*/ 633485 h 798267"/>
              <a:gd name="connsiteX658" fmla="*/ 67189 w 682417"/>
              <a:gd name="connsiteY658" fmla="*/ 634809 h 798267"/>
              <a:gd name="connsiteX659" fmla="*/ 67932 w 682417"/>
              <a:gd name="connsiteY659" fmla="*/ 637257 h 798267"/>
              <a:gd name="connsiteX660" fmla="*/ 65656 w 682417"/>
              <a:gd name="connsiteY660" fmla="*/ 643820 h 798267"/>
              <a:gd name="connsiteX661" fmla="*/ 69980 w 682417"/>
              <a:gd name="connsiteY661" fmla="*/ 645725 h 798267"/>
              <a:gd name="connsiteX662" fmla="*/ 69390 w 682417"/>
              <a:gd name="connsiteY662" fmla="*/ 656059 h 798267"/>
              <a:gd name="connsiteX663" fmla="*/ 67485 w 682417"/>
              <a:gd name="connsiteY663" fmla="*/ 660374 h 798267"/>
              <a:gd name="connsiteX664" fmla="*/ 62970 w 682417"/>
              <a:gd name="connsiteY664" fmla="*/ 659612 h 798267"/>
              <a:gd name="connsiteX665" fmla="*/ 59379 w 682417"/>
              <a:gd name="connsiteY665" fmla="*/ 667118 h 798267"/>
              <a:gd name="connsiteX666" fmla="*/ 62941 w 682417"/>
              <a:gd name="connsiteY666" fmla="*/ 673519 h 798267"/>
              <a:gd name="connsiteX667" fmla="*/ 62360 w 682417"/>
              <a:gd name="connsiteY667" fmla="*/ 676900 h 798267"/>
              <a:gd name="connsiteX668" fmla="*/ 58598 w 682417"/>
              <a:gd name="connsiteY668" fmla="*/ 678577 h 798267"/>
              <a:gd name="connsiteX669" fmla="*/ 57083 w 682417"/>
              <a:gd name="connsiteY669" fmla="*/ 680634 h 798267"/>
              <a:gd name="connsiteX670" fmla="*/ 56874 w 682417"/>
              <a:gd name="connsiteY670" fmla="*/ 688721 h 798267"/>
              <a:gd name="connsiteX671" fmla="*/ 53311 w 682417"/>
              <a:gd name="connsiteY671" fmla="*/ 689273 h 798267"/>
              <a:gd name="connsiteX672" fmla="*/ 51606 w 682417"/>
              <a:gd name="connsiteY672" fmla="*/ 692464 h 798267"/>
              <a:gd name="connsiteX673" fmla="*/ 49349 w 682417"/>
              <a:gd name="connsiteY673" fmla="*/ 692083 h 798267"/>
              <a:gd name="connsiteX674" fmla="*/ 47654 w 682417"/>
              <a:gd name="connsiteY674" fmla="*/ 695274 h 798267"/>
              <a:gd name="connsiteX675" fmla="*/ 53664 w 682417"/>
              <a:gd name="connsiteY675" fmla="*/ 693969 h 798267"/>
              <a:gd name="connsiteX676" fmla="*/ 55150 w 682417"/>
              <a:gd name="connsiteY676" fmla="*/ 698865 h 798267"/>
              <a:gd name="connsiteX677" fmla="*/ 49330 w 682417"/>
              <a:gd name="connsiteY677" fmla="*/ 699027 h 798267"/>
              <a:gd name="connsiteX678" fmla="*/ 46101 w 682417"/>
              <a:gd name="connsiteY678" fmla="*/ 711238 h 798267"/>
              <a:gd name="connsiteX679" fmla="*/ 50797 w 682417"/>
              <a:gd name="connsiteY679" fmla="*/ 710876 h 798267"/>
              <a:gd name="connsiteX680" fmla="*/ 45530 w 682417"/>
              <a:gd name="connsiteY680" fmla="*/ 714619 h 798267"/>
              <a:gd name="connsiteX681" fmla="*/ 41567 w 682417"/>
              <a:gd name="connsiteY681" fmla="*/ 717420 h 798267"/>
              <a:gd name="connsiteX682" fmla="*/ 42320 w 682417"/>
              <a:gd name="connsiteY682" fmla="*/ 719867 h 798267"/>
              <a:gd name="connsiteX683" fmla="*/ 43825 w 682417"/>
              <a:gd name="connsiteY683" fmla="*/ 717810 h 798267"/>
              <a:gd name="connsiteX684" fmla="*/ 48339 w 682417"/>
              <a:gd name="connsiteY684" fmla="*/ 718572 h 798267"/>
              <a:gd name="connsiteX685" fmla="*/ 47958 w 682417"/>
              <a:gd name="connsiteY685" fmla="*/ 720829 h 798267"/>
              <a:gd name="connsiteX686" fmla="*/ 48120 w 682417"/>
              <a:gd name="connsiteY686" fmla="*/ 726649 h 798267"/>
              <a:gd name="connsiteX687" fmla="*/ 48863 w 682417"/>
              <a:gd name="connsiteY687" fmla="*/ 729097 h 798267"/>
              <a:gd name="connsiteX688" fmla="*/ 46425 w 682417"/>
              <a:gd name="connsiteY688" fmla="*/ 729840 h 798267"/>
              <a:gd name="connsiteX689" fmla="*/ 42243 w 682417"/>
              <a:gd name="connsiteY689" fmla="*/ 747680 h 798267"/>
              <a:gd name="connsiteX690" fmla="*/ 39986 w 682417"/>
              <a:gd name="connsiteY690" fmla="*/ 747299 h 798267"/>
              <a:gd name="connsiteX691" fmla="*/ 35395 w 682417"/>
              <a:gd name="connsiteY691" fmla="*/ 774341 h 798267"/>
              <a:gd name="connsiteX692" fmla="*/ 36138 w 682417"/>
              <a:gd name="connsiteY692" fmla="*/ 776789 h 798267"/>
              <a:gd name="connsiteX693" fmla="*/ 26746 w 682417"/>
              <a:gd name="connsiteY693" fmla="*/ 777513 h 798267"/>
              <a:gd name="connsiteX694" fmla="*/ 27889 w 682417"/>
              <a:gd name="connsiteY694" fmla="*/ 770750 h 798267"/>
              <a:gd name="connsiteX695" fmla="*/ 25822 w 682417"/>
              <a:gd name="connsiteY695" fmla="*/ 769245 h 798267"/>
              <a:gd name="connsiteX696" fmla="*/ 20765 w 682417"/>
              <a:gd name="connsiteY696" fmla="*/ 764911 h 798267"/>
              <a:gd name="connsiteX697" fmla="*/ 22250 w 682417"/>
              <a:gd name="connsiteY697" fmla="*/ 769797 h 798267"/>
              <a:gd name="connsiteX698" fmla="*/ 25108 w 682417"/>
              <a:gd name="connsiteY698" fmla="*/ 773750 h 798267"/>
              <a:gd name="connsiteX699" fmla="*/ 20984 w 682417"/>
              <a:gd name="connsiteY699" fmla="*/ 770731 h 798267"/>
              <a:gd name="connsiteX700" fmla="*/ 17602 w 682417"/>
              <a:gd name="connsiteY700" fmla="*/ 770159 h 798267"/>
              <a:gd name="connsiteX701" fmla="*/ 15154 w 682417"/>
              <a:gd name="connsiteY701" fmla="*/ 770902 h 798267"/>
              <a:gd name="connsiteX702" fmla="*/ 20222 w 682417"/>
              <a:gd name="connsiteY702" fmla="*/ 775246 h 798267"/>
              <a:gd name="connsiteX703" fmla="*/ 15326 w 682417"/>
              <a:gd name="connsiteY703" fmla="*/ 776732 h 798267"/>
              <a:gd name="connsiteX704" fmla="*/ 14945 w 682417"/>
              <a:gd name="connsiteY704" fmla="*/ 778980 h 798267"/>
              <a:gd name="connsiteX705" fmla="*/ 12878 w 682417"/>
              <a:gd name="connsiteY705" fmla="*/ 777475 h 798267"/>
              <a:gd name="connsiteX706" fmla="*/ 11182 w 682417"/>
              <a:gd name="connsiteY706" fmla="*/ 780656 h 798267"/>
              <a:gd name="connsiteX707" fmla="*/ 8744 w 682417"/>
              <a:gd name="connsiteY707" fmla="*/ 781408 h 798267"/>
              <a:gd name="connsiteX708" fmla="*/ 13649 w 682417"/>
              <a:gd name="connsiteY708" fmla="*/ 772969 h 798267"/>
              <a:gd name="connsiteX709" fmla="*/ 11744 w 682417"/>
              <a:gd name="connsiteY709" fmla="*/ 770331 h 798267"/>
              <a:gd name="connsiteX710" fmla="*/ 14602 w 682417"/>
              <a:gd name="connsiteY710" fmla="*/ 767331 h 798267"/>
              <a:gd name="connsiteX711" fmla="*/ 10287 w 682417"/>
              <a:gd name="connsiteY711" fmla="*/ 765425 h 798267"/>
              <a:gd name="connsiteX712" fmla="*/ 10868 w 682417"/>
              <a:gd name="connsiteY712" fmla="*/ 762044 h 798267"/>
              <a:gd name="connsiteX713" fmla="*/ 2038 w 682417"/>
              <a:gd name="connsiteY713" fmla="*/ 759387 h 798267"/>
              <a:gd name="connsiteX714" fmla="*/ 5448 w 682417"/>
              <a:gd name="connsiteY714" fmla="*/ 753014 h 798267"/>
              <a:gd name="connsiteX715" fmla="*/ 0 w 682417"/>
              <a:gd name="connsiteY715" fmla="*/ 750928 h 798267"/>
              <a:gd name="connsiteX716" fmla="*/ 5648 w 682417"/>
              <a:gd name="connsiteY716" fmla="*/ 744928 h 798267"/>
              <a:gd name="connsiteX717" fmla="*/ 7906 w 682417"/>
              <a:gd name="connsiteY717" fmla="*/ 745309 h 798267"/>
              <a:gd name="connsiteX718" fmla="*/ 7734 w 682417"/>
              <a:gd name="connsiteY718" fmla="*/ 739489 h 798267"/>
              <a:gd name="connsiteX719" fmla="*/ 11154 w 682417"/>
              <a:gd name="connsiteY719" fmla="*/ 726154 h 798267"/>
              <a:gd name="connsiteX720" fmla="*/ 12849 w 682417"/>
              <a:gd name="connsiteY720" fmla="*/ 722963 h 798267"/>
              <a:gd name="connsiteX721" fmla="*/ 13059 w 682417"/>
              <a:gd name="connsiteY721" fmla="*/ 714886 h 798267"/>
              <a:gd name="connsiteX722" fmla="*/ 22479 w 682417"/>
              <a:gd name="connsiteY722" fmla="*/ 707209 h 798267"/>
              <a:gd name="connsiteX723" fmla="*/ 21936 w 682417"/>
              <a:gd name="connsiteY723" fmla="*/ 703637 h 798267"/>
              <a:gd name="connsiteX724" fmla="*/ 20031 w 682417"/>
              <a:gd name="connsiteY724" fmla="*/ 701008 h 798267"/>
              <a:gd name="connsiteX725" fmla="*/ 18126 w 682417"/>
              <a:gd name="connsiteY725" fmla="*/ 698370 h 798267"/>
              <a:gd name="connsiteX726" fmla="*/ 15135 w 682417"/>
              <a:gd name="connsiteY726" fmla="*/ 695512 h 798267"/>
              <a:gd name="connsiteX727" fmla="*/ 17193 w 682417"/>
              <a:gd name="connsiteY727" fmla="*/ 697026 h 798267"/>
              <a:gd name="connsiteX728" fmla="*/ 22469 w 682417"/>
              <a:gd name="connsiteY728" fmla="*/ 693283 h 798267"/>
              <a:gd name="connsiteX729" fmla="*/ 23041 w 682417"/>
              <a:gd name="connsiteY729" fmla="*/ 689892 h 798267"/>
              <a:gd name="connsiteX730" fmla="*/ 19850 w 682417"/>
              <a:gd name="connsiteY730" fmla="*/ 688197 h 798267"/>
              <a:gd name="connsiteX731" fmla="*/ 17050 w 682417"/>
              <a:gd name="connsiteY731" fmla="*/ 684244 h 798267"/>
              <a:gd name="connsiteX732" fmla="*/ 19488 w 682417"/>
              <a:gd name="connsiteY732" fmla="*/ 683491 h 798267"/>
              <a:gd name="connsiteX733" fmla="*/ 19126 w 682417"/>
              <a:gd name="connsiteY733" fmla="*/ 678805 h 798267"/>
              <a:gd name="connsiteX734" fmla="*/ 15745 w 682417"/>
              <a:gd name="connsiteY734" fmla="*/ 678234 h 798267"/>
              <a:gd name="connsiteX735" fmla="*/ 14792 w 682417"/>
              <a:gd name="connsiteY735" fmla="*/ 669956 h 798267"/>
              <a:gd name="connsiteX736" fmla="*/ 20612 w 682417"/>
              <a:gd name="connsiteY736" fmla="*/ 669785 h 798267"/>
              <a:gd name="connsiteX737" fmla="*/ 18707 w 682417"/>
              <a:gd name="connsiteY737" fmla="*/ 667147 h 798267"/>
              <a:gd name="connsiteX738" fmla="*/ 25851 w 682417"/>
              <a:gd name="connsiteY738" fmla="*/ 666042 h 798267"/>
              <a:gd name="connsiteX739" fmla="*/ 24746 w 682417"/>
              <a:gd name="connsiteY739" fmla="*/ 658898 h 798267"/>
              <a:gd name="connsiteX740" fmla="*/ 29642 w 682417"/>
              <a:gd name="connsiteY740" fmla="*/ 657412 h 798267"/>
              <a:gd name="connsiteX741" fmla="*/ 31137 w 682417"/>
              <a:gd name="connsiteY741" fmla="*/ 655345 h 798267"/>
              <a:gd name="connsiteX742" fmla="*/ 33395 w 682417"/>
              <a:gd name="connsiteY742" fmla="*/ 655726 h 798267"/>
              <a:gd name="connsiteX743" fmla="*/ 33966 w 682417"/>
              <a:gd name="connsiteY743" fmla="*/ 652354 h 798267"/>
              <a:gd name="connsiteX744" fmla="*/ 34719 w 682417"/>
              <a:gd name="connsiteY744" fmla="*/ 654793 h 798267"/>
              <a:gd name="connsiteX745" fmla="*/ 35671 w 682417"/>
              <a:gd name="connsiteY745" fmla="*/ 649154 h 798267"/>
              <a:gd name="connsiteX746" fmla="*/ 33033 w 682417"/>
              <a:gd name="connsiteY746" fmla="*/ 651059 h 798267"/>
              <a:gd name="connsiteX747" fmla="*/ 34185 w 682417"/>
              <a:gd name="connsiteY747" fmla="*/ 644296 h 798267"/>
              <a:gd name="connsiteX748" fmla="*/ 32699 w 682417"/>
              <a:gd name="connsiteY748" fmla="*/ 639410 h 798267"/>
              <a:gd name="connsiteX749" fmla="*/ 31375 w 682417"/>
              <a:gd name="connsiteY749" fmla="*/ 640362 h 798267"/>
              <a:gd name="connsiteX750" fmla="*/ 29699 w 682417"/>
              <a:gd name="connsiteY750" fmla="*/ 636600 h 798267"/>
              <a:gd name="connsiteX751" fmla="*/ 36671 w 682417"/>
              <a:gd name="connsiteY751" fmla="*/ 629666 h 798267"/>
              <a:gd name="connsiteX752" fmla="*/ 29908 w 682417"/>
              <a:gd name="connsiteY752" fmla="*/ 628523 h 798267"/>
              <a:gd name="connsiteX753" fmla="*/ 33309 w 682417"/>
              <a:gd name="connsiteY753" fmla="*/ 622141 h 798267"/>
              <a:gd name="connsiteX754" fmla="*/ 28223 w 682417"/>
              <a:gd name="connsiteY754" fmla="*/ 624760 h 798267"/>
              <a:gd name="connsiteX755" fmla="*/ 32033 w 682417"/>
              <a:gd name="connsiteY755" fmla="*/ 616121 h 798267"/>
              <a:gd name="connsiteX756" fmla="*/ 35033 w 682417"/>
              <a:gd name="connsiteY756" fmla="*/ 618979 h 798267"/>
              <a:gd name="connsiteX757" fmla="*/ 36728 w 682417"/>
              <a:gd name="connsiteY757" fmla="*/ 615788 h 798267"/>
              <a:gd name="connsiteX758" fmla="*/ 39729 w 682417"/>
              <a:gd name="connsiteY758" fmla="*/ 618645 h 798267"/>
              <a:gd name="connsiteX759" fmla="*/ 41805 w 682417"/>
              <a:gd name="connsiteY759" fmla="*/ 613206 h 798267"/>
              <a:gd name="connsiteX760" fmla="*/ 43710 w 682417"/>
              <a:gd name="connsiteY760" fmla="*/ 615835 h 798267"/>
              <a:gd name="connsiteX761" fmla="*/ 52959 w 682417"/>
              <a:gd name="connsiteY761" fmla="*/ 602329 h 798267"/>
              <a:gd name="connsiteX762" fmla="*/ 48263 w 682417"/>
              <a:gd name="connsiteY762" fmla="*/ 602700 h 798267"/>
              <a:gd name="connsiteX763" fmla="*/ 45406 w 682417"/>
              <a:gd name="connsiteY763" fmla="*/ 605701 h 798267"/>
              <a:gd name="connsiteX764" fmla="*/ 42958 w 682417"/>
              <a:gd name="connsiteY764" fmla="*/ 606444 h 798267"/>
              <a:gd name="connsiteX765" fmla="*/ 39767 w 682417"/>
              <a:gd name="connsiteY765" fmla="*/ 604739 h 798267"/>
              <a:gd name="connsiteX766" fmla="*/ 38090 w 682417"/>
              <a:gd name="connsiteY766" fmla="*/ 600929 h 798267"/>
              <a:gd name="connsiteX767" fmla="*/ 44291 w 682417"/>
              <a:gd name="connsiteY767" fmla="*/ 598509 h 798267"/>
              <a:gd name="connsiteX768" fmla="*/ 40719 w 682417"/>
              <a:gd name="connsiteY768" fmla="*/ 599062 h 798267"/>
              <a:gd name="connsiteX769" fmla="*/ 43739 w 682417"/>
              <a:gd name="connsiteY769" fmla="*/ 594938 h 798267"/>
              <a:gd name="connsiteX770" fmla="*/ 45444 w 682417"/>
              <a:gd name="connsiteY770" fmla="*/ 591747 h 798267"/>
              <a:gd name="connsiteX771" fmla="*/ 43377 w 682417"/>
              <a:gd name="connsiteY771" fmla="*/ 590232 h 798267"/>
              <a:gd name="connsiteX772" fmla="*/ 49206 w 682417"/>
              <a:gd name="connsiteY772" fmla="*/ 590061 h 798267"/>
              <a:gd name="connsiteX773" fmla="*/ 50721 w 682417"/>
              <a:gd name="connsiteY773" fmla="*/ 588003 h 798267"/>
              <a:gd name="connsiteX774" fmla="*/ 56540 w 682417"/>
              <a:gd name="connsiteY774" fmla="*/ 587832 h 798267"/>
              <a:gd name="connsiteX775" fmla="*/ 53350 w 682417"/>
              <a:gd name="connsiteY775" fmla="*/ 586127 h 798267"/>
              <a:gd name="connsiteX776" fmla="*/ 54493 w 682417"/>
              <a:gd name="connsiteY776" fmla="*/ 579364 h 798267"/>
              <a:gd name="connsiteX777" fmla="*/ 57683 w 682417"/>
              <a:gd name="connsiteY777" fmla="*/ 581069 h 798267"/>
              <a:gd name="connsiteX778" fmla="*/ 58436 w 682417"/>
              <a:gd name="connsiteY778" fmla="*/ 583517 h 798267"/>
              <a:gd name="connsiteX779" fmla="*/ 59750 w 682417"/>
              <a:gd name="connsiteY779" fmla="*/ 582565 h 798267"/>
              <a:gd name="connsiteX780" fmla="*/ 61427 w 682417"/>
              <a:gd name="connsiteY780" fmla="*/ 586317 h 798267"/>
              <a:gd name="connsiteX781" fmla="*/ 62189 w 682417"/>
              <a:gd name="connsiteY781" fmla="*/ 581812 h 798267"/>
              <a:gd name="connsiteX782" fmla="*/ 65208 w 682417"/>
              <a:gd name="connsiteY782" fmla="*/ 577688 h 798267"/>
              <a:gd name="connsiteX783" fmla="*/ 59769 w 682417"/>
              <a:gd name="connsiteY783" fmla="*/ 575602 h 798267"/>
              <a:gd name="connsiteX784" fmla="*/ 65237 w 682417"/>
              <a:gd name="connsiteY784" fmla="*/ 570744 h 798267"/>
              <a:gd name="connsiteX785" fmla="*/ 62236 w 682417"/>
              <a:gd name="connsiteY785" fmla="*/ 567887 h 798267"/>
              <a:gd name="connsiteX786" fmla="*/ 61493 w 682417"/>
              <a:gd name="connsiteY786" fmla="*/ 565448 h 798267"/>
              <a:gd name="connsiteX787" fmla="*/ 63579 w 682417"/>
              <a:gd name="connsiteY787" fmla="*/ 560000 h 798267"/>
              <a:gd name="connsiteX788" fmla="*/ 67532 w 682417"/>
              <a:gd name="connsiteY788" fmla="*/ 557142 h 798267"/>
              <a:gd name="connsiteX789" fmla="*/ 64341 w 682417"/>
              <a:gd name="connsiteY789" fmla="*/ 555447 h 798267"/>
              <a:gd name="connsiteX790" fmla="*/ 65103 w 682417"/>
              <a:gd name="connsiteY790" fmla="*/ 550942 h 798267"/>
              <a:gd name="connsiteX791" fmla="*/ 67161 w 682417"/>
              <a:gd name="connsiteY791" fmla="*/ 552446 h 798267"/>
              <a:gd name="connsiteX792" fmla="*/ 75267 w 682417"/>
              <a:gd name="connsiteY792" fmla="*/ 545712 h 798267"/>
              <a:gd name="connsiteX793" fmla="*/ 75817 w 682417"/>
              <a:gd name="connsiteY793" fmla="*/ 541097 h 798267"/>
              <a:gd name="connsiteX794" fmla="*/ 78476 w 682417"/>
              <a:gd name="connsiteY794" fmla="*/ 540455 h 798267"/>
              <a:gd name="connsiteX795" fmla="*/ 78476 w 682417"/>
              <a:gd name="connsiteY795" fmla="*/ 533501 h 798267"/>
              <a:gd name="connsiteX796" fmla="*/ 82620 w 682417"/>
              <a:gd name="connsiteY796" fmla="*/ 529567 h 798267"/>
              <a:gd name="connsiteX797" fmla="*/ 77391 w 682417"/>
              <a:gd name="connsiteY797" fmla="*/ 519404 h 798267"/>
              <a:gd name="connsiteX798" fmla="*/ 82667 w 682417"/>
              <a:gd name="connsiteY798" fmla="*/ 515670 h 798267"/>
              <a:gd name="connsiteX799" fmla="*/ 84363 w 682417"/>
              <a:gd name="connsiteY799" fmla="*/ 512470 h 798267"/>
              <a:gd name="connsiteX800" fmla="*/ 87363 w 682417"/>
              <a:gd name="connsiteY800" fmla="*/ 515328 h 798267"/>
              <a:gd name="connsiteX801" fmla="*/ 84344 w 682417"/>
              <a:gd name="connsiteY801" fmla="*/ 519452 h 798267"/>
              <a:gd name="connsiteX802" fmla="*/ 88868 w 682417"/>
              <a:gd name="connsiteY802" fmla="*/ 513270 h 798267"/>
              <a:gd name="connsiteX803" fmla="*/ 90773 w 682417"/>
              <a:gd name="connsiteY803" fmla="*/ 515909 h 798267"/>
              <a:gd name="connsiteX804" fmla="*/ 92859 w 682417"/>
              <a:gd name="connsiteY804" fmla="*/ 510460 h 798267"/>
              <a:gd name="connsiteX805" fmla="*/ 96422 w 682417"/>
              <a:gd name="connsiteY805" fmla="*/ 509908 h 798267"/>
              <a:gd name="connsiteX806" fmla="*/ 91916 w 682417"/>
              <a:gd name="connsiteY806" fmla="*/ 509146 h 798267"/>
              <a:gd name="connsiteX807" fmla="*/ 90430 w 682417"/>
              <a:gd name="connsiteY807" fmla="*/ 504250 h 798267"/>
              <a:gd name="connsiteX808" fmla="*/ 89275 w 682417"/>
              <a:gd name="connsiteY808" fmla="*/ 505419 h 798267"/>
              <a:gd name="connsiteX809" fmla="*/ 90049 w 682417"/>
              <a:gd name="connsiteY809" fmla="*/ 506507 h 798267"/>
              <a:gd name="connsiteX810" fmla="*/ 85725 w 682417"/>
              <a:gd name="connsiteY810" fmla="*/ 504602 h 798267"/>
              <a:gd name="connsiteX811" fmla="*/ 88363 w 682417"/>
              <a:gd name="connsiteY811" fmla="*/ 502697 h 798267"/>
              <a:gd name="connsiteX812" fmla="*/ 92173 w 682417"/>
              <a:gd name="connsiteY812" fmla="*/ 494058 h 798267"/>
              <a:gd name="connsiteX813" fmla="*/ 90268 w 682417"/>
              <a:gd name="connsiteY813" fmla="*/ 498373 h 798267"/>
              <a:gd name="connsiteX814" fmla="*/ 98346 w 682417"/>
              <a:gd name="connsiteY814" fmla="*/ 498592 h 798267"/>
              <a:gd name="connsiteX815" fmla="*/ 98155 w 682417"/>
              <a:gd name="connsiteY815" fmla="*/ 499716 h 798267"/>
              <a:gd name="connsiteX816" fmla="*/ 108918 w 682417"/>
              <a:gd name="connsiteY816" fmla="*/ 484152 h 798267"/>
              <a:gd name="connsiteX817" fmla="*/ 108737 w 682417"/>
              <a:gd name="connsiteY817" fmla="*/ 478323 h 798267"/>
              <a:gd name="connsiteX818" fmla="*/ 109490 w 682417"/>
              <a:gd name="connsiteY818" fmla="*/ 480771 h 798267"/>
              <a:gd name="connsiteX819" fmla="*/ 113252 w 682417"/>
              <a:gd name="connsiteY819" fmla="*/ 479094 h 798267"/>
              <a:gd name="connsiteX820" fmla="*/ 110633 w 682417"/>
              <a:gd name="connsiteY820" fmla="*/ 474008 h 798267"/>
              <a:gd name="connsiteX821" fmla="*/ 113652 w 682417"/>
              <a:gd name="connsiteY821" fmla="*/ 469884 h 798267"/>
              <a:gd name="connsiteX822" fmla="*/ 120987 w 682417"/>
              <a:gd name="connsiteY822" fmla="*/ 467655 h 798267"/>
              <a:gd name="connsiteX823" fmla="*/ 122158 w 682417"/>
              <a:gd name="connsiteY823" fmla="*/ 453939 h 798267"/>
              <a:gd name="connsiteX824" fmla="*/ 129892 w 682417"/>
              <a:gd name="connsiteY824" fmla="*/ 442509 h 798267"/>
              <a:gd name="connsiteX825" fmla="*/ 133274 w 682417"/>
              <a:gd name="connsiteY825" fmla="*/ 443080 h 798267"/>
              <a:gd name="connsiteX826" fmla="*/ 130845 w 682417"/>
              <a:gd name="connsiteY826" fmla="*/ 436880 h 798267"/>
              <a:gd name="connsiteX827" fmla="*/ 134655 w 682417"/>
              <a:gd name="connsiteY827" fmla="*/ 435194 h 798267"/>
              <a:gd name="connsiteX828" fmla="*/ 134864 w 682417"/>
              <a:gd name="connsiteY828" fmla="*/ 427117 h 798267"/>
              <a:gd name="connsiteX829" fmla="*/ 137122 w 682417"/>
              <a:gd name="connsiteY829" fmla="*/ 427498 h 798267"/>
              <a:gd name="connsiteX830" fmla="*/ 135626 w 682417"/>
              <a:gd name="connsiteY830" fmla="*/ 422611 h 798267"/>
              <a:gd name="connsiteX831" fmla="*/ 139189 w 682417"/>
              <a:gd name="connsiteY831" fmla="*/ 422049 h 798267"/>
              <a:gd name="connsiteX832" fmla="*/ 142046 w 682417"/>
              <a:gd name="connsiteY832" fmla="*/ 426002 h 798267"/>
              <a:gd name="connsiteX833" fmla="*/ 145618 w 682417"/>
              <a:gd name="connsiteY833" fmla="*/ 425450 h 798267"/>
              <a:gd name="connsiteX834" fmla="*/ 140360 w 682417"/>
              <a:gd name="connsiteY834" fmla="*/ 422240 h 798267"/>
              <a:gd name="connsiteX835" fmla="*/ 138322 w 682417"/>
              <a:gd name="connsiteY835" fmla="*/ 413782 h 798267"/>
              <a:gd name="connsiteX836" fmla="*/ 143208 w 682417"/>
              <a:gd name="connsiteY836" fmla="*/ 412296 h 798267"/>
              <a:gd name="connsiteX837" fmla="*/ 143608 w 682417"/>
              <a:gd name="connsiteY837" fmla="*/ 403085 h 798267"/>
              <a:gd name="connsiteX838" fmla="*/ 146056 w 682417"/>
              <a:gd name="connsiteY838" fmla="*/ 402342 h 798267"/>
              <a:gd name="connsiteX839" fmla="*/ 145485 w 682417"/>
              <a:gd name="connsiteY839" fmla="*/ 405723 h 798267"/>
              <a:gd name="connsiteX840" fmla="*/ 147171 w 682417"/>
              <a:gd name="connsiteY840" fmla="*/ 409486 h 798267"/>
              <a:gd name="connsiteX841" fmla="*/ 152629 w 682417"/>
              <a:gd name="connsiteY841" fmla="*/ 404618 h 798267"/>
              <a:gd name="connsiteX842" fmla="*/ 151469 w 682417"/>
              <a:gd name="connsiteY842" fmla="*/ 403454 h 798267"/>
              <a:gd name="connsiteX843" fmla="*/ 150371 w 682417"/>
              <a:gd name="connsiteY843" fmla="*/ 404228 h 798267"/>
              <a:gd name="connsiteX844" fmla="*/ 154181 w 682417"/>
              <a:gd name="connsiteY844" fmla="*/ 395598 h 798267"/>
              <a:gd name="connsiteX845" fmla="*/ 159268 w 682417"/>
              <a:gd name="connsiteY845" fmla="*/ 392988 h 798267"/>
              <a:gd name="connsiteX846" fmla="*/ 162258 w 682417"/>
              <a:gd name="connsiteY846" fmla="*/ 395846 h 798267"/>
              <a:gd name="connsiteX847" fmla="*/ 169050 w 682417"/>
              <a:gd name="connsiteY847" fmla="*/ 390045 h 798267"/>
              <a:gd name="connsiteX848" fmla="*/ 167402 w 682417"/>
              <a:gd name="connsiteY848" fmla="*/ 372376 h 798267"/>
              <a:gd name="connsiteX849" fmla="*/ 172107 w 682417"/>
              <a:gd name="connsiteY849" fmla="*/ 372014 h 798267"/>
              <a:gd name="connsiteX850" fmla="*/ 173460 w 682417"/>
              <a:gd name="connsiteY850" fmla="*/ 357174 h 798267"/>
              <a:gd name="connsiteX851" fmla="*/ 175717 w 682417"/>
              <a:gd name="connsiteY851" fmla="*/ 357555 h 798267"/>
              <a:gd name="connsiteX852" fmla="*/ 175355 w 682417"/>
              <a:gd name="connsiteY852" fmla="*/ 352860 h 798267"/>
              <a:gd name="connsiteX853" fmla="*/ 182309 w 682417"/>
              <a:gd name="connsiteY853" fmla="*/ 352860 h 798267"/>
              <a:gd name="connsiteX854" fmla="*/ 183261 w 682417"/>
              <a:gd name="connsiteY854" fmla="*/ 347221 h 798267"/>
              <a:gd name="connsiteX855" fmla="*/ 188157 w 682417"/>
              <a:gd name="connsiteY855" fmla="*/ 345735 h 798267"/>
              <a:gd name="connsiteX856" fmla="*/ 193234 w 682417"/>
              <a:gd name="connsiteY856" fmla="*/ 343116 h 798267"/>
              <a:gd name="connsiteX857" fmla="*/ 196634 w 682417"/>
              <a:gd name="connsiteY857" fmla="*/ 336743 h 798267"/>
              <a:gd name="connsiteX858" fmla="*/ 201330 w 682417"/>
              <a:gd name="connsiteY858" fmla="*/ 336381 h 798267"/>
              <a:gd name="connsiteX859" fmla="*/ 199654 w 682417"/>
              <a:gd name="connsiteY859" fmla="*/ 332619 h 798267"/>
              <a:gd name="connsiteX860" fmla="*/ 202282 w 682417"/>
              <a:gd name="connsiteY860" fmla="*/ 330714 h 798267"/>
              <a:gd name="connsiteX861" fmla="*/ 198168 w 682417"/>
              <a:gd name="connsiteY861" fmla="*/ 327695 h 798267"/>
              <a:gd name="connsiteX862" fmla="*/ 199863 w 682417"/>
              <a:gd name="connsiteY862" fmla="*/ 324504 h 798267"/>
              <a:gd name="connsiteX863" fmla="*/ 198911 w 682417"/>
              <a:gd name="connsiteY863" fmla="*/ 323189 h 798267"/>
              <a:gd name="connsiteX864" fmla="*/ 200997 w 682417"/>
              <a:gd name="connsiteY864" fmla="*/ 317750 h 798267"/>
              <a:gd name="connsiteX865" fmla="*/ 201739 w 682417"/>
              <a:gd name="connsiteY865" fmla="*/ 320189 h 798267"/>
              <a:gd name="connsiteX866" fmla="*/ 209645 w 682417"/>
              <a:gd name="connsiteY866" fmla="*/ 314579 h 798267"/>
              <a:gd name="connsiteX867" fmla="*/ 214160 w 682417"/>
              <a:gd name="connsiteY867" fmla="*/ 315341 h 798267"/>
              <a:gd name="connsiteX868" fmla="*/ 215856 w 682417"/>
              <a:gd name="connsiteY868" fmla="*/ 312150 h 798267"/>
              <a:gd name="connsiteX869" fmla="*/ 218103 w 682417"/>
              <a:gd name="connsiteY869" fmla="*/ 312531 h 798267"/>
              <a:gd name="connsiteX870" fmla="*/ 219808 w 682417"/>
              <a:gd name="connsiteY870" fmla="*/ 309340 h 798267"/>
              <a:gd name="connsiteX871" fmla="*/ 223771 w 682417"/>
              <a:gd name="connsiteY871" fmla="*/ 306540 h 798267"/>
              <a:gd name="connsiteX872" fmla="*/ 229210 w 682417"/>
              <a:gd name="connsiteY872" fmla="*/ 308626 h 798267"/>
              <a:gd name="connsiteX873" fmla="*/ 234096 w 682417"/>
              <a:gd name="connsiteY873" fmla="*/ 307130 h 798267"/>
              <a:gd name="connsiteX874" fmla="*/ 237306 w 682417"/>
              <a:gd name="connsiteY874" fmla="*/ 301882 h 798267"/>
              <a:gd name="connsiteX875" fmla="*/ 234315 w 682417"/>
              <a:gd name="connsiteY875" fmla="*/ 299024 h 798267"/>
              <a:gd name="connsiteX876" fmla="*/ 235629 w 682417"/>
              <a:gd name="connsiteY876" fmla="*/ 298072 h 798267"/>
              <a:gd name="connsiteX877" fmla="*/ 233724 w 682417"/>
              <a:gd name="connsiteY877" fmla="*/ 295433 h 798267"/>
              <a:gd name="connsiteX878" fmla="*/ 234305 w 682417"/>
              <a:gd name="connsiteY878" fmla="*/ 292052 h 798267"/>
              <a:gd name="connsiteX879" fmla="*/ 233934 w 682417"/>
              <a:gd name="connsiteY879" fmla="*/ 287356 h 798267"/>
              <a:gd name="connsiteX880" fmla="*/ 235258 w 682417"/>
              <a:gd name="connsiteY880" fmla="*/ 286404 h 798267"/>
              <a:gd name="connsiteX881" fmla="*/ 238115 w 682417"/>
              <a:gd name="connsiteY881" fmla="*/ 283413 h 798267"/>
              <a:gd name="connsiteX882" fmla="*/ 237754 w 682417"/>
              <a:gd name="connsiteY882" fmla="*/ 278708 h 798267"/>
              <a:gd name="connsiteX883" fmla="*/ 242449 w 682417"/>
              <a:gd name="connsiteY883" fmla="*/ 278346 h 798267"/>
              <a:gd name="connsiteX884" fmla="*/ 243783 w 682417"/>
              <a:gd name="connsiteY884" fmla="*/ 270459 h 798267"/>
              <a:gd name="connsiteX885" fmla="*/ 250003 w 682417"/>
              <a:gd name="connsiteY885" fmla="*/ 268039 h 798267"/>
              <a:gd name="connsiteX886" fmla="*/ 252994 w 682417"/>
              <a:gd name="connsiteY886" fmla="*/ 270897 h 798267"/>
              <a:gd name="connsiteX887" fmla="*/ 255270 w 682417"/>
              <a:gd name="connsiteY887" fmla="*/ 264334 h 798267"/>
              <a:gd name="connsiteX888" fmla="*/ 263328 w 682417"/>
              <a:gd name="connsiteY888" fmla="*/ 271488 h 798267"/>
              <a:gd name="connsiteX889" fmla="*/ 265967 w 682417"/>
              <a:gd name="connsiteY889" fmla="*/ 269583 h 798267"/>
              <a:gd name="connsiteX890" fmla="*/ 261842 w 682417"/>
              <a:gd name="connsiteY890" fmla="*/ 266563 h 798267"/>
              <a:gd name="connsiteX891" fmla="*/ 262614 w 682417"/>
              <a:gd name="connsiteY891" fmla="*/ 255133 h 798267"/>
              <a:gd name="connsiteX892" fmla="*/ 266195 w 682417"/>
              <a:gd name="connsiteY892" fmla="*/ 254581 h 798267"/>
              <a:gd name="connsiteX893" fmla="*/ 271853 w 682417"/>
              <a:gd name="connsiteY893" fmla="*/ 248580 h 798267"/>
              <a:gd name="connsiteX894" fmla="*/ 271301 w 682417"/>
              <a:gd name="connsiteY894" fmla="*/ 245008 h 798267"/>
              <a:gd name="connsiteX895" fmla="*/ 278054 w 682417"/>
              <a:gd name="connsiteY895" fmla="*/ 246161 h 798267"/>
              <a:gd name="connsiteX896" fmla="*/ 275196 w 682417"/>
              <a:gd name="connsiteY896" fmla="*/ 242208 h 798267"/>
              <a:gd name="connsiteX897" fmla="*/ 283855 w 682417"/>
              <a:gd name="connsiteY897" fmla="*/ 239036 h 798267"/>
              <a:gd name="connsiteX898" fmla="*/ 283683 w 682417"/>
              <a:gd name="connsiteY898" fmla="*/ 233207 h 798267"/>
              <a:gd name="connsiteX899" fmla="*/ 288379 w 682417"/>
              <a:gd name="connsiteY899" fmla="*/ 232845 h 798267"/>
              <a:gd name="connsiteX900" fmla="*/ 291589 w 682417"/>
              <a:gd name="connsiteY900" fmla="*/ 227596 h 798267"/>
              <a:gd name="connsiteX901" fmla="*/ 293656 w 682417"/>
              <a:gd name="connsiteY901" fmla="*/ 229101 h 798267"/>
              <a:gd name="connsiteX902" fmla="*/ 302504 w 682417"/>
              <a:gd name="connsiteY902" fmla="*/ 224806 h 798267"/>
              <a:gd name="connsiteX903" fmla="*/ 303457 w 682417"/>
              <a:gd name="connsiteY903" fmla="*/ 219176 h 798267"/>
              <a:gd name="connsiteX904" fmla="*/ 305714 w 682417"/>
              <a:gd name="connsiteY904" fmla="*/ 219557 h 798267"/>
              <a:gd name="connsiteX905" fmla="*/ 306095 w 682417"/>
              <a:gd name="connsiteY905" fmla="*/ 217300 h 798267"/>
              <a:gd name="connsiteX906" fmla="*/ 308343 w 682417"/>
              <a:gd name="connsiteY906" fmla="*/ 217681 h 798267"/>
              <a:gd name="connsiteX907" fmla="*/ 311363 w 682417"/>
              <a:gd name="connsiteY907" fmla="*/ 213556 h 798267"/>
              <a:gd name="connsiteX908" fmla="*/ 312677 w 682417"/>
              <a:gd name="connsiteY908" fmla="*/ 212604 h 798267"/>
              <a:gd name="connsiteX909" fmla="*/ 316240 w 682417"/>
              <a:gd name="connsiteY909" fmla="*/ 219005 h 798267"/>
              <a:gd name="connsiteX910" fmla="*/ 319421 w 682417"/>
              <a:gd name="connsiteY910" fmla="*/ 220710 h 798267"/>
              <a:gd name="connsiteX911" fmla="*/ 319040 w 682417"/>
              <a:gd name="connsiteY911" fmla="*/ 222958 h 798267"/>
              <a:gd name="connsiteX912" fmla="*/ 326174 w 682417"/>
              <a:gd name="connsiteY912" fmla="*/ 228806 h 798267"/>
              <a:gd name="connsiteX913" fmla="*/ 324107 w 682417"/>
              <a:gd name="connsiteY913" fmla="*/ 227301 h 798267"/>
              <a:gd name="connsiteX914" fmla="*/ 323364 w 682417"/>
              <a:gd name="connsiteY914" fmla="*/ 224853 h 798267"/>
              <a:gd name="connsiteX915" fmla="*/ 323574 w 682417"/>
              <a:gd name="connsiteY915" fmla="*/ 216776 h 798267"/>
              <a:gd name="connsiteX916" fmla="*/ 329584 w 682417"/>
              <a:gd name="connsiteY916" fmla="*/ 215471 h 798267"/>
              <a:gd name="connsiteX917" fmla="*/ 326231 w 682417"/>
              <a:gd name="connsiteY917" fmla="*/ 207946 h 798267"/>
              <a:gd name="connsiteX918" fmla="*/ 331670 w 682417"/>
              <a:gd name="connsiteY918" fmla="*/ 210032 h 798267"/>
              <a:gd name="connsiteX919" fmla="*/ 332813 w 682417"/>
              <a:gd name="connsiteY919" fmla="*/ 203269 h 798267"/>
              <a:gd name="connsiteX920" fmla="*/ 338452 w 682417"/>
              <a:gd name="connsiteY920" fmla="*/ 204222 h 798267"/>
              <a:gd name="connsiteX921" fmla="*/ 343529 w 682417"/>
              <a:gd name="connsiteY921" fmla="*/ 201612 h 798267"/>
              <a:gd name="connsiteX922" fmla="*/ 344481 w 682417"/>
              <a:gd name="connsiteY922" fmla="*/ 195973 h 798267"/>
              <a:gd name="connsiteX923" fmla="*/ 350691 w 682417"/>
              <a:gd name="connsiteY923" fmla="*/ 193554 h 798267"/>
              <a:gd name="connsiteX924" fmla="*/ 352368 w 682417"/>
              <a:gd name="connsiteY924" fmla="*/ 197316 h 798267"/>
              <a:gd name="connsiteX925" fmla="*/ 355368 w 682417"/>
              <a:gd name="connsiteY925" fmla="*/ 200174 h 798267"/>
              <a:gd name="connsiteX926" fmla="*/ 358578 w 682417"/>
              <a:gd name="connsiteY926" fmla="*/ 194926 h 798267"/>
              <a:gd name="connsiteX927" fmla="*/ 356511 w 682417"/>
              <a:gd name="connsiteY927" fmla="*/ 193421 h 798267"/>
              <a:gd name="connsiteX928" fmla="*/ 358416 w 682417"/>
              <a:gd name="connsiteY928" fmla="*/ 189106 h 798267"/>
              <a:gd name="connsiteX929" fmla="*/ 361036 w 682417"/>
              <a:gd name="connsiteY929" fmla="*/ 194183 h 798267"/>
              <a:gd name="connsiteX930" fmla="*/ 365169 w 682417"/>
              <a:gd name="connsiteY930" fmla="*/ 190249 h 798267"/>
              <a:gd name="connsiteX931" fmla="*/ 367979 w 682417"/>
              <a:gd name="connsiteY931" fmla="*/ 194202 h 798267"/>
              <a:gd name="connsiteX932" fmla="*/ 369494 w 682417"/>
              <a:gd name="connsiteY932" fmla="*/ 192144 h 798267"/>
              <a:gd name="connsiteX933" fmla="*/ 374571 w 682417"/>
              <a:gd name="connsiteY933" fmla="*/ 189525 h 798267"/>
              <a:gd name="connsiteX934" fmla="*/ 375314 w 682417"/>
              <a:gd name="connsiteY934" fmla="*/ 191973 h 798267"/>
              <a:gd name="connsiteX935" fmla="*/ 377571 w 682417"/>
              <a:gd name="connsiteY935" fmla="*/ 192354 h 798267"/>
              <a:gd name="connsiteX936" fmla="*/ 381743 w 682417"/>
              <a:gd name="connsiteY936" fmla="*/ 181467 h 798267"/>
              <a:gd name="connsiteX937" fmla="*/ 390363 w 682417"/>
              <a:gd name="connsiteY937" fmla="*/ 185277 h 798267"/>
              <a:gd name="connsiteX938" fmla="*/ 386972 w 682417"/>
              <a:gd name="connsiteY938" fmla="*/ 191659 h 798267"/>
              <a:gd name="connsiteX939" fmla="*/ 392811 w 682417"/>
              <a:gd name="connsiteY939" fmla="*/ 184534 h 798267"/>
              <a:gd name="connsiteX940" fmla="*/ 399936 w 682417"/>
              <a:gd name="connsiteY940" fmla="*/ 190373 h 798267"/>
              <a:gd name="connsiteX941" fmla="*/ 408061 w 682417"/>
              <a:gd name="connsiteY941" fmla="*/ 176685 h 798267"/>
              <a:gd name="connsiteX942" fmla="*/ 405203 w 682417"/>
              <a:gd name="connsiteY942" fmla="*/ 179676 h 798267"/>
              <a:gd name="connsiteX943" fmla="*/ 402346 w 682417"/>
              <a:gd name="connsiteY943" fmla="*/ 175723 h 798267"/>
              <a:gd name="connsiteX944" fmla="*/ 398412 w 682417"/>
              <a:gd name="connsiteY944" fmla="*/ 171580 h 798267"/>
              <a:gd name="connsiteX945" fmla="*/ 404232 w 682417"/>
              <a:gd name="connsiteY945" fmla="*/ 171408 h 798267"/>
              <a:gd name="connsiteX946" fmla="*/ 403679 w 682417"/>
              <a:gd name="connsiteY946" fmla="*/ 167836 h 798267"/>
              <a:gd name="connsiteX947" fmla="*/ 407641 w 682417"/>
              <a:gd name="connsiteY947" fmla="*/ 165036 h 798267"/>
              <a:gd name="connsiteX948" fmla="*/ 411785 w 682417"/>
              <a:gd name="connsiteY948" fmla="*/ 161093 h 798267"/>
              <a:gd name="connsiteX949" fmla="*/ 420253 w 682417"/>
              <a:gd name="connsiteY949" fmla="*/ 159054 h 798267"/>
              <a:gd name="connsiteX950" fmla="*/ 421015 w 682417"/>
              <a:gd name="connsiteY950" fmla="*/ 154549 h 798267"/>
              <a:gd name="connsiteX951" fmla="*/ 431349 w 682417"/>
              <a:gd name="connsiteY951" fmla="*/ 155140 h 798267"/>
              <a:gd name="connsiteX952" fmla="*/ 433626 w 682417"/>
              <a:gd name="connsiteY952" fmla="*/ 148577 h 798267"/>
              <a:gd name="connsiteX953" fmla="*/ 436483 w 682417"/>
              <a:gd name="connsiteY953" fmla="*/ 145577 h 798267"/>
              <a:gd name="connsiteX954" fmla="*/ 439865 w 682417"/>
              <a:gd name="connsiteY954" fmla="*/ 146148 h 798267"/>
              <a:gd name="connsiteX955" fmla="*/ 449837 w 682417"/>
              <a:gd name="connsiteY955" fmla="*/ 142043 h 798267"/>
              <a:gd name="connsiteX956" fmla="*/ 449066 w 682417"/>
              <a:gd name="connsiteY956" fmla="*/ 146548 h 798267"/>
              <a:gd name="connsiteX957" fmla="*/ 450771 w 682417"/>
              <a:gd name="connsiteY957" fmla="*/ 143367 h 798267"/>
              <a:gd name="connsiteX958" fmla="*/ 455466 w 682417"/>
              <a:gd name="connsiteY958" fmla="*/ 142995 h 798267"/>
              <a:gd name="connsiteX959" fmla="*/ 459810 w 682417"/>
              <a:gd name="connsiteY959" fmla="*/ 137938 h 798267"/>
              <a:gd name="connsiteX960" fmla="*/ 459810 w 682417"/>
              <a:gd name="connsiteY960" fmla="*/ 130984 h 798267"/>
              <a:gd name="connsiteX961" fmla="*/ 466573 w 682417"/>
              <a:gd name="connsiteY961" fmla="*/ 132127 h 798267"/>
              <a:gd name="connsiteX962" fmla="*/ 468649 w 682417"/>
              <a:gd name="connsiteY962" fmla="*/ 126688 h 798267"/>
              <a:gd name="connsiteX963" fmla="*/ 473907 w 682417"/>
              <a:gd name="connsiteY963" fmla="*/ 129898 h 798267"/>
              <a:gd name="connsiteX964" fmla="*/ 472602 w 682417"/>
              <a:gd name="connsiteY964" fmla="*/ 123879 h 798267"/>
              <a:gd name="connsiteX965" fmla="*/ 474669 w 682417"/>
              <a:gd name="connsiteY965" fmla="*/ 125393 h 798267"/>
              <a:gd name="connsiteX966" fmla="*/ 481641 w 682417"/>
              <a:gd name="connsiteY966" fmla="*/ 118459 h 798267"/>
              <a:gd name="connsiteX967" fmla="*/ 484832 w 682417"/>
              <a:gd name="connsiteY967" fmla="*/ 120164 h 798267"/>
              <a:gd name="connsiteX968" fmla="*/ 486537 w 682417"/>
              <a:gd name="connsiteY968" fmla="*/ 116973 h 798267"/>
              <a:gd name="connsiteX969" fmla="*/ 492928 w 682417"/>
              <a:gd name="connsiteY969" fmla="*/ 113420 h 798267"/>
              <a:gd name="connsiteX970" fmla="*/ 496119 w 682417"/>
              <a:gd name="connsiteY970" fmla="*/ 115116 h 798267"/>
              <a:gd name="connsiteX971" fmla="*/ 499339 w 682417"/>
              <a:gd name="connsiteY971" fmla="*/ 109867 h 798267"/>
              <a:gd name="connsiteX972" fmla="*/ 503091 w 682417"/>
              <a:gd name="connsiteY972" fmla="*/ 108191 h 798267"/>
              <a:gd name="connsiteX973" fmla="*/ 505730 w 682417"/>
              <a:gd name="connsiteY973" fmla="*/ 106286 h 798267"/>
              <a:gd name="connsiteX974" fmla="*/ 508587 w 682417"/>
              <a:gd name="connsiteY974" fmla="*/ 110239 h 798267"/>
              <a:gd name="connsiteX975" fmla="*/ 514979 w 682417"/>
              <a:gd name="connsiteY975" fmla="*/ 106686 h 798267"/>
              <a:gd name="connsiteX976" fmla="*/ 525313 w 682417"/>
              <a:gd name="connsiteY976" fmla="*/ 107286 h 798267"/>
              <a:gd name="connsiteX977" fmla="*/ 519293 w 682417"/>
              <a:gd name="connsiteY977" fmla="*/ 108581 h 798267"/>
              <a:gd name="connsiteX978" fmla="*/ 527552 w 682417"/>
              <a:gd name="connsiteY978" fmla="*/ 114620 h 798267"/>
              <a:gd name="connsiteX979" fmla="*/ 531505 w 682417"/>
              <a:gd name="connsiteY979" fmla="*/ 111810 h 798267"/>
              <a:gd name="connsiteX980" fmla="*/ 536572 w 682417"/>
              <a:gd name="connsiteY980" fmla="*/ 116144 h 798267"/>
              <a:gd name="connsiteX981" fmla="*/ 542963 w 682417"/>
              <a:gd name="connsiteY981" fmla="*/ 112591 h 798267"/>
              <a:gd name="connsiteX982" fmla="*/ 540182 w 682417"/>
              <a:gd name="connsiteY982" fmla="*/ 101685 h 798267"/>
              <a:gd name="connsiteX983" fmla="*/ 544306 w 682417"/>
              <a:gd name="connsiteY983" fmla="*/ 104705 h 798267"/>
              <a:gd name="connsiteX984" fmla="*/ 547164 w 682417"/>
              <a:gd name="connsiteY984" fmla="*/ 101714 h 798267"/>
              <a:gd name="connsiteX985" fmla="*/ 544925 w 682417"/>
              <a:gd name="connsiteY985" fmla="*/ 94370 h 798267"/>
              <a:gd name="connsiteX986" fmla="*/ 553002 w 682417"/>
              <a:gd name="connsiteY986" fmla="*/ 94580 h 798267"/>
              <a:gd name="connsiteX987" fmla="*/ 556965 w 682417"/>
              <a:gd name="connsiteY987" fmla="*/ 91779 h 798267"/>
              <a:gd name="connsiteX988" fmla="*/ 548878 w 682417"/>
              <a:gd name="connsiteY988" fmla="*/ 91570 h 798267"/>
              <a:gd name="connsiteX989" fmla="*/ 542696 w 682417"/>
              <a:gd name="connsiteY989" fmla="*/ 87036 h 798267"/>
              <a:gd name="connsiteX990" fmla="*/ 541182 w 682417"/>
              <a:gd name="connsiteY990" fmla="*/ 89103 h 798267"/>
              <a:gd name="connsiteX991" fmla="*/ 535543 w 682417"/>
              <a:gd name="connsiteY991" fmla="*/ 88150 h 798267"/>
              <a:gd name="connsiteX992" fmla="*/ 529361 w 682417"/>
              <a:gd name="connsiteY992" fmla="*/ 83616 h 798267"/>
              <a:gd name="connsiteX993" fmla="*/ 519770 w 682417"/>
              <a:gd name="connsiteY993" fmla="*/ 85521 h 798267"/>
              <a:gd name="connsiteX994" fmla="*/ 514521 w 682417"/>
              <a:gd name="connsiteY994" fmla="*/ 82302 h 798267"/>
              <a:gd name="connsiteX995" fmla="*/ 499491 w 682417"/>
              <a:gd name="connsiteY995" fmla="*/ 82073 h 798267"/>
              <a:gd name="connsiteX996" fmla="*/ 498929 w 682417"/>
              <a:gd name="connsiteY996" fmla="*/ 78502 h 798267"/>
              <a:gd name="connsiteX997" fmla="*/ 494976 w 682417"/>
              <a:gd name="connsiteY997" fmla="*/ 81359 h 798267"/>
              <a:gd name="connsiteX998" fmla="*/ 490852 w 682417"/>
              <a:gd name="connsiteY998" fmla="*/ 78340 h 798267"/>
              <a:gd name="connsiteX999" fmla="*/ 478469 w 682417"/>
              <a:gd name="connsiteY999" fmla="*/ 83188 h 798267"/>
              <a:gd name="connsiteX1000" fmla="*/ 474155 w 682417"/>
              <a:gd name="connsiteY1000" fmla="*/ 81283 h 798267"/>
              <a:gd name="connsiteX1001" fmla="*/ 475298 w 682417"/>
              <a:gd name="connsiteY1001" fmla="*/ 74530 h 798267"/>
              <a:gd name="connsiteX1002" fmla="*/ 469087 w 682417"/>
              <a:gd name="connsiteY1002" fmla="*/ 76949 h 798267"/>
              <a:gd name="connsiteX1003" fmla="*/ 464772 w 682417"/>
              <a:gd name="connsiteY1003" fmla="*/ 75044 h 798267"/>
              <a:gd name="connsiteX1004" fmla="*/ 459877 w 682417"/>
              <a:gd name="connsiteY1004" fmla="*/ 76530 h 798267"/>
              <a:gd name="connsiteX1005" fmla="*/ 460648 w 682417"/>
              <a:gd name="connsiteY1005" fmla="*/ 72025 h 798267"/>
              <a:gd name="connsiteX1006" fmla="*/ 456695 w 682417"/>
              <a:gd name="connsiteY1006" fmla="*/ 74834 h 798267"/>
              <a:gd name="connsiteX1007" fmla="*/ 440369 w 682417"/>
              <a:gd name="connsiteY1007" fmla="*/ 68586 h 798267"/>
              <a:gd name="connsiteX1008" fmla="*/ 426463 w 682417"/>
              <a:gd name="connsiteY1008" fmla="*/ 68538 h 798267"/>
              <a:gd name="connsiteX1009" fmla="*/ 421586 w 682417"/>
              <a:gd name="connsiteY1009" fmla="*/ 63081 h 798267"/>
              <a:gd name="connsiteX1010" fmla="*/ 415385 w 682417"/>
              <a:gd name="connsiteY1010" fmla="*/ 65500 h 798267"/>
              <a:gd name="connsiteX1011" fmla="*/ 410518 w 682417"/>
              <a:gd name="connsiteY1011" fmla="*/ 60033 h 798267"/>
              <a:gd name="connsiteX1012" fmla="*/ 410870 w 682417"/>
              <a:gd name="connsiteY1012" fmla="*/ 64738 h 798267"/>
              <a:gd name="connsiteX1013" fmla="*/ 408242 w 682417"/>
              <a:gd name="connsiteY1013" fmla="*/ 66643 h 798267"/>
              <a:gd name="connsiteX1014" fmla="*/ 400545 w 682417"/>
              <a:gd name="connsiteY1014" fmla="*/ 64185 h 798267"/>
              <a:gd name="connsiteX1015" fmla="*/ 396221 w 682417"/>
              <a:gd name="connsiteY1015" fmla="*/ 62280 h 798267"/>
              <a:gd name="connsiteX1016" fmla="*/ 398288 w 682417"/>
              <a:gd name="connsiteY1016" fmla="*/ 63785 h 798267"/>
              <a:gd name="connsiteX1017" fmla="*/ 393202 w 682417"/>
              <a:gd name="connsiteY1017" fmla="*/ 66405 h 798267"/>
              <a:gd name="connsiteX1018" fmla="*/ 386448 w 682417"/>
              <a:gd name="connsiteY1018" fmla="*/ 65252 h 798267"/>
              <a:gd name="connsiteX1019" fmla="*/ 387020 w 682417"/>
              <a:gd name="connsiteY1019" fmla="*/ 61880 h 798267"/>
              <a:gd name="connsiteX1020" fmla="*/ 379495 w 682417"/>
              <a:gd name="connsiteY1020" fmla="*/ 65233 h 798267"/>
              <a:gd name="connsiteX1021" fmla="*/ 371608 w 682417"/>
              <a:gd name="connsiteY1021" fmla="*/ 63900 h 798267"/>
              <a:gd name="connsiteX1022" fmla="*/ 368437 w 682417"/>
              <a:gd name="connsiteY1022" fmla="*/ 55251 h 798267"/>
              <a:gd name="connsiteX1023" fmla="*/ 365970 w 682417"/>
              <a:gd name="connsiteY1023" fmla="*/ 62938 h 798267"/>
              <a:gd name="connsiteX1024" fmla="*/ 360150 w 682417"/>
              <a:gd name="connsiteY1024" fmla="*/ 63119 h 798267"/>
              <a:gd name="connsiteX1025" fmla="*/ 361464 w 682417"/>
              <a:gd name="connsiteY1025" fmla="*/ 62166 h 798267"/>
              <a:gd name="connsiteX1026" fmla="*/ 359969 w 682417"/>
              <a:gd name="connsiteY1026" fmla="*/ 57280 h 798267"/>
              <a:gd name="connsiteX1027" fmla="*/ 353568 w 682417"/>
              <a:gd name="connsiteY1027" fmla="*/ 60833 h 798267"/>
              <a:gd name="connsiteX1028" fmla="*/ 348129 w 682417"/>
              <a:gd name="connsiteY1028" fmla="*/ 58747 h 798267"/>
              <a:gd name="connsiteX1029" fmla="*/ 344919 w 682417"/>
              <a:gd name="connsiteY1029" fmla="*/ 63995 h 798267"/>
              <a:gd name="connsiteX1030" fmla="*/ 344176 w 682417"/>
              <a:gd name="connsiteY1030" fmla="*/ 61557 h 798267"/>
              <a:gd name="connsiteX1031" fmla="*/ 339290 w 682417"/>
              <a:gd name="connsiteY1031" fmla="*/ 63042 h 798267"/>
              <a:gd name="connsiteX1032" fmla="*/ 339671 w 682417"/>
              <a:gd name="connsiteY1032" fmla="*/ 60795 h 798267"/>
              <a:gd name="connsiteX1033" fmla="*/ 331394 w 682417"/>
              <a:gd name="connsiteY1033" fmla="*/ 61747 h 798267"/>
              <a:gd name="connsiteX1034" fmla="*/ 332908 w 682417"/>
              <a:gd name="connsiteY1034" fmla="*/ 59680 h 798267"/>
              <a:gd name="connsiteX1035" fmla="*/ 329336 w 682417"/>
              <a:gd name="connsiteY1035" fmla="*/ 60233 h 798267"/>
              <a:gd name="connsiteX1036" fmla="*/ 328032 w 682417"/>
              <a:gd name="connsiteY1036" fmla="*/ 54222 h 798267"/>
              <a:gd name="connsiteX1037" fmla="*/ 327079 w 682417"/>
              <a:gd name="connsiteY1037" fmla="*/ 52898 h 798267"/>
              <a:gd name="connsiteX1038" fmla="*/ 328574 w 682417"/>
              <a:gd name="connsiteY1038" fmla="*/ 50831 h 798267"/>
              <a:gd name="connsiteX1039" fmla="*/ 327841 w 682417"/>
              <a:gd name="connsiteY1039" fmla="*/ 48393 h 798267"/>
              <a:gd name="connsiteX1040" fmla="*/ 330279 w 682417"/>
              <a:gd name="connsiteY1040" fmla="*/ 47650 h 798267"/>
              <a:gd name="connsiteX1041" fmla="*/ 327660 w 682417"/>
              <a:gd name="connsiteY1041" fmla="*/ 42564 h 798267"/>
              <a:gd name="connsiteX1042" fmla="*/ 324288 w 682417"/>
              <a:gd name="connsiteY1042" fmla="*/ 41992 h 798267"/>
              <a:gd name="connsiteX1043" fmla="*/ 321821 w 682417"/>
              <a:gd name="connsiteY1043" fmla="*/ 49688 h 798267"/>
              <a:gd name="connsiteX1044" fmla="*/ 318821 w 682417"/>
              <a:gd name="connsiteY1044" fmla="*/ 46831 h 798267"/>
              <a:gd name="connsiteX1045" fmla="*/ 319183 w 682417"/>
              <a:gd name="connsiteY1045" fmla="*/ 51536 h 798267"/>
              <a:gd name="connsiteX1046" fmla="*/ 313382 w 682417"/>
              <a:gd name="connsiteY1046" fmla="*/ 44754 h 798267"/>
              <a:gd name="connsiteX1047" fmla="*/ 315830 w 682417"/>
              <a:gd name="connsiteY1047" fmla="*/ 44002 h 798267"/>
              <a:gd name="connsiteX1048" fmla="*/ 312630 w 682417"/>
              <a:gd name="connsiteY1048" fmla="*/ 42307 h 798267"/>
              <a:gd name="connsiteX1049" fmla="*/ 310953 w 682417"/>
              <a:gd name="connsiteY1049" fmla="*/ 38544 h 798267"/>
              <a:gd name="connsiteX1050" fmla="*/ 313420 w 682417"/>
              <a:gd name="connsiteY1050" fmla="*/ 30848 h 798267"/>
              <a:gd name="connsiteX1051" fmla="*/ 320183 w 682417"/>
              <a:gd name="connsiteY1051" fmla="*/ 31991 h 798267"/>
              <a:gd name="connsiteX1052" fmla="*/ 320535 w 682417"/>
              <a:gd name="connsiteY1052" fmla="*/ 36687 h 798267"/>
              <a:gd name="connsiteX1053" fmla="*/ 328070 w 682417"/>
              <a:gd name="connsiteY1053" fmla="*/ 33334 h 798267"/>
              <a:gd name="connsiteX1054" fmla="*/ 328841 w 682417"/>
              <a:gd name="connsiteY1054" fmla="*/ 28829 h 798267"/>
              <a:gd name="connsiteX1055" fmla="*/ 336166 w 682417"/>
              <a:gd name="connsiteY1055" fmla="*/ 26590 h 798267"/>
              <a:gd name="connsiteX1056" fmla="*/ 328089 w 682417"/>
              <a:gd name="connsiteY1056" fmla="*/ 26381 h 798267"/>
              <a:gd name="connsiteX1057" fmla="*/ 329603 w 682417"/>
              <a:gd name="connsiteY1057" fmla="*/ 24314 h 798267"/>
              <a:gd name="connsiteX1058" fmla="*/ 332623 w 682417"/>
              <a:gd name="connsiteY1058" fmla="*/ 20189 h 798267"/>
              <a:gd name="connsiteX1059" fmla="*/ 331870 w 682417"/>
              <a:gd name="connsiteY1059" fmla="*/ 17742 h 798267"/>
              <a:gd name="connsiteX1060" fmla="*/ 334509 w 682417"/>
              <a:gd name="connsiteY1060" fmla="*/ 15837 h 798267"/>
              <a:gd name="connsiteX1061" fmla="*/ 331327 w 682417"/>
              <a:gd name="connsiteY1061" fmla="*/ 14141 h 798267"/>
              <a:gd name="connsiteX1062" fmla="*/ 337147 w 682417"/>
              <a:gd name="connsiteY1062" fmla="*/ 13960 h 798267"/>
              <a:gd name="connsiteX1063" fmla="*/ 340004 w 682417"/>
              <a:gd name="connsiteY1063" fmla="*/ 10969 h 798267"/>
              <a:gd name="connsiteX1064" fmla="*/ 351844 w 682417"/>
              <a:gd name="connsiteY1064" fmla="*/ 9502 h 798267"/>
              <a:gd name="connsiteX1065" fmla="*/ 350891 w 682417"/>
              <a:gd name="connsiteY1065" fmla="*/ 15132 h 798267"/>
              <a:gd name="connsiteX1066" fmla="*/ 359159 w 682417"/>
              <a:gd name="connsiteY1066" fmla="*/ 14179 h 798267"/>
              <a:gd name="connsiteX1067" fmla="*/ 367808 w 682417"/>
              <a:gd name="connsiteY1067" fmla="*/ 11007 h 798267"/>
              <a:gd name="connsiteX1068" fmla="*/ 370427 w 682417"/>
              <a:gd name="connsiteY1068" fmla="*/ 16094 h 798267"/>
              <a:gd name="connsiteX1069" fmla="*/ 372866 w 682417"/>
              <a:gd name="connsiteY1069" fmla="*/ 15341 h 798267"/>
              <a:gd name="connsiteX1070" fmla="*/ 373075 w 682417"/>
              <a:gd name="connsiteY1070" fmla="*/ 7264 h 798267"/>
              <a:gd name="connsiteX1071" fmla="*/ 375933 w 682417"/>
              <a:gd name="connsiteY1071" fmla="*/ 11217 h 798267"/>
              <a:gd name="connsiteX1072" fmla="*/ 379895 w 682417"/>
              <a:gd name="connsiteY1072" fmla="*/ 8417 h 798267"/>
              <a:gd name="connsiteX1073" fmla="*/ 378762 w 682417"/>
              <a:gd name="connsiteY1073" fmla="*/ 8226 h 798267"/>
              <a:gd name="connsiteX1074" fmla="*/ 378601 w 682417"/>
              <a:gd name="connsiteY1074" fmla="*/ 509 h 798267"/>
              <a:gd name="connsiteX1075" fmla="*/ 378981 w 682417"/>
              <a:gd name="connsiteY1075" fmla="*/ 149 h 798267"/>
              <a:gd name="connsiteX1076" fmla="*/ 379343 w 682417"/>
              <a:gd name="connsiteY1076" fmla="*/ 4845 h 798267"/>
              <a:gd name="connsiteX1077" fmla="*/ 385353 w 682417"/>
              <a:gd name="connsiteY1077" fmla="*/ 3540 h 798267"/>
              <a:gd name="connsiteX1078" fmla="*/ 387420 w 682417"/>
              <a:gd name="connsiteY1078" fmla="*/ 5054 h 798267"/>
              <a:gd name="connsiteX1079" fmla="*/ 387591 w 682417"/>
              <a:gd name="connsiteY1079" fmla="*/ 10884 h 798267"/>
              <a:gd name="connsiteX1080" fmla="*/ 399793 w 682417"/>
              <a:gd name="connsiteY1080" fmla="*/ 14113 h 798267"/>
              <a:gd name="connsiteX1081" fmla="*/ 401869 w 682417"/>
              <a:gd name="connsiteY1081" fmla="*/ 8664 h 798267"/>
              <a:gd name="connsiteX1082" fmla="*/ 409575 w 682417"/>
              <a:gd name="connsiteY1082" fmla="*/ 11131 h 798267"/>
              <a:gd name="connsiteX1083" fmla="*/ 417652 w 682417"/>
              <a:gd name="connsiteY1083" fmla="*/ 11341 h 798267"/>
              <a:gd name="connsiteX1084" fmla="*/ 418605 w 682417"/>
              <a:gd name="connsiteY1084" fmla="*/ 12655 h 798267"/>
              <a:gd name="connsiteX1085" fmla="*/ 415966 w 682417"/>
              <a:gd name="connsiteY1085" fmla="*/ 14560 h 798267"/>
              <a:gd name="connsiteX1086" fmla="*/ 417262 w 682417"/>
              <a:gd name="connsiteY1086" fmla="*/ 20580 h 798267"/>
              <a:gd name="connsiteX1087" fmla="*/ 421630 w 682417"/>
              <a:gd name="connsiteY1087" fmla="*/ 21149 h 798267"/>
              <a:gd name="connsiteX1088" fmla="*/ 421767 w 682417"/>
              <a:gd name="connsiteY1088" fmla="*/ 21342 h 798267"/>
              <a:gd name="connsiteX1089" fmla="*/ 422922 w 682417"/>
              <a:gd name="connsiteY1089" fmla="*/ 20173 h 798267"/>
              <a:gd name="connsiteX1090" fmla="*/ 422148 w 682417"/>
              <a:gd name="connsiteY1090" fmla="*/ 19085 h 798267"/>
              <a:gd name="connsiteX1091" fmla="*/ 430416 w 682417"/>
              <a:gd name="connsiteY1091" fmla="*/ 18132 h 798267"/>
              <a:gd name="connsiteX1092" fmla="*/ 428911 w 682417"/>
              <a:gd name="connsiteY1092" fmla="*/ 20199 h 798267"/>
              <a:gd name="connsiteX1093" fmla="*/ 427215 w 682417"/>
              <a:gd name="connsiteY1093" fmla="*/ 23390 h 798267"/>
              <a:gd name="connsiteX1094" fmla="*/ 425891 w 682417"/>
              <a:gd name="connsiteY1094" fmla="*/ 24342 h 798267"/>
              <a:gd name="connsiteX1095" fmla="*/ 423624 w 682417"/>
              <a:gd name="connsiteY1095" fmla="*/ 30915 h 798267"/>
              <a:gd name="connsiteX1096" fmla="*/ 425853 w 682417"/>
              <a:gd name="connsiteY1096" fmla="*/ 38249 h 798267"/>
              <a:gd name="connsiteX1097" fmla="*/ 433378 w 682417"/>
              <a:gd name="connsiteY1097" fmla="*/ 34887 h 798267"/>
              <a:gd name="connsiteX1098" fmla="*/ 438817 w 682417"/>
              <a:gd name="connsiteY1098" fmla="*/ 36973 h 798267"/>
              <a:gd name="connsiteX1099" fmla="*/ 438417 w 682417"/>
              <a:gd name="connsiteY1099" fmla="*/ 46174 h 798267"/>
              <a:gd name="connsiteX1100" fmla="*/ 440322 w 682417"/>
              <a:gd name="connsiteY1100" fmla="*/ 41859 h 798267"/>
              <a:gd name="connsiteX1101" fmla="*/ 440512 w 682417"/>
              <a:gd name="connsiteY1101" fmla="*/ 40735 h 798267"/>
              <a:gd name="connsiteX1102" fmla="*/ 441855 w 682417"/>
              <a:gd name="connsiteY1102" fmla="*/ 32848 h 798267"/>
              <a:gd name="connsiteX1103" fmla="*/ 442598 w 682417"/>
              <a:gd name="connsiteY1103" fmla="*/ 35287 h 798267"/>
              <a:gd name="connsiteX1104" fmla="*/ 446913 w 682417"/>
              <a:gd name="connsiteY1104" fmla="*/ 37192 h 798267"/>
              <a:gd name="connsiteX1105" fmla="*/ 451247 w 682417"/>
              <a:gd name="connsiteY1105" fmla="*/ 32134 h 798267"/>
              <a:gd name="connsiteX1106" fmla="*/ 459515 w 682417"/>
              <a:gd name="connsiteY1106" fmla="*/ 31181 h 798267"/>
              <a:gd name="connsiteX1107" fmla="*/ 460077 w 682417"/>
              <a:gd name="connsiteY1107" fmla="*/ 34753 h 798267"/>
              <a:gd name="connsiteX1108" fmla="*/ 467773 w 682417"/>
              <a:gd name="connsiteY1108" fmla="*/ 37220 h 798267"/>
              <a:gd name="connsiteX1109" fmla="*/ 471707 w 682417"/>
              <a:gd name="connsiteY1109" fmla="*/ 41364 h 798267"/>
              <a:gd name="connsiteX1110" fmla="*/ 474155 w 682417"/>
              <a:gd name="connsiteY1110" fmla="*/ 40630 h 798267"/>
              <a:gd name="connsiteX1111" fmla="*/ 473974 w 682417"/>
              <a:gd name="connsiteY1111" fmla="*/ 34801 h 798267"/>
              <a:gd name="connsiteX1112" fmla="*/ 476974 w 682417"/>
              <a:gd name="connsiteY1112" fmla="*/ 37658 h 798267"/>
              <a:gd name="connsiteX1113" fmla="*/ 478660 w 682417"/>
              <a:gd name="connsiteY1113" fmla="*/ 41468 h 798267"/>
              <a:gd name="connsiteX1114" fmla="*/ 475078 w 682417"/>
              <a:gd name="connsiteY1114" fmla="*/ 42011 h 798267"/>
              <a:gd name="connsiteX1115" fmla="*/ 475440 w 682417"/>
              <a:gd name="connsiteY1115" fmla="*/ 46717 h 798267"/>
              <a:gd name="connsiteX1116" fmla="*/ 476955 w 682417"/>
              <a:gd name="connsiteY1116" fmla="*/ 44659 h 798267"/>
              <a:gd name="connsiteX1117" fmla="*/ 483718 w 682417"/>
              <a:gd name="connsiteY1117" fmla="*/ 45802 h 798267"/>
              <a:gd name="connsiteX1118" fmla="*/ 479593 w 682417"/>
              <a:gd name="connsiteY1118" fmla="*/ 42783 h 798267"/>
              <a:gd name="connsiteX1119" fmla="*/ 482060 w 682417"/>
              <a:gd name="connsiteY1119" fmla="*/ 35087 h 798267"/>
              <a:gd name="connsiteX1120" fmla="*/ 483737 w 682417"/>
              <a:gd name="connsiteY1120" fmla="*/ 38849 h 798267"/>
              <a:gd name="connsiteX1121" fmla="*/ 484689 w 682417"/>
              <a:gd name="connsiteY1121" fmla="*/ 33220 h 798267"/>
              <a:gd name="connsiteX1122" fmla="*/ 491842 w 682417"/>
              <a:gd name="connsiteY1122" fmla="*/ 32105 h 798267"/>
              <a:gd name="connsiteX1123" fmla="*/ 490890 w 682417"/>
              <a:gd name="connsiteY1123" fmla="*/ 37744 h 798267"/>
              <a:gd name="connsiteX1124" fmla="*/ 487128 w 682417"/>
              <a:gd name="connsiteY1124" fmla="*/ 39420 h 798267"/>
              <a:gd name="connsiteX1125" fmla="*/ 491642 w 682417"/>
              <a:gd name="connsiteY1125" fmla="*/ 40182 h 798267"/>
              <a:gd name="connsiteX1126" fmla="*/ 492595 w 682417"/>
              <a:gd name="connsiteY1126" fmla="*/ 41506 h 798267"/>
              <a:gd name="connsiteX1127" fmla="*/ 498986 w 682417"/>
              <a:gd name="connsiteY1127" fmla="*/ 37954 h 798267"/>
              <a:gd name="connsiteX1128" fmla="*/ 504615 w 682417"/>
              <a:gd name="connsiteY1128" fmla="*/ 38906 h 798267"/>
              <a:gd name="connsiteX1129" fmla="*/ 505177 w 682417"/>
              <a:gd name="connsiteY1129" fmla="*/ 42478 h 798267"/>
              <a:gd name="connsiteX1130" fmla="*/ 504806 w 682417"/>
              <a:gd name="connsiteY1130" fmla="*/ 37782 h 798267"/>
              <a:gd name="connsiteX1131" fmla="*/ 508387 w 682417"/>
              <a:gd name="connsiteY1131" fmla="*/ 37230 h 798267"/>
              <a:gd name="connsiteX1132" fmla="*/ 510292 w 682417"/>
              <a:gd name="connsiteY1132" fmla="*/ 32915 h 798267"/>
              <a:gd name="connsiteX1133" fmla="*/ 511969 w 682417"/>
              <a:gd name="connsiteY1133" fmla="*/ 36677 h 798267"/>
              <a:gd name="connsiteX1134" fmla="*/ 514045 w 682417"/>
              <a:gd name="connsiteY1134" fmla="*/ 31229 h 798267"/>
              <a:gd name="connsiteX1135" fmla="*/ 519684 w 682417"/>
              <a:gd name="connsiteY1135" fmla="*/ 32181 h 798267"/>
              <a:gd name="connsiteX1136" fmla="*/ 522303 w 682417"/>
              <a:gd name="connsiteY1136" fmla="*/ 37258 h 798267"/>
              <a:gd name="connsiteX1137" fmla="*/ 521541 w 682417"/>
              <a:gd name="connsiteY1137" fmla="*/ 41764 h 798267"/>
              <a:gd name="connsiteX1138" fmla="*/ 525656 w 682417"/>
              <a:gd name="connsiteY1138" fmla="*/ 44783 h 798267"/>
              <a:gd name="connsiteX1139" fmla="*/ 525275 w 682417"/>
              <a:gd name="connsiteY1139" fmla="*/ 47040 h 798267"/>
              <a:gd name="connsiteX1140" fmla="*/ 526599 w 682417"/>
              <a:gd name="connsiteY1140" fmla="*/ 46088 h 798267"/>
              <a:gd name="connsiteX1141" fmla="*/ 529971 w 682417"/>
              <a:gd name="connsiteY1141" fmla="*/ 46659 h 798267"/>
              <a:gd name="connsiteX1142" fmla="*/ 540858 w 682417"/>
              <a:gd name="connsiteY1142" fmla="*/ 50822 h 798267"/>
              <a:gd name="connsiteX1143" fmla="*/ 540858 w 682417"/>
              <a:gd name="connsiteY1143" fmla="*/ 43869 h 798267"/>
              <a:gd name="connsiteX1144" fmla="*/ 547078 w 682417"/>
              <a:gd name="connsiteY1144" fmla="*/ 41449 h 798267"/>
              <a:gd name="connsiteX1145" fmla="*/ 551193 w 682417"/>
              <a:gd name="connsiteY1145" fmla="*/ 44469 h 798267"/>
              <a:gd name="connsiteX1146" fmla="*/ 554212 w 682417"/>
              <a:gd name="connsiteY1146" fmla="*/ 40335 h 798267"/>
              <a:gd name="connsiteX1147" fmla="*/ 556470 w 682417"/>
              <a:gd name="connsiteY1147" fmla="*/ 40725 h 798267"/>
              <a:gd name="connsiteX1148" fmla="*/ 562127 w 682417"/>
              <a:gd name="connsiteY1148" fmla="*/ 34725 h 798267"/>
              <a:gd name="connsiteX1149" fmla="*/ 563080 w 682417"/>
              <a:gd name="connsiteY1149" fmla="*/ 42992 h 798267"/>
              <a:gd name="connsiteX1150" fmla="*/ 564985 w 682417"/>
              <a:gd name="connsiteY1150" fmla="*/ 38677 h 798267"/>
              <a:gd name="connsiteX1151" fmla="*/ 568376 w 682417"/>
              <a:gd name="connsiteY1151" fmla="*/ 39249 h 798267"/>
              <a:gd name="connsiteX1152" fmla="*/ 573624 w 682417"/>
              <a:gd name="connsiteY1152" fmla="*/ 42468 h 798267"/>
              <a:gd name="connsiteX1153" fmla="*/ 571538 w 682417"/>
              <a:gd name="connsiteY1153" fmla="*/ 47907 h 798267"/>
              <a:gd name="connsiteX1154" fmla="*/ 574920 w 682417"/>
              <a:gd name="connsiteY1154" fmla="*/ 48479 h 798267"/>
              <a:gd name="connsiteX1155" fmla="*/ 577920 w 682417"/>
              <a:gd name="connsiteY1155" fmla="*/ 51336 h 798267"/>
              <a:gd name="connsiteX1156" fmla="*/ 576967 w 682417"/>
              <a:gd name="connsiteY1156" fmla="*/ 56975 h 798267"/>
              <a:gd name="connsiteX1157" fmla="*/ 579977 w 682417"/>
              <a:gd name="connsiteY1157" fmla="*/ 52851 h 798267"/>
              <a:gd name="connsiteX1158" fmla="*/ 580530 w 682417"/>
              <a:gd name="connsiteY1158" fmla="*/ 56413 h 798267"/>
              <a:gd name="connsiteX1159" fmla="*/ 584492 w 682417"/>
              <a:gd name="connsiteY1159" fmla="*/ 53613 h 798267"/>
              <a:gd name="connsiteX1160" fmla="*/ 587121 w 682417"/>
              <a:gd name="connsiteY1160" fmla="*/ 51708 h 798267"/>
              <a:gd name="connsiteX1161" fmla="*/ 589931 w 682417"/>
              <a:gd name="connsiteY1161" fmla="*/ 55670 h 798267"/>
              <a:gd name="connsiteX1162" fmla="*/ 599523 w 682417"/>
              <a:gd name="connsiteY1162" fmla="*/ 53765 h 798267"/>
              <a:gd name="connsiteX1163" fmla="*/ 604771 w 682417"/>
              <a:gd name="connsiteY1163" fmla="*/ 56975 h 798267"/>
              <a:gd name="connsiteX1164" fmla="*/ 599670 w 682417"/>
              <a:gd name="connsiteY1164" fmla="*/ 57833 h 798267"/>
              <a:gd name="connsiteX1165" fmla="*/ 598942 w 682417"/>
              <a:gd name="connsiteY1165" fmla="*/ 57146 h 798267"/>
              <a:gd name="connsiteX1166" fmla="*/ 600627 w 682417"/>
              <a:gd name="connsiteY1166" fmla="*/ 60909 h 798267"/>
              <a:gd name="connsiteX1167" fmla="*/ 605333 w 682417"/>
              <a:gd name="connsiteY1167" fmla="*/ 60547 h 798267"/>
              <a:gd name="connsiteX1168" fmla="*/ 608190 w 682417"/>
              <a:gd name="connsiteY1168" fmla="*/ 57547 h 798267"/>
              <a:gd name="connsiteX1169" fmla="*/ 616058 w 682417"/>
              <a:gd name="connsiteY1169" fmla="*/ 65833 h 798267"/>
              <a:gd name="connsiteX1170" fmla="*/ 615515 w 682417"/>
              <a:gd name="connsiteY1170" fmla="*/ 62271 h 798267"/>
              <a:gd name="connsiteX1171" fmla="*/ 621887 w 682417"/>
              <a:gd name="connsiteY1171" fmla="*/ 65671 h 798267"/>
              <a:gd name="connsiteX1172" fmla="*/ 619839 w 682417"/>
              <a:gd name="connsiteY1172" fmla="*/ 57204 h 798267"/>
              <a:gd name="connsiteX1173" fmla="*/ 625278 w 682417"/>
              <a:gd name="connsiteY1173" fmla="*/ 59290 h 798267"/>
              <a:gd name="connsiteX1174" fmla="*/ 630927 w 682417"/>
              <a:gd name="connsiteY1174" fmla="*/ 60242 h 798267"/>
              <a:gd name="connsiteX1175" fmla="*/ 636365 w 682417"/>
              <a:gd name="connsiteY1175" fmla="*/ 62328 h 798267"/>
              <a:gd name="connsiteX1176" fmla="*/ 635803 w 682417"/>
              <a:gd name="connsiteY1176" fmla="*/ 58756 h 798267"/>
              <a:gd name="connsiteX1177" fmla="*/ 638813 w 682417"/>
              <a:gd name="connsiteY1177" fmla="*/ 61614 h 798267"/>
              <a:gd name="connsiteX1178" fmla="*/ 644643 w 682417"/>
              <a:gd name="connsiteY1178" fmla="*/ 61442 h 798267"/>
              <a:gd name="connsiteX1179" fmla="*/ 645214 w 682417"/>
              <a:gd name="connsiteY1179" fmla="*/ 58061 h 798267"/>
              <a:gd name="connsiteX1180" fmla="*/ 649719 w 682417"/>
              <a:gd name="connsiteY1180" fmla="*/ 58823 h 798267"/>
              <a:gd name="connsiteX1181" fmla="*/ 654606 w 682417"/>
              <a:gd name="connsiteY1181" fmla="*/ 57337 h 798267"/>
              <a:gd name="connsiteX1182" fmla="*/ 654968 w 682417"/>
              <a:gd name="connsiteY1182" fmla="*/ 62042 h 798267"/>
              <a:gd name="connsiteX1183" fmla="*/ 659730 w 682417"/>
              <a:gd name="connsiteY1183" fmla="*/ 54718 h 798267"/>
              <a:gd name="connsiteX1184" fmla="*/ 661787 w 682417"/>
              <a:gd name="connsiteY1184" fmla="*/ 56232 h 798267"/>
              <a:gd name="connsiteX1185" fmla="*/ 660283 w 682417"/>
              <a:gd name="connsiteY1185" fmla="*/ 58289 h 798267"/>
              <a:gd name="connsiteX1186" fmla="*/ 658197 w 682417"/>
              <a:gd name="connsiteY1186" fmla="*/ 63738 h 798267"/>
              <a:gd name="connsiteX1187" fmla="*/ 660264 w 682417"/>
              <a:gd name="connsiteY1187" fmla="*/ 65243 h 798267"/>
              <a:gd name="connsiteX1188" fmla="*/ 657625 w 682417"/>
              <a:gd name="connsiteY1188" fmla="*/ 67148 h 798267"/>
              <a:gd name="connsiteX1189" fmla="*/ 657987 w 682417"/>
              <a:gd name="connsiteY1189" fmla="*/ 71844 h 798267"/>
              <a:gd name="connsiteX1190" fmla="*/ 653663 w 682417"/>
              <a:gd name="connsiteY1190" fmla="*/ 69939 h 798267"/>
              <a:gd name="connsiteX1191" fmla="*/ 651605 w 682417"/>
              <a:gd name="connsiteY1191" fmla="*/ 68424 h 798267"/>
              <a:gd name="connsiteX1192" fmla="*/ 650462 w 682417"/>
              <a:gd name="connsiteY1192" fmla="*/ 75187 h 798267"/>
              <a:gd name="connsiteX1193" fmla="*/ 648014 w 682417"/>
              <a:gd name="connsiteY1193" fmla="*/ 75930 h 798267"/>
              <a:gd name="connsiteX1194" fmla="*/ 652329 w 682417"/>
              <a:gd name="connsiteY1194" fmla="*/ 77835 h 798267"/>
              <a:gd name="connsiteX1195" fmla="*/ 651948 w 682417"/>
              <a:gd name="connsiteY1195" fmla="*/ 80092 h 798267"/>
              <a:gd name="connsiteX1196" fmla="*/ 655501 w 682417"/>
              <a:gd name="connsiteY1196" fmla="*/ 86493 h 798267"/>
              <a:gd name="connsiteX1197" fmla="*/ 656073 w 682417"/>
              <a:gd name="connsiteY1197" fmla="*/ 83112 h 798267"/>
              <a:gd name="connsiteX1198" fmla="*/ 657025 w 682417"/>
              <a:gd name="connsiteY1198" fmla="*/ 84436 h 798267"/>
              <a:gd name="connsiteX1199" fmla="*/ 660778 w 682417"/>
              <a:gd name="connsiteY1199" fmla="*/ 82750 h 798267"/>
              <a:gd name="connsiteX1200" fmla="*/ 661330 w 682417"/>
              <a:gd name="connsiteY1200" fmla="*/ 86322 h 798267"/>
              <a:gd name="connsiteX1201" fmla="*/ 662845 w 682417"/>
              <a:gd name="connsiteY1201" fmla="*/ 84255 h 798267"/>
              <a:gd name="connsiteX1202" fmla="*/ 670379 w 682417"/>
              <a:gd name="connsiteY1202" fmla="*/ 80902 h 798267"/>
              <a:gd name="connsiteX1203" fmla="*/ 676008 w 682417"/>
              <a:gd name="connsiteY1203" fmla="*/ 81854 h 798267"/>
              <a:gd name="connsiteX1204" fmla="*/ 669798 w 682417"/>
              <a:gd name="connsiteY1204" fmla="*/ 84283 h 798267"/>
              <a:gd name="connsiteX1205" fmla="*/ 672598 w 682417"/>
              <a:gd name="connsiteY1205" fmla="*/ 88236 h 798267"/>
              <a:gd name="connsiteX1206" fmla="*/ 674284 w 682417"/>
              <a:gd name="connsiteY1206" fmla="*/ 91998 h 798267"/>
              <a:gd name="connsiteX1207" fmla="*/ 676370 w 682417"/>
              <a:gd name="connsiteY1207" fmla="*/ 86550 h 798267"/>
              <a:gd name="connsiteX1208" fmla="*/ 672951 w 682417"/>
              <a:gd name="connsiteY1208" fmla="*/ 99885 h 798267"/>
              <a:gd name="connsiteX1209" fmla="*/ 674408 w 682417"/>
              <a:gd name="connsiteY1209" fmla="*/ 111725 h 798267"/>
              <a:gd name="connsiteX1210" fmla="*/ 678218 w 682417"/>
              <a:gd name="connsiteY1210" fmla="*/ 110048 h 798267"/>
              <a:gd name="connsiteX1211" fmla="*/ 676513 w 682417"/>
              <a:gd name="connsiteY1211" fmla="*/ 113239 h 798267"/>
              <a:gd name="connsiteX1212" fmla="*/ 677847 w 682417"/>
              <a:gd name="connsiteY1212" fmla="*/ 116887 h 798267"/>
              <a:gd name="connsiteX1213" fmla="*/ 321974 w 682417"/>
              <a:gd name="connsiteY1213" fmla="*/ 41440 h 798267"/>
              <a:gd name="connsiteX1214" fmla="*/ 321974 w 682417"/>
              <a:gd name="connsiteY1214" fmla="*/ 41440 h 798267"/>
              <a:gd name="connsiteX1215" fmla="*/ 343881 w 682417"/>
              <a:gd name="connsiteY1215" fmla="*/ 15008 h 798267"/>
              <a:gd name="connsiteX1216" fmla="*/ 342567 w 682417"/>
              <a:gd name="connsiteY1216" fmla="*/ 15960 h 798267"/>
              <a:gd name="connsiteX1217" fmla="*/ 342186 w 682417"/>
              <a:gd name="connsiteY1217" fmla="*/ 18218 h 798267"/>
              <a:gd name="connsiteX1218" fmla="*/ 343843 w 682417"/>
              <a:gd name="connsiteY1218" fmla="*/ 15008 h 798267"/>
              <a:gd name="connsiteX1219" fmla="*/ 360588 w 682417"/>
              <a:gd name="connsiteY1219" fmla="*/ 25962 h 798267"/>
              <a:gd name="connsiteX1220" fmla="*/ 360207 w 682417"/>
              <a:gd name="connsiteY1220" fmla="*/ 28210 h 798267"/>
              <a:gd name="connsiteX1221" fmla="*/ 352482 w 682417"/>
              <a:gd name="connsiteY1221" fmla="*/ 32696 h 798267"/>
              <a:gd name="connsiteX1222" fmla="*/ 349625 w 682417"/>
              <a:gd name="connsiteY1222" fmla="*/ 28743 h 798267"/>
              <a:gd name="connsiteX1223" fmla="*/ 345119 w 682417"/>
              <a:gd name="connsiteY1223" fmla="*/ 27981 h 798267"/>
              <a:gd name="connsiteX1224" fmla="*/ 351111 w 682417"/>
              <a:gd name="connsiteY1224" fmla="*/ 33629 h 798267"/>
              <a:gd name="connsiteX1225" fmla="*/ 361083 w 682417"/>
              <a:gd name="connsiteY1225" fmla="*/ 29524 h 798267"/>
              <a:gd name="connsiteX1226" fmla="*/ 360550 w 682417"/>
              <a:gd name="connsiteY1226" fmla="*/ 25962 h 798267"/>
              <a:gd name="connsiteX1227" fmla="*/ 403060 w 682417"/>
              <a:gd name="connsiteY1227" fmla="*/ 21571 h 798267"/>
              <a:gd name="connsiteX1228" fmla="*/ 404012 w 682417"/>
              <a:gd name="connsiteY1228" fmla="*/ 22885 h 798267"/>
              <a:gd name="connsiteX1229" fmla="*/ 400460 w 682417"/>
              <a:gd name="connsiteY1229" fmla="*/ 16484 h 798267"/>
              <a:gd name="connsiteX1230" fmla="*/ 403022 w 682417"/>
              <a:gd name="connsiteY1230" fmla="*/ 21571 h 798267"/>
              <a:gd name="connsiteX1231" fmla="*/ 395745 w 682417"/>
              <a:gd name="connsiteY1231" fmla="*/ 16808 h 798267"/>
              <a:gd name="connsiteX1232" fmla="*/ 398002 w 682417"/>
              <a:gd name="connsiteY1232" fmla="*/ 17199 h 798267"/>
              <a:gd name="connsiteX1233" fmla="*/ 398383 w 682417"/>
              <a:gd name="connsiteY1233" fmla="*/ 14941 h 798267"/>
              <a:gd name="connsiteX1234" fmla="*/ 396126 w 682417"/>
              <a:gd name="connsiteY1234" fmla="*/ 14560 h 798267"/>
              <a:gd name="connsiteX1235" fmla="*/ 394983 w 682417"/>
              <a:gd name="connsiteY1235" fmla="*/ 21323 h 798267"/>
              <a:gd name="connsiteX1236" fmla="*/ 390858 w 682417"/>
              <a:gd name="connsiteY1236" fmla="*/ 18304 h 798267"/>
              <a:gd name="connsiteX1237" fmla="*/ 389534 w 682417"/>
              <a:gd name="connsiteY1237" fmla="*/ 19256 h 798267"/>
              <a:gd name="connsiteX1238" fmla="*/ 394945 w 682417"/>
              <a:gd name="connsiteY1238" fmla="*/ 21361 h 798267"/>
              <a:gd name="connsiteX1239" fmla="*/ 383553 w 682417"/>
              <a:gd name="connsiteY1239" fmla="*/ 20532 h 798267"/>
              <a:gd name="connsiteX1240" fmla="*/ 385239 w 682417"/>
              <a:gd name="connsiteY1240" fmla="*/ 24295 h 798267"/>
              <a:gd name="connsiteX1241" fmla="*/ 383477 w 682417"/>
              <a:gd name="connsiteY1241" fmla="*/ 20570 h 798267"/>
              <a:gd name="connsiteX1242" fmla="*/ 378495 w 682417"/>
              <a:gd name="connsiteY1242" fmla="*/ 16198 h 798267"/>
              <a:gd name="connsiteX1243" fmla="*/ 381495 w 682417"/>
              <a:gd name="connsiteY1243" fmla="*/ 19056 h 798267"/>
              <a:gd name="connsiteX1244" fmla="*/ 378419 w 682417"/>
              <a:gd name="connsiteY1244" fmla="*/ 16237 h 798267"/>
              <a:gd name="connsiteX1245" fmla="*/ 379800 w 682417"/>
              <a:gd name="connsiteY1245" fmla="*/ 22218 h 798267"/>
              <a:gd name="connsiteX1246" fmla="*/ 379228 w 682417"/>
              <a:gd name="connsiteY1246" fmla="*/ 25590 h 798267"/>
              <a:gd name="connsiteX1247" fmla="*/ 382086 w 682417"/>
              <a:gd name="connsiteY1247" fmla="*/ 22599 h 798267"/>
              <a:gd name="connsiteX1248" fmla="*/ 381248 w 682417"/>
              <a:gd name="connsiteY1248" fmla="*/ 41011 h 798267"/>
              <a:gd name="connsiteX1249" fmla="*/ 378990 w 682417"/>
              <a:gd name="connsiteY1249" fmla="*/ 40630 h 798267"/>
              <a:gd name="connsiteX1250" fmla="*/ 378600 w 682417"/>
              <a:gd name="connsiteY1250" fmla="*/ 42878 h 798267"/>
              <a:gd name="connsiteX1251" fmla="*/ 380857 w 682417"/>
              <a:gd name="connsiteY1251" fmla="*/ 43269 h 798267"/>
              <a:gd name="connsiteX1252" fmla="*/ 400574 w 682417"/>
              <a:gd name="connsiteY1252" fmla="*/ 50088 h 798267"/>
              <a:gd name="connsiteX1253" fmla="*/ 396764 w 682417"/>
              <a:gd name="connsiteY1253" fmla="*/ 51765 h 798267"/>
              <a:gd name="connsiteX1254" fmla="*/ 400507 w 682417"/>
              <a:gd name="connsiteY1254" fmla="*/ 50127 h 798267"/>
              <a:gd name="connsiteX1255" fmla="*/ 407156 w 682417"/>
              <a:gd name="connsiteY1255" fmla="*/ 45402 h 798267"/>
              <a:gd name="connsiteX1256" fmla="*/ 401888 w 682417"/>
              <a:gd name="connsiteY1256" fmla="*/ 49145 h 798267"/>
              <a:gd name="connsiteX1257" fmla="*/ 406394 w 682417"/>
              <a:gd name="connsiteY1257" fmla="*/ 49917 h 798267"/>
              <a:gd name="connsiteX1258" fmla="*/ 407079 w 682417"/>
              <a:gd name="connsiteY1258" fmla="*/ 45440 h 798267"/>
              <a:gd name="connsiteX1259" fmla="*/ 406270 w 682417"/>
              <a:gd name="connsiteY1259" fmla="*/ 30162 h 798267"/>
              <a:gd name="connsiteX1260" fmla="*/ 407775 w 682417"/>
              <a:gd name="connsiteY1260" fmla="*/ 28105 h 798267"/>
              <a:gd name="connsiteX1261" fmla="*/ 405717 w 682417"/>
              <a:gd name="connsiteY1261" fmla="*/ 26590 h 798267"/>
              <a:gd name="connsiteX1262" fmla="*/ 400822 w 682417"/>
              <a:gd name="connsiteY1262" fmla="*/ 28086 h 798267"/>
              <a:gd name="connsiteX1263" fmla="*/ 399307 w 682417"/>
              <a:gd name="connsiteY1263" fmla="*/ 30143 h 798267"/>
              <a:gd name="connsiteX1264" fmla="*/ 392001 w 682417"/>
              <a:gd name="connsiteY1264" fmla="*/ 25428 h 798267"/>
              <a:gd name="connsiteX1265" fmla="*/ 387658 w 682417"/>
              <a:gd name="connsiteY1265" fmla="*/ 30486 h 798267"/>
              <a:gd name="connsiteX1266" fmla="*/ 377523 w 682417"/>
              <a:gd name="connsiteY1266" fmla="*/ 28771 h 798267"/>
              <a:gd name="connsiteX1267" fmla="*/ 372056 w 682417"/>
              <a:gd name="connsiteY1267" fmla="*/ 33629 h 798267"/>
              <a:gd name="connsiteX1268" fmla="*/ 367741 w 682417"/>
              <a:gd name="connsiteY1268" fmla="*/ 31724 h 798267"/>
              <a:gd name="connsiteX1269" fmla="*/ 371675 w 682417"/>
              <a:gd name="connsiteY1269" fmla="*/ 35868 h 798267"/>
              <a:gd name="connsiteX1270" fmla="*/ 373351 w 682417"/>
              <a:gd name="connsiteY1270" fmla="*/ 39630 h 798267"/>
              <a:gd name="connsiteX1271" fmla="*/ 378628 w 682417"/>
              <a:gd name="connsiteY1271" fmla="*/ 35887 h 798267"/>
              <a:gd name="connsiteX1272" fmla="*/ 380686 w 682417"/>
              <a:gd name="connsiteY1272" fmla="*/ 37401 h 798267"/>
              <a:gd name="connsiteX1273" fmla="*/ 382200 w 682417"/>
              <a:gd name="connsiteY1273" fmla="*/ 35334 h 798267"/>
              <a:gd name="connsiteX1274" fmla="*/ 385582 w 682417"/>
              <a:gd name="connsiteY1274" fmla="*/ 35906 h 798267"/>
              <a:gd name="connsiteX1275" fmla="*/ 391382 w 682417"/>
              <a:gd name="connsiteY1275" fmla="*/ 42688 h 798267"/>
              <a:gd name="connsiteX1276" fmla="*/ 401164 w 682417"/>
              <a:gd name="connsiteY1276" fmla="*/ 39716 h 798267"/>
              <a:gd name="connsiteX1277" fmla="*/ 402307 w 682417"/>
              <a:gd name="connsiteY1277" fmla="*/ 32953 h 798267"/>
              <a:gd name="connsiteX1278" fmla="*/ 407175 w 682417"/>
              <a:gd name="connsiteY1278" fmla="*/ 38420 h 798267"/>
              <a:gd name="connsiteX1279" fmla="*/ 406222 w 682417"/>
              <a:gd name="connsiteY1279" fmla="*/ 30219 h 798267"/>
              <a:gd name="connsiteX1280" fmla="*/ 416404 w 682417"/>
              <a:gd name="connsiteY1280" fmla="*/ 31886 h 798267"/>
              <a:gd name="connsiteX1281" fmla="*/ 422043 w 682417"/>
              <a:gd name="connsiteY1281" fmla="*/ 32839 h 798267"/>
              <a:gd name="connsiteX1282" fmla="*/ 423948 w 682417"/>
              <a:gd name="connsiteY1282" fmla="*/ 28524 h 798267"/>
              <a:gd name="connsiteX1283" fmla="*/ 418128 w 682417"/>
              <a:gd name="connsiteY1283" fmla="*/ 28695 h 798267"/>
              <a:gd name="connsiteX1284" fmla="*/ 418836 w 682417"/>
              <a:gd name="connsiteY1284" fmla="*/ 30178 h 798267"/>
              <a:gd name="connsiteX1285" fmla="*/ 417738 w 682417"/>
              <a:gd name="connsiteY1285" fmla="*/ 30953 h 798267"/>
              <a:gd name="connsiteX1286" fmla="*/ 412290 w 682417"/>
              <a:gd name="connsiteY1286" fmla="*/ 28867 h 798267"/>
              <a:gd name="connsiteX1287" fmla="*/ 409289 w 682417"/>
              <a:gd name="connsiteY1287" fmla="*/ 26009 h 798267"/>
              <a:gd name="connsiteX1288" fmla="*/ 409842 w 682417"/>
              <a:gd name="connsiteY1288" fmla="*/ 29581 h 798267"/>
              <a:gd name="connsiteX1289" fmla="*/ 414528 w 682417"/>
              <a:gd name="connsiteY1289" fmla="*/ 36172 h 798267"/>
              <a:gd name="connsiteX1290" fmla="*/ 416328 w 682417"/>
              <a:gd name="connsiteY1290" fmla="*/ 31943 h 798267"/>
              <a:gd name="connsiteX1291" fmla="*/ 425587 w 682417"/>
              <a:gd name="connsiteY1291" fmla="*/ 39239 h 798267"/>
              <a:gd name="connsiteX1292" fmla="*/ 417700 w 682417"/>
              <a:gd name="connsiteY1292" fmla="*/ 37896 h 798267"/>
              <a:gd name="connsiteX1293" fmla="*/ 416747 w 682417"/>
              <a:gd name="connsiteY1293" fmla="*/ 43535 h 798267"/>
              <a:gd name="connsiteX1294" fmla="*/ 425015 w 682417"/>
              <a:gd name="connsiteY1294" fmla="*/ 42583 h 798267"/>
              <a:gd name="connsiteX1295" fmla="*/ 429720 w 682417"/>
              <a:gd name="connsiteY1295" fmla="*/ 42259 h 798267"/>
              <a:gd name="connsiteX1296" fmla="*/ 431425 w 682417"/>
              <a:gd name="connsiteY1296" fmla="*/ 39068 h 798267"/>
              <a:gd name="connsiteX1297" fmla="*/ 429644 w 682417"/>
              <a:gd name="connsiteY1297" fmla="*/ 42316 h 798267"/>
              <a:gd name="connsiteX1298" fmla="*/ 434045 w 682417"/>
              <a:gd name="connsiteY1298" fmla="*/ 44164 h 798267"/>
              <a:gd name="connsiteX1299" fmla="*/ 431787 w 682417"/>
              <a:gd name="connsiteY1299" fmla="*/ 43773 h 798267"/>
              <a:gd name="connsiteX1300" fmla="*/ 431406 w 682417"/>
              <a:gd name="connsiteY1300" fmla="*/ 46031 h 798267"/>
              <a:gd name="connsiteX1301" fmla="*/ 433664 w 682417"/>
              <a:gd name="connsiteY1301" fmla="*/ 46412 h 798267"/>
              <a:gd name="connsiteX1302" fmla="*/ 451685 w 682417"/>
              <a:gd name="connsiteY1302" fmla="*/ 49469 h 798267"/>
              <a:gd name="connsiteX1303" fmla="*/ 448304 w 682417"/>
              <a:gd name="connsiteY1303" fmla="*/ 48898 h 798267"/>
              <a:gd name="connsiteX1304" fmla="*/ 449799 w 682417"/>
              <a:gd name="connsiteY1304" fmla="*/ 53794 h 798267"/>
              <a:gd name="connsiteX1305" fmla="*/ 451609 w 682417"/>
              <a:gd name="connsiteY1305" fmla="*/ 49517 h 798267"/>
              <a:gd name="connsiteX1306" fmla="*/ 455105 w 682417"/>
              <a:gd name="connsiteY1306" fmla="*/ 36134 h 798267"/>
              <a:gd name="connsiteX1307" fmla="*/ 452476 w 682417"/>
              <a:gd name="connsiteY1307" fmla="*/ 38039 h 798267"/>
              <a:gd name="connsiteX1308" fmla="*/ 455028 w 682417"/>
              <a:gd name="connsiteY1308" fmla="*/ 36191 h 798267"/>
              <a:gd name="connsiteX1309" fmla="*/ 465582 w 682417"/>
              <a:gd name="connsiteY1309" fmla="*/ 49469 h 798267"/>
              <a:gd name="connsiteX1310" fmla="*/ 468601 w 682417"/>
              <a:gd name="connsiteY1310" fmla="*/ 45345 h 798267"/>
              <a:gd name="connsiteX1311" fmla="*/ 464658 w 682417"/>
              <a:gd name="connsiteY1311" fmla="*/ 41202 h 798267"/>
              <a:gd name="connsiteX1312" fmla="*/ 462391 w 682417"/>
              <a:gd name="connsiteY1312" fmla="*/ 47774 h 798267"/>
              <a:gd name="connsiteX1313" fmla="*/ 465515 w 682417"/>
              <a:gd name="connsiteY1313" fmla="*/ 49555 h 798267"/>
              <a:gd name="connsiteX1314" fmla="*/ 468944 w 682417"/>
              <a:gd name="connsiteY1314" fmla="*/ 57004 h 798267"/>
              <a:gd name="connsiteX1315" fmla="*/ 466687 w 682417"/>
              <a:gd name="connsiteY1315" fmla="*/ 56623 h 798267"/>
              <a:gd name="connsiteX1316" fmla="*/ 466306 w 682417"/>
              <a:gd name="connsiteY1316" fmla="*/ 58880 h 798267"/>
              <a:gd name="connsiteX1317" fmla="*/ 468563 w 682417"/>
              <a:gd name="connsiteY1317" fmla="*/ 59261 h 798267"/>
              <a:gd name="connsiteX1318" fmla="*/ 503301 w 682417"/>
              <a:gd name="connsiteY1318" fmla="*/ 66310 h 798267"/>
              <a:gd name="connsiteX1319" fmla="*/ 500282 w 682417"/>
              <a:gd name="connsiteY1319" fmla="*/ 70434 h 798267"/>
              <a:gd name="connsiteX1320" fmla="*/ 503234 w 682417"/>
              <a:gd name="connsiteY1320" fmla="*/ 66395 h 798267"/>
              <a:gd name="connsiteX1321" fmla="*/ 512778 w 682417"/>
              <a:gd name="connsiteY1321" fmla="*/ 37735 h 798267"/>
              <a:gd name="connsiteX1322" fmla="*/ 513731 w 682417"/>
              <a:gd name="connsiteY1322" fmla="*/ 46012 h 798267"/>
              <a:gd name="connsiteX1323" fmla="*/ 512712 w 682417"/>
              <a:gd name="connsiteY1323" fmla="*/ 37858 h 798267"/>
              <a:gd name="connsiteX1324" fmla="*/ 543906 w 682417"/>
              <a:gd name="connsiteY1324" fmla="*/ 59251 h 798267"/>
              <a:gd name="connsiteX1325" fmla="*/ 539210 w 682417"/>
              <a:gd name="connsiteY1325" fmla="*/ 59613 h 798267"/>
              <a:gd name="connsiteX1326" fmla="*/ 537305 w 682417"/>
              <a:gd name="connsiteY1326" fmla="*/ 63928 h 798267"/>
              <a:gd name="connsiteX1327" fmla="*/ 532419 w 682417"/>
              <a:gd name="connsiteY1327" fmla="*/ 65414 h 798267"/>
              <a:gd name="connsiteX1328" fmla="*/ 535772 w 682417"/>
              <a:gd name="connsiteY1328" fmla="*/ 72939 h 798267"/>
              <a:gd name="connsiteX1329" fmla="*/ 534486 w 682417"/>
              <a:gd name="connsiteY1329" fmla="*/ 66929 h 798267"/>
              <a:gd name="connsiteX1330" fmla="*/ 539563 w 682417"/>
              <a:gd name="connsiteY1330" fmla="*/ 64309 h 798267"/>
              <a:gd name="connsiteX1331" fmla="*/ 545011 w 682417"/>
              <a:gd name="connsiteY1331" fmla="*/ 66395 h 798267"/>
              <a:gd name="connsiteX1332" fmla="*/ 544409 w 682417"/>
              <a:gd name="connsiteY1332" fmla="*/ 59782 h 798267"/>
              <a:gd name="connsiteX1333" fmla="*/ 543839 w 682417"/>
              <a:gd name="connsiteY1333" fmla="*/ 59375 h 798267"/>
              <a:gd name="connsiteX1334" fmla="*/ 547888 w 682417"/>
              <a:gd name="connsiteY1334" fmla="*/ 49488 h 798267"/>
              <a:gd name="connsiteX1335" fmla="*/ 542801 w 682417"/>
              <a:gd name="connsiteY1335" fmla="*/ 52108 h 798267"/>
              <a:gd name="connsiteX1336" fmla="*/ 545992 w 682417"/>
              <a:gd name="connsiteY1336" fmla="*/ 53803 h 798267"/>
              <a:gd name="connsiteX1337" fmla="*/ 547821 w 682417"/>
              <a:gd name="connsiteY1337" fmla="*/ 49612 h 798267"/>
              <a:gd name="connsiteX1338" fmla="*/ 51454 w 682417"/>
              <a:gd name="connsiteY1338" fmla="*/ 597243 h 798267"/>
              <a:gd name="connsiteX1339" fmla="*/ 50502 w 682417"/>
              <a:gd name="connsiteY1339" fmla="*/ 595919 h 798267"/>
              <a:gd name="connsiteX1340" fmla="*/ 48244 w 682417"/>
              <a:gd name="connsiteY1340" fmla="*/ 595538 h 798267"/>
              <a:gd name="connsiteX1341" fmla="*/ 51454 w 682417"/>
              <a:gd name="connsiteY1341" fmla="*/ 597243 h 798267"/>
              <a:gd name="connsiteX1342" fmla="*/ 9658 w 682417"/>
              <a:gd name="connsiteY1342" fmla="*/ 754767 h 798267"/>
              <a:gd name="connsiteX1343" fmla="*/ 11154 w 682417"/>
              <a:gd name="connsiteY1343" fmla="*/ 759663 h 798267"/>
              <a:gd name="connsiteX1344" fmla="*/ 9658 w 682417"/>
              <a:gd name="connsiteY1344" fmla="*/ 754767 h 798267"/>
              <a:gd name="connsiteX1345" fmla="*/ 20355 w 682417"/>
              <a:gd name="connsiteY1345" fmla="*/ 760063 h 798267"/>
              <a:gd name="connsiteX1346" fmla="*/ 16783 w 682417"/>
              <a:gd name="connsiteY1346" fmla="*/ 760615 h 798267"/>
              <a:gd name="connsiteX1347" fmla="*/ 14145 w 682417"/>
              <a:gd name="connsiteY1347" fmla="*/ 762520 h 798267"/>
              <a:gd name="connsiteX1348" fmla="*/ 20355 w 682417"/>
              <a:gd name="connsiteY1348" fmla="*/ 760063 h 798267"/>
              <a:gd name="connsiteX1349" fmla="*/ 26813 w 682417"/>
              <a:gd name="connsiteY1349" fmla="*/ 674214 h 798267"/>
              <a:gd name="connsiteX1350" fmla="*/ 24908 w 682417"/>
              <a:gd name="connsiteY1350" fmla="*/ 671566 h 798267"/>
              <a:gd name="connsiteX1351" fmla="*/ 21888 w 682417"/>
              <a:gd name="connsiteY1351" fmla="*/ 675700 h 798267"/>
              <a:gd name="connsiteX1352" fmla="*/ 26813 w 682417"/>
              <a:gd name="connsiteY1352" fmla="*/ 674224 h 798267"/>
              <a:gd name="connsiteX1353" fmla="*/ 26175 w 682417"/>
              <a:gd name="connsiteY1353" fmla="*/ 691492 h 798267"/>
              <a:gd name="connsiteX1354" fmla="*/ 24470 w 682417"/>
              <a:gd name="connsiteY1354" fmla="*/ 694683 h 798267"/>
              <a:gd name="connsiteX1355" fmla="*/ 26175 w 682417"/>
              <a:gd name="connsiteY1355" fmla="*/ 691492 h 798267"/>
              <a:gd name="connsiteX1356" fmla="*/ 27889 w 682417"/>
              <a:gd name="connsiteY1356" fmla="*/ 681348 h 798267"/>
              <a:gd name="connsiteX1357" fmla="*/ 29575 w 682417"/>
              <a:gd name="connsiteY1357" fmla="*/ 685111 h 798267"/>
              <a:gd name="connsiteX1358" fmla="*/ 27908 w 682417"/>
              <a:gd name="connsiteY1358" fmla="*/ 681348 h 798267"/>
              <a:gd name="connsiteX1359" fmla="*/ 40072 w 682417"/>
              <a:gd name="connsiteY1359" fmla="*/ 637076 h 798267"/>
              <a:gd name="connsiteX1360" fmla="*/ 35728 w 682417"/>
              <a:gd name="connsiteY1360" fmla="*/ 642143 h 798267"/>
              <a:gd name="connsiteX1361" fmla="*/ 40072 w 682417"/>
              <a:gd name="connsiteY1361" fmla="*/ 637076 h 798267"/>
              <a:gd name="connsiteX1362" fmla="*/ 44929 w 682417"/>
              <a:gd name="connsiteY1362" fmla="*/ 710943 h 798267"/>
              <a:gd name="connsiteX1363" fmla="*/ 41167 w 682417"/>
              <a:gd name="connsiteY1363" fmla="*/ 712619 h 798267"/>
              <a:gd name="connsiteX1364" fmla="*/ 44929 w 682417"/>
              <a:gd name="connsiteY1364" fmla="*/ 710904 h 798267"/>
              <a:gd name="connsiteX1365" fmla="*/ 57998 w 682417"/>
              <a:gd name="connsiteY1365" fmla="*/ 674900 h 798267"/>
              <a:gd name="connsiteX1366" fmla="*/ 52730 w 682417"/>
              <a:gd name="connsiteY1366" fmla="*/ 678643 h 798267"/>
              <a:gd name="connsiteX1367" fmla="*/ 57998 w 682417"/>
              <a:gd name="connsiteY1367" fmla="*/ 674862 h 798267"/>
              <a:gd name="connsiteX1368" fmla="*/ 58579 w 682417"/>
              <a:gd name="connsiteY1368" fmla="*/ 603120 h 798267"/>
              <a:gd name="connsiteX1369" fmla="*/ 53883 w 682417"/>
              <a:gd name="connsiteY1369" fmla="*/ 603481 h 798267"/>
              <a:gd name="connsiteX1370" fmla="*/ 58560 w 682417"/>
              <a:gd name="connsiteY1370" fmla="*/ 603081 h 798267"/>
              <a:gd name="connsiteX1371" fmla="*/ 65780 w 682417"/>
              <a:gd name="connsiteY1371" fmla="*/ 649554 h 798267"/>
              <a:gd name="connsiteX1372" fmla="*/ 68399 w 682417"/>
              <a:gd name="connsiteY1372" fmla="*/ 654640 h 798267"/>
              <a:gd name="connsiteX1373" fmla="*/ 65780 w 682417"/>
              <a:gd name="connsiteY1373" fmla="*/ 649516 h 798267"/>
              <a:gd name="connsiteX1374" fmla="*/ 96965 w 682417"/>
              <a:gd name="connsiteY1374" fmla="*/ 520366 h 798267"/>
              <a:gd name="connsiteX1375" fmla="*/ 93774 w 682417"/>
              <a:gd name="connsiteY1375" fmla="*/ 518661 h 798267"/>
              <a:gd name="connsiteX1376" fmla="*/ 91869 w 682417"/>
              <a:gd name="connsiteY1376" fmla="*/ 522976 h 798267"/>
              <a:gd name="connsiteX1377" fmla="*/ 96965 w 682417"/>
              <a:gd name="connsiteY1377" fmla="*/ 520328 h 798267"/>
              <a:gd name="connsiteX1378" fmla="*/ 124587 w 682417"/>
              <a:gd name="connsiteY1378" fmla="*/ 514651 h 798267"/>
              <a:gd name="connsiteX1379" fmla="*/ 121958 w 682417"/>
              <a:gd name="connsiteY1379" fmla="*/ 516556 h 798267"/>
              <a:gd name="connsiteX1380" fmla="*/ 124606 w 682417"/>
              <a:gd name="connsiteY1380" fmla="*/ 514585 h 798267"/>
              <a:gd name="connsiteX1381" fmla="*/ 136827 w 682417"/>
              <a:gd name="connsiteY1381" fmla="*/ 442528 h 798267"/>
              <a:gd name="connsiteX1382" fmla="*/ 134579 w 682417"/>
              <a:gd name="connsiteY1382" fmla="*/ 442147 h 798267"/>
              <a:gd name="connsiteX1383" fmla="*/ 134198 w 682417"/>
              <a:gd name="connsiteY1383" fmla="*/ 444404 h 798267"/>
              <a:gd name="connsiteX1384" fmla="*/ 136436 w 682417"/>
              <a:gd name="connsiteY1384" fmla="*/ 444785 h 798267"/>
              <a:gd name="connsiteX1385" fmla="*/ 141170 w 682417"/>
              <a:gd name="connsiteY1385" fmla="*/ 498916 h 798267"/>
              <a:gd name="connsiteX1386" fmla="*/ 140218 w 682417"/>
              <a:gd name="connsiteY1386" fmla="*/ 497592 h 798267"/>
              <a:gd name="connsiteX1387" fmla="*/ 137960 w 682417"/>
              <a:gd name="connsiteY1387" fmla="*/ 497211 h 798267"/>
              <a:gd name="connsiteX1388" fmla="*/ 141189 w 682417"/>
              <a:gd name="connsiteY1388" fmla="*/ 498849 h 798267"/>
              <a:gd name="connsiteX1389" fmla="*/ 144370 w 682417"/>
              <a:gd name="connsiteY1389" fmla="*/ 432241 h 798267"/>
              <a:gd name="connsiteX1390" fmla="*/ 141732 w 682417"/>
              <a:gd name="connsiteY1390" fmla="*/ 434146 h 798267"/>
              <a:gd name="connsiteX1391" fmla="*/ 139284 w 682417"/>
              <a:gd name="connsiteY1391" fmla="*/ 434898 h 798267"/>
              <a:gd name="connsiteX1392" fmla="*/ 142484 w 682417"/>
              <a:gd name="connsiteY1392" fmla="*/ 436594 h 798267"/>
              <a:gd name="connsiteX1393" fmla="*/ 144389 w 682417"/>
              <a:gd name="connsiteY1393" fmla="*/ 432146 h 798267"/>
              <a:gd name="connsiteX1394" fmla="*/ 178146 w 682417"/>
              <a:gd name="connsiteY1394" fmla="*/ 383483 h 798267"/>
              <a:gd name="connsiteX1395" fmla="*/ 176451 w 682417"/>
              <a:gd name="connsiteY1395" fmla="*/ 386673 h 798267"/>
              <a:gd name="connsiteX1396" fmla="*/ 178165 w 682417"/>
              <a:gd name="connsiteY1396" fmla="*/ 383387 h 798267"/>
              <a:gd name="connsiteX1397" fmla="*/ 190414 w 682417"/>
              <a:gd name="connsiteY1397" fmla="*/ 365852 h 798267"/>
              <a:gd name="connsiteX1398" fmla="*/ 187614 w 682417"/>
              <a:gd name="connsiteY1398" fmla="*/ 361908 h 798267"/>
              <a:gd name="connsiteX1399" fmla="*/ 185890 w 682417"/>
              <a:gd name="connsiteY1399" fmla="*/ 372043 h 798267"/>
              <a:gd name="connsiteX1400" fmla="*/ 190033 w 682417"/>
              <a:gd name="connsiteY1400" fmla="*/ 368109 h 798267"/>
              <a:gd name="connsiteX1401" fmla="*/ 191938 w 682417"/>
              <a:gd name="connsiteY1401" fmla="*/ 370748 h 798267"/>
              <a:gd name="connsiteX1402" fmla="*/ 190433 w 682417"/>
              <a:gd name="connsiteY1402" fmla="*/ 365756 h 798267"/>
              <a:gd name="connsiteX1403" fmla="*/ 195177 w 682417"/>
              <a:gd name="connsiteY1403" fmla="*/ 399132 h 798267"/>
              <a:gd name="connsiteX1404" fmla="*/ 193110 w 682417"/>
              <a:gd name="connsiteY1404" fmla="*/ 397627 h 798267"/>
              <a:gd name="connsiteX1405" fmla="*/ 194796 w 682417"/>
              <a:gd name="connsiteY1405" fmla="*/ 401389 h 798267"/>
              <a:gd name="connsiteX1406" fmla="*/ 195224 w 682417"/>
              <a:gd name="connsiteY1406" fmla="*/ 399037 h 798267"/>
              <a:gd name="connsiteX1407" fmla="*/ 198844 w 682417"/>
              <a:gd name="connsiteY1407" fmla="*/ 363813 h 798267"/>
              <a:gd name="connsiteX1408" fmla="*/ 201292 w 682417"/>
              <a:gd name="connsiteY1408" fmla="*/ 363070 h 798267"/>
              <a:gd name="connsiteX1409" fmla="*/ 201673 w 682417"/>
              <a:gd name="connsiteY1409" fmla="*/ 360823 h 798267"/>
              <a:gd name="connsiteX1410" fmla="*/ 198482 w 682417"/>
              <a:gd name="connsiteY1410" fmla="*/ 359118 h 798267"/>
              <a:gd name="connsiteX1411" fmla="*/ 198892 w 682417"/>
              <a:gd name="connsiteY1411" fmla="*/ 363709 h 798267"/>
              <a:gd name="connsiteX1412" fmla="*/ 203359 w 682417"/>
              <a:gd name="connsiteY1412" fmla="*/ 364585 h 798267"/>
              <a:gd name="connsiteX1413" fmla="*/ 199549 w 682417"/>
              <a:gd name="connsiteY1413" fmla="*/ 366261 h 798267"/>
              <a:gd name="connsiteX1414" fmla="*/ 198977 w 682417"/>
              <a:gd name="connsiteY1414" fmla="*/ 369643 h 798267"/>
              <a:gd name="connsiteX1415" fmla="*/ 202940 w 682417"/>
              <a:gd name="connsiteY1415" fmla="*/ 366833 h 798267"/>
              <a:gd name="connsiteX1416" fmla="*/ 206121 w 682417"/>
              <a:gd name="connsiteY1416" fmla="*/ 368528 h 798267"/>
              <a:gd name="connsiteX1417" fmla="*/ 203406 w 682417"/>
              <a:gd name="connsiteY1417" fmla="*/ 364490 h 798267"/>
              <a:gd name="connsiteX1418" fmla="*/ 209074 w 682417"/>
              <a:gd name="connsiteY1418" fmla="*/ 344678 h 798267"/>
              <a:gd name="connsiteX1419" fmla="*/ 207007 w 682417"/>
              <a:gd name="connsiteY1419" fmla="*/ 343173 h 798267"/>
              <a:gd name="connsiteX1420" fmla="*/ 208693 w 682417"/>
              <a:gd name="connsiteY1420" fmla="*/ 346935 h 798267"/>
              <a:gd name="connsiteX1421" fmla="*/ 210645 w 682417"/>
              <a:gd name="connsiteY1421" fmla="*/ 321760 h 798267"/>
              <a:gd name="connsiteX1422" fmla="*/ 211198 w 682417"/>
              <a:gd name="connsiteY1422" fmla="*/ 325332 h 798267"/>
              <a:gd name="connsiteX1423" fmla="*/ 210674 w 682417"/>
              <a:gd name="connsiteY1423" fmla="*/ 321665 h 798267"/>
              <a:gd name="connsiteX1424" fmla="*/ 225266 w 682417"/>
              <a:gd name="connsiteY1424" fmla="*/ 331200 h 798267"/>
              <a:gd name="connsiteX1425" fmla="*/ 218323 w 682417"/>
              <a:gd name="connsiteY1425" fmla="*/ 331200 h 798267"/>
              <a:gd name="connsiteX1426" fmla="*/ 219065 w 682417"/>
              <a:gd name="connsiteY1426" fmla="*/ 333648 h 798267"/>
              <a:gd name="connsiteX1427" fmla="*/ 217741 w 682417"/>
              <a:gd name="connsiteY1427" fmla="*/ 334600 h 798267"/>
              <a:gd name="connsiteX1428" fmla="*/ 216789 w 682417"/>
              <a:gd name="connsiteY1428" fmla="*/ 333276 h 798267"/>
              <a:gd name="connsiteX1429" fmla="*/ 217225 w 682417"/>
              <a:gd name="connsiteY1429" fmla="*/ 338742 h 798267"/>
              <a:gd name="connsiteX1430" fmla="*/ 218084 w 682417"/>
              <a:gd name="connsiteY1430" fmla="*/ 339296 h 798267"/>
              <a:gd name="connsiteX1431" fmla="*/ 224295 w 682417"/>
              <a:gd name="connsiteY1431" fmla="*/ 336867 h 798267"/>
              <a:gd name="connsiteX1432" fmla="*/ 225295 w 682417"/>
              <a:gd name="connsiteY1432" fmla="*/ 331105 h 798267"/>
              <a:gd name="connsiteX1433" fmla="*/ 239535 w 682417"/>
              <a:gd name="connsiteY1433" fmla="*/ 295252 h 798267"/>
              <a:gd name="connsiteX1434" fmla="*/ 235982 w 682417"/>
              <a:gd name="connsiteY1434" fmla="*/ 288852 h 798267"/>
              <a:gd name="connsiteX1435" fmla="*/ 235220 w 682417"/>
              <a:gd name="connsiteY1435" fmla="*/ 293357 h 798267"/>
              <a:gd name="connsiteX1436" fmla="*/ 239535 w 682417"/>
              <a:gd name="connsiteY1436" fmla="*/ 295252 h 798267"/>
              <a:gd name="connsiteX1437" fmla="*/ 244040 w 682417"/>
              <a:gd name="connsiteY1437" fmla="*/ 296014 h 798267"/>
              <a:gd name="connsiteX1438" fmla="*/ 238763 w 682417"/>
              <a:gd name="connsiteY1438" fmla="*/ 299758 h 798267"/>
              <a:gd name="connsiteX1439" fmla="*/ 244002 w 682417"/>
              <a:gd name="connsiteY1439" fmla="*/ 296014 h 798267"/>
              <a:gd name="connsiteX1440" fmla="*/ 253565 w 682417"/>
              <a:gd name="connsiteY1440" fmla="*/ 315064 h 798267"/>
              <a:gd name="connsiteX1441" fmla="*/ 255241 w 682417"/>
              <a:gd name="connsiteY1441" fmla="*/ 318827 h 798267"/>
              <a:gd name="connsiteX1442" fmla="*/ 253536 w 682417"/>
              <a:gd name="connsiteY1442" fmla="*/ 315026 h 798267"/>
              <a:gd name="connsiteX1443" fmla="*/ 257585 w 682417"/>
              <a:gd name="connsiteY1443" fmla="*/ 291395 h 798267"/>
              <a:gd name="connsiteX1444" fmla="*/ 251555 w 682417"/>
              <a:gd name="connsiteY1444" fmla="*/ 292700 h 798267"/>
              <a:gd name="connsiteX1445" fmla="*/ 257556 w 682417"/>
              <a:gd name="connsiteY1445" fmla="*/ 291319 h 798267"/>
              <a:gd name="connsiteX1446" fmla="*/ 290570 w 682417"/>
              <a:gd name="connsiteY1446" fmla="*/ 254095 h 798267"/>
              <a:gd name="connsiteX1447" fmla="*/ 290922 w 682417"/>
              <a:gd name="connsiteY1447" fmla="*/ 258800 h 798267"/>
              <a:gd name="connsiteX1448" fmla="*/ 296199 w 682417"/>
              <a:gd name="connsiteY1448" fmla="*/ 255057 h 798267"/>
              <a:gd name="connsiteX1449" fmla="*/ 292646 w 682417"/>
              <a:gd name="connsiteY1449" fmla="*/ 248656 h 798267"/>
              <a:gd name="connsiteX1450" fmla="*/ 294351 w 682417"/>
              <a:gd name="connsiteY1450" fmla="*/ 245465 h 798267"/>
              <a:gd name="connsiteX1451" fmla="*/ 292618 w 682417"/>
              <a:gd name="connsiteY1451" fmla="*/ 248618 h 798267"/>
              <a:gd name="connsiteX1452" fmla="*/ 293599 w 682417"/>
              <a:gd name="connsiteY1452" fmla="*/ 236074 h 798267"/>
              <a:gd name="connsiteX1453" fmla="*/ 295504 w 682417"/>
              <a:gd name="connsiteY1453" fmla="*/ 231749 h 798267"/>
              <a:gd name="connsiteX1454" fmla="*/ 289874 w 682417"/>
              <a:gd name="connsiteY1454" fmla="*/ 230797 h 798267"/>
              <a:gd name="connsiteX1455" fmla="*/ 293599 w 682417"/>
              <a:gd name="connsiteY1455" fmla="*/ 236074 h 798267"/>
              <a:gd name="connsiteX1456" fmla="*/ 286045 w 682417"/>
              <a:gd name="connsiteY1456" fmla="*/ 246380 h 798267"/>
              <a:gd name="connsiteX1457" fmla="*/ 288112 w 682417"/>
              <a:gd name="connsiteY1457" fmla="*/ 247885 h 798267"/>
              <a:gd name="connsiteX1458" fmla="*/ 289627 w 682417"/>
              <a:gd name="connsiteY1458" fmla="*/ 245827 h 798267"/>
              <a:gd name="connsiteX1459" fmla="*/ 287560 w 682417"/>
              <a:gd name="connsiteY1459" fmla="*/ 244322 h 798267"/>
              <a:gd name="connsiteX1460" fmla="*/ 286045 w 682417"/>
              <a:gd name="connsiteY1460" fmla="*/ 246342 h 798267"/>
              <a:gd name="connsiteX1461" fmla="*/ 272272 w 682417"/>
              <a:gd name="connsiteY1461" fmla="*/ 266068 h 798267"/>
              <a:gd name="connsiteX1462" fmla="*/ 273958 w 682417"/>
              <a:gd name="connsiteY1462" fmla="*/ 269830 h 798267"/>
              <a:gd name="connsiteX1463" fmla="*/ 272272 w 682417"/>
              <a:gd name="connsiteY1463" fmla="*/ 266030 h 798267"/>
              <a:gd name="connsiteX1464" fmla="*/ 292751 w 682417"/>
              <a:gd name="connsiteY1464" fmla="*/ 268382 h 798267"/>
              <a:gd name="connsiteX1465" fmla="*/ 284178 w 682417"/>
              <a:gd name="connsiteY1465" fmla="*/ 257648 h 798267"/>
              <a:gd name="connsiteX1466" fmla="*/ 278930 w 682417"/>
              <a:gd name="connsiteY1466" fmla="*/ 254438 h 798267"/>
              <a:gd name="connsiteX1467" fmla="*/ 277435 w 682417"/>
              <a:gd name="connsiteY1467" fmla="*/ 249551 h 798267"/>
              <a:gd name="connsiteX1468" fmla="*/ 273844 w 682417"/>
              <a:gd name="connsiteY1468" fmla="*/ 257057 h 798267"/>
              <a:gd name="connsiteX1469" fmla="*/ 267633 w 682417"/>
              <a:gd name="connsiteY1469" fmla="*/ 259477 h 798267"/>
              <a:gd name="connsiteX1470" fmla="*/ 267062 w 682417"/>
              <a:gd name="connsiteY1470" fmla="*/ 262858 h 798267"/>
              <a:gd name="connsiteX1471" fmla="*/ 263490 w 682417"/>
              <a:gd name="connsiteY1471" fmla="*/ 263410 h 798267"/>
              <a:gd name="connsiteX1472" fmla="*/ 268938 w 682417"/>
              <a:gd name="connsiteY1472" fmla="*/ 265496 h 798267"/>
              <a:gd name="connsiteX1473" fmla="*/ 271948 w 682417"/>
              <a:gd name="connsiteY1473" fmla="*/ 261372 h 798267"/>
              <a:gd name="connsiteX1474" fmla="*/ 279463 w 682417"/>
              <a:gd name="connsiteY1474" fmla="*/ 264963 h 798267"/>
              <a:gd name="connsiteX1475" fmla="*/ 283007 w 682417"/>
              <a:gd name="connsiteY1475" fmla="*/ 271364 h 798267"/>
              <a:gd name="connsiteX1476" fmla="*/ 287350 w 682417"/>
              <a:gd name="connsiteY1476" fmla="*/ 266306 h 798267"/>
              <a:gd name="connsiteX1477" fmla="*/ 292751 w 682417"/>
              <a:gd name="connsiteY1477" fmla="*/ 268344 h 798267"/>
              <a:gd name="connsiteX1478" fmla="*/ 295408 w 682417"/>
              <a:gd name="connsiteY1478" fmla="*/ 259562 h 798267"/>
              <a:gd name="connsiteX1479" fmla="*/ 291598 w 682417"/>
              <a:gd name="connsiteY1479" fmla="*/ 261248 h 798267"/>
              <a:gd name="connsiteX1480" fmla="*/ 295723 w 682417"/>
              <a:gd name="connsiteY1480" fmla="*/ 264258 h 798267"/>
              <a:gd name="connsiteX1481" fmla="*/ 295408 w 682417"/>
              <a:gd name="connsiteY1481" fmla="*/ 259524 h 798267"/>
              <a:gd name="connsiteX1482" fmla="*/ 297933 w 682417"/>
              <a:gd name="connsiteY1482" fmla="*/ 230987 h 798267"/>
              <a:gd name="connsiteX1483" fmla="*/ 301695 w 682417"/>
              <a:gd name="connsiteY1483" fmla="*/ 229301 h 798267"/>
              <a:gd name="connsiteX1484" fmla="*/ 299447 w 682417"/>
              <a:gd name="connsiteY1484" fmla="*/ 228920 h 798267"/>
              <a:gd name="connsiteX1485" fmla="*/ 297933 w 682417"/>
              <a:gd name="connsiteY1485" fmla="*/ 230968 h 798267"/>
              <a:gd name="connsiteX1486" fmla="*/ 297704 w 682417"/>
              <a:gd name="connsiteY1486" fmla="*/ 246018 h 798267"/>
              <a:gd name="connsiteX1487" fmla="*/ 299380 w 682417"/>
              <a:gd name="connsiteY1487" fmla="*/ 249780 h 798267"/>
              <a:gd name="connsiteX1488" fmla="*/ 297704 w 682417"/>
              <a:gd name="connsiteY1488" fmla="*/ 245999 h 798267"/>
              <a:gd name="connsiteX1489" fmla="*/ 302171 w 682417"/>
              <a:gd name="connsiteY1489" fmla="*/ 260686 h 798267"/>
              <a:gd name="connsiteX1490" fmla="*/ 303124 w 682417"/>
              <a:gd name="connsiteY1490" fmla="*/ 255057 h 798267"/>
              <a:gd name="connsiteX1491" fmla="*/ 305029 w 682417"/>
              <a:gd name="connsiteY1491" fmla="*/ 257695 h 798267"/>
              <a:gd name="connsiteX1492" fmla="*/ 302409 w 682417"/>
              <a:gd name="connsiteY1492" fmla="*/ 252609 h 798267"/>
              <a:gd name="connsiteX1493" fmla="*/ 299971 w 682417"/>
              <a:gd name="connsiteY1493" fmla="*/ 253352 h 798267"/>
              <a:gd name="connsiteX1494" fmla="*/ 302171 w 682417"/>
              <a:gd name="connsiteY1494" fmla="*/ 260667 h 798267"/>
              <a:gd name="connsiteX1495" fmla="*/ 307210 w 682417"/>
              <a:gd name="connsiteY1495" fmla="*/ 271983 h 798267"/>
              <a:gd name="connsiteX1496" fmla="*/ 302324 w 682417"/>
              <a:gd name="connsiteY1496" fmla="*/ 273469 h 798267"/>
              <a:gd name="connsiteX1497" fmla="*/ 307210 w 682417"/>
              <a:gd name="connsiteY1497" fmla="*/ 271964 h 798267"/>
              <a:gd name="connsiteX1498" fmla="*/ 307210 w 682417"/>
              <a:gd name="connsiteY1498" fmla="*/ 278927 h 798267"/>
              <a:gd name="connsiteX1499" fmla="*/ 308696 w 682417"/>
              <a:gd name="connsiteY1499" fmla="*/ 283822 h 798267"/>
              <a:gd name="connsiteX1500" fmla="*/ 307162 w 682417"/>
              <a:gd name="connsiteY1500" fmla="*/ 278936 h 798267"/>
              <a:gd name="connsiteX1501" fmla="*/ 316392 w 682417"/>
              <a:gd name="connsiteY1501" fmla="*/ 224844 h 798267"/>
              <a:gd name="connsiteX1502" fmla="*/ 315839 w 682417"/>
              <a:gd name="connsiteY1502" fmla="*/ 221272 h 798267"/>
              <a:gd name="connsiteX1503" fmla="*/ 314516 w 682417"/>
              <a:gd name="connsiteY1503" fmla="*/ 222224 h 798267"/>
              <a:gd name="connsiteX1504" fmla="*/ 313392 w 682417"/>
              <a:gd name="connsiteY1504" fmla="*/ 222034 h 798267"/>
              <a:gd name="connsiteX1505" fmla="*/ 316373 w 682417"/>
              <a:gd name="connsiteY1505" fmla="*/ 224825 h 798267"/>
              <a:gd name="connsiteX1506" fmla="*/ 318735 w 682417"/>
              <a:gd name="connsiteY1506" fmla="*/ 258857 h 798267"/>
              <a:gd name="connsiteX1507" fmla="*/ 317240 w 682417"/>
              <a:gd name="connsiteY1507" fmla="*/ 253971 h 798267"/>
              <a:gd name="connsiteX1508" fmla="*/ 316659 w 682417"/>
              <a:gd name="connsiteY1508" fmla="*/ 257738 h 798267"/>
              <a:gd name="connsiteX1509" fmla="*/ 318716 w 682417"/>
              <a:gd name="connsiteY1509" fmla="*/ 258838 h 798267"/>
              <a:gd name="connsiteX1510" fmla="*/ 334080 w 682417"/>
              <a:gd name="connsiteY1510" fmla="*/ 216252 h 798267"/>
              <a:gd name="connsiteX1511" fmla="*/ 332175 w 682417"/>
              <a:gd name="connsiteY1511" fmla="*/ 220567 h 798267"/>
              <a:gd name="connsiteX1512" fmla="*/ 333489 w 682417"/>
              <a:gd name="connsiteY1512" fmla="*/ 219614 h 798267"/>
              <a:gd name="connsiteX1513" fmla="*/ 337995 w 682417"/>
              <a:gd name="connsiteY1513" fmla="*/ 220376 h 798267"/>
              <a:gd name="connsiteX1514" fmla="*/ 340424 w 682417"/>
              <a:gd name="connsiteY1514" fmla="*/ 226577 h 798267"/>
              <a:gd name="connsiteX1515" fmla="*/ 339059 w 682417"/>
              <a:gd name="connsiteY1515" fmla="*/ 217425 h 798267"/>
              <a:gd name="connsiteX1516" fmla="*/ 334061 w 682417"/>
              <a:gd name="connsiteY1516" fmla="*/ 216233 h 798267"/>
              <a:gd name="connsiteX1517" fmla="*/ 352282 w 682417"/>
              <a:gd name="connsiteY1517" fmla="*/ 225129 h 798267"/>
              <a:gd name="connsiteX1518" fmla="*/ 352882 w 682417"/>
              <a:gd name="connsiteY1518" fmla="*/ 221786 h 798267"/>
              <a:gd name="connsiteX1519" fmla="*/ 354940 w 682417"/>
              <a:gd name="connsiteY1519" fmla="*/ 223291 h 798267"/>
              <a:gd name="connsiteX1520" fmla="*/ 357959 w 682417"/>
              <a:gd name="connsiteY1520" fmla="*/ 219167 h 798267"/>
              <a:gd name="connsiteX1521" fmla="*/ 359254 w 682417"/>
              <a:gd name="connsiteY1521" fmla="*/ 225177 h 798267"/>
              <a:gd name="connsiteX1522" fmla="*/ 360597 w 682417"/>
              <a:gd name="connsiteY1522" fmla="*/ 217290 h 798267"/>
              <a:gd name="connsiteX1523" fmla="*/ 362293 w 682417"/>
              <a:gd name="connsiteY1523" fmla="*/ 214109 h 798267"/>
              <a:gd name="connsiteX1524" fmla="*/ 355349 w 682417"/>
              <a:gd name="connsiteY1524" fmla="*/ 214109 h 798267"/>
              <a:gd name="connsiteX1525" fmla="*/ 352263 w 682417"/>
              <a:gd name="connsiteY1525" fmla="*/ 225110 h 798267"/>
              <a:gd name="connsiteX1526" fmla="*/ 346853 w 682417"/>
              <a:gd name="connsiteY1526" fmla="*/ 216100 h 798267"/>
              <a:gd name="connsiteX1527" fmla="*/ 351930 w 682417"/>
              <a:gd name="connsiteY1527" fmla="*/ 213480 h 798267"/>
              <a:gd name="connsiteX1528" fmla="*/ 348929 w 682417"/>
              <a:gd name="connsiteY1528" fmla="*/ 210623 h 798267"/>
              <a:gd name="connsiteX1529" fmla="*/ 346834 w 682417"/>
              <a:gd name="connsiteY1529" fmla="*/ 216071 h 798267"/>
              <a:gd name="connsiteX1530" fmla="*/ 350177 w 682417"/>
              <a:gd name="connsiteY1530" fmla="*/ 237531 h 798267"/>
              <a:gd name="connsiteX1531" fmla="*/ 347177 w 682417"/>
              <a:gd name="connsiteY1531" fmla="*/ 234673 h 798267"/>
              <a:gd name="connsiteX1532" fmla="*/ 350158 w 682417"/>
              <a:gd name="connsiteY1532" fmla="*/ 237512 h 798267"/>
              <a:gd name="connsiteX1533" fmla="*/ 358750 w 682417"/>
              <a:gd name="connsiteY1533" fmla="*/ 248266 h 798267"/>
              <a:gd name="connsiteX1534" fmla="*/ 351425 w 682417"/>
              <a:gd name="connsiteY1534" fmla="*/ 243503 h 798267"/>
              <a:gd name="connsiteX1535" fmla="*/ 347433 w 682417"/>
              <a:gd name="connsiteY1535" fmla="*/ 246898 h 798267"/>
              <a:gd name="connsiteX1536" fmla="*/ 345224 w 682417"/>
              <a:gd name="connsiteY1536" fmla="*/ 245932 h 798267"/>
              <a:gd name="connsiteX1537" fmla="*/ 348967 w 682417"/>
              <a:gd name="connsiteY1537" fmla="*/ 251209 h 798267"/>
              <a:gd name="connsiteX1538" fmla="*/ 351987 w 682417"/>
              <a:gd name="connsiteY1538" fmla="*/ 247084 h 798267"/>
              <a:gd name="connsiteX1539" fmla="*/ 355178 w 682417"/>
              <a:gd name="connsiteY1539" fmla="*/ 248780 h 798267"/>
              <a:gd name="connsiteX1540" fmla="*/ 353273 w 682417"/>
              <a:gd name="connsiteY1540" fmla="*/ 246142 h 798267"/>
              <a:gd name="connsiteX1541" fmla="*/ 358769 w 682417"/>
              <a:gd name="connsiteY1541" fmla="*/ 248247 h 798267"/>
              <a:gd name="connsiteX1542" fmla="*/ 366522 w 682417"/>
              <a:gd name="connsiteY1542" fmla="*/ 222920 h 798267"/>
              <a:gd name="connsiteX1543" fmla="*/ 362712 w 682417"/>
              <a:gd name="connsiteY1543" fmla="*/ 231549 h 798267"/>
              <a:gd name="connsiteX1544" fmla="*/ 361036 w 682417"/>
              <a:gd name="connsiteY1544" fmla="*/ 227739 h 798267"/>
              <a:gd name="connsiteX1545" fmla="*/ 356692 w 682417"/>
              <a:gd name="connsiteY1545" fmla="*/ 232807 h 798267"/>
              <a:gd name="connsiteX1546" fmla="*/ 364198 w 682417"/>
              <a:gd name="connsiteY1546" fmla="*/ 236397 h 798267"/>
              <a:gd name="connsiteX1547" fmla="*/ 363836 w 682417"/>
              <a:gd name="connsiteY1547" fmla="*/ 231692 h 798267"/>
              <a:gd name="connsiteX1548" fmla="*/ 366112 w 682417"/>
              <a:gd name="connsiteY1548" fmla="*/ 225129 h 798267"/>
              <a:gd name="connsiteX1549" fmla="*/ 367243 w 682417"/>
              <a:gd name="connsiteY1549" fmla="*/ 223937 h 798267"/>
              <a:gd name="connsiteX1550" fmla="*/ 366541 w 682417"/>
              <a:gd name="connsiteY1550" fmla="*/ 222901 h 798267"/>
              <a:gd name="connsiteX1551" fmla="*/ 380810 w 682417"/>
              <a:gd name="connsiteY1551" fmla="*/ 227682 h 798267"/>
              <a:gd name="connsiteX1552" fmla="*/ 383086 w 682417"/>
              <a:gd name="connsiteY1552" fmla="*/ 221110 h 798267"/>
              <a:gd name="connsiteX1553" fmla="*/ 380810 w 682417"/>
              <a:gd name="connsiteY1553" fmla="*/ 227644 h 798267"/>
              <a:gd name="connsiteX1554" fmla="*/ 383591 w 682417"/>
              <a:gd name="connsiteY1554" fmla="*/ 238579 h 798267"/>
              <a:gd name="connsiteX1555" fmla="*/ 374771 w 682417"/>
              <a:gd name="connsiteY1555" fmla="*/ 235931 h 798267"/>
              <a:gd name="connsiteX1556" fmla="*/ 378905 w 682417"/>
              <a:gd name="connsiteY1556" fmla="*/ 238950 h 798267"/>
              <a:gd name="connsiteX1557" fmla="*/ 383591 w 682417"/>
              <a:gd name="connsiteY1557" fmla="*/ 238541 h 798267"/>
              <a:gd name="connsiteX1558" fmla="*/ 385801 w 682417"/>
              <a:gd name="connsiteY1558" fmla="*/ 191430 h 798267"/>
              <a:gd name="connsiteX1559" fmla="*/ 386182 w 682417"/>
              <a:gd name="connsiteY1559" fmla="*/ 189172 h 798267"/>
              <a:gd name="connsiteX1560" fmla="*/ 383934 w 682417"/>
              <a:gd name="connsiteY1560" fmla="*/ 188791 h 798267"/>
              <a:gd name="connsiteX1561" fmla="*/ 383543 w 682417"/>
              <a:gd name="connsiteY1561" fmla="*/ 191039 h 798267"/>
              <a:gd name="connsiteX1562" fmla="*/ 386258 w 682417"/>
              <a:gd name="connsiteY1562" fmla="*/ 229759 h 798267"/>
              <a:gd name="connsiteX1563" fmla="*/ 386429 w 682417"/>
              <a:gd name="connsiteY1563" fmla="*/ 235588 h 798267"/>
              <a:gd name="connsiteX1564" fmla="*/ 386220 w 682417"/>
              <a:gd name="connsiteY1564" fmla="*/ 229720 h 798267"/>
              <a:gd name="connsiteX1565" fmla="*/ 391354 w 682417"/>
              <a:gd name="connsiteY1565" fmla="*/ 220234 h 798267"/>
              <a:gd name="connsiteX1566" fmla="*/ 387401 w 682417"/>
              <a:gd name="connsiteY1566" fmla="*/ 223034 h 798267"/>
              <a:gd name="connsiteX1567" fmla="*/ 391354 w 682417"/>
              <a:gd name="connsiteY1567" fmla="*/ 220157 h 798267"/>
              <a:gd name="connsiteX1568" fmla="*/ 391897 w 682417"/>
              <a:gd name="connsiteY1568" fmla="*/ 230711 h 798267"/>
              <a:gd name="connsiteX1569" fmla="*/ 397145 w 682417"/>
              <a:gd name="connsiteY1569" fmla="*/ 233930 h 798267"/>
              <a:gd name="connsiteX1570" fmla="*/ 398097 w 682417"/>
              <a:gd name="connsiteY1570" fmla="*/ 228292 h 798267"/>
              <a:gd name="connsiteX1571" fmla="*/ 391935 w 682417"/>
              <a:gd name="connsiteY1571" fmla="*/ 230673 h 798267"/>
              <a:gd name="connsiteX1572" fmla="*/ 395859 w 682417"/>
              <a:gd name="connsiteY1572" fmla="*/ 220957 h 798267"/>
              <a:gd name="connsiteX1573" fmla="*/ 395097 w 682417"/>
              <a:gd name="connsiteY1573" fmla="*/ 225463 h 798267"/>
              <a:gd name="connsiteX1574" fmla="*/ 395859 w 682417"/>
              <a:gd name="connsiteY1574" fmla="*/ 220919 h 798267"/>
              <a:gd name="connsiteX1575" fmla="*/ 404365 w 682417"/>
              <a:gd name="connsiteY1575" fmla="*/ 205013 h 798267"/>
              <a:gd name="connsiteX1576" fmla="*/ 398536 w 682417"/>
              <a:gd name="connsiteY1576" fmla="*/ 205184 h 798267"/>
              <a:gd name="connsiteX1577" fmla="*/ 398707 w 682417"/>
              <a:gd name="connsiteY1577" fmla="*/ 211004 h 798267"/>
              <a:gd name="connsiteX1578" fmla="*/ 401726 w 682417"/>
              <a:gd name="connsiteY1578" fmla="*/ 206879 h 798267"/>
              <a:gd name="connsiteX1579" fmla="*/ 404365 w 682417"/>
              <a:gd name="connsiteY1579" fmla="*/ 204974 h 798267"/>
              <a:gd name="connsiteX1580" fmla="*/ 410385 w 682417"/>
              <a:gd name="connsiteY1580" fmla="*/ 203717 h 798267"/>
              <a:gd name="connsiteX1581" fmla="*/ 408480 w 682417"/>
              <a:gd name="connsiteY1581" fmla="*/ 201079 h 798267"/>
              <a:gd name="connsiteX1582" fmla="*/ 406575 w 682417"/>
              <a:gd name="connsiteY1582" fmla="*/ 205394 h 798267"/>
              <a:gd name="connsiteX1583" fmla="*/ 408823 w 682417"/>
              <a:gd name="connsiteY1583" fmla="*/ 205775 h 798267"/>
              <a:gd name="connsiteX1584" fmla="*/ 410385 w 682417"/>
              <a:gd name="connsiteY1584" fmla="*/ 203689 h 798267"/>
              <a:gd name="connsiteX1585" fmla="*/ 410385 w 682417"/>
              <a:gd name="connsiteY1585" fmla="*/ 217624 h 798267"/>
              <a:gd name="connsiteX1586" fmla="*/ 413375 w 682417"/>
              <a:gd name="connsiteY1586" fmla="*/ 220481 h 798267"/>
              <a:gd name="connsiteX1587" fmla="*/ 410347 w 682417"/>
              <a:gd name="connsiteY1587" fmla="*/ 217586 h 798267"/>
              <a:gd name="connsiteX1588" fmla="*/ 416614 w 682417"/>
              <a:gd name="connsiteY1588" fmla="*/ 208242 h 798267"/>
              <a:gd name="connsiteX1589" fmla="*/ 413423 w 682417"/>
              <a:gd name="connsiteY1589" fmla="*/ 206537 h 798267"/>
              <a:gd name="connsiteX1590" fmla="*/ 414709 w 682417"/>
              <a:gd name="connsiteY1590" fmla="*/ 212556 h 798267"/>
              <a:gd name="connsiteX1591" fmla="*/ 416966 w 682417"/>
              <a:gd name="connsiteY1591" fmla="*/ 212937 h 798267"/>
              <a:gd name="connsiteX1592" fmla="*/ 416576 w 682417"/>
              <a:gd name="connsiteY1592" fmla="*/ 208203 h 798267"/>
              <a:gd name="connsiteX1593" fmla="*/ 415890 w 682417"/>
              <a:gd name="connsiteY1593" fmla="*/ 198840 h 798267"/>
              <a:gd name="connsiteX1594" fmla="*/ 417195 w 682417"/>
              <a:gd name="connsiteY1594" fmla="*/ 197888 h 798267"/>
              <a:gd name="connsiteX1595" fmla="*/ 415119 w 682417"/>
              <a:gd name="connsiteY1595" fmla="*/ 203336 h 798267"/>
              <a:gd name="connsiteX1596" fmla="*/ 418500 w 682417"/>
              <a:gd name="connsiteY1596" fmla="*/ 203908 h 798267"/>
              <a:gd name="connsiteX1597" fmla="*/ 415852 w 682417"/>
              <a:gd name="connsiteY1597" fmla="*/ 198802 h 798267"/>
              <a:gd name="connsiteX1598" fmla="*/ 489737 w 682417"/>
              <a:gd name="connsiteY1598" fmla="*/ 132537 h 798267"/>
              <a:gd name="connsiteX1599" fmla="*/ 496862 w 682417"/>
              <a:gd name="connsiteY1599" fmla="*/ 138385 h 798267"/>
              <a:gd name="connsiteX1600" fmla="*/ 501005 w 682417"/>
              <a:gd name="connsiteY1600" fmla="*/ 134451 h 798267"/>
              <a:gd name="connsiteX1601" fmla="*/ 500263 w 682417"/>
              <a:gd name="connsiteY1601" fmla="*/ 132003 h 798267"/>
              <a:gd name="connsiteX1602" fmla="*/ 503263 w 682417"/>
              <a:gd name="connsiteY1602" fmla="*/ 134861 h 798267"/>
              <a:gd name="connsiteX1603" fmla="*/ 503091 w 682417"/>
              <a:gd name="connsiteY1603" fmla="*/ 129032 h 798267"/>
              <a:gd name="connsiteX1604" fmla="*/ 498386 w 682417"/>
              <a:gd name="connsiteY1604" fmla="*/ 129394 h 798267"/>
              <a:gd name="connsiteX1605" fmla="*/ 496881 w 682417"/>
              <a:gd name="connsiteY1605" fmla="*/ 131461 h 798267"/>
              <a:gd name="connsiteX1606" fmla="*/ 493881 w 682417"/>
              <a:gd name="connsiteY1606" fmla="*/ 128603 h 798267"/>
              <a:gd name="connsiteX1607" fmla="*/ 491242 w 682417"/>
              <a:gd name="connsiteY1607" fmla="*/ 130508 h 798267"/>
              <a:gd name="connsiteX1608" fmla="*/ 489699 w 682417"/>
              <a:gd name="connsiteY1608" fmla="*/ 132499 h 798267"/>
              <a:gd name="connsiteX1609" fmla="*/ 457086 w 682417"/>
              <a:gd name="connsiteY1609" fmla="*/ 181486 h 798267"/>
              <a:gd name="connsiteX1610" fmla="*/ 455028 w 682417"/>
              <a:gd name="connsiteY1610" fmla="*/ 179981 h 798267"/>
              <a:gd name="connsiteX1611" fmla="*/ 454276 w 682417"/>
              <a:gd name="connsiteY1611" fmla="*/ 177533 h 798267"/>
              <a:gd name="connsiteX1612" fmla="*/ 449189 w 682417"/>
              <a:gd name="connsiteY1612" fmla="*/ 187058 h 798267"/>
              <a:gd name="connsiteX1613" fmla="*/ 446180 w 682417"/>
              <a:gd name="connsiteY1613" fmla="*/ 184200 h 798267"/>
              <a:gd name="connsiteX1614" fmla="*/ 456133 w 682417"/>
              <a:gd name="connsiteY1614" fmla="*/ 187058 h 798267"/>
              <a:gd name="connsiteX1615" fmla="*/ 457048 w 682417"/>
              <a:gd name="connsiteY1615" fmla="*/ 181448 h 798267"/>
              <a:gd name="connsiteX1616" fmla="*/ 473278 w 682417"/>
              <a:gd name="connsiteY1616" fmla="*/ 181905 h 798267"/>
              <a:gd name="connsiteX1617" fmla="*/ 468220 w 682417"/>
              <a:gd name="connsiteY1617" fmla="*/ 177571 h 798267"/>
              <a:gd name="connsiteX1618" fmla="*/ 462210 w 682417"/>
              <a:gd name="connsiteY1618" fmla="*/ 171913 h 798267"/>
              <a:gd name="connsiteX1619" fmla="*/ 462210 w 682417"/>
              <a:gd name="connsiteY1619" fmla="*/ 178876 h 798267"/>
              <a:gd name="connsiteX1620" fmla="*/ 466725 w 682417"/>
              <a:gd name="connsiteY1620" fmla="*/ 179638 h 798267"/>
              <a:gd name="connsiteX1621" fmla="*/ 468982 w 682417"/>
              <a:gd name="connsiteY1621" fmla="*/ 180019 h 798267"/>
              <a:gd name="connsiteX1622" fmla="*/ 467468 w 682417"/>
              <a:gd name="connsiteY1622" fmla="*/ 182076 h 798267"/>
              <a:gd name="connsiteX1623" fmla="*/ 462020 w 682417"/>
              <a:gd name="connsiteY1623" fmla="*/ 180000 h 798267"/>
              <a:gd name="connsiteX1624" fmla="*/ 473212 w 682417"/>
              <a:gd name="connsiteY1624" fmla="*/ 181867 h 798267"/>
              <a:gd name="connsiteX1625" fmla="*/ 485089 w 682417"/>
              <a:gd name="connsiteY1625" fmla="*/ 166541 h 798267"/>
              <a:gd name="connsiteX1626" fmla="*/ 484137 w 682417"/>
              <a:gd name="connsiteY1626" fmla="*/ 172180 h 798267"/>
              <a:gd name="connsiteX1627" fmla="*/ 485089 w 682417"/>
              <a:gd name="connsiteY1627" fmla="*/ 166541 h 798267"/>
              <a:gd name="connsiteX1628" fmla="*/ 493900 w 682417"/>
              <a:gd name="connsiteY1628" fmla="*/ 176152 h 798267"/>
              <a:gd name="connsiteX1629" fmla="*/ 493900 w 682417"/>
              <a:gd name="connsiteY1629" fmla="*/ 176152 h 798267"/>
              <a:gd name="connsiteX1630" fmla="*/ 495100 w 682417"/>
              <a:gd name="connsiteY1630" fmla="*/ 148529 h 798267"/>
              <a:gd name="connsiteX1631" fmla="*/ 490976 w 682417"/>
              <a:gd name="connsiteY1631" fmla="*/ 145500 h 798267"/>
              <a:gd name="connsiteX1632" fmla="*/ 489280 w 682417"/>
              <a:gd name="connsiteY1632" fmla="*/ 148701 h 798267"/>
              <a:gd name="connsiteX1633" fmla="*/ 487042 w 682417"/>
              <a:gd name="connsiteY1633" fmla="*/ 141357 h 798267"/>
              <a:gd name="connsiteX1634" fmla="*/ 482155 w 682417"/>
              <a:gd name="connsiteY1634" fmla="*/ 142852 h 798267"/>
              <a:gd name="connsiteX1635" fmla="*/ 476326 w 682417"/>
              <a:gd name="connsiteY1635" fmla="*/ 143024 h 798267"/>
              <a:gd name="connsiteX1636" fmla="*/ 475374 w 682417"/>
              <a:gd name="connsiteY1636" fmla="*/ 141709 h 798267"/>
              <a:gd name="connsiteX1637" fmla="*/ 470868 w 682417"/>
              <a:gd name="connsiteY1637" fmla="*/ 140938 h 798267"/>
              <a:gd name="connsiteX1638" fmla="*/ 472373 w 682417"/>
              <a:gd name="connsiteY1638" fmla="*/ 138871 h 798267"/>
              <a:gd name="connsiteX1639" fmla="*/ 466906 w 682417"/>
              <a:gd name="connsiteY1639" fmla="*/ 143748 h 798267"/>
              <a:gd name="connsiteX1640" fmla="*/ 465782 w 682417"/>
              <a:gd name="connsiteY1640" fmla="*/ 143557 h 798267"/>
              <a:gd name="connsiteX1641" fmla="*/ 466525 w 682417"/>
              <a:gd name="connsiteY1641" fmla="*/ 146005 h 798267"/>
              <a:gd name="connsiteX1642" fmla="*/ 459381 w 682417"/>
              <a:gd name="connsiteY1642" fmla="*/ 147110 h 798267"/>
              <a:gd name="connsiteX1643" fmla="*/ 455819 w 682417"/>
              <a:gd name="connsiteY1643" fmla="*/ 147663 h 798267"/>
              <a:gd name="connsiteX1644" fmla="*/ 457876 w 682417"/>
              <a:gd name="connsiteY1644" fmla="*/ 149167 h 798267"/>
              <a:gd name="connsiteX1645" fmla="*/ 456362 w 682417"/>
              <a:gd name="connsiteY1645" fmla="*/ 151234 h 798267"/>
              <a:gd name="connsiteX1646" fmla="*/ 461258 w 682417"/>
              <a:gd name="connsiteY1646" fmla="*/ 149749 h 798267"/>
              <a:gd name="connsiteX1647" fmla="*/ 467830 w 682417"/>
              <a:gd name="connsiteY1647" fmla="*/ 152015 h 798267"/>
              <a:gd name="connsiteX1648" fmla="*/ 469525 w 682417"/>
              <a:gd name="connsiteY1648" fmla="*/ 148825 h 798267"/>
              <a:gd name="connsiteX1649" fmla="*/ 473659 w 682417"/>
              <a:gd name="connsiteY1649" fmla="*/ 151844 h 798267"/>
              <a:gd name="connsiteX1650" fmla="*/ 471021 w 682417"/>
              <a:gd name="connsiteY1650" fmla="*/ 153749 h 798267"/>
              <a:gd name="connsiteX1651" fmla="*/ 468954 w 682417"/>
              <a:gd name="connsiteY1651" fmla="*/ 152235 h 798267"/>
              <a:gd name="connsiteX1652" fmla="*/ 465744 w 682417"/>
              <a:gd name="connsiteY1652" fmla="*/ 157483 h 798267"/>
              <a:gd name="connsiteX1653" fmla="*/ 471764 w 682417"/>
              <a:gd name="connsiteY1653" fmla="*/ 156197 h 798267"/>
              <a:gd name="connsiteX1654" fmla="*/ 477012 w 682417"/>
              <a:gd name="connsiteY1654" fmla="*/ 159397 h 798267"/>
              <a:gd name="connsiteX1655" fmla="*/ 478698 w 682417"/>
              <a:gd name="connsiteY1655" fmla="*/ 163160 h 798267"/>
              <a:gd name="connsiteX1656" fmla="*/ 480603 w 682417"/>
              <a:gd name="connsiteY1656" fmla="*/ 158845 h 798267"/>
              <a:gd name="connsiteX1657" fmla="*/ 484908 w 682417"/>
              <a:gd name="connsiteY1657" fmla="*/ 160750 h 798267"/>
              <a:gd name="connsiteX1658" fmla="*/ 488671 w 682417"/>
              <a:gd name="connsiteY1658" fmla="*/ 159073 h 798267"/>
              <a:gd name="connsiteX1659" fmla="*/ 490376 w 682417"/>
              <a:gd name="connsiteY1659" fmla="*/ 155883 h 798267"/>
              <a:gd name="connsiteX1660" fmla="*/ 496195 w 682417"/>
              <a:gd name="connsiteY1660" fmla="*/ 155711 h 798267"/>
              <a:gd name="connsiteX1661" fmla="*/ 495100 w 682417"/>
              <a:gd name="connsiteY1661" fmla="*/ 148491 h 798267"/>
              <a:gd name="connsiteX1662" fmla="*/ 501634 w 682417"/>
              <a:gd name="connsiteY1662" fmla="*/ 164722 h 798267"/>
              <a:gd name="connsiteX1663" fmla="*/ 504263 w 682417"/>
              <a:gd name="connsiteY1663" fmla="*/ 162817 h 798267"/>
              <a:gd name="connsiteX1664" fmla="*/ 497491 w 682417"/>
              <a:gd name="connsiteY1664" fmla="*/ 168618 h 798267"/>
              <a:gd name="connsiteX1665" fmla="*/ 504244 w 682417"/>
              <a:gd name="connsiteY1665" fmla="*/ 169770 h 798267"/>
              <a:gd name="connsiteX1666" fmla="*/ 501634 w 682417"/>
              <a:gd name="connsiteY1666" fmla="*/ 164636 h 798267"/>
              <a:gd name="connsiteX1667" fmla="*/ 505625 w 682417"/>
              <a:gd name="connsiteY1667" fmla="*/ 148005 h 798267"/>
              <a:gd name="connsiteX1668" fmla="*/ 496414 w 682417"/>
              <a:gd name="connsiteY1668" fmla="*/ 147605 h 798267"/>
              <a:gd name="connsiteX1669" fmla="*/ 505987 w 682417"/>
              <a:gd name="connsiteY1669" fmla="*/ 152711 h 798267"/>
              <a:gd name="connsiteX1670" fmla="*/ 505625 w 682417"/>
              <a:gd name="connsiteY1670" fmla="*/ 147948 h 798267"/>
              <a:gd name="connsiteX1671" fmla="*/ 509435 w 682417"/>
              <a:gd name="connsiteY1671" fmla="*/ 125469 h 798267"/>
              <a:gd name="connsiteX1672" fmla="*/ 504577 w 682417"/>
              <a:gd name="connsiteY1672" fmla="*/ 120011 h 798267"/>
              <a:gd name="connsiteX1673" fmla="*/ 503806 w 682417"/>
              <a:gd name="connsiteY1673" fmla="*/ 124517 h 798267"/>
              <a:gd name="connsiteX1674" fmla="*/ 509445 w 682417"/>
              <a:gd name="connsiteY1674" fmla="*/ 125412 h 798267"/>
              <a:gd name="connsiteX1675" fmla="*/ 514055 w 682417"/>
              <a:gd name="connsiteY1675" fmla="*/ 152920 h 798267"/>
              <a:gd name="connsiteX1676" fmla="*/ 509921 w 682417"/>
              <a:gd name="connsiteY1676" fmla="*/ 156854 h 798267"/>
              <a:gd name="connsiteX1677" fmla="*/ 514064 w 682417"/>
              <a:gd name="connsiteY1677" fmla="*/ 152863 h 798267"/>
              <a:gd name="connsiteX1678" fmla="*/ 517417 w 682417"/>
              <a:gd name="connsiteY1678" fmla="*/ 160445 h 798267"/>
              <a:gd name="connsiteX1679" fmla="*/ 517617 w 682417"/>
              <a:gd name="connsiteY1679" fmla="*/ 159321 h 798267"/>
              <a:gd name="connsiteX1680" fmla="*/ 518360 w 682417"/>
              <a:gd name="connsiteY1680" fmla="*/ 161769 h 798267"/>
              <a:gd name="connsiteX1681" fmla="*/ 517427 w 682417"/>
              <a:gd name="connsiteY1681" fmla="*/ 160388 h 798267"/>
              <a:gd name="connsiteX1682" fmla="*/ 526152 w 682417"/>
              <a:gd name="connsiteY1682" fmla="*/ 129470 h 798267"/>
              <a:gd name="connsiteX1683" fmla="*/ 520903 w 682417"/>
              <a:gd name="connsiteY1683" fmla="*/ 126260 h 798267"/>
              <a:gd name="connsiteX1684" fmla="*/ 517141 w 682417"/>
              <a:gd name="connsiteY1684" fmla="*/ 127936 h 798267"/>
              <a:gd name="connsiteX1685" fmla="*/ 510950 w 682417"/>
              <a:gd name="connsiteY1685" fmla="*/ 123412 h 798267"/>
              <a:gd name="connsiteX1686" fmla="*/ 519198 w 682417"/>
              <a:gd name="connsiteY1686" fmla="*/ 129451 h 798267"/>
              <a:gd name="connsiteX1687" fmla="*/ 520884 w 682417"/>
              <a:gd name="connsiteY1687" fmla="*/ 133213 h 798267"/>
              <a:gd name="connsiteX1688" fmla="*/ 526161 w 682417"/>
              <a:gd name="connsiteY1688" fmla="*/ 129394 h 798267"/>
              <a:gd name="connsiteX1689" fmla="*/ 544592 w 682417"/>
              <a:gd name="connsiteY1689" fmla="*/ 123317 h 798267"/>
              <a:gd name="connsiteX1690" fmla="*/ 546668 w 682417"/>
              <a:gd name="connsiteY1690" fmla="*/ 117878 h 798267"/>
              <a:gd name="connsiteX1691" fmla="*/ 544601 w 682417"/>
              <a:gd name="connsiteY1691" fmla="*/ 123259 h 798267"/>
              <a:gd name="connsiteX1692" fmla="*/ 541934 w 682417"/>
              <a:gd name="connsiteY1692" fmla="*/ 132146 h 798267"/>
              <a:gd name="connsiteX1693" fmla="*/ 543992 w 682417"/>
              <a:gd name="connsiteY1693" fmla="*/ 133651 h 798267"/>
              <a:gd name="connsiteX1694" fmla="*/ 546430 w 682417"/>
              <a:gd name="connsiteY1694" fmla="*/ 132908 h 798267"/>
              <a:gd name="connsiteX1695" fmla="*/ 545325 w 682417"/>
              <a:gd name="connsiteY1695" fmla="*/ 125765 h 798267"/>
              <a:gd name="connsiteX1696" fmla="*/ 541953 w 682417"/>
              <a:gd name="connsiteY1696" fmla="*/ 125193 h 798267"/>
              <a:gd name="connsiteX1697" fmla="*/ 536296 w 682417"/>
              <a:gd name="connsiteY1697" fmla="*/ 131184 h 798267"/>
              <a:gd name="connsiteX1698" fmla="*/ 532171 w 682417"/>
              <a:gd name="connsiteY1698" fmla="*/ 128174 h 798267"/>
              <a:gd name="connsiteX1699" fmla="*/ 528771 w 682417"/>
              <a:gd name="connsiteY1699" fmla="*/ 134547 h 798267"/>
              <a:gd name="connsiteX1700" fmla="*/ 532324 w 682417"/>
              <a:gd name="connsiteY1700" fmla="*/ 140947 h 798267"/>
              <a:gd name="connsiteX1701" fmla="*/ 534981 w 682417"/>
              <a:gd name="connsiteY1701" fmla="*/ 132127 h 798267"/>
              <a:gd name="connsiteX1702" fmla="*/ 537972 w 682417"/>
              <a:gd name="connsiteY1702" fmla="*/ 134985 h 798267"/>
              <a:gd name="connsiteX1703" fmla="*/ 541944 w 682417"/>
              <a:gd name="connsiteY1703" fmla="*/ 132089 h 798267"/>
              <a:gd name="connsiteX1704" fmla="*/ 546240 w 682417"/>
              <a:gd name="connsiteY1704" fmla="*/ 134051 h 798267"/>
              <a:gd name="connsiteX1705" fmla="*/ 542677 w 682417"/>
              <a:gd name="connsiteY1705" fmla="*/ 134613 h 798267"/>
              <a:gd name="connsiteX1706" fmla="*/ 541725 w 682417"/>
              <a:gd name="connsiteY1706" fmla="*/ 140243 h 798267"/>
              <a:gd name="connsiteX1707" fmla="*/ 546240 w 682417"/>
              <a:gd name="connsiteY1707" fmla="*/ 133975 h 798267"/>
              <a:gd name="connsiteX1708" fmla="*/ 552326 w 682417"/>
              <a:gd name="connsiteY1708" fmla="*/ 111906 h 798267"/>
              <a:gd name="connsiteX1709" fmla="*/ 550240 w 682417"/>
              <a:gd name="connsiteY1709" fmla="*/ 117344 h 798267"/>
              <a:gd name="connsiteX1710" fmla="*/ 553812 w 682417"/>
              <a:gd name="connsiteY1710" fmla="*/ 116792 h 798267"/>
              <a:gd name="connsiteX1711" fmla="*/ 552336 w 682417"/>
              <a:gd name="connsiteY1711" fmla="*/ 111829 h 798267"/>
              <a:gd name="connsiteX1712" fmla="*/ 559460 w 682417"/>
              <a:gd name="connsiteY1712" fmla="*/ 49345 h 798267"/>
              <a:gd name="connsiteX1713" fmla="*/ 557555 w 682417"/>
              <a:gd name="connsiteY1713" fmla="*/ 46707 h 798267"/>
              <a:gd name="connsiteX1714" fmla="*/ 555108 w 682417"/>
              <a:gd name="connsiteY1714" fmla="*/ 47460 h 798267"/>
              <a:gd name="connsiteX1715" fmla="*/ 559470 w 682417"/>
              <a:gd name="connsiteY1715" fmla="*/ 49269 h 798267"/>
              <a:gd name="connsiteX1716" fmla="*/ 558270 w 682417"/>
              <a:gd name="connsiteY1716" fmla="*/ 70015 h 798267"/>
              <a:gd name="connsiteX1717" fmla="*/ 561480 w 682417"/>
              <a:gd name="connsiteY1717" fmla="*/ 64766 h 798267"/>
              <a:gd name="connsiteX1718" fmla="*/ 553593 w 682417"/>
              <a:gd name="connsiteY1718" fmla="*/ 63423 h 798267"/>
              <a:gd name="connsiteX1719" fmla="*/ 551898 w 682417"/>
              <a:gd name="connsiteY1719" fmla="*/ 66614 h 798267"/>
              <a:gd name="connsiteX1720" fmla="*/ 552431 w 682417"/>
              <a:gd name="connsiteY1720" fmla="*/ 77139 h 798267"/>
              <a:gd name="connsiteX1721" fmla="*/ 558279 w 682417"/>
              <a:gd name="connsiteY1721" fmla="*/ 69939 h 798267"/>
              <a:gd name="connsiteX1722" fmla="*/ 563385 w 682417"/>
              <a:gd name="connsiteY1722" fmla="*/ 121897 h 798267"/>
              <a:gd name="connsiteX1723" fmla="*/ 559441 w 682417"/>
              <a:gd name="connsiteY1723" fmla="*/ 117745 h 798267"/>
              <a:gd name="connsiteX1724" fmla="*/ 557536 w 682417"/>
              <a:gd name="connsiteY1724" fmla="*/ 115106 h 798267"/>
              <a:gd name="connsiteX1725" fmla="*/ 556193 w 682417"/>
              <a:gd name="connsiteY1725" fmla="*/ 122993 h 798267"/>
              <a:gd name="connsiteX1726" fmla="*/ 563385 w 682417"/>
              <a:gd name="connsiteY1726" fmla="*/ 121821 h 798267"/>
              <a:gd name="connsiteX1727" fmla="*/ 571129 w 682417"/>
              <a:gd name="connsiteY1727" fmla="*/ 42049 h 798267"/>
              <a:gd name="connsiteX1728" fmla="*/ 569224 w 682417"/>
              <a:gd name="connsiteY1728" fmla="*/ 46374 h 798267"/>
              <a:gd name="connsiteX1729" fmla="*/ 571138 w 682417"/>
              <a:gd name="connsiteY1729" fmla="*/ 41973 h 798267"/>
              <a:gd name="connsiteX1730" fmla="*/ 592274 w 682417"/>
              <a:gd name="connsiteY1730" fmla="*/ 74625 h 798267"/>
              <a:gd name="connsiteX1731" fmla="*/ 596027 w 682417"/>
              <a:gd name="connsiteY1731" fmla="*/ 72939 h 798267"/>
              <a:gd name="connsiteX1732" fmla="*/ 593779 w 682417"/>
              <a:gd name="connsiteY1732" fmla="*/ 72558 h 798267"/>
              <a:gd name="connsiteX1733" fmla="*/ 592284 w 682417"/>
              <a:gd name="connsiteY1733" fmla="*/ 74549 h 798267"/>
              <a:gd name="connsiteX1734" fmla="*/ 584873 w 682417"/>
              <a:gd name="connsiteY1734" fmla="*/ 97713 h 798267"/>
              <a:gd name="connsiteX1735" fmla="*/ 583387 w 682417"/>
              <a:gd name="connsiteY1735" fmla="*/ 92827 h 798267"/>
              <a:gd name="connsiteX1736" fmla="*/ 584883 w 682417"/>
              <a:gd name="connsiteY1736" fmla="*/ 97637 h 798267"/>
              <a:gd name="connsiteX1737" fmla="*/ 572767 w 682417"/>
              <a:gd name="connsiteY1737" fmla="*/ 128117 h 798267"/>
              <a:gd name="connsiteX1738" fmla="*/ 575015 w 682417"/>
              <a:gd name="connsiteY1738" fmla="*/ 128498 h 798267"/>
              <a:gd name="connsiteX1739" fmla="*/ 575405 w 682417"/>
              <a:gd name="connsiteY1739" fmla="*/ 126250 h 798267"/>
              <a:gd name="connsiteX1740" fmla="*/ 573148 w 682417"/>
              <a:gd name="connsiteY1740" fmla="*/ 125869 h 798267"/>
              <a:gd name="connsiteX1741" fmla="*/ 572776 w 682417"/>
              <a:gd name="connsiteY1741" fmla="*/ 128041 h 798267"/>
              <a:gd name="connsiteX1742" fmla="*/ 574224 w 682417"/>
              <a:gd name="connsiteY1742" fmla="*/ 139966 h 798267"/>
              <a:gd name="connsiteX1743" fmla="*/ 574224 w 682417"/>
              <a:gd name="connsiteY1743" fmla="*/ 139966 h 798267"/>
              <a:gd name="connsiteX1744" fmla="*/ 578034 w 682417"/>
              <a:gd name="connsiteY1744" fmla="*/ 131327 h 798267"/>
              <a:gd name="connsiteX1745" fmla="*/ 574815 w 682417"/>
              <a:gd name="connsiteY1745" fmla="*/ 136585 h 798267"/>
              <a:gd name="connsiteX1746" fmla="*/ 578025 w 682417"/>
              <a:gd name="connsiteY1746" fmla="*/ 131299 h 798267"/>
              <a:gd name="connsiteX1747" fmla="*/ 594455 w 682417"/>
              <a:gd name="connsiteY1747" fmla="*/ 102724 h 798267"/>
              <a:gd name="connsiteX1748" fmla="*/ 589198 w 682417"/>
              <a:gd name="connsiteY1748" fmla="*/ 99504 h 798267"/>
              <a:gd name="connsiteX1749" fmla="*/ 585435 w 682417"/>
              <a:gd name="connsiteY1749" fmla="*/ 101190 h 798267"/>
              <a:gd name="connsiteX1750" fmla="*/ 584673 w 682417"/>
              <a:gd name="connsiteY1750" fmla="*/ 105695 h 798267"/>
              <a:gd name="connsiteX1751" fmla="*/ 577548 w 682417"/>
              <a:gd name="connsiteY1751" fmla="*/ 99857 h 798267"/>
              <a:gd name="connsiteX1752" fmla="*/ 577901 w 682417"/>
              <a:gd name="connsiteY1752" fmla="*/ 104552 h 798267"/>
              <a:gd name="connsiteX1753" fmla="*/ 582225 w 682417"/>
              <a:gd name="connsiteY1753" fmla="*/ 106457 h 798267"/>
              <a:gd name="connsiteX1754" fmla="*/ 577320 w 682417"/>
              <a:gd name="connsiteY1754" fmla="*/ 114897 h 798267"/>
              <a:gd name="connsiteX1755" fmla="*/ 585759 w 682417"/>
              <a:gd name="connsiteY1755" fmla="*/ 119802 h 798267"/>
              <a:gd name="connsiteX1756" fmla="*/ 587264 w 682417"/>
              <a:gd name="connsiteY1756" fmla="*/ 117745 h 798267"/>
              <a:gd name="connsiteX1757" fmla="*/ 585035 w 682417"/>
              <a:gd name="connsiteY1757" fmla="*/ 110410 h 798267"/>
              <a:gd name="connsiteX1758" fmla="*/ 582016 w 682417"/>
              <a:gd name="connsiteY1758" fmla="*/ 114535 h 798267"/>
              <a:gd name="connsiteX1759" fmla="*/ 581273 w 682417"/>
              <a:gd name="connsiteY1759" fmla="*/ 112087 h 798267"/>
              <a:gd name="connsiteX1760" fmla="*/ 585607 w 682417"/>
              <a:gd name="connsiteY1760" fmla="*/ 107029 h 798267"/>
              <a:gd name="connsiteX1761" fmla="*/ 587664 w 682417"/>
              <a:gd name="connsiteY1761" fmla="*/ 108534 h 798267"/>
              <a:gd name="connsiteX1762" fmla="*/ 589369 w 682417"/>
              <a:gd name="connsiteY1762" fmla="*/ 105343 h 798267"/>
              <a:gd name="connsiteX1763" fmla="*/ 592369 w 682417"/>
              <a:gd name="connsiteY1763" fmla="*/ 108200 h 798267"/>
              <a:gd name="connsiteX1764" fmla="*/ 594455 w 682417"/>
              <a:gd name="connsiteY1764" fmla="*/ 102724 h 798267"/>
              <a:gd name="connsiteX1765" fmla="*/ 606838 w 682417"/>
              <a:gd name="connsiteY1765" fmla="*/ 97866 h 798267"/>
              <a:gd name="connsiteX1766" fmla="*/ 592922 w 682417"/>
              <a:gd name="connsiteY1766" fmla="*/ 97866 h 798267"/>
              <a:gd name="connsiteX1767" fmla="*/ 596732 w 682417"/>
              <a:gd name="connsiteY1767" fmla="*/ 96189 h 798267"/>
              <a:gd name="connsiteX1768" fmla="*/ 598408 w 682417"/>
              <a:gd name="connsiteY1768" fmla="*/ 99952 h 798267"/>
              <a:gd name="connsiteX1769" fmla="*/ 598989 w 682417"/>
              <a:gd name="connsiteY1769" fmla="*/ 96570 h 798267"/>
              <a:gd name="connsiteX1770" fmla="*/ 602151 w 682417"/>
              <a:gd name="connsiteY1770" fmla="*/ 105229 h 798267"/>
              <a:gd name="connsiteX1771" fmla="*/ 603104 w 682417"/>
              <a:gd name="connsiteY1771" fmla="*/ 99590 h 798267"/>
              <a:gd name="connsiteX1772" fmla="*/ 606876 w 682417"/>
              <a:gd name="connsiteY1772" fmla="*/ 97885 h 798267"/>
              <a:gd name="connsiteX1773" fmla="*/ 487289 w 682417"/>
              <a:gd name="connsiteY1773" fmla="*/ 379025 h 798267"/>
              <a:gd name="connsiteX1774" fmla="*/ 485975 w 682417"/>
              <a:gd name="connsiteY1774" fmla="*/ 379977 h 798267"/>
              <a:gd name="connsiteX1775" fmla="*/ 487651 w 682417"/>
              <a:gd name="connsiteY1775" fmla="*/ 383787 h 798267"/>
              <a:gd name="connsiteX1776" fmla="*/ 487289 w 682417"/>
              <a:gd name="connsiteY1776" fmla="*/ 379025 h 798267"/>
              <a:gd name="connsiteX1777" fmla="*/ 491185 w 682417"/>
              <a:gd name="connsiteY1777" fmla="*/ 397046 h 798267"/>
              <a:gd name="connsiteX1778" fmla="*/ 491738 w 682417"/>
              <a:gd name="connsiteY1778" fmla="*/ 400628 h 798267"/>
              <a:gd name="connsiteX1779" fmla="*/ 491185 w 682417"/>
              <a:gd name="connsiteY1779" fmla="*/ 397046 h 798267"/>
              <a:gd name="connsiteX1780" fmla="*/ 511121 w 682417"/>
              <a:gd name="connsiteY1780" fmla="*/ 388845 h 798267"/>
              <a:gd name="connsiteX1781" fmla="*/ 509807 w 682417"/>
              <a:gd name="connsiteY1781" fmla="*/ 389798 h 798267"/>
              <a:gd name="connsiteX1782" fmla="*/ 509426 w 682417"/>
              <a:gd name="connsiteY1782" fmla="*/ 392045 h 798267"/>
              <a:gd name="connsiteX1783" fmla="*/ 514121 w 682417"/>
              <a:gd name="connsiteY1783" fmla="*/ 391684 h 798267"/>
              <a:gd name="connsiteX1784" fmla="*/ 511121 w 682417"/>
              <a:gd name="connsiteY1784" fmla="*/ 388874 h 798267"/>
              <a:gd name="connsiteX1785" fmla="*/ 520303 w 682417"/>
              <a:gd name="connsiteY1785" fmla="*/ 334753 h 798267"/>
              <a:gd name="connsiteX1786" fmla="*/ 512026 w 682417"/>
              <a:gd name="connsiteY1786" fmla="*/ 335705 h 798267"/>
              <a:gd name="connsiteX1787" fmla="*/ 510721 w 682417"/>
              <a:gd name="connsiteY1787" fmla="*/ 336658 h 798267"/>
              <a:gd name="connsiteX1788" fmla="*/ 512626 w 682417"/>
              <a:gd name="connsiteY1788" fmla="*/ 339296 h 798267"/>
              <a:gd name="connsiteX1789" fmla="*/ 520303 w 682417"/>
              <a:gd name="connsiteY1789" fmla="*/ 334781 h 798267"/>
              <a:gd name="connsiteX1790" fmla="*/ 535486 w 682417"/>
              <a:gd name="connsiteY1790" fmla="*/ 347764 h 798267"/>
              <a:gd name="connsiteX1791" fmla="*/ 536258 w 682417"/>
              <a:gd name="connsiteY1791" fmla="*/ 343249 h 798267"/>
              <a:gd name="connsiteX1792" fmla="*/ 535486 w 682417"/>
              <a:gd name="connsiteY1792" fmla="*/ 347792 h 798267"/>
              <a:gd name="connsiteX1793" fmla="*/ 530247 w 682417"/>
              <a:gd name="connsiteY1793" fmla="*/ 337601 h 798267"/>
              <a:gd name="connsiteX1794" fmla="*/ 529866 w 682417"/>
              <a:gd name="connsiteY1794" fmla="*/ 339848 h 798267"/>
              <a:gd name="connsiteX1795" fmla="*/ 521408 w 682417"/>
              <a:gd name="connsiteY1795" fmla="*/ 341896 h 798267"/>
              <a:gd name="connsiteX1796" fmla="*/ 524789 w 682417"/>
              <a:gd name="connsiteY1796" fmla="*/ 342468 h 798267"/>
              <a:gd name="connsiteX1797" fmla="*/ 527790 w 682417"/>
              <a:gd name="connsiteY1797" fmla="*/ 345325 h 798267"/>
              <a:gd name="connsiteX1798" fmla="*/ 530247 w 682417"/>
              <a:gd name="connsiteY1798" fmla="*/ 337629 h 798267"/>
              <a:gd name="connsiteX1799" fmla="*/ 553964 w 682417"/>
              <a:gd name="connsiteY1799" fmla="*/ 259305 h 798267"/>
              <a:gd name="connsiteX1800" fmla="*/ 550231 w 682417"/>
              <a:gd name="connsiteY1800" fmla="*/ 254038 h 798267"/>
              <a:gd name="connsiteX1801" fmla="*/ 550755 w 682417"/>
              <a:gd name="connsiteY1801" fmla="*/ 264515 h 798267"/>
              <a:gd name="connsiteX1802" fmla="*/ 553964 w 682417"/>
              <a:gd name="connsiteY1802" fmla="*/ 259334 h 798267"/>
              <a:gd name="connsiteX1803" fmla="*/ 561480 w 682417"/>
              <a:gd name="connsiteY1803" fmla="*/ 255981 h 798267"/>
              <a:gd name="connsiteX1804" fmla="*/ 559575 w 682417"/>
              <a:gd name="connsiteY1804" fmla="*/ 260296 h 798267"/>
              <a:gd name="connsiteX1805" fmla="*/ 561480 w 682417"/>
              <a:gd name="connsiteY1805" fmla="*/ 255981 h 798267"/>
              <a:gd name="connsiteX1806" fmla="*/ 567509 w 682417"/>
              <a:gd name="connsiteY1806" fmla="*/ 247723 h 798267"/>
              <a:gd name="connsiteX1807" fmla="*/ 565261 w 682417"/>
              <a:gd name="connsiteY1807" fmla="*/ 247342 h 798267"/>
              <a:gd name="connsiteX1808" fmla="*/ 564880 w 682417"/>
              <a:gd name="connsiteY1808" fmla="*/ 249599 h 798267"/>
              <a:gd name="connsiteX1809" fmla="*/ 567128 w 682417"/>
              <a:gd name="connsiteY1809" fmla="*/ 249980 h 798267"/>
              <a:gd name="connsiteX1810" fmla="*/ 581882 w 682417"/>
              <a:gd name="connsiteY1810" fmla="*/ 224644 h 798267"/>
              <a:gd name="connsiteX1811" fmla="*/ 576805 w 682417"/>
              <a:gd name="connsiteY1811" fmla="*/ 227263 h 798267"/>
              <a:gd name="connsiteX1812" fmla="*/ 575853 w 682417"/>
              <a:gd name="connsiteY1812" fmla="*/ 225949 h 798267"/>
              <a:gd name="connsiteX1813" fmla="*/ 576215 w 682417"/>
              <a:gd name="connsiteY1813" fmla="*/ 230644 h 798267"/>
              <a:gd name="connsiteX1814" fmla="*/ 581882 w 682417"/>
              <a:gd name="connsiteY1814" fmla="*/ 224644 h 798267"/>
              <a:gd name="connsiteX1815" fmla="*/ 609905 w 682417"/>
              <a:gd name="connsiteY1815" fmla="*/ 216652 h 798267"/>
              <a:gd name="connsiteX1816" fmla="*/ 607657 w 682417"/>
              <a:gd name="connsiteY1816" fmla="*/ 216271 h 798267"/>
              <a:gd name="connsiteX1817" fmla="*/ 606523 w 682417"/>
              <a:gd name="connsiteY1817" fmla="*/ 216071 h 798267"/>
              <a:gd name="connsiteX1818" fmla="*/ 608428 w 682417"/>
              <a:gd name="connsiteY1818" fmla="*/ 218710 h 798267"/>
              <a:gd name="connsiteX1819" fmla="*/ 609905 w 682417"/>
              <a:gd name="connsiteY1819" fmla="*/ 216662 h 798267"/>
              <a:gd name="connsiteX1820" fmla="*/ 660387 w 682417"/>
              <a:gd name="connsiteY1820" fmla="*/ 103486 h 798267"/>
              <a:gd name="connsiteX1821" fmla="*/ 667169 w 682417"/>
              <a:gd name="connsiteY1821" fmla="*/ 97685 h 798267"/>
              <a:gd name="connsiteX1822" fmla="*/ 660406 w 682417"/>
              <a:gd name="connsiteY1822" fmla="*/ 103495 h 798267"/>
              <a:gd name="connsiteX1823" fmla="*/ 662292 w 682417"/>
              <a:gd name="connsiteY1823" fmla="*/ 92218 h 798267"/>
              <a:gd name="connsiteX1824" fmla="*/ 657787 w 682417"/>
              <a:gd name="connsiteY1824" fmla="*/ 91456 h 798267"/>
              <a:gd name="connsiteX1825" fmla="*/ 662321 w 682417"/>
              <a:gd name="connsiteY1825" fmla="*/ 92246 h 798267"/>
              <a:gd name="connsiteX1826" fmla="*/ 650862 w 682417"/>
              <a:gd name="connsiteY1826" fmla="*/ 91427 h 798267"/>
              <a:gd name="connsiteX1827" fmla="*/ 653120 w 682417"/>
              <a:gd name="connsiteY1827" fmla="*/ 91817 h 798267"/>
              <a:gd name="connsiteX1828" fmla="*/ 654825 w 682417"/>
              <a:gd name="connsiteY1828" fmla="*/ 88627 h 798267"/>
              <a:gd name="connsiteX1829" fmla="*/ 651434 w 682417"/>
              <a:gd name="connsiteY1829" fmla="*/ 88055 h 798267"/>
              <a:gd name="connsiteX1830" fmla="*/ 650653 w 682417"/>
              <a:gd name="connsiteY1830" fmla="*/ 99514 h 798267"/>
              <a:gd name="connsiteX1831" fmla="*/ 654463 w 682417"/>
              <a:gd name="connsiteY1831" fmla="*/ 97828 h 798267"/>
              <a:gd name="connsiteX1832" fmla="*/ 656539 w 682417"/>
              <a:gd name="connsiteY1832" fmla="*/ 92389 h 798267"/>
              <a:gd name="connsiteX1833" fmla="*/ 654291 w 682417"/>
              <a:gd name="connsiteY1833" fmla="*/ 92008 h 798267"/>
              <a:gd name="connsiteX1834" fmla="*/ 652777 w 682417"/>
              <a:gd name="connsiteY1834" fmla="*/ 94065 h 798267"/>
              <a:gd name="connsiteX1835" fmla="*/ 652586 w 682417"/>
              <a:gd name="connsiteY1835" fmla="*/ 95199 h 798267"/>
              <a:gd name="connsiteX1836" fmla="*/ 649948 w 682417"/>
              <a:gd name="connsiteY1836" fmla="*/ 97104 h 798267"/>
              <a:gd name="connsiteX1837" fmla="*/ 650643 w 682417"/>
              <a:gd name="connsiteY1837" fmla="*/ 99523 h 798267"/>
              <a:gd name="connsiteX1838" fmla="*/ 648157 w 682417"/>
              <a:gd name="connsiteY1838" fmla="*/ 66624 h 798267"/>
              <a:gd name="connsiteX1839" fmla="*/ 648157 w 682417"/>
              <a:gd name="connsiteY1839" fmla="*/ 66624 h 798267"/>
              <a:gd name="connsiteX1840" fmla="*/ 647481 w 682417"/>
              <a:gd name="connsiteY1840" fmla="*/ 104724 h 798267"/>
              <a:gd name="connsiteX1841" fmla="*/ 645776 w 682417"/>
              <a:gd name="connsiteY1841" fmla="*/ 107915 h 798267"/>
              <a:gd name="connsiteX1842" fmla="*/ 651996 w 682417"/>
              <a:gd name="connsiteY1842" fmla="*/ 105486 h 798267"/>
              <a:gd name="connsiteX1843" fmla="*/ 645614 w 682417"/>
              <a:gd name="connsiteY1843" fmla="*/ 102085 h 798267"/>
              <a:gd name="connsiteX1844" fmla="*/ 647433 w 682417"/>
              <a:gd name="connsiteY1844" fmla="*/ 104771 h 798267"/>
              <a:gd name="connsiteX1845" fmla="*/ 645204 w 682417"/>
              <a:gd name="connsiteY1845" fmla="*/ 111296 h 798267"/>
              <a:gd name="connsiteX1846" fmla="*/ 648395 w 682417"/>
              <a:gd name="connsiteY1846" fmla="*/ 113001 h 798267"/>
              <a:gd name="connsiteX1847" fmla="*/ 647081 w 682417"/>
              <a:gd name="connsiteY1847" fmla="*/ 113954 h 798267"/>
              <a:gd name="connsiteX1848" fmla="*/ 650291 w 682417"/>
              <a:gd name="connsiteY1848" fmla="*/ 108705 h 798267"/>
              <a:gd name="connsiteX1849" fmla="*/ 645157 w 682417"/>
              <a:gd name="connsiteY1849" fmla="*/ 111344 h 798267"/>
              <a:gd name="connsiteX1850" fmla="*/ 631384 w 682417"/>
              <a:gd name="connsiteY1850" fmla="*/ 83445 h 798267"/>
              <a:gd name="connsiteX1851" fmla="*/ 635508 w 682417"/>
              <a:gd name="connsiteY1851" fmla="*/ 86464 h 798267"/>
              <a:gd name="connsiteX1852" fmla="*/ 633832 w 682417"/>
              <a:gd name="connsiteY1852" fmla="*/ 82702 h 798267"/>
              <a:gd name="connsiteX1853" fmla="*/ 633660 w 682417"/>
              <a:gd name="connsiteY1853" fmla="*/ 76873 h 798267"/>
              <a:gd name="connsiteX1854" fmla="*/ 631336 w 682417"/>
              <a:gd name="connsiteY1854" fmla="*/ 83493 h 798267"/>
              <a:gd name="connsiteX1855" fmla="*/ 617392 w 682417"/>
              <a:gd name="connsiteY1855" fmla="*/ 97361 h 798267"/>
              <a:gd name="connsiteX1856" fmla="*/ 617782 w 682417"/>
              <a:gd name="connsiteY1856" fmla="*/ 95104 h 798267"/>
              <a:gd name="connsiteX1857" fmla="*/ 617030 w 682417"/>
              <a:gd name="connsiteY1857" fmla="*/ 92656 h 798267"/>
              <a:gd name="connsiteX1858" fmla="*/ 617392 w 682417"/>
              <a:gd name="connsiteY1858" fmla="*/ 97361 h 798267"/>
              <a:gd name="connsiteX1859" fmla="*/ 613248 w 682417"/>
              <a:gd name="connsiteY1859" fmla="*/ 101295 h 798267"/>
              <a:gd name="connsiteX1860" fmla="*/ 615677 w 682417"/>
              <a:gd name="connsiteY1860" fmla="*/ 107505 h 798267"/>
              <a:gd name="connsiteX1861" fmla="*/ 616439 w 682417"/>
              <a:gd name="connsiteY1861" fmla="*/ 102990 h 798267"/>
              <a:gd name="connsiteX1862" fmla="*/ 613248 w 682417"/>
              <a:gd name="connsiteY1862" fmla="*/ 101295 h 798267"/>
              <a:gd name="connsiteX1863" fmla="*/ 611343 w 682417"/>
              <a:gd name="connsiteY1863" fmla="*/ 119516 h 798267"/>
              <a:gd name="connsiteX1864" fmla="*/ 607028 w 682417"/>
              <a:gd name="connsiteY1864" fmla="*/ 117611 h 798267"/>
              <a:gd name="connsiteX1865" fmla="*/ 608933 w 682417"/>
              <a:gd name="connsiteY1865" fmla="*/ 120250 h 798267"/>
              <a:gd name="connsiteX1866" fmla="*/ 610838 w 682417"/>
              <a:gd name="connsiteY1866" fmla="*/ 122878 h 798267"/>
              <a:gd name="connsiteX1867" fmla="*/ 612800 w 682417"/>
              <a:gd name="connsiteY1867" fmla="*/ 199755 h 798267"/>
              <a:gd name="connsiteX1868" fmla="*/ 613181 w 682417"/>
              <a:gd name="connsiteY1868" fmla="*/ 197497 h 798267"/>
              <a:gd name="connsiteX1869" fmla="*/ 612772 w 682417"/>
              <a:gd name="connsiteY1869" fmla="*/ 199755 h 798267"/>
              <a:gd name="connsiteX1870" fmla="*/ 613572 w 682417"/>
              <a:gd name="connsiteY1870" fmla="*/ 126850 h 798267"/>
              <a:gd name="connsiteX1871" fmla="*/ 612429 w 682417"/>
              <a:gd name="connsiteY1871" fmla="*/ 133604 h 798267"/>
              <a:gd name="connsiteX1872" fmla="*/ 614342 w 682417"/>
              <a:gd name="connsiteY1872" fmla="*/ 127966 h 798267"/>
              <a:gd name="connsiteX1873" fmla="*/ 613543 w 682417"/>
              <a:gd name="connsiteY1873" fmla="*/ 126850 h 798267"/>
              <a:gd name="connsiteX1874" fmla="*/ 615867 w 682417"/>
              <a:gd name="connsiteY1874" fmla="*/ 113325 h 798267"/>
              <a:gd name="connsiteX1875" fmla="*/ 617372 w 682417"/>
              <a:gd name="connsiteY1875" fmla="*/ 111258 h 798267"/>
              <a:gd name="connsiteX1876" fmla="*/ 616058 w 682417"/>
              <a:gd name="connsiteY1876" fmla="*/ 112210 h 798267"/>
              <a:gd name="connsiteX1877" fmla="*/ 614382 w 682417"/>
              <a:gd name="connsiteY1877" fmla="*/ 108400 h 798267"/>
              <a:gd name="connsiteX1878" fmla="*/ 609857 w 682417"/>
              <a:gd name="connsiteY1878" fmla="*/ 114592 h 798267"/>
              <a:gd name="connsiteX1879" fmla="*/ 615296 w 682417"/>
              <a:gd name="connsiteY1879" fmla="*/ 116678 h 798267"/>
              <a:gd name="connsiteX1880" fmla="*/ 615839 w 682417"/>
              <a:gd name="connsiteY1880" fmla="*/ 113325 h 798267"/>
              <a:gd name="connsiteX1881" fmla="*/ 621468 w 682417"/>
              <a:gd name="connsiteY1881" fmla="*/ 189630 h 798267"/>
              <a:gd name="connsiteX1882" fmla="*/ 622802 w 682417"/>
              <a:gd name="connsiteY1882" fmla="*/ 188677 h 798267"/>
              <a:gd name="connsiteX1883" fmla="*/ 621087 w 682417"/>
              <a:gd name="connsiteY1883" fmla="*/ 191868 h 798267"/>
              <a:gd name="connsiteX1884" fmla="*/ 627469 w 682417"/>
              <a:gd name="connsiteY1884" fmla="*/ 195268 h 798267"/>
              <a:gd name="connsiteX1885" fmla="*/ 629374 w 682417"/>
              <a:gd name="connsiteY1885" fmla="*/ 190954 h 798267"/>
              <a:gd name="connsiteX1886" fmla="*/ 625802 w 682417"/>
              <a:gd name="connsiteY1886" fmla="*/ 191506 h 798267"/>
              <a:gd name="connsiteX1887" fmla="*/ 625250 w 682417"/>
              <a:gd name="connsiteY1887" fmla="*/ 187934 h 798267"/>
              <a:gd name="connsiteX1888" fmla="*/ 621487 w 682417"/>
              <a:gd name="connsiteY1888" fmla="*/ 189630 h 798267"/>
              <a:gd name="connsiteX1889" fmla="*/ 632584 w 682417"/>
              <a:gd name="connsiteY1889" fmla="*/ 117316 h 798267"/>
              <a:gd name="connsiteX1890" fmla="*/ 633355 w 682417"/>
              <a:gd name="connsiteY1890" fmla="*/ 112811 h 798267"/>
              <a:gd name="connsiteX1891" fmla="*/ 631288 w 682417"/>
              <a:gd name="connsiteY1891" fmla="*/ 111296 h 798267"/>
              <a:gd name="connsiteX1892" fmla="*/ 632241 w 682417"/>
              <a:gd name="connsiteY1892" fmla="*/ 105667 h 798267"/>
              <a:gd name="connsiteX1893" fmla="*/ 627536 w 682417"/>
              <a:gd name="connsiteY1893" fmla="*/ 106029 h 798267"/>
              <a:gd name="connsiteX1894" fmla="*/ 629031 w 682417"/>
              <a:gd name="connsiteY1894" fmla="*/ 110915 h 798267"/>
              <a:gd name="connsiteX1895" fmla="*/ 620954 w 682417"/>
              <a:gd name="connsiteY1895" fmla="*/ 110706 h 798267"/>
              <a:gd name="connsiteX1896" fmla="*/ 626040 w 682417"/>
              <a:gd name="connsiteY1896" fmla="*/ 108096 h 798267"/>
              <a:gd name="connsiteX1897" fmla="*/ 623040 w 682417"/>
              <a:gd name="connsiteY1897" fmla="*/ 105238 h 798267"/>
              <a:gd name="connsiteX1898" fmla="*/ 621135 w 682417"/>
              <a:gd name="connsiteY1898" fmla="*/ 102600 h 798267"/>
              <a:gd name="connsiteX1899" fmla="*/ 619230 w 682417"/>
              <a:gd name="connsiteY1899" fmla="*/ 106915 h 798267"/>
              <a:gd name="connsiteX1900" fmla="*/ 620535 w 682417"/>
              <a:gd name="connsiteY1900" fmla="*/ 112934 h 798267"/>
              <a:gd name="connsiteX1901" fmla="*/ 618049 w 682417"/>
              <a:gd name="connsiteY1901" fmla="*/ 127584 h 798267"/>
              <a:gd name="connsiteX1902" fmla="*/ 621259 w 682417"/>
              <a:gd name="connsiteY1902" fmla="*/ 122336 h 798267"/>
              <a:gd name="connsiteX1903" fmla="*/ 623516 w 682417"/>
              <a:gd name="connsiteY1903" fmla="*/ 122717 h 798267"/>
              <a:gd name="connsiteX1904" fmla="*/ 621811 w 682417"/>
              <a:gd name="connsiteY1904" fmla="*/ 125907 h 798267"/>
              <a:gd name="connsiteX1905" fmla="*/ 629888 w 682417"/>
              <a:gd name="connsiteY1905" fmla="*/ 126117 h 798267"/>
              <a:gd name="connsiteX1906" fmla="*/ 631793 w 682417"/>
              <a:gd name="connsiteY1906" fmla="*/ 121793 h 798267"/>
              <a:gd name="connsiteX1907" fmla="*/ 632555 w 682417"/>
              <a:gd name="connsiteY1907" fmla="*/ 117316 h 798267"/>
              <a:gd name="connsiteX1908" fmla="*/ 641633 w 682417"/>
              <a:gd name="connsiteY1908" fmla="*/ 97961 h 798267"/>
              <a:gd name="connsiteX1909" fmla="*/ 636927 w 682417"/>
              <a:gd name="connsiteY1909" fmla="*/ 98323 h 798267"/>
              <a:gd name="connsiteX1910" fmla="*/ 636194 w 682417"/>
              <a:gd name="connsiteY1910" fmla="*/ 95885 h 798267"/>
              <a:gd name="connsiteX1911" fmla="*/ 633336 w 682417"/>
              <a:gd name="connsiteY1911" fmla="*/ 98875 h 798267"/>
              <a:gd name="connsiteX1912" fmla="*/ 641633 w 682417"/>
              <a:gd name="connsiteY1912" fmla="*/ 97961 h 798267"/>
              <a:gd name="connsiteX1913" fmla="*/ 646843 w 682417"/>
              <a:gd name="connsiteY1913" fmla="*/ 115106 h 798267"/>
              <a:gd name="connsiteX1914" fmla="*/ 641785 w 682417"/>
              <a:gd name="connsiteY1914" fmla="*/ 110772 h 798267"/>
              <a:gd name="connsiteX1915" fmla="*/ 646843 w 682417"/>
              <a:gd name="connsiteY1915" fmla="*/ 115106 h 798267"/>
              <a:gd name="connsiteX1916" fmla="*/ 653691 w 682417"/>
              <a:gd name="connsiteY1916" fmla="*/ 149891 h 798267"/>
              <a:gd name="connsiteX1917" fmla="*/ 649186 w 682417"/>
              <a:gd name="connsiteY1917" fmla="*/ 149120 h 798267"/>
              <a:gd name="connsiteX1918" fmla="*/ 649357 w 682417"/>
              <a:gd name="connsiteY1918" fmla="*/ 154949 h 798267"/>
              <a:gd name="connsiteX1919" fmla="*/ 653691 w 682417"/>
              <a:gd name="connsiteY1919" fmla="*/ 149891 h 798267"/>
              <a:gd name="connsiteX1920" fmla="*/ 651634 w 682417"/>
              <a:gd name="connsiteY1920" fmla="*/ 148386 h 798267"/>
              <a:gd name="connsiteX1921" fmla="*/ 651634 w 682417"/>
              <a:gd name="connsiteY1921" fmla="*/ 148386 h 798267"/>
              <a:gd name="connsiteX1922" fmla="*/ 654863 w 682417"/>
              <a:gd name="connsiteY1922" fmla="*/ 136175 h 798267"/>
              <a:gd name="connsiteX1923" fmla="*/ 650167 w 682417"/>
              <a:gd name="connsiteY1923" fmla="*/ 136537 h 798267"/>
              <a:gd name="connsiteX1924" fmla="*/ 645290 w 682417"/>
              <a:gd name="connsiteY1924" fmla="*/ 131070 h 798267"/>
              <a:gd name="connsiteX1925" fmla="*/ 648843 w 682417"/>
              <a:gd name="connsiteY1925" fmla="*/ 137471 h 798267"/>
              <a:gd name="connsiteX1926" fmla="*/ 654825 w 682417"/>
              <a:gd name="connsiteY1926" fmla="*/ 136175 h 798267"/>
              <a:gd name="connsiteX1927" fmla="*/ 655434 w 682417"/>
              <a:gd name="connsiteY1927" fmla="*/ 132794 h 798267"/>
              <a:gd name="connsiteX1928" fmla="*/ 650739 w 682417"/>
              <a:gd name="connsiteY1928" fmla="*/ 133156 h 798267"/>
              <a:gd name="connsiteX1929" fmla="*/ 655434 w 682417"/>
              <a:gd name="connsiteY1929" fmla="*/ 132794 h 798267"/>
              <a:gd name="connsiteX1930" fmla="*/ 662607 w 682417"/>
              <a:gd name="connsiteY1930" fmla="*/ 124736 h 798267"/>
              <a:gd name="connsiteX1931" fmla="*/ 657901 w 682417"/>
              <a:gd name="connsiteY1931" fmla="*/ 125098 h 798267"/>
              <a:gd name="connsiteX1932" fmla="*/ 655644 w 682417"/>
              <a:gd name="connsiteY1932" fmla="*/ 124717 h 798267"/>
              <a:gd name="connsiteX1933" fmla="*/ 656387 w 682417"/>
              <a:gd name="connsiteY1933" fmla="*/ 127155 h 798267"/>
              <a:gd name="connsiteX1934" fmla="*/ 662607 w 682417"/>
              <a:gd name="connsiteY1934" fmla="*/ 124736 h 798267"/>
              <a:gd name="connsiteX1935" fmla="*/ 667703 w 682417"/>
              <a:gd name="connsiteY1935" fmla="*/ 115211 h 798267"/>
              <a:gd name="connsiteX1936" fmla="*/ 663188 w 682417"/>
              <a:gd name="connsiteY1936" fmla="*/ 114449 h 798267"/>
              <a:gd name="connsiteX1937" fmla="*/ 663750 w 682417"/>
              <a:gd name="connsiteY1937" fmla="*/ 118021 h 798267"/>
              <a:gd name="connsiteX1938" fmla="*/ 667703 w 682417"/>
              <a:gd name="connsiteY1938" fmla="*/ 115163 h 798267"/>
              <a:gd name="connsiteX1939" fmla="*/ 670560 w 682417"/>
              <a:gd name="connsiteY1939" fmla="*/ 91398 h 798267"/>
              <a:gd name="connsiteX1940" fmla="*/ 666055 w 682417"/>
              <a:gd name="connsiteY1940" fmla="*/ 90627 h 798267"/>
              <a:gd name="connsiteX1941" fmla="*/ 670922 w 682417"/>
              <a:gd name="connsiteY1941" fmla="*/ 96094 h 798267"/>
              <a:gd name="connsiteX1942" fmla="*/ 670589 w 682417"/>
              <a:gd name="connsiteY1942" fmla="*/ 91294 h 798267"/>
              <a:gd name="connsiteX1943" fmla="*/ 660816 w 682417"/>
              <a:gd name="connsiteY1943" fmla="*/ 80473 h 798267"/>
              <a:gd name="connsiteX1944" fmla="*/ 660435 w 682417"/>
              <a:gd name="connsiteY1944" fmla="*/ 82721 h 798267"/>
              <a:gd name="connsiteX1945" fmla="*/ 661807 w 682417"/>
              <a:gd name="connsiteY1945" fmla="*/ 81759 h 798267"/>
              <a:gd name="connsiteX1946" fmla="*/ 660845 w 682417"/>
              <a:gd name="connsiteY1946" fmla="*/ 80387 h 798267"/>
              <a:gd name="connsiteX1947" fmla="*/ 50940 w 682417"/>
              <a:gd name="connsiteY1947" fmla="*/ 586717 h 798267"/>
              <a:gd name="connsiteX1948" fmla="*/ 52083 w 682417"/>
              <a:gd name="connsiteY1948" fmla="*/ 579955 h 798267"/>
              <a:gd name="connsiteX1949" fmla="*/ 50178 w 682417"/>
              <a:gd name="connsiteY1949" fmla="*/ 584270 h 798267"/>
              <a:gd name="connsiteX1950" fmla="*/ 46977 w 682417"/>
              <a:gd name="connsiteY1950" fmla="*/ 582565 h 798267"/>
              <a:gd name="connsiteX1951" fmla="*/ 50940 w 682417"/>
              <a:gd name="connsiteY1951" fmla="*/ 586717 h 798267"/>
              <a:gd name="connsiteX1952" fmla="*/ 676008 w 682417"/>
              <a:gd name="connsiteY1952" fmla="*/ 100342 h 798267"/>
              <a:gd name="connsiteX1953" fmla="*/ 674313 w 682417"/>
              <a:gd name="connsiteY1953" fmla="*/ 103533 h 798267"/>
              <a:gd name="connsiteX1954" fmla="*/ 680333 w 682417"/>
              <a:gd name="connsiteY1954" fmla="*/ 102238 h 798267"/>
              <a:gd name="connsiteX1955" fmla="*/ 681457 w 682417"/>
              <a:gd name="connsiteY1955" fmla="*/ 102428 h 798267"/>
              <a:gd name="connsiteX1956" fmla="*/ 681838 w 682417"/>
              <a:gd name="connsiteY1956" fmla="*/ 100180 h 798267"/>
              <a:gd name="connsiteX1957" fmla="*/ 676008 w 682417"/>
              <a:gd name="connsiteY1957" fmla="*/ 100342 h 798267"/>
              <a:gd name="connsiteX1958" fmla="*/ 637280 w 682417"/>
              <a:gd name="connsiteY1958" fmla="*/ 171446 h 798267"/>
              <a:gd name="connsiteX1959" fmla="*/ 636518 w 682417"/>
              <a:gd name="connsiteY1959" fmla="*/ 175961 h 798267"/>
              <a:gd name="connsiteX1960" fmla="*/ 637832 w 682417"/>
              <a:gd name="connsiteY1960" fmla="*/ 175009 h 798267"/>
              <a:gd name="connsiteX1961" fmla="*/ 638194 w 682417"/>
              <a:gd name="connsiteY1961" fmla="*/ 179705 h 798267"/>
              <a:gd name="connsiteX1962" fmla="*/ 640842 w 682417"/>
              <a:gd name="connsiteY1962" fmla="*/ 177800 h 798267"/>
              <a:gd name="connsiteX1963" fmla="*/ 637280 w 682417"/>
              <a:gd name="connsiteY1963" fmla="*/ 171446 h 798267"/>
              <a:gd name="connsiteX1964" fmla="*/ 654082 w 682417"/>
              <a:gd name="connsiteY1964" fmla="*/ 79235 h 798267"/>
              <a:gd name="connsiteX1965" fmla="*/ 655787 w 682417"/>
              <a:gd name="connsiteY1965" fmla="*/ 76044 h 798267"/>
              <a:gd name="connsiteX1966" fmla="*/ 654082 w 682417"/>
              <a:gd name="connsiteY1966" fmla="*/ 79235 h 798267"/>
              <a:gd name="connsiteX1967" fmla="*/ 469363 w 682417"/>
              <a:gd name="connsiteY1967" fmla="*/ 402647 h 798267"/>
              <a:gd name="connsiteX1968" fmla="*/ 472926 w 682417"/>
              <a:gd name="connsiteY1968" fmla="*/ 409048 h 798267"/>
              <a:gd name="connsiteX1969" fmla="*/ 470991 w 682417"/>
              <a:gd name="connsiteY1969" fmla="*/ 414707 h 798267"/>
              <a:gd name="connsiteX1970" fmla="*/ 471773 w 682417"/>
              <a:gd name="connsiteY1970" fmla="*/ 415810 h 798267"/>
              <a:gd name="connsiteX1971" fmla="*/ 474031 w 682417"/>
              <a:gd name="connsiteY1971" fmla="*/ 416201 h 798267"/>
              <a:gd name="connsiteX1972" fmla="*/ 469363 w 682417"/>
              <a:gd name="connsiteY1972" fmla="*/ 402647 h 798267"/>
              <a:gd name="connsiteX1973" fmla="*/ 483251 w 682417"/>
              <a:gd name="connsiteY1973" fmla="*/ 149958 h 798267"/>
              <a:gd name="connsiteX1974" fmla="*/ 479879 w 682417"/>
              <a:gd name="connsiteY1974" fmla="*/ 149377 h 798267"/>
              <a:gd name="connsiteX1975" fmla="*/ 476582 w 682417"/>
              <a:gd name="connsiteY1975" fmla="*/ 148926 h 798267"/>
              <a:gd name="connsiteX1976" fmla="*/ 476498 w 682417"/>
              <a:gd name="connsiteY1976" fmla="*/ 148806 h 798267"/>
              <a:gd name="connsiteX1977" fmla="*/ 475736 w 682417"/>
              <a:gd name="connsiteY1977" fmla="*/ 153311 h 798267"/>
              <a:gd name="connsiteX1978" fmla="*/ 480431 w 682417"/>
              <a:gd name="connsiteY1978" fmla="*/ 152958 h 798267"/>
              <a:gd name="connsiteX1979" fmla="*/ 481755 w 682417"/>
              <a:gd name="connsiteY1979" fmla="*/ 152006 h 798267"/>
              <a:gd name="connsiteX1980" fmla="*/ 485127 w 682417"/>
              <a:gd name="connsiteY1980" fmla="*/ 152587 h 798267"/>
              <a:gd name="connsiteX1981" fmla="*/ 483251 w 682417"/>
              <a:gd name="connsiteY1981" fmla="*/ 149958 h 798267"/>
              <a:gd name="connsiteX1982" fmla="*/ 470992 w 682417"/>
              <a:gd name="connsiteY1982" fmla="*/ 30791 h 798267"/>
              <a:gd name="connsiteX1983" fmla="*/ 475498 w 682417"/>
              <a:gd name="connsiteY1983" fmla="*/ 31553 h 798267"/>
              <a:gd name="connsiteX1984" fmla="*/ 476241 w 682417"/>
              <a:gd name="connsiteY1984" fmla="*/ 33991 h 798267"/>
              <a:gd name="connsiteX1985" fmla="*/ 481898 w 682417"/>
              <a:gd name="connsiteY1985" fmla="*/ 28000 h 798267"/>
              <a:gd name="connsiteX1986" fmla="*/ 486042 w 682417"/>
              <a:gd name="connsiteY1986" fmla="*/ 24066 h 798267"/>
              <a:gd name="connsiteX1987" fmla="*/ 484137 w 682417"/>
              <a:gd name="connsiteY1987" fmla="*/ 21428 h 798267"/>
              <a:gd name="connsiteX1988" fmla="*/ 479050 w 682417"/>
              <a:gd name="connsiteY1988" fmla="*/ 24047 h 798267"/>
              <a:gd name="connsiteX1989" fmla="*/ 482070 w 682417"/>
              <a:gd name="connsiteY1989" fmla="*/ 19923 h 798267"/>
              <a:gd name="connsiteX1990" fmla="*/ 475498 w 682417"/>
              <a:gd name="connsiteY1990" fmla="*/ 17646 h 798267"/>
              <a:gd name="connsiteX1991" fmla="*/ 469649 w 682417"/>
              <a:gd name="connsiteY1991" fmla="*/ 24771 h 798267"/>
              <a:gd name="connsiteX1992" fmla="*/ 470992 w 682417"/>
              <a:gd name="connsiteY1992" fmla="*/ 30791 h 798267"/>
              <a:gd name="connsiteX1993" fmla="*/ 467839 w 682417"/>
              <a:gd name="connsiteY1993" fmla="*/ 15179 h 798267"/>
              <a:gd name="connsiteX1994" fmla="*/ 466335 w 682417"/>
              <a:gd name="connsiteY1994" fmla="*/ 17246 h 798267"/>
              <a:gd name="connsiteX1995" fmla="*/ 466506 w 682417"/>
              <a:gd name="connsiteY1995" fmla="*/ 23066 h 798267"/>
              <a:gd name="connsiteX1996" fmla="*/ 469706 w 682417"/>
              <a:gd name="connsiteY1996" fmla="*/ 17818 h 798267"/>
              <a:gd name="connsiteX1997" fmla="*/ 473288 w 682417"/>
              <a:gd name="connsiteY1997" fmla="*/ 17265 h 798267"/>
              <a:gd name="connsiteX1998" fmla="*/ 469535 w 682417"/>
              <a:gd name="connsiteY1998" fmla="*/ 11988 h 798267"/>
              <a:gd name="connsiteX1999" fmla="*/ 469725 w 682417"/>
              <a:gd name="connsiteY1999" fmla="*/ 10864 h 798267"/>
              <a:gd name="connsiteX2000" fmla="*/ 464649 w 682417"/>
              <a:gd name="connsiteY2000" fmla="*/ 13484 h 798267"/>
              <a:gd name="connsiteX2001" fmla="*/ 467868 w 682417"/>
              <a:gd name="connsiteY2001" fmla="*/ 15179 h 798267"/>
              <a:gd name="connsiteX2002" fmla="*/ 462124 w 682417"/>
              <a:gd name="connsiteY2002" fmla="*/ 35077 h 798267"/>
              <a:gd name="connsiteX2003" fmla="*/ 462896 w 682417"/>
              <a:gd name="connsiteY2003" fmla="*/ 30572 h 798267"/>
              <a:gd name="connsiteX2004" fmla="*/ 462172 w 682417"/>
              <a:gd name="connsiteY2004" fmla="*/ 35096 h 798267"/>
              <a:gd name="connsiteX2005" fmla="*/ 449847 w 682417"/>
              <a:gd name="connsiteY2005" fmla="*/ 12122 h 798267"/>
              <a:gd name="connsiteX2006" fmla="*/ 450009 w 682417"/>
              <a:gd name="connsiteY2006" fmla="*/ 17942 h 798267"/>
              <a:gd name="connsiteX2007" fmla="*/ 451533 w 682417"/>
              <a:gd name="connsiteY2007" fmla="*/ 8931 h 798267"/>
              <a:gd name="connsiteX2008" fmla="*/ 447037 w 682417"/>
              <a:gd name="connsiteY2008" fmla="*/ 8169 h 798267"/>
              <a:gd name="connsiteX2009" fmla="*/ 449847 w 682417"/>
              <a:gd name="connsiteY2009" fmla="*/ 12122 h 798267"/>
              <a:gd name="connsiteX2010" fmla="*/ 444570 w 682417"/>
              <a:gd name="connsiteY2010" fmla="*/ 15865 h 798267"/>
              <a:gd name="connsiteX2011" fmla="*/ 442665 w 682417"/>
              <a:gd name="connsiteY2011" fmla="*/ 20180 h 798267"/>
              <a:gd name="connsiteX2012" fmla="*/ 447361 w 682417"/>
              <a:gd name="connsiteY2012" fmla="*/ 19818 h 798267"/>
              <a:gd name="connsiteX2013" fmla="*/ 447008 w 682417"/>
              <a:gd name="connsiteY2013" fmla="*/ 15122 h 798267"/>
              <a:gd name="connsiteX2014" fmla="*/ 441750 w 682417"/>
              <a:gd name="connsiteY2014" fmla="*/ 11912 h 798267"/>
              <a:gd name="connsiteX2015" fmla="*/ 444570 w 682417"/>
              <a:gd name="connsiteY2015" fmla="*/ 15865 h 798267"/>
              <a:gd name="connsiteX2016" fmla="*/ 335985 w 682417"/>
              <a:gd name="connsiteY2016" fmla="*/ 266373 h 798267"/>
              <a:gd name="connsiteX2017" fmla="*/ 333346 w 682417"/>
              <a:gd name="connsiteY2017" fmla="*/ 268278 h 798267"/>
              <a:gd name="connsiteX2018" fmla="*/ 327689 w 682417"/>
              <a:gd name="connsiteY2018" fmla="*/ 274269 h 798267"/>
              <a:gd name="connsiteX2019" fmla="*/ 332775 w 682417"/>
              <a:gd name="connsiteY2019" fmla="*/ 271659 h 798267"/>
              <a:gd name="connsiteX2020" fmla="*/ 334289 w 682417"/>
              <a:gd name="connsiteY2020" fmla="*/ 269592 h 798267"/>
              <a:gd name="connsiteX2021" fmla="*/ 336547 w 682417"/>
              <a:gd name="connsiteY2021" fmla="*/ 269983 h 798267"/>
              <a:gd name="connsiteX2022" fmla="*/ 335975 w 682417"/>
              <a:gd name="connsiteY2022" fmla="*/ 266411 h 798267"/>
              <a:gd name="connsiteX2023" fmla="*/ 358750 w 682417"/>
              <a:gd name="connsiteY2023" fmla="*/ 63871 h 798267"/>
              <a:gd name="connsiteX2024" fmla="*/ 354625 w 682417"/>
              <a:gd name="connsiteY2024" fmla="*/ 60852 h 798267"/>
              <a:gd name="connsiteX2025" fmla="*/ 358740 w 682417"/>
              <a:gd name="connsiteY2025" fmla="*/ 63909 h 798267"/>
              <a:gd name="connsiteX2026" fmla="*/ 363436 w 682417"/>
              <a:gd name="connsiteY2026" fmla="*/ 2063 h 798267"/>
              <a:gd name="connsiteX2027" fmla="*/ 365884 w 682417"/>
              <a:gd name="connsiteY2027" fmla="*/ 1320 h 798267"/>
              <a:gd name="connsiteX2028" fmla="*/ 367789 w 682417"/>
              <a:gd name="connsiteY2028" fmla="*/ 3949 h 798267"/>
              <a:gd name="connsiteX2029" fmla="*/ 368370 w 682417"/>
              <a:gd name="connsiteY2029" fmla="*/ 568 h 798267"/>
              <a:gd name="connsiteX2030" fmla="*/ 363426 w 682417"/>
              <a:gd name="connsiteY2030" fmla="*/ 2101 h 798267"/>
              <a:gd name="connsiteX2031" fmla="*/ 337118 w 682417"/>
              <a:gd name="connsiteY2031" fmla="*/ 6874 h 798267"/>
              <a:gd name="connsiteX2032" fmla="*/ 339023 w 682417"/>
              <a:gd name="connsiteY2032" fmla="*/ 9502 h 798267"/>
              <a:gd name="connsiteX2033" fmla="*/ 337537 w 682417"/>
              <a:gd name="connsiteY2033" fmla="*/ 4616 h 798267"/>
              <a:gd name="connsiteX2034" fmla="*/ 333575 w 682417"/>
              <a:gd name="connsiteY2034" fmla="*/ 7426 h 798267"/>
              <a:gd name="connsiteX2035" fmla="*/ 337109 w 682417"/>
              <a:gd name="connsiteY2035" fmla="*/ 6912 h 798267"/>
              <a:gd name="connsiteX2036" fmla="*/ 180280 w 682417"/>
              <a:gd name="connsiteY2036" fmla="*/ 432441 h 798267"/>
              <a:gd name="connsiteX2037" fmla="*/ 182918 w 682417"/>
              <a:gd name="connsiteY2037" fmla="*/ 430536 h 798267"/>
              <a:gd name="connsiteX2038" fmla="*/ 185166 w 682417"/>
              <a:gd name="connsiteY2038" fmla="*/ 430917 h 798267"/>
              <a:gd name="connsiteX2039" fmla="*/ 185737 w 682417"/>
              <a:gd name="connsiteY2039" fmla="*/ 427526 h 798267"/>
              <a:gd name="connsiteX2040" fmla="*/ 180280 w 682417"/>
              <a:gd name="connsiteY2040" fmla="*/ 432441 h 798267"/>
              <a:gd name="connsiteX2041" fmla="*/ 439360 w 682417"/>
              <a:gd name="connsiteY2041" fmla="*/ 12655 h 798267"/>
              <a:gd name="connsiteX2042" fmla="*/ 441265 w 682417"/>
              <a:gd name="connsiteY2042" fmla="*/ 15294 h 798267"/>
              <a:gd name="connsiteX2043" fmla="*/ 441865 w 682417"/>
              <a:gd name="connsiteY2043" fmla="*/ 4959 h 798267"/>
              <a:gd name="connsiteX2044" fmla="*/ 437912 w 682417"/>
              <a:gd name="connsiteY2044" fmla="*/ 7769 h 798267"/>
              <a:gd name="connsiteX2045" fmla="*/ 435845 w 682417"/>
              <a:gd name="connsiteY2045" fmla="*/ 6254 h 798267"/>
              <a:gd name="connsiteX2046" fmla="*/ 433769 w 682417"/>
              <a:gd name="connsiteY2046" fmla="*/ 11693 h 798267"/>
              <a:gd name="connsiteX2047" fmla="*/ 439322 w 682417"/>
              <a:gd name="connsiteY2047" fmla="*/ 12655 h 79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682417" h="798267">
                <a:moveTo>
                  <a:pt x="681704" y="80445"/>
                </a:moveTo>
                <a:cubicBezTo>
                  <a:pt x="680133" y="79578"/>
                  <a:pt x="679142" y="78292"/>
                  <a:pt x="677580" y="77425"/>
                </a:cubicBezTo>
                <a:cubicBezTo>
                  <a:pt x="678456" y="75015"/>
                  <a:pt x="684448" y="77006"/>
                  <a:pt x="681704" y="80445"/>
                </a:cubicBezTo>
                <a:close/>
                <a:moveTo>
                  <a:pt x="630488" y="184210"/>
                </a:moveTo>
                <a:cubicBezTo>
                  <a:pt x="631231" y="181076"/>
                  <a:pt x="634689" y="181753"/>
                  <a:pt x="635946" y="179343"/>
                </a:cubicBezTo>
                <a:cubicBezTo>
                  <a:pt x="631222" y="177019"/>
                  <a:pt x="625974" y="181933"/>
                  <a:pt x="630488" y="184210"/>
                </a:cubicBezTo>
                <a:close/>
                <a:moveTo>
                  <a:pt x="627859" y="117678"/>
                </a:moveTo>
                <a:cubicBezTo>
                  <a:pt x="625488" y="118840"/>
                  <a:pt x="627650" y="122783"/>
                  <a:pt x="628221" y="122383"/>
                </a:cubicBezTo>
                <a:cubicBezTo>
                  <a:pt x="629107" y="121774"/>
                  <a:pt x="628745" y="117459"/>
                  <a:pt x="627859" y="117678"/>
                </a:cubicBezTo>
                <a:close/>
                <a:moveTo>
                  <a:pt x="577253" y="265601"/>
                </a:moveTo>
                <a:cubicBezTo>
                  <a:pt x="577872" y="269411"/>
                  <a:pt x="575653" y="271221"/>
                  <a:pt x="579301" y="274059"/>
                </a:cubicBezTo>
                <a:cubicBezTo>
                  <a:pt x="578796" y="271116"/>
                  <a:pt x="580911" y="266315"/>
                  <a:pt x="577253" y="265601"/>
                </a:cubicBezTo>
                <a:close/>
                <a:moveTo>
                  <a:pt x="610753" y="54489"/>
                </a:moveTo>
                <a:cubicBezTo>
                  <a:pt x="609886" y="53278"/>
                  <a:pt x="608203" y="52999"/>
                  <a:pt x="606992" y="53866"/>
                </a:cubicBezTo>
                <a:cubicBezTo>
                  <a:pt x="606308" y="54355"/>
                  <a:pt x="605892" y="55135"/>
                  <a:pt x="605866" y="55975"/>
                </a:cubicBezTo>
                <a:cubicBezTo>
                  <a:pt x="608381" y="56737"/>
                  <a:pt x="610152" y="56432"/>
                  <a:pt x="610753" y="54499"/>
                </a:cubicBezTo>
                <a:close/>
                <a:moveTo>
                  <a:pt x="564032" y="288871"/>
                </a:moveTo>
                <a:cubicBezTo>
                  <a:pt x="565337" y="289261"/>
                  <a:pt x="566242" y="291309"/>
                  <a:pt x="567414" y="289442"/>
                </a:cubicBezTo>
                <a:cubicBezTo>
                  <a:pt x="566109" y="289052"/>
                  <a:pt x="565204" y="287004"/>
                  <a:pt x="564032" y="288871"/>
                </a:cubicBezTo>
                <a:close/>
                <a:moveTo>
                  <a:pt x="561956" y="294309"/>
                </a:moveTo>
                <a:cubicBezTo>
                  <a:pt x="560289" y="295405"/>
                  <a:pt x="560756" y="298481"/>
                  <a:pt x="562127" y="300139"/>
                </a:cubicBezTo>
                <a:cubicBezTo>
                  <a:pt x="562661" y="298577"/>
                  <a:pt x="564299" y="298548"/>
                  <a:pt x="564985" y="297138"/>
                </a:cubicBezTo>
                <a:cubicBezTo>
                  <a:pt x="563385" y="296595"/>
                  <a:pt x="563385" y="294957"/>
                  <a:pt x="561956" y="294309"/>
                </a:cubicBezTo>
                <a:close/>
                <a:moveTo>
                  <a:pt x="538144" y="352869"/>
                </a:moveTo>
                <a:cubicBezTo>
                  <a:pt x="537696" y="353507"/>
                  <a:pt x="534619" y="356727"/>
                  <a:pt x="537381" y="357374"/>
                </a:cubicBezTo>
                <a:cubicBezTo>
                  <a:pt x="536619" y="355136"/>
                  <a:pt x="541344" y="354184"/>
                  <a:pt x="538096" y="352869"/>
                </a:cubicBezTo>
                <a:close/>
                <a:moveTo>
                  <a:pt x="514179" y="323294"/>
                </a:moveTo>
                <a:cubicBezTo>
                  <a:pt x="512953" y="323116"/>
                  <a:pt x="511828" y="322517"/>
                  <a:pt x="510997" y="321599"/>
                </a:cubicBezTo>
                <a:lnTo>
                  <a:pt x="510616" y="323846"/>
                </a:lnTo>
                <a:cubicBezTo>
                  <a:pt x="511950" y="325390"/>
                  <a:pt x="513112" y="325532"/>
                  <a:pt x="514131" y="323294"/>
                </a:cubicBezTo>
                <a:close/>
                <a:moveTo>
                  <a:pt x="539267" y="100323"/>
                </a:moveTo>
                <a:cubicBezTo>
                  <a:pt x="540934" y="97675"/>
                  <a:pt x="536305" y="94684"/>
                  <a:pt x="535134" y="97304"/>
                </a:cubicBezTo>
                <a:cubicBezTo>
                  <a:pt x="537324" y="97694"/>
                  <a:pt x="536000" y="100628"/>
                  <a:pt x="539220" y="100323"/>
                </a:cubicBezTo>
                <a:close/>
                <a:moveTo>
                  <a:pt x="532286" y="107257"/>
                </a:moveTo>
                <a:cubicBezTo>
                  <a:pt x="533798" y="107730"/>
                  <a:pt x="535428" y="107009"/>
                  <a:pt x="536096" y="105572"/>
                </a:cubicBezTo>
                <a:cubicBezTo>
                  <a:pt x="534865" y="105393"/>
                  <a:pt x="533733" y="104794"/>
                  <a:pt x="532895" y="103876"/>
                </a:cubicBezTo>
                <a:close/>
                <a:moveTo>
                  <a:pt x="489423" y="366633"/>
                </a:moveTo>
                <a:lnTo>
                  <a:pt x="487166" y="366252"/>
                </a:lnTo>
                <a:lnTo>
                  <a:pt x="486785" y="368500"/>
                </a:lnTo>
                <a:lnTo>
                  <a:pt x="489042" y="368881"/>
                </a:lnTo>
                <a:close/>
                <a:moveTo>
                  <a:pt x="501082" y="31286"/>
                </a:moveTo>
                <a:cubicBezTo>
                  <a:pt x="502463" y="29133"/>
                  <a:pt x="499015" y="25733"/>
                  <a:pt x="498081" y="28429"/>
                </a:cubicBezTo>
                <a:cubicBezTo>
                  <a:pt x="499843" y="28829"/>
                  <a:pt x="498472" y="31448"/>
                  <a:pt x="501082" y="31286"/>
                </a:cubicBezTo>
                <a:close/>
                <a:moveTo>
                  <a:pt x="494348" y="23190"/>
                </a:moveTo>
                <a:cubicBezTo>
                  <a:pt x="495138" y="23618"/>
                  <a:pt x="494976" y="26543"/>
                  <a:pt x="497338" y="26047"/>
                </a:cubicBezTo>
                <a:cubicBezTo>
                  <a:pt x="497443" y="22342"/>
                  <a:pt x="496729" y="19218"/>
                  <a:pt x="491528" y="19275"/>
                </a:cubicBezTo>
                <a:cubicBezTo>
                  <a:pt x="491154" y="21052"/>
                  <a:pt x="491719" y="22897"/>
                  <a:pt x="493024" y="24161"/>
                </a:cubicBezTo>
                <a:cubicBezTo>
                  <a:pt x="492662" y="23666"/>
                  <a:pt x="493709" y="22809"/>
                  <a:pt x="494348" y="23152"/>
                </a:cubicBezTo>
                <a:close/>
                <a:moveTo>
                  <a:pt x="485851" y="32181"/>
                </a:moveTo>
                <a:cubicBezTo>
                  <a:pt x="485137" y="29905"/>
                  <a:pt x="489871" y="28991"/>
                  <a:pt x="486623" y="27676"/>
                </a:cubicBezTo>
                <a:cubicBezTo>
                  <a:pt x="486175" y="28276"/>
                  <a:pt x="483089" y="31505"/>
                  <a:pt x="485851" y="32143"/>
                </a:cubicBezTo>
                <a:close/>
                <a:moveTo>
                  <a:pt x="430263" y="216328"/>
                </a:moveTo>
                <a:cubicBezTo>
                  <a:pt x="431893" y="216384"/>
                  <a:pt x="433439" y="217066"/>
                  <a:pt x="434578" y="218233"/>
                </a:cubicBezTo>
                <a:lnTo>
                  <a:pt x="435150" y="214852"/>
                </a:lnTo>
                <a:cubicBezTo>
                  <a:pt x="432635" y="214080"/>
                  <a:pt x="430873" y="214385"/>
                  <a:pt x="430263" y="216328"/>
                </a:cubicBezTo>
                <a:close/>
                <a:moveTo>
                  <a:pt x="430092" y="210499"/>
                </a:moveTo>
                <a:cubicBezTo>
                  <a:pt x="426025" y="213709"/>
                  <a:pt x="433673" y="214623"/>
                  <a:pt x="430092" y="210499"/>
                </a:cubicBezTo>
                <a:close/>
                <a:moveTo>
                  <a:pt x="456705" y="26047"/>
                </a:moveTo>
                <a:cubicBezTo>
                  <a:pt x="460277" y="25485"/>
                  <a:pt x="460086" y="19637"/>
                  <a:pt x="461810" y="16522"/>
                </a:cubicBezTo>
                <a:cubicBezTo>
                  <a:pt x="459457" y="17056"/>
                  <a:pt x="459905" y="13874"/>
                  <a:pt x="458810" y="13665"/>
                </a:cubicBezTo>
                <a:cubicBezTo>
                  <a:pt x="458333" y="13589"/>
                  <a:pt x="456810" y="16789"/>
                  <a:pt x="455057" y="15341"/>
                </a:cubicBezTo>
                <a:cubicBezTo>
                  <a:pt x="455247" y="13551"/>
                  <a:pt x="455867" y="11455"/>
                  <a:pt x="453371" y="11579"/>
                </a:cubicBezTo>
                <a:cubicBezTo>
                  <a:pt x="454524" y="16399"/>
                  <a:pt x="451456" y="24190"/>
                  <a:pt x="456705" y="26047"/>
                </a:cubicBezTo>
                <a:close/>
                <a:moveTo>
                  <a:pt x="426882" y="215747"/>
                </a:moveTo>
                <a:cubicBezTo>
                  <a:pt x="426977" y="213595"/>
                  <a:pt x="424920" y="216071"/>
                  <a:pt x="424815" y="214242"/>
                </a:cubicBezTo>
                <a:cubicBezTo>
                  <a:pt x="423158" y="213099"/>
                  <a:pt x="426006" y="208765"/>
                  <a:pt x="422205" y="209156"/>
                </a:cubicBezTo>
                <a:cubicBezTo>
                  <a:pt x="420386" y="208661"/>
                  <a:pt x="419176" y="215823"/>
                  <a:pt x="421062" y="215919"/>
                </a:cubicBezTo>
                <a:cubicBezTo>
                  <a:pt x="423196" y="213204"/>
                  <a:pt x="422872" y="220481"/>
                  <a:pt x="427434" y="219319"/>
                </a:cubicBezTo>
                <a:cubicBezTo>
                  <a:pt x="427482" y="217976"/>
                  <a:pt x="428130" y="216157"/>
                  <a:pt x="426882" y="215747"/>
                </a:cubicBezTo>
                <a:close/>
                <a:moveTo>
                  <a:pt x="445837" y="28829"/>
                </a:moveTo>
                <a:cubicBezTo>
                  <a:pt x="446141" y="27400"/>
                  <a:pt x="447551" y="27524"/>
                  <a:pt x="447551" y="25647"/>
                </a:cubicBezTo>
                <a:cubicBezTo>
                  <a:pt x="445065" y="23418"/>
                  <a:pt x="443579" y="28905"/>
                  <a:pt x="445837" y="28829"/>
                </a:cubicBezTo>
                <a:close/>
                <a:moveTo>
                  <a:pt x="404812" y="181857"/>
                </a:moveTo>
                <a:cubicBezTo>
                  <a:pt x="400698" y="180724"/>
                  <a:pt x="397193" y="180381"/>
                  <a:pt x="396345" y="183905"/>
                </a:cubicBezTo>
                <a:cubicBezTo>
                  <a:pt x="399707" y="183286"/>
                  <a:pt x="401364" y="183438"/>
                  <a:pt x="400279" y="188049"/>
                </a:cubicBezTo>
                <a:cubicBezTo>
                  <a:pt x="403746" y="188744"/>
                  <a:pt x="404222" y="185210"/>
                  <a:pt x="404812" y="181857"/>
                </a:cubicBezTo>
                <a:close/>
                <a:moveTo>
                  <a:pt x="420910" y="11855"/>
                </a:moveTo>
                <a:cubicBezTo>
                  <a:pt x="422024" y="8407"/>
                  <a:pt x="418605" y="8188"/>
                  <a:pt x="417157" y="6578"/>
                </a:cubicBezTo>
                <a:cubicBezTo>
                  <a:pt x="416023" y="10017"/>
                  <a:pt x="419452" y="10236"/>
                  <a:pt x="420910" y="11855"/>
                </a:cubicBezTo>
                <a:close/>
                <a:moveTo>
                  <a:pt x="388125" y="34144"/>
                </a:moveTo>
                <a:cubicBezTo>
                  <a:pt x="387669" y="35640"/>
                  <a:pt x="388384" y="37244"/>
                  <a:pt x="389801" y="37906"/>
                </a:cubicBezTo>
                <a:cubicBezTo>
                  <a:pt x="390252" y="36410"/>
                  <a:pt x="389539" y="34809"/>
                  <a:pt x="388125" y="34144"/>
                </a:cubicBezTo>
                <a:close/>
                <a:moveTo>
                  <a:pt x="337833" y="269078"/>
                </a:moveTo>
                <a:cubicBezTo>
                  <a:pt x="340690" y="270364"/>
                  <a:pt x="340404" y="267116"/>
                  <a:pt x="341786" y="266220"/>
                </a:cubicBezTo>
                <a:cubicBezTo>
                  <a:pt x="338909" y="264944"/>
                  <a:pt x="339223" y="268192"/>
                  <a:pt x="337852" y="269049"/>
                </a:cubicBezTo>
                <a:close/>
                <a:moveTo>
                  <a:pt x="334289" y="9902"/>
                </a:moveTo>
                <a:lnTo>
                  <a:pt x="332032" y="9521"/>
                </a:lnTo>
                <a:cubicBezTo>
                  <a:pt x="331899" y="10274"/>
                  <a:pt x="331775" y="11026"/>
                  <a:pt x="331651" y="11779"/>
                </a:cubicBezTo>
                <a:lnTo>
                  <a:pt x="333899" y="12160"/>
                </a:lnTo>
                <a:cubicBezTo>
                  <a:pt x="334032" y="11407"/>
                  <a:pt x="334156" y="10655"/>
                  <a:pt x="334289" y="9902"/>
                </a:cubicBezTo>
                <a:close/>
                <a:moveTo>
                  <a:pt x="322945" y="28857"/>
                </a:moveTo>
                <a:cubicBezTo>
                  <a:pt x="324850" y="31505"/>
                  <a:pt x="325241" y="28724"/>
                  <a:pt x="327650" y="28486"/>
                </a:cubicBezTo>
                <a:cubicBezTo>
                  <a:pt x="328270" y="25428"/>
                  <a:pt x="326155" y="25904"/>
                  <a:pt x="328412" y="23980"/>
                </a:cubicBezTo>
                <a:cubicBezTo>
                  <a:pt x="324305" y="24125"/>
                  <a:pt x="320679" y="26703"/>
                  <a:pt x="319192" y="30534"/>
                </a:cubicBezTo>
                <a:cubicBezTo>
                  <a:pt x="321345" y="31286"/>
                  <a:pt x="321678" y="29381"/>
                  <a:pt x="322945" y="28857"/>
                </a:cubicBezTo>
                <a:close/>
                <a:moveTo>
                  <a:pt x="318364" y="55899"/>
                </a:moveTo>
                <a:cubicBezTo>
                  <a:pt x="316802" y="55356"/>
                  <a:pt x="316773" y="53717"/>
                  <a:pt x="315363" y="53041"/>
                </a:cubicBezTo>
                <a:cubicBezTo>
                  <a:pt x="313982" y="55222"/>
                  <a:pt x="317421" y="58623"/>
                  <a:pt x="318364" y="55899"/>
                </a:cubicBezTo>
                <a:close/>
                <a:moveTo>
                  <a:pt x="278120" y="258934"/>
                </a:moveTo>
                <a:cubicBezTo>
                  <a:pt x="277454" y="261715"/>
                  <a:pt x="279254" y="262744"/>
                  <a:pt x="280740" y="264010"/>
                </a:cubicBezTo>
                <a:cubicBezTo>
                  <a:pt x="281559" y="261096"/>
                  <a:pt x="281149" y="259076"/>
                  <a:pt x="278120" y="258934"/>
                </a:cubicBezTo>
                <a:close/>
                <a:moveTo>
                  <a:pt x="316382" y="26600"/>
                </a:moveTo>
                <a:cubicBezTo>
                  <a:pt x="316287" y="28314"/>
                  <a:pt x="315268" y="30686"/>
                  <a:pt x="316744" y="31296"/>
                </a:cubicBezTo>
                <a:cubicBezTo>
                  <a:pt x="318459" y="30029"/>
                  <a:pt x="318945" y="27333"/>
                  <a:pt x="316382" y="26581"/>
                </a:cubicBezTo>
                <a:close/>
                <a:moveTo>
                  <a:pt x="312572" y="49136"/>
                </a:moveTo>
                <a:cubicBezTo>
                  <a:pt x="311201" y="47231"/>
                  <a:pt x="308496" y="46736"/>
                  <a:pt x="308762" y="50812"/>
                </a:cubicBezTo>
                <a:cubicBezTo>
                  <a:pt x="310272" y="51277"/>
                  <a:pt x="311893" y="50552"/>
                  <a:pt x="312553" y="49117"/>
                </a:cubicBezTo>
                <a:close/>
                <a:moveTo>
                  <a:pt x="243288" y="348069"/>
                </a:moveTo>
                <a:lnTo>
                  <a:pt x="242907" y="350316"/>
                </a:lnTo>
                <a:cubicBezTo>
                  <a:pt x="242849" y="351012"/>
                  <a:pt x="242849" y="351679"/>
                  <a:pt x="243859" y="351640"/>
                </a:cubicBezTo>
                <a:cubicBezTo>
                  <a:pt x="244040" y="350964"/>
                  <a:pt x="244250" y="350326"/>
                  <a:pt x="245183" y="350688"/>
                </a:cubicBezTo>
                <a:cubicBezTo>
                  <a:pt x="245278" y="351640"/>
                  <a:pt x="244831" y="352917"/>
                  <a:pt x="245916" y="353136"/>
                </a:cubicBezTo>
                <a:cubicBezTo>
                  <a:pt x="246717" y="350250"/>
                  <a:pt x="246316" y="348230"/>
                  <a:pt x="243288" y="348069"/>
                </a:cubicBezTo>
                <a:close/>
                <a:moveTo>
                  <a:pt x="230476" y="293719"/>
                </a:moveTo>
                <a:cubicBezTo>
                  <a:pt x="224142" y="291423"/>
                  <a:pt x="229181" y="298529"/>
                  <a:pt x="230476" y="293719"/>
                </a:cubicBezTo>
                <a:close/>
                <a:moveTo>
                  <a:pt x="153857" y="472008"/>
                </a:moveTo>
                <a:cubicBezTo>
                  <a:pt x="158086" y="472627"/>
                  <a:pt x="157286" y="471293"/>
                  <a:pt x="160620" y="473160"/>
                </a:cubicBezTo>
                <a:cubicBezTo>
                  <a:pt x="161903" y="471577"/>
                  <a:pt x="162264" y="469438"/>
                  <a:pt x="161573" y="467522"/>
                </a:cubicBezTo>
                <a:cubicBezTo>
                  <a:pt x="158334" y="468084"/>
                  <a:pt x="153724" y="466702"/>
                  <a:pt x="153857" y="472008"/>
                </a:cubicBezTo>
                <a:close/>
                <a:moveTo>
                  <a:pt x="154010" y="484790"/>
                </a:moveTo>
                <a:cubicBezTo>
                  <a:pt x="156867" y="485152"/>
                  <a:pt x="159839" y="485562"/>
                  <a:pt x="160220" y="482362"/>
                </a:cubicBezTo>
                <a:cubicBezTo>
                  <a:pt x="157833" y="481403"/>
                  <a:pt x="155113" y="482467"/>
                  <a:pt x="154010" y="484790"/>
                </a:cubicBezTo>
                <a:close/>
                <a:moveTo>
                  <a:pt x="163335" y="388978"/>
                </a:moveTo>
                <a:cubicBezTo>
                  <a:pt x="166249" y="389836"/>
                  <a:pt x="166640" y="387073"/>
                  <a:pt x="167478" y="385054"/>
                </a:cubicBezTo>
                <a:cubicBezTo>
                  <a:pt x="164535" y="384206"/>
                  <a:pt x="164144" y="386911"/>
                  <a:pt x="163335" y="388978"/>
                </a:cubicBezTo>
                <a:close/>
                <a:moveTo>
                  <a:pt x="163935" y="378653"/>
                </a:moveTo>
                <a:cubicBezTo>
                  <a:pt x="168002" y="375434"/>
                  <a:pt x="160344" y="374529"/>
                  <a:pt x="163935" y="378653"/>
                </a:cubicBezTo>
                <a:close/>
                <a:moveTo>
                  <a:pt x="128521" y="525681"/>
                </a:moveTo>
                <a:cubicBezTo>
                  <a:pt x="127140" y="527834"/>
                  <a:pt x="130578" y="531234"/>
                  <a:pt x="131521" y="528539"/>
                </a:cubicBezTo>
                <a:cubicBezTo>
                  <a:pt x="129997" y="527967"/>
                  <a:pt x="129931" y="526329"/>
                  <a:pt x="128521" y="525681"/>
                </a:cubicBezTo>
                <a:close/>
                <a:moveTo>
                  <a:pt x="135607" y="415582"/>
                </a:moveTo>
                <a:cubicBezTo>
                  <a:pt x="135484" y="418649"/>
                  <a:pt x="137922" y="419897"/>
                  <a:pt x="140475" y="421049"/>
                </a:cubicBezTo>
                <a:cubicBezTo>
                  <a:pt x="140799" y="417849"/>
                  <a:pt x="139332" y="415915"/>
                  <a:pt x="135607" y="415582"/>
                </a:cubicBezTo>
                <a:close/>
                <a:moveTo>
                  <a:pt x="125378" y="441671"/>
                </a:moveTo>
                <a:cubicBezTo>
                  <a:pt x="125711" y="439766"/>
                  <a:pt x="128616" y="441575"/>
                  <a:pt x="129188" y="439994"/>
                </a:cubicBezTo>
                <a:cubicBezTo>
                  <a:pt x="128349" y="439604"/>
                  <a:pt x="128035" y="438832"/>
                  <a:pt x="128435" y="437546"/>
                </a:cubicBezTo>
                <a:cubicBezTo>
                  <a:pt x="125759" y="435880"/>
                  <a:pt x="122768" y="440509"/>
                  <a:pt x="125378" y="441671"/>
                </a:cubicBezTo>
                <a:close/>
                <a:moveTo>
                  <a:pt x="105156" y="485771"/>
                </a:moveTo>
                <a:cubicBezTo>
                  <a:pt x="105823" y="482990"/>
                  <a:pt x="104013" y="481961"/>
                  <a:pt x="102537" y="480695"/>
                </a:cubicBezTo>
                <a:cubicBezTo>
                  <a:pt x="101717" y="483590"/>
                  <a:pt x="102118" y="485629"/>
                  <a:pt x="105156" y="485771"/>
                </a:cubicBezTo>
                <a:close/>
                <a:moveTo>
                  <a:pt x="103070" y="491220"/>
                </a:moveTo>
                <a:cubicBezTo>
                  <a:pt x="104023" y="488581"/>
                  <a:pt x="101432" y="488419"/>
                  <a:pt x="102899" y="485390"/>
                </a:cubicBezTo>
                <a:cubicBezTo>
                  <a:pt x="101670" y="485214"/>
                  <a:pt x="100541" y="484615"/>
                  <a:pt x="99708" y="483695"/>
                </a:cubicBezTo>
                <a:cubicBezTo>
                  <a:pt x="98689" y="484752"/>
                  <a:pt x="94431" y="488134"/>
                  <a:pt x="97431" y="490267"/>
                </a:cubicBezTo>
                <a:cubicBezTo>
                  <a:pt x="98031" y="485276"/>
                  <a:pt x="101479" y="490820"/>
                  <a:pt x="103070" y="491220"/>
                </a:cubicBezTo>
                <a:close/>
                <a:moveTo>
                  <a:pt x="37014" y="784914"/>
                </a:moveTo>
                <a:cubicBezTo>
                  <a:pt x="33557" y="783780"/>
                  <a:pt x="33518" y="787447"/>
                  <a:pt x="30794" y="787343"/>
                </a:cubicBezTo>
                <a:cubicBezTo>
                  <a:pt x="28708" y="787657"/>
                  <a:pt x="24413" y="784856"/>
                  <a:pt x="23851" y="787343"/>
                </a:cubicBezTo>
                <a:cubicBezTo>
                  <a:pt x="26118" y="788038"/>
                  <a:pt x="23270" y="792372"/>
                  <a:pt x="26460" y="792419"/>
                </a:cubicBezTo>
                <a:cubicBezTo>
                  <a:pt x="27138" y="791189"/>
                  <a:pt x="28122" y="790155"/>
                  <a:pt x="29318" y="789419"/>
                </a:cubicBezTo>
                <a:cubicBezTo>
                  <a:pt x="31375" y="791924"/>
                  <a:pt x="30166" y="796744"/>
                  <a:pt x="33614" y="798268"/>
                </a:cubicBezTo>
                <a:cubicBezTo>
                  <a:pt x="35081" y="795239"/>
                  <a:pt x="32528" y="795077"/>
                  <a:pt x="33442" y="792438"/>
                </a:cubicBezTo>
                <a:cubicBezTo>
                  <a:pt x="34871" y="792962"/>
                  <a:pt x="34271" y="790943"/>
                  <a:pt x="34957" y="790381"/>
                </a:cubicBezTo>
                <a:cubicBezTo>
                  <a:pt x="35643" y="789819"/>
                  <a:pt x="38148" y="791067"/>
                  <a:pt x="37586" y="788476"/>
                </a:cubicBezTo>
                <a:cubicBezTo>
                  <a:pt x="36281" y="788076"/>
                  <a:pt x="36652" y="786495"/>
                  <a:pt x="37014" y="784914"/>
                </a:cubicBezTo>
                <a:close/>
                <a:moveTo>
                  <a:pt x="29127" y="783580"/>
                </a:moveTo>
                <a:cubicBezTo>
                  <a:pt x="33004" y="784866"/>
                  <a:pt x="32566" y="780056"/>
                  <a:pt x="36452" y="781342"/>
                </a:cubicBezTo>
                <a:cubicBezTo>
                  <a:pt x="36319" y="782542"/>
                  <a:pt x="37748" y="782475"/>
                  <a:pt x="37776" y="780389"/>
                </a:cubicBezTo>
                <a:cubicBezTo>
                  <a:pt x="33271" y="779189"/>
                  <a:pt x="29851" y="779494"/>
                  <a:pt x="29127" y="783580"/>
                </a:cubicBezTo>
                <a:close/>
                <a:moveTo>
                  <a:pt x="27061" y="782066"/>
                </a:moveTo>
                <a:cubicBezTo>
                  <a:pt x="24965" y="780389"/>
                  <a:pt x="21346" y="782923"/>
                  <a:pt x="24422" y="783971"/>
                </a:cubicBezTo>
                <a:cubicBezTo>
                  <a:pt x="24679" y="782456"/>
                  <a:pt x="26565" y="783247"/>
                  <a:pt x="27061" y="782066"/>
                </a:cubicBezTo>
                <a:close/>
                <a:moveTo>
                  <a:pt x="678799" y="111296"/>
                </a:moveTo>
                <a:cubicBezTo>
                  <a:pt x="679475" y="111477"/>
                  <a:pt x="680104" y="111696"/>
                  <a:pt x="679752" y="112620"/>
                </a:cubicBezTo>
                <a:cubicBezTo>
                  <a:pt x="679133" y="112506"/>
                  <a:pt x="678313" y="113315"/>
                  <a:pt x="679561" y="113744"/>
                </a:cubicBezTo>
                <a:cubicBezTo>
                  <a:pt x="681971" y="113087"/>
                  <a:pt x="680809" y="108019"/>
                  <a:pt x="678799" y="111296"/>
                </a:cubicBezTo>
                <a:close/>
                <a:moveTo>
                  <a:pt x="677847" y="116935"/>
                </a:moveTo>
                <a:cubicBezTo>
                  <a:pt x="674703" y="114011"/>
                  <a:pt x="676246" y="117459"/>
                  <a:pt x="676142" y="120126"/>
                </a:cubicBezTo>
                <a:cubicBezTo>
                  <a:pt x="673745" y="120204"/>
                  <a:pt x="671404" y="119393"/>
                  <a:pt x="669569" y="117849"/>
                </a:cubicBezTo>
                <a:cubicBezTo>
                  <a:pt x="666112" y="116687"/>
                  <a:pt x="668198" y="123374"/>
                  <a:pt x="664293" y="121593"/>
                </a:cubicBezTo>
                <a:cubicBezTo>
                  <a:pt x="664045" y="123098"/>
                  <a:pt x="663788" y="124603"/>
                  <a:pt x="663531" y="126098"/>
                </a:cubicBezTo>
                <a:cubicBezTo>
                  <a:pt x="663312" y="129051"/>
                  <a:pt x="665740" y="124879"/>
                  <a:pt x="668045" y="126869"/>
                </a:cubicBezTo>
                <a:cubicBezTo>
                  <a:pt x="665369" y="129289"/>
                  <a:pt x="661978" y="132375"/>
                  <a:pt x="666702" y="134756"/>
                </a:cubicBezTo>
                <a:cubicBezTo>
                  <a:pt x="663673" y="138185"/>
                  <a:pt x="663359" y="134623"/>
                  <a:pt x="659940" y="133604"/>
                </a:cubicBezTo>
                <a:cubicBezTo>
                  <a:pt x="659206" y="136775"/>
                  <a:pt x="663378" y="136461"/>
                  <a:pt x="661045" y="140747"/>
                </a:cubicBezTo>
                <a:cubicBezTo>
                  <a:pt x="662140" y="140424"/>
                  <a:pt x="663235" y="140100"/>
                  <a:pt x="663683" y="138842"/>
                </a:cubicBezTo>
                <a:cubicBezTo>
                  <a:pt x="666255" y="140747"/>
                  <a:pt x="661568" y="144100"/>
                  <a:pt x="658406" y="142586"/>
                </a:cubicBezTo>
                <a:cubicBezTo>
                  <a:pt x="658406" y="144253"/>
                  <a:pt x="661702" y="143538"/>
                  <a:pt x="661406" y="145443"/>
                </a:cubicBezTo>
                <a:cubicBezTo>
                  <a:pt x="661492" y="147434"/>
                  <a:pt x="660168" y="147424"/>
                  <a:pt x="658778" y="147348"/>
                </a:cubicBezTo>
                <a:cubicBezTo>
                  <a:pt x="657501" y="147424"/>
                  <a:pt x="657625" y="149463"/>
                  <a:pt x="656139" y="149253"/>
                </a:cubicBezTo>
                <a:cubicBezTo>
                  <a:pt x="656139" y="150606"/>
                  <a:pt x="658044" y="150549"/>
                  <a:pt x="659321" y="150949"/>
                </a:cubicBezTo>
                <a:cubicBezTo>
                  <a:pt x="658921" y="152225"/>
                  <a:pt x="659235" y="152997"/>
                  <a:pt x="660073" y="153397"/>
                </a:cubicBezTo>
                <a:cubicBezTo>
                  <a:pt x="659263" y="155978"/>
                  <a:pt x="656158" y="155302"/>
                  <a:pt x="654806" y="157140"/>
                </a:cubicBezTo>
                <a:cubicBezTo>
                  <a:pt x="653434" y="157473"/>
                  <a:pt x="654501" y="154911"/>
                  <a:pt x="654053" y="154692"/>
                </a:cubicBezTo>
                <a:cubicBezTo>
                  <a:pt x="651424" y="153387"/>
                  <a:pt x="649205" y="157940"/>
                  <a:pt x="645595" y="156740"/>
                </a:cubicBezTo>
                <a:cubicBezTo>
                  <a:pt x="645043" y="161502"/>
                  <a:pt x="642861" y="161740"/>
                  <a:pt x="644071" y="165751"/>
                </a:cubicBezTo>
                <a:cubicBezTo>
                  <a:pt x="642605" y="166462"/>
                  <a:pt x="640923" y="166592"/>
                  <a:pt x="639366" y="166112"/>
                </a:cubicBezTo>
                <a:cubicBezTo>
                  <a:pt x="640073" y="167576"/>
                  <a:pt x="640202" y="169253"/>
                  <a:pt x="639728" y="170808"/>
                </a:cubicBezTo>
                <a:cubicBezTo>
                  <a:pt x="635422" y="170894"/>
                  <a:pt x="637594" y="166389"/>
                  <a:pt x="636175" y="164417"/>
                </a:cubicBezTo>
                <a:cubicBezTo>
                  <a:pt x="632917" y="164084"/>
                  <a:pt x="630003" y="163465"/>
                  <a:pt x="631117" y="160074"/>
                </a:cubicBezTo>
                <a:cubicBezTo>
                  <a:pt x="634460" y="159683"/>
                  <a:pt x="633765" y="162160"/>
                  <a:pt x="636556" y="162160"/>
                </a:cubicBezTo>
                <a:cubicBezTo>
                  <a:pt x="637651" y="161826"/>
                  <a:pt x="638737" y="161512"/>
                  <a:pt x="639194" y="160255"/>
                </a:cubicBezTo>
                <a:cubicBezTo>
                  <a:pt x="639194" y="158216"/>
                  <a:pt x="637404" y="160836"/>
                  <a:pt x="635813" y="159683"/>
                </a:cubicBezTo>
                <a:cubicBezTo>
                  <a:pt x="635422" y="159407"/>
                  <a:pt x="635727" y="156559"/>
                  <a:pt x="635260" y="156111"/>
                </a:cubicBezTo>
                <a:cubicBezTo>
                  <a:pt x="634308" y="155225"/>
                  <a:pt x="634136" y="157064"/>
                  <a:pt x="633946" y="157064"/>
                </a:cubicBezTo>
                <a:cubicBezTo>
                  <a:pt x="632270" y="157121"/>
                  <a:pt x="632946" y="155159"/>
                  <a:pt x="629431" y="156302"/>
                </a:cubicBezTo>
                <a:cubicBezTo>
                  <a:pt x="628917" y="161359"/>
                  <a:pt x="630688" y="167732"/>
                  <a:pt x="624145" y="166998"/>
                </a:cubicBezTo>
                <a:cubicBezTo>
                  <a:pt x="623830" y="168903"/>
                  <a:pt x="623507" y="170751"/>
                  <a:pt x="623192" y="172637"/>
                </a:cubicBezTo>
                <a:cubicBezTo>
                  <a:pt x="625097" y="175114"/>
                  <a:pt x="627355" y="171094"/>
                  <a:pt x="628079" y="171142"/>
                </a:cubicBezTo>
                <a:cubicBezTo>
                  <a:pt x="629603" y="171246"/>
                  <a:pt x="628155" y="173047"/>
                  <a:pt x="628821" y="173590"/>
                </a:cubicBezTo>
                <a:cubicBezTo>
                  <a:pt x="630479" y="175056"/>
                  <a:pt x="631860" y="172866"/>
                  <a:pt x="634641" y="173418"/>
                </a:cubicBezTo>
                <a:cubicBezTo>
                  <a:pt x="634898" y="176057"/>
                  <a:pt x="631203" y="173961"/>
                  <a:pt x="630698" y="176276"/>
                </a:cubicBezTo>
                <a:cubicBezTo>
                  <a:pt x="630346" y="177800"/>
                  <a:pt x="627507" y="176685"/>
                  <a:pt x="625993" y="176638"/>
                </a:cubicBezTo>
                <a:cubicBezTo>
                  <a:pt x="624792" y="178447"/>
                  <a:pt x="626354" y="179495"/>
                  <a:pt x="626545" y="180209"/>
                </a:cubicBezTo>
                <a:cubicBezTo>
                  <a:pt x="626627" y="181411"/>
                  <a:pt x="626812" y="182602"/>
                  <a:pt x="627097" y="183772"/>
                </a:cubicBezTo>
                <a:cubicBezTo>
                  <a:pt x="627840" y="184867"/>
                  <a:pt x="630793" y="184496"/>
                  <a:pt x="630098" y="186629"/>
                </a:cubicBezTo>
                <a:cubicBezTo>
                  <a:pt x="631717" y="186801"/>
                  <a:pt x="633327" y="186982"/>
                  <a:pt x="633289" y="188325"/>
                </a:cubicBezTo>
                <a:cubicBezTo>
                  <a:pt x="637813" y="188734"/>
                  <a:pt x="632689" y="184200"/>
                  <a:pt x="637242" y="185515"/>
                </a:cubicBezTo>
                <a:cubicBezTo>
                  <a:pt x="637051" y="187563"/>
                  <a:pt x="635460" y="187668"/>
                  <a:pt x="635337" y="189830"/>
                </a:cubicBezTo>
                <a:cubicBezTo>
                  <a:pt x="631631" y="189887"/>
                  <a:pt x="632212" y="187125"/>
                  <a:pt x="629707" y="188877"/>
                </a:cubicBezTo>
                <a:cubicBezTo>
                  <a:pt x="628202" y="192582"/>
                  <a:pt x="634041" y="191087"/>
                  <a:pt x="632127" y="195088"/>
                </a:cubicBezTo>
                <a:cubicBezTo>
                  <a:pt x="630584" y="193383"/>
                  <a:pt x="630803" y="194135"/>
                  <a:pt x="628564" y="195640"/>
                </a:cubicBezTo>
                <a:cubicBezTo>
                  <a:pt x="626659" y="196897"/>
                  <a:pt x="623611" y="198231"/>
                  <a:pt x="623097" y="200507"/>
                </a:cubicBezTo>
                <a:cubicBezTo>
                  <a:pt x="621192" y="200507"/>
                  <a:pt x="621344" y="199117"/>
                  <a:pt x="619906" y="198812"/>
                </a:cubicBezTo>
                <a:cubicBezTo>
                  <a:pt x="621935" y="202393"/>
                  <a:pt x="617830" y="204184"/>
                  <a:pt x="619506" y="208013"/>
                </a:cubicBezTo>
                <a:cubicBezTo>
                  <a:pt x="616306" y="208013"/>
                  <a:pt x="619154" y="203631"/>
                  <a:pt x="616887" y="202936"/>
                </a:cubicBezTo>
                <a:cubicBezTo>
                  <a:pt x="612467" y="204279"/>
                  <a:pt x="618354" y="206384"/>
                  <a:pt x="617058" y="208765"/>
                </a:cubicBezTo>
                <a:lnTo>
                  <a:pt x="613677" y="208184"/>
                </a:lnTo>
                <a:cubicBezTo>
                  <a:pt x="612724" y="210499"/>
                  <a:pt x="614925" y="210604"/>
                  <a:pt x="616677" y="211042"/>
                </a:cubicBezTo>
                <a:cubicBezTo>
                  <a:pt x="616468" y="213537"/>
                  <a:pt x="615144" y="214471"/>
                  <a:pt x="612724" y="213852"/>
                </a:cubicBezTo>
                <a:cubicBezTo>
                  <a:pt x="614848" y="216709"/>
                  <a:pt x="611134" y="217538"/>
                  <a:pt x="611381" y="221738"/>
                </a:cubicBezTo>
                <a:cubicBezTo>
                  <a:pt x="609752" y="222091"/>
                  <a:pt x="607304" y="220214"/>
                  <a:pt x="605752" y="220786"/>
                </a:cubicBezTo>
                <a:cubicBezTo>
                  <a:pt x="603714" y="221529"/>
                  <a:pt x="602742" y="230159"/>
                  <a:pt x="603114" y="222691"/>
                </a:cubicBezTo>
                <a:cubicBezTo>
                  <a:pt x="599256" y="224710"/>
                  <a:pt x="594817" y="225891"/>
                  <a:pt x="593503" y="231492"/>
                </a:cubicBezTo>
                <a:cubicBezTo>
                  <a:pt x="591776" y="229616"/>
                  <a:pt x="588997" y="229145"/>
                  <a:pt x="586750" y="230349"/>
                </a:cubicBezTo>
                <a:cubicBezTo>
                  <a:pt x="586483" y="232540"/>
                  <a:pt x="591512" y="229139"/>
                  <a:pt x="590864" y="233368"/>
                </a:cubicBezTo>
                <a:cubicBezTo>
                  <a:pt x="591817" y="231921"/>
                  <a:pt x="595236" y="233930"/>
                  <a:pt x="595751" y="231873"/>
                </a:cubicBezTo>
                <a:cubicBezTo>
                  <a:pt x="598608" y="232473"/>
                  <a:pt x="597713" y="236531"/>
                  <a:pt x="595922" y="237702"/>
                </a:cubicBezTo>
                <a:cubicBezTo>
                  <a:pt x="594617" y="238112"/>
                  <a:pt x="595560" y="235388"/>
                  <a:pt x="595179" y="235254"/>
                </a:cubicBezTo>
                <a:cubicBezTo>
                  <a:pt x="593827" y="234788"/>
                  <a:pt x="594389" y="236931"/>
                  <a:pt x="593674" y="237321"/>
                </a:cubicBezTo>
                <a:cubicBezTo>
                  <a:pt x="592160" y="238150"/>
                  <a:pt x="588912" y="236636"/>
                  <a:pt x="587845" y="237493"/>
                </a:cubicBezTo>
                <a:cubicBezTo>
                  <a:pt x="588438" y="238583"/>
                  <a:pt x="588637" y="239845"/>
                  <a:pt x="588407" y="241065"/>
                </a:cubicBezTo>
                <a:cubicBezTo>
                  <a:pt x="591055" y="241541"/>
                  <a:pt x="592055" y="239684"/>
                  <a:pt x="595351" y="241065"/>
                </a:cubicBezTo>
                <a:cubicBezTo>
                  <a:pt x="595284" y="242617"/>
                  <a:pt x="588588" y="241417"/>
                  <a:pt x="592493" y="244065"/>
                </a:cubicBezTo>
                <a:cubicBezTo>
                  <a:pt x="591779" y="246322"/>
                  <a:pt x="589093" y="245799"/>
                  <a:pt x="587407" y="246675"/>
                </a:cubicBezTo>
                <a:cubicBezTo>
                  <a:pt x="587131" y="248351"/>
                  <a:pt x="588769" y="247046"/>
                  <a:pt x="588540" y="246865"/>
                </a:cubicBezTo>
                <a:cubicBezTo>
                  <a:pt x="591693" y="249256"/>
                  <a:pt x="586969" y="248389"/>
                  <a:pt x="587588" y="252504"/>
                </a:cubicBezTo>
                <a:cubicBezTo>
                  <a:pt x="580920" y="250418"/>
                  <a:pt x="581997" y="257219"/>
                  <a:pt x="580615" y="259438"/>
                </a:cubicBezTo>
                <a:cubicBezTo>
                  <a:pt x="578996" y="259257"/>
                  <a:pt x="577386" y="259086"/>
                  <a:pt x="577425" y="257733"/>
                </a:cubicBezTo>
                <a:cubicBezTo>
                  <a:pt x="574805" y="256781"/>
                  <a:pt x="577177" y="262972"/>
                  <a:pt x="573472" y="260543"/>
                </a:cubicBezTo>
                <a:cubicBezTo>
                  <a:pt x="572129" y="263477"/>
                  <a:pt x="575329" y="263191"/>
                  <a:pt x="574958" y="265439"/>
                </a:cubicBezTo>
                <a:cubicBezTo>
                  <a:pt x="574519" y="268061"/>
                  <a:pt x="574075" y="270687"/>
                  <a:pt x="573624" y="273316"/>
                </a:cubicBezTo>
                <a:cubicBezTo>
                  <a:pt x="573834" y="275078"/>
                  <a:pt x="575139" y="273116"/>
                  <a:pt x="577005" y="273897"/>
                </a:cubicBezTo>
                <a:cubicBezTo>
                  <a:pt x="576663" y="276755"/>
                  <a:pt x="578558" y="277784"/>
                  <a:pt x="575100" y="278212"/>
                </a:cubicBezTo>
                <a:cubicBezTo>
                  <a:pt x="576891" y="281194"/>
                  <a:pt x="574596" y="279412"/>
                  <a:pt x="573396" y="281403"/>
                </a:cubicBezTo>
                <a:cubicBezTo>
                  <a:pt x="571214" y="280936"/>
                  <a:pt x="576586" y="276983"/>
                  <a:pt x="570538" y="277450"/>
                </a:cubicBezTo>
                <a:cubicBezTo>
                  <a:pt x="568947" y="277536"/>
                  <a:pt x="569119" y="280108"/>
                  <a:pt x="568633" y="281765"/>
                </a:cubicBezTo>
                <a:cubicBezTo>
                  <a:pt x="569374" y="282957"/>
                  <a:pt x="570407" y="283941"/>
                  <a:pt x="571633" y="284623"/>
                </a:cubicBezTo>
                <a:cubicBezTo>
                  <a:pt x="568690" y="287785"/>
                  <a:pt x="565918" y="283079"/>
                  <a:pt x="564299" y="286851"/>
                </a:cubicBezTo>
                <a:cubicBezTo>
                  <a:pt x="562242" y="286328"/>
                  <a:pt x="564252" y="282918"/>
                  <a:pt x="562813" y="281965"/>
                </a:cubicBezTo>
                <a:lnTo>
                  <a:pt x="558298" y="281194"/>
                </a:lnTo>
                <a:cubicBezTo>
                  <a:pt x="556546" y="281403"/>
                  <a:pt x="558498" y="282718"/>
                  <a:pt x="557727" y="284575"/>
                </a:cubicBezTo>
                <a:cubicBezTo>
                  <a:pt x="556022" y="285680"/>
                  <a:pt x="555879" y="284718"/>
                  <a:pt x="554355" y="284003"/>
                </a:cubicBezTo>
                <a:cubicBezTo>
                  <a:pt x="554412" y="284956"/>
                  <a:pt x="555308" y="285318"/>
                  <a:pt x="555098" y="286451"/>
                </a:cubicBezTo>
                <a:cubicBezTo>
                  <a:pt x="558251" y="287185"/>
                  <a:pt x="557955" y="283013"/>
                  <a:pt x="562242" y="285346"/>
                </a:cubicBezTo>
                <a:cubicBezTo>
                  <a:pt x="562242" y="287375"/>
                  <a:pt x="561623" y="288023"/>
                  <a:pt x="560537" y="288528"/>
                </a:cubicBezTo>
                <a:cubicBezTo>
                  <a:pt x="560727" y="288433"/>
                  <a:pt x="557136" y="289099"/>
                  <a:pt x="558089" y="289280"/>
                </a:cubicBezTo>
                <a:cubicBezTo>
                  <a:pt x="557136" y="289099"/>
                  <a:pt x="557194" y="287804"/>
                  <a:pt x="556031" y="287766"/>
                </a:cubicBezTo>
                <a:cubicBezTo>
                  <a:pt x="553745" y="287699"/>
                  <a:pt x="552355" y="289318"/>
                  <a:pt x="550202" y="287937"/>
                </a:cubicBezTo>
                <a:cubicBezTo>
                  <a:pt x="549916" y="291747"/>
                  <a:pt x="554774" y="291966"/>
                  <a:pt x="558641" y="292843"/>
                </a:cubicBezTo>
                <a:cubicBezTo>
                  <a:pt x="560213" y="293795"/>
                  <a:pt x="558289" y="295310"/>
                  <a:pt x="558260" y="295100"/>
                </a:cubicBezTo>
                <a:cubicBezTo>
                  <a:pt x="558384" y="295891"/>
                  <a:pt x="560165" y="297529"/>
                  <a:pt x="560165" y="297738"/>
                </a:cubicBezTo>
                <a:cubicBezTo>
                  <a:pt x="560165" y="299234"/>
                  <a:pt x="557127" y="300872"/>
                  <a:pt x="559403" y="302244"/>
                </a:cubicBezTo>
                <a:cubicBezTo>
                  <a:pt x="559127" y="304758"/>
                  <a:pt x="554746" y="301510"/>
                  <a:pt x="553383" y="303549"/>
                </a:cubicBezTo>
                <a:cubicBezTo>
                  <a:pt x="551278" y="306673"/>
                  <a:pt x="553964" y="305044"/>
                  <a:pt x="549812" y="304101"/>
                </a:cubicBezTo>
                <a:cubicBezTo>
                  <a:pt x="548650" y="306320"/>
                  <a:pt x="550450" y="307283"/>
                  <a:pt x="550174" y="308797"/>
                </a:cubicBezTo>
                <a:cubicBezTo>
                  <a:pt x="549697" y="311388"/>
                  <a:pt x="547592" y="311007"/>
                  <a:pt x="546964" y="314055"/>
                </a:cubicBezTo>
                <a:cubicBezTo>
                  <a:pt x="550955" y="315960"/>
                  <a:pt x="549459" y="310121"/>
                  <a:pt x="553164" y="311626"/>
                </a:cubicBezTo>
                <a:cubicBezTo>
                  <a:pt x="553224" y="314826"/>
                  <a:pt x="550715" y="317489"/>
                  <a:pt x="547516" y="317617"/>
                </a:cubicBezTo>
                <a:cubicBezTo>
                  <a:pt x="546116" y="320922"/>
                  <a:pt x="547973" y="321922"/>
                  <a:pt x="547516" y="324570"/>
                </a:cubicBezTo>
                <a:cubicBezTo>
                  <a:pt x="545192" y="327428"/>
                  <a:pt x="541915" y="320999"/>
                  <a:pt x="539439" y="324361"/>
                </a:cubicBezTo>
                <a:cubicBezTo>
                  <a:pt x="539829" y="325856"/>
                  <a:pt x="543935" y="324266"/>
                  <a:pt x="542049" y="329438"/>
                </a:cubicBezTo>
                <a:cubicBezTo>
                  <a:pt x="543889" y="328598"/>
                  <a:pt x="545991" y="328536"/>
                  <a:pt x="547878" y="329266"/>
                </a:cubicBezTo>
                <a:cubicBezTo>
                  <a:pt x="547440" y="332124"/>
                  <a:pt x="546811" y="330504"/>
                  <a:pt x="545430" y="330019"/>
                </a:cubicBezTo>
                <a:cubicBezTo>
                  <a:pt x="543401" y="329952"/>
                  <a:pt x="542573" y="331524"/>
                  <a:pt x="542411" y="334143"/>
                </a:cubicBezTo>
                <a:cubicBezTo>
                  <a:pt x="539810" y="334334"/>
                  <a:pt x="541172" y="331714"/>
                  <a:pt x="539410" y="331285"/>
                </a:cubicBezTo>
                <a:cubicBezTo>
                  <a:pt x="533819" y="328980"/>
                  <a:pt x="536905" y="338906"/>
                  <a:pt x="532438" y="338220"/>
                </a:cubicBezTo>
                <a:cubicBezTo>
                  <a:pt x="532981" y="339487"/>
                  <a:pt x="534838" y="339820"/>
                  <a:pt x="534124" y="342030"/>
                </a:cubicBezTo>
                <a:cubicBezTo>
                  <a:pt x="535162" y="343125"/>
                  <a:pt x="536458" y="341249"/>
                  <a:pt x="536572" y="341287"/>
                </a:cubicBezTo>
                <a:cubicBezTo>
                  <a:pt x="537934" y="341744"/>
                  <a:pt x="537658" y="343401"/>
                  <a:pt x="538477" y="343925"/>
                </a:cubicBezTo>
                <a:cubicBezTo>
                  <a:pt x="539610" y="344678"/>
                  <a:pt x="539429" y="342973"/>
                  <a:pt x="539782" y="342973"/>
                </a:cubicBezTo>
                <a:cubicBezTo>
                  <a:pt x="540534" y="342973"/>
                  <a:pt x="542639" y="345983"/>
                  <a:pt x="543163" y="343544"/>
                </a:cubicBezTo>
                <a:cubicBezTo>
                  <a:pt x="546821" y="344497"/>
                  <a:pt x="540239" y="349192"/>
                  <a:pt x="540525" y="345449"/>
                </a:cubicBezTo>
                <a:cubicBezTo>
                  <a:pt x="539258" y="345992"/>
                  <a:pt x="538925" y="347840"/>
                  <a:pt x="536762" y="347126"/>
                </a:cubicBezTo>
                <a:cubicBezTo>
                  <a:pt x="536543" y="347535"/>
                  <a:pt x="539191" y="352183"/>
                  <a:pt x="536000" y="351631"/>
                </a:cubicBezTo>
                <a:cubicBezTo>
                  <a:pt x="532981" y="351126"/>
                  <a:pt x="536115" y="353850"/>
                  <a:pt x="535229" y="356146"/>
                </a:cubicBezTo>
                <a:cubicBezTo>
                  <a:pt x="531333" y="354365"/>
                  <a:pt x="533429" y="361051"/>
                  <a:pt x="529962" y="359889"/>
                </a:cubicBezTo>
                <a:cubicBezTo>
                  <a:pt x="529742" y="364223"/>
                  <a:pt x="526847" y="364794"/>
                  <a:pt x="525199" y="367204"/>
                </a:cubicBezTo>
                <a:cubicBezTo>
                  <a:pt x="521989" y="367500"/>
                  <a:pt x="523294" y="364575"/>
                  <a:pt x="521084" y="364185"/>
                </a:cubicBezTo>
                <a:cubicBezTo>
                  <a:pt x="522199" y="366471"/>
                  <a:pt x="519103" y="369700"/>
                  <a:pt x="520684" y="373386"/>
                </a:cubicBezTo>
                <a:cubicBezTo>
                  <a:pt x="517827" y="373034"/>
                  <a:pt x="516826" y="374910"/>
                  <a:pt x="515045" y="372434"/>
                </a:cubicBezTo>
                <a:cubicBezTo>
                  <a:pt x="515150" y="374662"/>
                  <a:pt x="514636" y="377348"/>
                  <a:pt x="517665" y="377510"/>
                </a:cubicBezTo>
                <a:cubicBezTo>
                  <a:pt x="517446" y="380006"/>
                  <a:pt x="516141" y="380939"/>
                  <a:pt x="513702" y="380368"/>
                </a:cubicBezTo>
                <a:cubicBezTo>
                  <a:pt x="513407" y="382016"/>
                  <a:pt x="517855" y="384749"/>
                  <a:pt x="513131" y="383749"/>
                </a:cubicBezTo>
                <a:cubicBezTo>
                  <a:pt x="513645" y="386997"/>
                  <a:pt x="516941" y="382797"/>
                  <a:pt x="519894" y="384902"/>
                </a:cubicBezTo>
                <a:cubicBezTo>
                  <a:pt x="520446" y="388474"/>
                  <a:pt x="517036" y="386464"/>
                  <a:pt x="515007" y="386388"/>
                </a:cubicBezTo>
                <a:cubicBezTo>
                  <a:pt x="515625" y="388203"/>
                  <a:pt x="516507" y="389917"/>
                  <a:pt x="517627" y="391474"/>
                </a:cubicBezTo>
                <a:cubicBezTo>
                  <a:pt x="517731" y="394512"/>
                  <a:pt x="515617" y="393265"/>
                  <a:pt x="514598" y="395598"/>
                </a:cubicBezTo>
                <a:cubicBezTo>
                  <a:pt x="514436" y="395979"/>
                  <a:pt x="514598" y="397646"/>
                  <a:pt x="514217" y="397846"/>
                </a:cubicBezTo>
                <a:cubicBezTo>
                  <a:pt x="513836" y="398046"/>
                  <a:pt x="508997" y="393789"/>
                  <a:pt x="510645" y="398399"/>
                </a:cubicBezTo>
                <a:cubicBezTo>
                  <a:pt x="509064" y="398037"/>
                  <a:pt x="507483" y="397675"/>
                  <a:pt x="507082" y="398951"/>
                </a:cubicBezTo>
                <a:cubicBezTo>
                  <a:pt x="505787" y="398551"/>
                  <a:pt x="506473" y="396732"/>
                  <a:pt x="506520" y="395379"/>
                </a:cubicBezTo>
                <a:cubicBezTo>
                  <a:pt x="506759" y="393227"/>
                  <a:pt x="502930" y="393970"/>
                  <a:pt x="503663" y="391426"/>
                </a:cubicBezTo>
                <a:cubicBezTo>
                  <a:pt x="502577" y="391426"/>
                  <a:pt x="501606" y="394160"/>
                  <a:pt x="501758" y="395741"/>
                </a:cubicBezTo>
                <a:cubicBezTo>
                  <a:pt x="501758" y="396189"/>
                  <a:pt x="503663" y="398170"/>
                  <a:pt x="503663" y="398380"/>
                </a:cubicBezTo>
                <a:cubicBezTo>
                  <a:pt x="503663" y="398999"/>
                  <a:pt x="502244" y="400285"/>
                  <a:pt x="501968" y="401570"/>
                </a:cubicBezTo>
                <a:cubicBezTo>
                  <a:pt x="501529" y="403571"/>
                  <a:pt x="503168" y="405380"/>
                  <a:pt x="502139" y="407400"/>
                </a:cubicBezTo>
                <a:cubicBezTo>
                  <a:pt x="496643" y="407990"/>
                  <a:pt x="499005" y="403018"/>
                  <a:pt x="493509" y="403590"/>
                </a:cubicBezTo>
                <a:cubicBezTo>
                  <a:pt x="494605" y="405495"/>
                  <a:pt x="497519" y="406028"/>
                  <a:pt x="498567" y="407924"/>
                </a:cubicBezTo>
                <a:lnTo>
                  <a:pt x="496853" y="418068"/>
                </a:lnTo>
                <a:cubicBezTo>
                  <a:pt x="493509" y="418496"/>
                  <a:pt x="491604" y="420925"/>
                  <a:pt x="487251" y="419973"/>
                </a:cubicBezTo>
                <a:cubicBezTo>
                  <a:pt x="487737" y="416458"/>
                  <a:pt x="491347" y="417353"/>
                  <a:pt x="490842" y="412467"/>
                </a:cubicBezTo>
                <a:lnTo>
                  <a:pt x="488594" y="412077"/>
                </a:lnTo>
                <a:cubicBezTo>
                  <a:pt x="487280" y="412077"/>
                  <a:pt x="487775" y="413105"/>
                  <a:pt x="488404" y="413210"/>
                </a:cubicBezTo>
                <a:cubicBezTo>
                  <a:pt x="487099" y="414163"/>
                  <a:pt x="485794" y="415115"/>
                  <a:pt x="484451" y="416010"/>
                </a:cubicBezTo>
                <a:cubicBezTo>
                  <a:pt x="483786" y="417451"/>
                  <a:pt x="482155" y="418173"/>
                  <a:pt x="480641" y="417696"/>
                </a:cubicBezTo>
                <a:cubicBezTo>
                  <a:pt x="482070" y="414372"/>
                  <a:pt x="477917" y="415010"/>
                  <a:pt x="479336" y="411677"/>
                </a:cubicBezTo>
                <a:cubicBezTo>
                  <a:pt x="481784" y="411391"/>
                  <a:pt x="483908" y="410657"/>
                  <a:pt x="483680" y="406619"/>
                </a:cubicBezTo>
                <a:cubicBezTo>
                  <a:pt x="482489" y="404818"/>
                  <a:pt x="478917" y="402371"/>
                  <a:pt x="478050" y="405666"/>
                </a:cubicBezTo>
                <a:cubicBezTo>
                  <a:pt x="477641" y="404809"/>
                  <a:pt x="476002" y="403123"/>
                  <a:pt x="476364" y="401856"/>
                </a:cubicBezTo>
                <a:cubicBezTo>
                  <a:pt x="476926" y="399894"/>
                  <a:pt x="478126" y="400599"/>
                  <a:pt x="479384" y="397741"/>
                </a:cubicBezTo>
                <a:cubicBezTo>
                  <a:pt x="479584" y="397275"/>
                  <a:pt x="480755" y="396522"/>
                  <a:pt x="480698" y="396789"/>
                </a:cubicBezTo>
                <a:cubicBezTo>
                  <a:pt x="480870" y="395894"/>
                  <a:pt x="479374" y="394684"/>
                  <a:pt x="480146" y="393217"/>
                </a:cubicBezTo>
                <a:cubicBezTo>
                  <a:pt x="480498" y="392550"/>
                  <a:pt x="483851" y="392865"/>
                  <a:pt x="483156" y="389093"/>
                </a:cubicBezTo>
                <a:cubicBezTo>
                  <a:pt x="480851" y="388140"/>
                  <a:pt x="480755" y="390340"/>
                  <a:pt x="480298" y="392093"/>
                </a:cubicBezTo>
                <a:cubicBezTo>
                  <a:pt x="477831" y="393046"/>
                  <a:pt x="478946" y="389750"/>
                  <a:pt x="478393" y="389455"/>
                </a:cubicBezTo>
                <a:cubicBezTo>
                  <a:pt x="476669" y="388502"/>
                  <a:pt x="475536" y="390807"/>
                  <a:pt x="473688" y="389817"/>
                </a:cubicBezTo>
                <a:cubicBezTo>
                  <a:pt x="472945" y="387264"/>
                  <a:pt x="475783" y="388578"/>
                  <a:pt x="476326" y="387912"/>
                </a:cubicBezTo>
                <a:cubicBezTo>
                  <a:pt x="478288" y="385645"/>
                  <a:pt x="477145" y="383854"/>
                  <a:pt x="477469" y="381149"/>
                </a:cubicBezTo>
                <a:cubicBezTo>
                  <a:pt x="479689" y="382101"/>
                  <a:pt x="484137" y="381949"/>
                  <a:pt x="484803" y="378910"/>
                </a:cubicBezTo>
                <a:cubicBezTo>
                  <a:pt x="485146" y="377377"/>
                  <a:pt x="486499" y="378910"/>
                  <a:pt x="487251" y="378168"/>
                </a:cubicBezTo>
                <a:cubicBezTo>
                  <a:pt x="488004" y="377425"/>
                  <a:pt x="486404" y="376701"/>
                  <a:pt x="486299" y="376844"/>
                </a:cubicBezTo>
                <a:cubicBezTo>
                  <a:pt x="488204" y="373824"/>
                  <a:pt x="492290" y="373243"/>
                  <a:pt x="493271" y="369919"/>
                </a:cubicBezTo>
                <a:cubicBezTo>
                  <a:pt x="493284" y="369283"/>
                  <a:pt x="492779" y="368756"/>
                  <a:pt x="492142" y="368744"/>
                </a:cubicBezTo>
                <a:cubicBezTo>
                  <a:pt x="491635" y="368733"/>
                  <a:pt x="491180" y="369056"/>
                  <a:pt x="491023" y="369538"/>
                </a:cubicBezTo>
                <a:cubicBezTo>
                  <a:pt x="489595" y="368785"/>
                  <a:pt x="491128" y="368528"/>
                  <a:pt x="491404" y="367280"/>
                </a:cubicBezTo>
                <a:cubicBezTo>
                  <a:pt x="491328" y="367604"/>
                  <a:pt x="489680" y="366395"/>
                  <a:pt x="490452" y="365966"/>
                </a:cubicBezTo>
                <a:cubicBezTo>
                  <a:pt x="492890" y="364613"/>
                  <a:pt x="491052" y="361585"/>
                  <a:pt x="493862" y="359584"/>
                </a:cubicBezTo>
                <a:cubicBezTo>
                  <a:pt x="496862" y="357451"/>
                  <a:pt x="491500" y="358756"/>
                  <a:pt x="493690" y="353764"/>
                </a:cubicBezTo>
                <a:cubicBezTo>
                  <a:pt x="494186" y="352265"/>
                  <a:pt x="494824" y="350817"/>
                  <a:pt x="495595" y="349440"/>
                </a:cubicBezTo>
                <a:cubicBezTo>
                  <a:pt x="497215" y="347535"/>
                  <a:pt x="500596" y="348831"/>
                  <a:pt x="498805" y="344192"/>
                </a:cubicBezTo>
                <a:cubicBezTo>
                  <a:pt x="501853" y="348326"/>
                  <a:pt x="500710" y="338639"/>
                  <a:pt x="506139" y="341954"/>
                </a:cubicBezTo>
                <a:cubicBezTo>
                  <a:pt x="506775" y="339534"/>
                  <a:pt x="505822" y="338217"/>
                  <a:pt x="503282" y="338001"/>
                </a:cubicBezTo>
                <a:cubicBezTo>
                  <a:pt x="503053" y="334419"/>
                  <a:pt x="505787" y="335019"/>
                  <a:pt x="505558" y="331438"/>
                </a:cubicBezTo>
                <a:cubicBezTo>
                  <a:pt x="506816" y="333038"/>
                  <a:pt x="507254" y="332171"/>
                  <a:pt x="508940" y="332009"/>
                </a:cubicBezTo>
                <a:lnTo>
                  <a:pt x="509711" y="327504"/>
                </a:lnTo>
                <a:cubicBezTo>
                  <a:pt x="512474" y="328142"/>
                  <a:pt x="513521" y="326323"/>
                  <a:pt x="515722" y="326199"/>
                </a:cubicBezTo>
                <a:cubicBezTo>
                  <a:pt x="516045" y="324294"/>
                  <a:pt x="516363" y="322418"/>
                  <a:pt x="516674" y="320570"/>
                </a:cubicBezTo>
                <a:cubicBezTo>
                  <a:pt x="518350" y="320243"/>
                  <a:pt x="519797" y="319199"/>
                  <a:pt x="520636" y="317712"/>
                </a:cubicBezTo>
                <a:cubicBezTo>
                  <a:pt x="524218" y="318112"/>
                  <a:pt x="527495" y="318055"/>
                  <a:pt x="528161" y="314350"/>
                </a:cubicBezTo>
                <a:cubicBezTo>
                  <a:pt x="526313" y="313617"/>
                  <a:pt x="525885" y="314874"/>
                  <a:pt x="525523" y="316255"/>
                </a:cubicBezTo>
                <a:cubicBezTo>
                  <a:pt x="523183" y="314770"/>
                  <a:pt x="521146" y="312853"/>
                  <a:pt x="519522" y="310607"/>
                </a:cubicBezTo>
                <a:cubicBezTo>
                  <a:pt x="516969" y="312188"/>
                  <a:pt x="517322" y="309378"/>
                  <a:pt x="515407" y="307587"/>
                </a:cubicBezTo>
                <a:cubicBezTo>
                  <a:pt x="513502" y="306978"/>
                  <a:pt x="513159" y="305216"/>
                  <a:pt x="513912" y="302701"/>
                </a:cubicBezTo>
                <a:cubicBezTo>
                  <a:pt x="517284" y="302320"/>
                  <a:pt x="520665" y="301977"/>
                  <a:pt x="520694" y="296891"/>
                </a:cubicBezTo>
                <a:cubicBezTo>
                  <a:pt x="524504" y="294567"/>
                  <a:pt x="527361" y="298205"/>
                  <a:pt x="529152" y="294852"/>
                </a:cubicBezTo>
                <a:cubicBezTo>
                  <a:pt x="526628" y="290795"/>
                  <a:pt x="522599" y="293690"/>
                  <a:pt x="520713" y="289937"/>
                </a:cubicBezTo>
                <a:cubicBezTo>
                  <a:pt x="523325" y="288854"/>
                  <a:pt x="526190" y="288525"/>
                  <a:pt x="528980" y="288985"/>
                </a:cubicBezTo>
                <a:cubicBezTo>
                  <a:pt x="529723" y="287775"/>
                  <a:pt x="527018" y="288032"/>
                  <a:pt x="526923" y="287470"/>
                </a:cubicBezTo>
                <a:cubicBezTo>
                  <a:pt x="526590" y="285718"/>
                  <a:pt x="528457" y="285565"/>
                  <a:pt x="528619" y="284289"/>
                </a:cubicBezTo>
                <a:cubicBezTo>
                  <a:pt x="528780" y="283013"/>
                  <a:pt x="526885" y="282460"/>
                  <a:pt x="526713" y="281651"/>
                </a:cubicBezTo>
                <a:cubicBezTo>
                  <a:pt x="526609" y="281051"/>
                  <a:pt x="529781" y="278736"/>
                  <a:pt x="527285" y="278269"/>
                </a:cubicBezTo>
                <a:cubicBezTo>
                  <a:pt x="529552" y="277317"/>
                  <a:pt x="528523" y="275831"/>
                  <a:pt x="530495" y="273021"/>
                </a:cubicBezTo>
                <a:cubicBezTo>
                  <a:pt x="531295" y="272732"/>
                  <a:pt x="532108" y="272485"/>
                  <a:pt x="532933" y="272278"/>
                </a:cubicBezTo>
                <a:cubicBezTo>
                  <a:pt x="533200" y="271507"/>
                  <a:pt x="531533" y="270059"/>
                  <a:pt x="532381" y="268697"/>
                </a:cubicBezTo>
                <a:cubicBezTo>
                  <a:pt x="536143" y="272259"/>
                  <a:pt x="538220" y="263534"/>
                  <a:pt x="539744" y="259515"/>
                </a:cubicBezTo>
                <a:cubicBezTo>
                  <a:pt x="541782" y="259715"/>
                  <a:pt x="541887" y="261296"/>
                  <a:pt x="544058" y="261420"/>
                </a:cubicBezTo>
                <a:cubicBezTo>
                  <a:pt x="545011" y="259115"/>
                  <a:pt x="542811" y="259010"/>
                  <a:pt x="541068" y="258562"/>
                </a:cubicBezTo>
                <a:cubicBezTo>
                  <a:pt x="541230" y="256419"/>
                  <a:pt x="541687" y="254162"/>
                  <a:pt x="544078" y="254438"/>
                </a:cubicBezTo>
                <a:cubicBezTo>
                  <a:pt x="545744" y="254628"/>
                  <a:pt x="545392" y="251895"/>
                  <a:pt x="547097" y="250313"/>
                </a:cubicBezTo>
                <a:cubicBezTo>
                  <a:pt x="548758" y="251403"/>
                  <a:pt x="550799" y="251748"/>
                  <a:pt x="552726" y="251266"/>
                </a:cubicBezTo>
                <a:cubicBezTo>
                  <a:pt x="553585" y="249028"/>
                  <a:pt x="553585" y="246551"/>
                  <a:pt x="552726" y="244313"/>
                </a:cubicBezTo>
                <a:cubicBezTo>
                  <a:pt x="550612" y="244132"/>
                  <a:pt x="551383" y="248008"/>
                  <a:pt x="549707" y="248437"/>
                </a:cubicBezTo>
                <a:cubicBezTo>
                  <a:pt x="548611" y="248228"/>
                  <a:pt x="549059" y="246913"/>
                  <a:pt x="548964" y="245999"/>
                </a:cubicBezTo>
                <a:cubicBezTo>
                  <a:pt x="547500" y="246706"/>
                  <a:pt x="545823" y="246835"/>
                  <a:pt x="544268" y="246361"/>
                </a:cubicBezTo>
                <a:cubicBezTo>
                  <a:pt x="545649" y="243656"/>
                  <a:pt x="549383" y="244275"/>
                  <a:pt x="551793" y="242998"/>
                </a:cubicBezTo>
                <a:cubicBezTo>
                  <a:pt x="550040" y="240655"/>
                  <a:pt x="552669" y="239560"/>
                  <a:pt x="554803" y="238864"/>
                </a:cubicBezTo>
                <a:cubicBezTo>
                  <a:pt x="554269" y="237598"/>
                  <a:pt x="552412" y="237264"/>
                  <a:pt x="553126" y="235112"/>
                </a:cubicBezTo>
                <a:cubicBezTo>
                  <a:pt x="557546" y="239960"/>
                  <a:pt x="560270" y="232787"/>
                  <a:pt x="562166" y="229682"/>
                </a:cubicBezTo>
                <a:cubicBezTo>
                  <a:pt x="568566" y="229111"/>
                  <a:pt x="567033" y="234150"/>
                  <a:pt x="571691" y="234788"/>
                </a:cubicBezTo>
                <a:cubicBezTo>
                  <a:pt x="572815" y="231340"/>
                  <a:pt x="569395" y="231130"/>
                  <a:pt x="567947" y="229511"/>
                </a:cubicBezTo>
                <a:cubicBezTo>
                  <a:pt x="567528" y="228492"/>
                  <a:pt x="569338" y="225882"/>
                  <a:pt x="568709" y="225006"/>
                </a:cubicBezTo>
                <a:cubicBezTo>
                  <a:pt x="568709" y="224948"/>
                  <a:pt x="567576" y="224853"/>
                  <a:pt x="567585" y="224815"/>
                </a:cubicBezTo>
                <a:cubicBezTo>
                  <a:pt x="567747" y="223863"/>
                  <a:pt x="571195" y="220376"/>
                  <a:pt x="566099" y="219929"/>
                </a:cubicBezTo>
                <a:cubicBezTo>
                  <a:pt x="568185" y="213090"/>
                  <a:pt x="573719" y="211080"/>
                  <a:pt x="578539" y="208127"/>
                </a:cubicBezTo>
                <a:cubicBezTo>
                  <a:pt x="577139" y="203927"/>
                  <a:pt x="579606" y="202736"/>
                  <a:pt x="580254" y="197983"/>
                </a:cubicBezTo>
                <a:cubicBezTo>
                  <a:pt x="583044" y="198650"/>
                  <a:pt x="584064" y="196850"/>
                  <a:pt x="585330" y="195364"/>
                </a:cubicBezTo>
                <a:cubicBezTo>
                  <a:pt x="585156" y="191900"/>
                  <a:pt x="585745" y="188440"/>
                  <a:pt x="587054" y="185229"/>
                </a:cubicBezTo>
                <a:cubicBezTo>
                  <a:pt x="586016" y="183648"/>
                  <a:pt x="584197" y="182629"/>
                  <a:pt x="585759" y="179209"/>
                </a:cubicBezTo>
                <a:cubicBezTo>
                  <a:pt x="587035" y="179609"/>
                  <a:pt x="587807" y="179295"/>
                  <a:pt x="588207" y="178457"/>
                </a:cubicBezTo>
                <a:cubicBezTo>
                  <a:pt x="591293" y="178876"/>
                  <a:pt x="590160" y="180724"/>
                  <a:pt x="592712" y="179228"/>
                </a:cubicBezTo>
                <a:cubicBezTo>
                  <a:pt x="594779" y="179971"/>
                  <a:pt x="594484" y="176857"/>
                  <a:pt x="595570" y="176228"/>
                </a:cubicBezTo>
                <a:cubicBezTo>
                  <a:pt x="596017" y="175961"/>
                  <a:pt x="597475" y="176933"/>
                  <a:pt x="597818" y="176609"/>
                </a:cubicBezTo>
                <a:cubicBezTo>
                  <a:pt x="598160" y="176285"/>
                  <a:pt x="597818" y="174599"/>
                  <a:pt x="598199" y="174352"/>
                </a:cubicBezTo>
                <a:cubicBezTo>
                  <a:pt x="599904" y="173399"/>
                  <a:pt x="599008" y="171713"/>
                  <a:pt x="600475" y="167789"/>
                </a:cubicBezTo>
                <a:cubicBezTo>
                  <a:pt x="600608" y="167436"/>
                  <a:pt x="602856" y="167227"/>
                  <a:pt x="602923" y="167046"/>
                </a:cubicBezTo>
                <a:cubicBezTo>
                  <a:pt x="604066" y="163893"/>
                  <a:pt x="603590" y="160483"/>
                  <a:pt x="604647" y="156902"/>
                </a:cubicBezTo>
                <a:cubicBezTo>
                  <a:pt x="606743" y="157530"/>
                  <a:pt x="606371" y="154682"/>
                  <a:pt x="607505" y="153901"/>
                </a:cubicBezTo>
                <a:cubicBezTo>
                  <a:pt x="608638" y="153120"/>
                  <a:pt x="611191" y="154435"/>
                  <a:pt x="611257" y="152215"/>
                </a:cubicBezTo>
                <a:cubicBezTo>
                  <a:pt x="610953" y="149272"/>
                  <a:pt x="607895" y="153797"/>
                  <a:pt x="605438" y="152396"/>
                </a:cubicBezTo>
                <a:cubicBezTo>
                  <a:pt x="605171" y="149225"/>
                  <a:pt x="608133" y="150606"/>
                  <a:pt x="609390" y="149587"/>
                </a:cubicBezTo>
                <a:cubicBezTo>
                  <a:pt x="610267" y="147310"/>
                  <a:pt x="609124" y="146472"/>
                  <a:pt x="609029" y="144891"/>
                </a:cubicBezTo>
                <a:cubicBezTo>
                  <a:pt x="607460" y="145028"/>
                  <a:pt x="606237" y="146308"/>
                  <a:pt x="606171" y="147882"/>
                </a:cubicBezTo>
                <a:cubicBezTo>
                  <a:pt x="603380" y="147882"/>
                  <a:pt x="604076" y="145415"/>
                  <a:pt x="600732" y="145805"/>
                </a:cubicBezTo>
                <a:cubicBezTo>
                  <a:pt x="599142" y="145891"/>
                  <a:pt x="599323" y="148463"/>
                  <a:pt x="598827" y="150110"/>
                </a:cubicBezTo>
                <a:lnTo>
                  <a:pt x="594322" y="149348"/>
                </a:lnTo>
                <a:cubicBezTo>
                  <a:pt x="594970" y="147939"/>
                  <a:pt x="596598" y="147920"/>
                  <a:pt x="597179" y="146358"/>
                </a:cubicBezTo>
                <a:cubicBezTo>
                  <a:pt x="594028" y="146081"/>
                  <a:pt x="590851" y="146326"/>
                  <a:pt x="587778" y="147082"/>
                </a:cubicBezTo>
                <a:cubicBezTo>
                  <a:pt x="586483" y="146691"/>
                  <a:pt x="586921" y="148615"/>
                  <a:pt x="586273" y="149139"/>
                </a:cubicBezTo>
                <a:cubicBezTo>
                  <a:pt x="585626" y="149663"/>
                  <a:pt x="583140" y="148625"/>
                  <a:pt x="583635" y="151044"/>
                </a:cubicBezTo>
                <a:cubicBezTo>
                  <a:pt x="578225" y="150730"/>
                  <a:pt x="576377" y="150911"/>
                  <a:pt x="573872" y="147062"/>
                </a:cubicBezTo>
                <a:cubicBezTo>
                  <a:pt x="571918" y="148937"/>
                  <a:pt x="569701" y="150515"/>
                  <a:pt x="567290" y="151749"/>
                </a:cubicBezTo>
                <a:lnTo>
                  <a:pt x="561642" y="150796"/>
                </a:lnTo>
                <a:cubicBezTo>
                  <a:pt x="559971" y="151123"/>
                  <a:pt x="558529" y="152168"/>
                  <a:pt x="557698" y="153654"/>
                </a:cubicBezTo>
                <a:cubicBezTo>
                  <a:pt x="554936" y="151825"/>
                  <a:pt x="550688" y="154682"/>
                  <a:pt x="550926" y="152501"/>
                </a:cubicBezTo>
                <a:cubicBezTo>
                  <a:pt x="549631" y="151949"/>
                  <a:pt x="550078" y="154244"/>
                  <a:pt x="549431" y="154568"/>
                </a:cubicBezTo>
                <a:cubicBezTo>
                  <a:pt x="547526" y="155521"/>
                  <a:pt x="542849" y="153930"/>
                  <a:pt x="543020" y="158121"/>
                </a:cubicBezTo>
                <a:cubicBezTo>
                  <a:pt x="539420" y="154159"/>
                  <a:pt x="536353" y="160521"/>
                  <a:pt x="533800" y="164674"/>
                </a:cubicBezTo>
                <a:cubicBezTo>
                  <a:pt x="531285" y="163922"/>
                  <a:pt x="529514" y="164227"/>
                  <a:pt x="528914" y="166160"/>
                </a:cubicBezTo>
                <a:cubicBezTo>
                  <a:pt x="528033" y="165074"/>
                  <a:pt x="527452" y="163778"/>
                  <a:pt x="527228" y="162398"/>
                </a:cubicBezTo>
                <a:cubicBezTo>
                  <a:pt x="524104" y="164503"/>
                  <a:pt x="517350" y="161207"/>
                  <a:pt x="522141" y="165017"/>
                </a:cubicBezTo>
                <a:cubicBezTo>
                  <a:pt x="521018" y="165484"/>
                  <a:pt x="517207" y="168960"/>
                  <a:pt x="517265" y="166503"/>
                </a:cubicBezTo>
                <a:cubicBezTo>
                  <a:pt x="516069" y="167236"/>
                  <a:pt x="515085" y="168266"/>
                  <a:pt x="514407" y="169494"/>
                </a:cubicBezTo>
                <a:cubicBezTo>
                  <a:pt x="512921" y="167475"/>
                  <a:pt x="507854" y="170037"/>
                  <a:pt x="506911" y="165912"/>
                </a:cubicBezTo>
                <a:cubicBezTo>
                  <a:pt x="505149" y="166112"/>
                  <a:pt x="507101" y="167427"/>
                  <a:pt x="506330" y="169284"/>
                </a:cubicBezTo>
                <a:cubicBezTo>
                  <a:pt x="506244" y="171999"/>
                  <a:pt x="511559" y="170865"/>
                  <a:pt x="510073" y="174561"/>
                </a:cubicBezTo>
                <a:cubicBezTo>
                  <a:pt x="509095" y="173032"/>
                  <a:pt x="507063" y="172586"/>
                  <a:pt x="505535" y="173564"/>
                </a:cubicBezTo>
                <a:cubicBezTo>
                  <a:pt x="504732" y="174077"/>
                  <a:pt x="504192" y="174914"/>
                  <a:pt x="504053" y="175857"/>
                </a:cubicBezTo>
                <a:cubicBezTo>
                  <a:pt x="502644" y="175209"/>
                  <a:pt x="502625" y="173571"/>
                  <a:pt x="501053" y="172999"/>
                </a:cubicBezTo>
                <a:cubicBezTo>
                  <a:pt x="497487" y="172721"/>
                  <a:pt x="494370" y="175386"/>
                  <a:pt x="494091" y="178952"/>
                </a:cubicBezTo>
                <a:cubicBezTo>
                  <a:pt x="494066" y="179282"/>
                  <a:pt x="494066" y="179613"/>
                  <a:pt x="494090" y="179943"/>
                </a:cubicBezTo>
                <a:cubicBezTo>
                  <a:pt x="492871" y="181848"/>
                  <a:pt x="492995" y="179057"/>
                  <a:pt x="493347" y="177495"/>
                </a:cubicBezTo>
                <a:cubicBezTo>
                  <a:pt x="490916" y="176860"/>
                  <a:pt x="489595" y="177793"/>
                  <a:pt x="489385" y="180295"/>
                </a:cubicBezTo>
                <a:cubicBezTo>
                  <a:pt x="487823" y="179428"/>
                  <a:pt x="486832" y="178152"/>
                  <a:pt x="485261" y="177276"/>
                </a:cubicBezTo>
                <a:cubicBezTo>
                  <a:pt x="485261" y="177990"/>
                  <a:pt x="486651" y="179695"/>
                  <a:pt x="485813" y="180848"/>
                </a:cubicBezTo>
                <a:cubicBezTo>
                  <a:pt x="485337" y="181505"/>
                  <a:pt x="484403" y="179619"/>
                  <a:pt x="484861" y="179533"/>
                </a:cubicBezTo>
                <a:cubicBezTo>
                  <a:pt x="483994" y="179695"/>
                  <a:pt x="480403" y="184134"/>
                  <a:pt x="478469" y="183086"/>
                </a:cubicBezTo>
                <a:cubicBezTo>
                  <a:pt x="478717" y="181581"/>
                  <a:pt x="478974" y="180076"/>
                  <a:pt x="479231" y="178581"/>
                </a:cubicBezTo>
                <a:cubicBezTo>
                  <a:pt x="476602" y="177628"/>
                  <a:pt x="478984" y="183819"/>
                  <a:pt x="475278" y="181391"/>
                </a:cubicBezTo>
                <a:cubicBezTo>
                  <a:pt x="475421" y="186248"/>
                  <a:pt x="472183" y="186334"/>
                  <a:pt x="471468" y="190020"/>
                </a:cubicBezTo>
                <a:cubicBezTo>
                  <a:pt x="469935" y="189125"/>
                  <a:pt x="465420" y="190344"/>
                  <a:pt x="466030" y="187934"/>
                </a:cubicBezTo>
                <a:cubicBezTo>
                  <a:pt x="464963" y="188496"/>
                  <a:pt x="461601" y="192601"/>
                  <a:pt x="463944" y="193383"/>
                </a:cubicBezTo>
                <a:cubicBezTo>
                  <a:pt x="463506" y="194621"/>
                  <a:pt x="462705" y="193811"/>
                  <a:pt x="462820" y="193192"/>
                </a:cubicBezTo>
                <a:cubicBezTo>
                  <a:pt x="461477" y="193192"/>
                  <a:pt x="460848" y="192601"/>
                  <a:pt x="460753" y="191678"/>
                </a:cubicBezTo>
                <a:cubicBezTo>
                  <a:pt x="459187" y="191827"/>
                  <a:pt x="457969" y="193106"/>
                  <a:pt x="457895" y="194678"/>
                </a:cubicBezTo>
                <a:cubicBezTo>
                  <a:pt x="456267" y="192249"/>
                  <a:pt x="454362" y="194373"/>
                  <a:pt x="453009" y="196164"/>
                </a:cubicBezTo>
                <a:cubicBezTo>
                  <a:pt x="454104" y="199974"/>
                  <a:pt x="458429" y="193678"/>
                  <a:pt x="459772" y="197316"/>
                </a:cubicBezTo>
                <a:cubicBezTo>
                  <a:pt x="458895" y="198878"/>
                  <a:pt x="457619" y="199869"/>
                  <a:pt x="456752" y="201441"/>
                </a:cubicBezTo>
                <a:cubicBezTo>
                  <a:pt x="454257" y="198183"/>
                  <a:pt x="448904" y="203108"/>
                  <a:pt x="450561" y="196907"/>
                </a:cubicBezTo>
                <a:cubicBezTo>
                  <a:pt x="445379" y="197526"/>
                  <a:pt x="443703" y="203079"/>
                  <a:pt x="440760" y="206841"/>
                </a:cubicBezTo>
                <a:cubicBezTo>
                  <a:pt x="438502" y="203517"/>
                  <a:pt x="437960" y="208804"/>
                  <a:pt x="433816" y="206841"/>
                </a:cubicBezTo>
                <a:cubicBezTo>
                  <a:pt x="432454" y="206794"/>
                  <a:pt x="432511" y="208746"/>
                  <a:pt x="432111" y="210032"/>
                </a:cubicBezTo>
                <a:cubicBezTo>
                  <a:pt x="430694" y="209370"/>
                  <a:pt x="429976" y="207768"/>
                  <a:pt x="430425" y="206270"/>
                </a:cubicBezTo>
                <a:cubicBezTo>
                  <a:pt x="429082" y="206270"/>
                  <a:pt x="429130" y="208175"/>
                  <a:pt x="428730" y="209451"/>
                </a:cubicBezTo>
                <a:cubicBezTo>
                  <a:pt x="427844" y="208594"/>
                  <a:pt x="426949" y="207746"/>
                  <a:pt x="426472" y="209070"/>
                </a:cubicBezTo>
                <a:cubicBezTo>
                  <a:pt x="424415" y="207222"/>
                  <a:pt x="426358" y="202546"/>
                  <a:pt x="423120" y="201545"/>
                </a:cubicBezTo>
                <a:cubicBezTo>
                  <a:pt x="420167" y="201326"/>
                  <a:pt x="424339" y="203746"/>
                  <a:pt x="422348" y="206051"/>
                </a:cubicBezTo>
                <a:cubicBezTo>
                  <a:pt x="420885" y="206763"/>
                  <a:pt x="419207" y="206892"/>
                  <a:pt x="417652" y="206413"/>
                </a:cubicBezTo>
                <a:cubicBezTo>
                  <a:pt x="417605" y="208213"/>
                  <a:pt x="421091" y="212413"/>
                  <a:pt x="417652" y="213366"/>
                </a:cubicBezTo>
                <a:cubicBezTo>
                  <a:pt x="418471" y="216414"/>
                  <a:pt x="421462" y="217900"/>
                  <a:pt x="420824" y="222024"/>
                </a:cubicBezTo>
                <a:cubicBezTo>
                  <a:pt x="417014" y="220386"/>
                  <a:pt x="416614" y="223129"/>
                  <a:pt x="419310" y="224082"/>
                </a:cubicBezTo>
                <a:cubicBezTo>
                  <a:pt x="417709" y="226634"/>
                  <a:pt x="414699" y="221024"/>
                  <a:pt x="414223" y="226701"/>
                </a:cubicBezTo>
                <a:cubicBezTo>
                  <a:pt x="413137" y="226482"/>
                  <a:pt x="413585" y="225167"/>
                  <a:pt x="413490" y="224263"/>
                </a:cubicBezTo>
                <a:cubicBezTo>
                  <a:pt x="413166" y="221834"/>
                  <a:pt x="407841" y="222967"/>
                  <a:pt x="409746" y="218976"/>
                </a:cubicBezTo>
                <a:cubicBezTo>
                  <a:pt x="406298" y="217852"/>
                  <a:pt x="406089" y="221272"/>
                  <a:pt x="404470" y="222729"/>
                </a:cubicBezTo>
                <a:cubicBezTo>
                  <a:pt x="401826" y="221341"/>
                  <a:pt x="398559" y="222335"/>
                  <a:pt x="397135" y="224958"/>
                </a:cubicBezTo>
                <a:cubicBezTo>
                  <a:pt x="396278" y="228720"/>
                  <a:pt x="400526" y="226425"/>
                  <a:pt x="401450" y="226863"/>
                </a:cubicBezTo>
                <a:cubicBezTo>
                  <a:pt x="404098" y="228063"/>
                  <a:pt x="404603" y="230292"/>
                  <a:pt x="407641" y="231387"/>
                </a:cubicBezTo>
                <a:cubicBezTo>
                  <a:pt x="405536" y="233759"/>
                  <a:pt x="404898" y="233083"/>
                  <a:pt x="405555" y="236836"/>
                </a:cubicBezTo>
                <a:cubicBezTo>
                  <a:pt x="404679" y="236597"/>
                  <a:pt x="404603" y="235340"/>
                  <a:pt x="403489" y="235321"/>
                </a:cubicBezTo>
                <a:cubicBezTo>
                  <a:pt x="401955" y="235321"/>
                  <a:pt x="402917" y="236721"/>
                  <a:pt x="401984" y="237379"/>
                </a:cubicBezTo>
                <a:cubicBezTo>
                  <a:pt x="400888" y="238160"/>
                  <a:pt x="398307" y="236855"/>
                  <a:pt x="398174" y="239064"/>
                </a:cubicBezTo>
                <a:cubicBezTo>
                  <a:pt x="397221" y="239112"/>
                  <a:pt x="397221" y="238445"/>
                  <a:pt x="397221" y="237750"/>
                </a:cubicBezTo>
                <a:cubicBezTo>
                  <a:pt x="395583" y="238236"/>
                  <a:pt x="394707" y="239798"/>
                  <a:pt x="394202" y="241874"/>
                </a:cubicBezTo>
                <a:cubicBezTo>
                  <a:pt x="390458" y="240293"/>
                  <a:pt x="389087" y="243170"/>
                  <a:pt x="387439" y="240722"/>
                </a:cubicBezTo>
                <a:cubicBezTo>
                  <a:pt x="386172" y="241265"/>
                  <a:pt x="385839" y="243113"/>
                  <a:pt x="383677" y="242408"/>
                </a:cubicBezTo>
                <a:cubicBezTo>
                  <a:pt x="383746" y="244428"/>
                  <a:pt x="382994" y="246391"/>
                  <a:pt x="381591" y="247846"/>
                </a:cubicBezTo>
                <a:cubicBezTo>
                  <a:pt x="379047" y="246894"/>
                  <a:pt x="378733" y="245941"/>
                  <a:pt x="375771" y="248018"/>
                </a:cubicBezTo>
                <a:cubicBezTo>
                  <a:pt x="375056" y="248532"/>
                  <a:pt x="374733" y="247666"/>
                  <a:pt x="374447" y="248970"/>
                </a:cubicBezTo>
                <a:cubicBezTo>
                  <a:pt x="374104" y="250485"/>
                  <a:pt x="371132" y="249837"/>
                  <a:pt x="368437" y="250275"/>
                </a:cubicBezTo>
                <a:cubicBezTo>
                  <a:pt x="368275" y="251371"/>
                  <a:pt x="369665" y="251380"/>
                  <a:pt x="370494" y="251780"/>
                </a:cubicBezTo>
                <a:cubicBezTo>
                  <a:pt x="370199" y="253914"/>
                  <a:pt x="368103" y="252733"/>
                  <a:pt x="366684" y="253466"/>
                </a:cubicBezTo>
                <a:cubicBezTo>
                  <a:pt x="363951" y="255068"/>
                  <a:pt x="361879" y="257591"/>
                  <a:pt x="360836" y="260581"/>
                </a:cubicBezTo>
                <a:cubicBezTo>
                  <a:pt x="357759" y="256229"/>
                  <a:pt x="357626" y="263153"/>
                  <a:pt x="353692" y="261696"/>
                </a:cubicBezTo>
                <a:cubicBezTo>
                  <a:pt x="353882" y="260562"/>
                  <a:pt x="354082" y="259438"/>
                  <a:pt x="354273" y="258305"/>
                </a:cubicBezTo>
                <a:cubicBezTo>
                  <a:pt x="350272" y="256400"/>
                  <a:pt x="351768" y="262229"/>
                  <a:pt x="348053" y="260734"/>
                </a:cubicBezTo>
                <a:cubicBezTo>
                  <a:pt x="349215" y="255971"/>
                  <a:pt x="342243" y="258572"/>
                  <a:pt x="340357" y="258267"/>
                </a:cubicBezTo>
                <a:cubicBezTo>
                  <a:pt x="338995" y="258448"/>
                  <a:pt x="337166" y="259772"/>
                  <a:pt x="338861" y="260334"/>
                </a:cubicBezTo>
                <a:cubicBezTo>
                  <a:pt x="337633" y="261448"/>
                  <a:pt x="335823" y="259105"/>
                  <a:pt x="335832" y="264458"/>
                </a:cubicBezTo>
                <a:cubicBezTo>
                  <a:pt x="332737" y="265611"/>
                  <a:pt x="330946" y="266439"/>
                  <a:pt x="327755" y="264249"/>
                </a:cubicBezTo>
                <a:cubicBezTo>
                  <a:pt x="325364" y="264134"/>
                  <a:pt x="326603" y="269144"/>
                  <a:pt x="324545" y="269497"/>
                </a:cubicBezTo>
                <a:cubicBezTo>
                  <a:pt x="321888" y="269402"/>
                  <a:pt x="323840" y="266030"/>
                  <a:pt x="321688" y="265544"/>
                </a:cubicBezTo>
                <a:cubicBezTo>
                  <a:pt x="318221" y="264382"/>
                  <a:pt x="320326" y="271068"/>
                  <a:pt x="316421" y="269287"/>
                </a:cubicBezTo>
                <a:cubicBezTo>
                  <a:pt x="318408" y="263908"/>
                  <a:pt x="316535" y="261274"/>
                  <a:pt x="310801" y="261382"/>
                </a:cubicBezTo>
                <a:cubicBezTo>
                  <a:pt x="310867" y="263982"/>
                  <a:pt x="315839" y="265296"/>
                  <a:pt x="315487" y="267973"/>
                </a:cubicBezTo>
                <a:cubicBezTo>
                  <a:pt x="315144" y="270497"/>
                  <a:pt x="313458" y="269259"/>
                  <a:pt x="312630" y="270964"/>
                </a:cubicBezTo>
                <a:cubicBezTo>
                  <a:pt x="312715" y="273221"/>
                  <a:pt x="317773" y="271916"/>
                  <a:pt x="315249" y="276050"/>
                </a:cubicBezTo>
                <a:cubicBezTo>
                  <a:pt x="312955" y="274121"/>
                  <a:pt x="310993" y="271830"/>
                  <a:pt x="309439" y="269268"/>
                </a:cubicBezTo>
                <a:cubicBezTo>
                  <a:pt x="308486" y="269325"/>
                  <a:pt x="308124" y="270221"/>
                  <a:pt x="306991" y="270011"/>
                </a:cubicBezTo>
                <a:cubicBezTo>
                  <a:pt x="307485" y="273787"/>
                  <a:pt x="310110" y="276939"/>
                  <a:pt x="313734" y="278107"/>
                </a:cubicBezTo>
                <a:cubicBezTo>
                  <a:pt x="315373" y="277622"/>
                  <a:pt x="316240" y="276060"/>
                  <a:pt x="316744" y="273983"/>
                </a:cubicBezTo>
                <a:cubicBezTo>
                  <a:pt x="319183" y="273907"/>
                  <a:pt x="319602" y="275259"/>
                  <a:pt x="321069" y="275888"/>
                </a:cubicBezTo>
                <a:cubicBezTo>
                  <a:pt x="324564" y="275717"/>
                  <a:pt x="320392" y="273297"/>
                  <a:pt x="321831" y="271383"/>
                </a:cubicBezTo>
                <a:cubicBezTo>
                  <a:pt x="323317" y="272640"/>
                  <a:pt x="326041" y="273021"/>
                  <a:pt x="324450" y="276460"/>
                </a:cubicBezTo>
                <a:cubicBezTo>
                  <a:pt x="324984" y="277726"/>
                  <a:pt x="326841" y="278069"/>
                  <a:pt x="326126" y="280222"/>
                </a:cubicBezTo>
                <a:cubicBezTo>
                  <a:pt x="324955" y="278727"/>
                  <a:pt x="323983" y="278850"/>
                  <a:pt x="323688" y="280974"/>
                </a:cubicBezTo>
                <a:cubicBezTo>
                  <a:pt x="322945" y="279841"/>
                  <a:pt x="320707" y="279774"/>
                  <a:pt x="320688" y="278117"/>
                </a:cubicBezTo>
                <a:cubicBezTo>
                  <a:pt x="316430" y="279069"/>
                  <a:pt x="317830" y="283832"/>
                  <a:pt x="315925" y="285432"/>
                </a:cubicBezTo>
                <a:cubicBezTo>
                  <a:pt x="313068" y="285146"/>
                  <a:pt x="312687" y="283108"/>
                  <a:pt x="311991" y="281289"/>
                </a:cubicBezTo>
                <a:cubicBezTo>
                  <a:pt x="310277" y="282136"/>
                  <a:pt x="309220" y="283918"/>
                  <a:pt x="307838" y="285223"/>
                </a:cubicBezTo>
                <a:cubicBezTo>
                  <a:pt x="305934" y="282365"/>
                  <a:pt x="304524" y="285223"/>
                  <a:pt x="301076" y="284080"/>
                </a:cubicBezTo>
                <a:cubicBezTo>
                  <a:pt x="304333" y="281051"/>
                  <a:pt x="299666" y="277012"/>
                  <a:pt x="298094" y="274297"/>
                </a:cubicBezTo>
                <a:cubicBezTo>
                  <a:pt x="296900" y="275036"/>
                  <a:pt x="295915" y="276068"/>
                  <a:pt x="295237" y="277298"/>
                </a:cubicBezTo>
                <a:cubicBezTo>
                  <a:pt x="294684" y="278603"/>
                  <a:pt x="296961" y="278146"/>
                  <a:pt x="297294" y="278803"/>
                </a:cubicBezTo>
                <a:cubicBezTo>
                  <a:pt x="298094" y="280355"/>
                  <a:pt x="295637" y="283432"/>
                  <a:pt x="298780" y="283699"/>
                </a:cubicBezTo>
                <a:cubicBezTo>
                  <a:pt x="296980" y="284089"/>
                  <a:pt x="298313" y="286127"/>
                  <a:pt x="298399" y="285947"/>
                </a:cubicBezTo>
                <a:cubicBezTo>
                  <a:pt x="296990" y="288652"/>
                  <a:pt x="294837" y="287432"/>
                  <a:pt x="294999" y="292328"/>
                </a:cubicBezTo>
                <a:cubicBezTo>
                  <a:pt x="296275" y="291785"/>
                  <a:pt x="296609" y="289937"/>
                  <a:pt x="298809" y="290652"/>
                </a:cubicBezTo>
                <a:cubicBezTo>
                  <a:pt x="297266" y="295776"/>
                  <a:pt x="299199" y="297710"/>
                  <a:pt x="297094" y="300796"/>
                </a:cubicBezTo>
                <a:cubicBezTo>
                  <a:pt x="293894" y="301072"/>
                  <a:pt x="298799" y="295614"/>
                  <a:pt x="295599" y="295900"/>
                </a:cubicBezTo>
                <a:cubicBezTo>
                  <a:pt x="292437" y="295157"/>
                  <a:pt x="295713" y="303520"/>
                  <a:pt x="291275" y="300958"/>
                </a:cubicBezTo>
                <a:cubicBezTo>
                  <a:pt x="292608" y="302863"/>
                  <a:pt x="291522" y="304682"/>
                  <a:pt x="288417" y="303958"/>
                </a:cubicBezTo>
                <a:cubicBezTo>
                  <a:pt x="289158" y="302076"/>
                  <a:pt x="289096" y="299973"/>
                  <a:pt x="288246" y="298138"/>
                </a:cubicBezTo>
                <a:cubicBezTo>
                  <a:pt x="285845" y="297529"/>
                  <a:pt x="287055" y="302044"/>
                  <a:pt x="286169" y="303577"/>
                </a:cubicBezTo>
                <a:cubicBezTo>
                  <a:pt x="283540" y="303901"/>
                  <a:pt x="284950" y="300986"/>
                  <a:pt x="283169" y="300720"/>
                </a:cubicBezTo>
                <a:cubicBezTo>
                  <a:pt x="281835" y="300539"/>
                  <a:pt x="281264" y="303520"/>
                  <a:pt x="280311" y="303720"/>
                </a:cubicBezTo>
                <a:cubicBezTo>
                  <a:pt x="278406" y="304111"/>
                  <a:pt x="278082" y="301491"/>
                  <a:pt x="275996" y="301815"/>
                </a:cubicBezTo>
                <a:cubicBezTo>
                  <a:pt x="273587" y="302149"/>
                  <a:pt x="274358" y="306959"/>
                  <a:pt x="271663" y="306873"/>
                </a:cubicBezTo>
                <a:cubicBezTo>
                  <a:pt x="269167" y="306997"/>
                  <a:pt x="269758" y="304901"/>
                  <a:pt x="269986" y="303111"/>
                </a:cubicBezTo>
                <a:cubicBezTo>
                  <a:pt x="266529" y="301987"/>
                  <a:pt x="266490" y="305644"/>
                  <a:pt x="263766" y="305539"/>
                </a:cubicBezTo>
                <a:cubicBezTo>
                  <a:pt x="263843" y="306806"/>
                  <a:pt x="265881" y="306682"/>
                  <a:pt x="265671" y="308178"/>
                </a:cubicBezTo>
                <a:cubicBezTo>
                  <a:pt x="265671" y="310083"/>
                  <a:pt x="264281" y="309940"/>
                  <a:pt x="263966" y="311369"/>
                </a:cubicBezTo>
                <a:cubicBezTo>
                  <a:pt x="261109" y="310064"/>
                  <a:pt x="262642" y="305701"/>
                  <a:pt x="260614" y="303844"/>
                </a:cubicBezTo>
                <a:cubicBezTo>
                  <a:pt x="258946" y="304152"/>
                  <a:pt x="257497" y="305175"/>
                  <a:pt x="256651" y="306644"/>
                </a:cubicBezTo>
                <a:cubicBezTo>
                  <a:pt x="254937" y="311512"/>
                  <a:pt x="263176" y="309283"/>
                  <a:pt x="259832" y="315303"/>
                </a:cubicBezTo>
                <a:cubicBezTo>
                  <a:pt x="262519" y="314903"/>
                  <a:pt x="263023" y="311426"/>
                  <a:pt x="266224" y="311750"/>
                </a:cubicBezTo>
                <a:cubicBezTo>
                  <a:pt x="266138" y="309759"/>
                  <a:pt x="267462" y="309778"/>
                  <a:pt x="268862" y="309845"/>
                </a:cubicBezTo>
                <a:cubicBezTo>
                  <a:pt x="268214" y="311254"/>
                  <a:pt x="266576" y="311273"/>
                  <a:pt x="266005" y="312836"/>
                </a:cubicBezTo>
                <a:cubicBezTo>
                  <a:pt x="271596" y="316065"/>
                  <a:pt x="267910" y="306244"/>
                  <a:pt x="273529" y="309473"/>
                </a:cubicBezTo>
                <a:cubicBezTo>
                  <a:pt x="273625" y="311464"/>
                  <a:pt x="272282" y="311454"/>
                  <a:pt x="270901" y="311378"/>
                </a:cubicBezTo>
                <a:cubicBezTo>
                  <a:pt x="272139" y="312569"/>
                  <a:pt x="274311" y="318046"/>
                  <a:pt x="275958" y="315712"/>
                </a:cubicBezTo>
                <a:cubicBezTo>
                  <a:pt x="278816" y="316474"/>
                  <a:pt x="274053" y="317389"/>
                  <a:pt x="275187" y="320217"/>
                </a:cubicBezTo>
                <a:cubicBezTo>
                  <a:pt x="273206" y="320313"/>
                  <a:pt x="273215" y="318979"/>
                  <a:pt x="273282" y="317579"/>
                </a:cubicBezTo>
                <a:cubicBezTo>
                  <a:pt x="271567" y="317046"/>
                  <a:pt x="272463" y="320132"/>
                  <a:pt x="271577" y="320779"/>
                </a:cubicBezTo>
                <a:cubicBezTo>
                  <a:pt x="270520" y="321551"/>
                  <a:pt x="267548" y="319827"/>
                  <a:pt x="266881" y="321132"/>
                </a:cubicBezTo>
                <a:cubicBezTo>
                  <a:pt x="267424" y="322408"/>
                  <a:pt x="269272" y="322742"/>
                  <a:pt x="268567" y="324942"/>
                </a:cubicBezTo>
                <a:lnTo>
                  <a:pt x="265186" y="324370"/>
                </a:lnTo>
                <a:cubicBezTo>
                  <a:pt x="265262" y="326799"/>
                  <a:pt x="263909" y="327228"/>
                  <a:pt x="263281" y="328685"/>
                </a:cubicBezTo>
                <a:cubicBezTo>
                  <a:pt x="263823" y="329952"/>
                  <a:pt x="265681" y="330285"/>
                  <a:pt x="264966" y="332495"/>
                </a:cubicBezTo>
                <a:cubicBezTo>
                  <a:pt x="263820" y="331333"/>
                  <a:pt x="262274" y="330652"/>
                  <a:pt x="260642" y="330590"/>
                </a:cubicBezTo>
                <a:cubicBezTo>
                  <a:pt x="260442" y="332390"/>
                  <a:pt x="259375" y="334800"/>
                  <a:pt x="261004" y="335286"/>
                </a:cubicBezTo>
                <a:cubicBezTo>
                  <a:pt x="258394" y="337772"/>
                  <a:pt x="257242" y="333581"/>
                  <a:pt x="254060" y="335286"/>
                </a:cubicBezTo>
                <a:cubicBezTo>
                  <a:pt x="251946" y="335105"/>
                  <a:pt x="252717" y="338982"/>
                  <a:pt x="251031" y="339410"/>
                </a:cubicBezTo>
                <a:cubicBezTo>
                  <a:pt x="251450" y="342906"/>
                  <a:pt x="253165" y="337086"/>
                  <a:pt x="255737" y="339048"/>
                </a:cubicBezTo>
                <a:cubicBezTo>
                  <a:pt x="255194" y="342477"/>
                  <a:pt x="251308" y="341191"/>
                  <a:pt x="248402" y="341287"/>
                </a:cubicBezTo>
                <a:cubicBezTo>
                  <a:pt x="247717" y="337477"/>
                  <a:pt x="250631" y="338848"/>
                  <a:pt x="251422" y="337153"/>
                </a:cubicBezTo>
                <a:cubicBezTo>
                  <a:pt x="250888" y="333514"/>
                  <a:pt x="248193" y="337943"/>
                  <a:pt x="246726" y="337524"/>
                </a:cubicBezTo>
                <a:cubicBezTo>
                  <a:pt x="246050" y="340306"/>
                  <a:pt x="247850" y="341334"/>
                  <a:pt x="249336" y="342601"/>
                </a:cubicBezTo>
                <a:cubicBezTo>
                  <a:pt x="247926" y="344056"/>
                  <a:pt x="247176" y="346025"/>
                  <a:pt x="247259" y="348050"/>
                </a:cubicBezTo>
                <a:cubicBezTo>
                  <a:pt x="242878" y="348183"/>
                  <a:pt x="243945" y="344449"/>
                  <a:pt x="242383" y="342582"/>
                </a:cubicBezTo>
                <a:cubicBezTo>
                  <a:pt x="239963" y="342792"/>
                  <a:pt x="241211" y="347869"/>
                  <a:pt x="238573" y="344268"/>
                </a:cubicBezTo>
                <a:cubicBezTo>
                  <a:pt x="237754" y="347126"/>
                  <a:pt x="238154" y="349183"/>
                  <a:pt x="241192" y="349345"/>
                </a:cubicBezTo>
                <a:cubicBezTo>
                  <a:pt x="240973" y="350440"/>
                  <a:pt x="239668" y="349983"/>
                  <a:pt x="238744" y="350088"/>
                </a:cubicBezTo>
                <a:cubicBezTo>
                  <a:pt x="238744" y="351431"/>
                  <a:pt x="238154" y="352050"/>
                  <a:pt x="237230" y="352155"/>
                </a:cubicBezTo>
                <a:cubicBezTo>
                  <a:pt x="239135" y="355450"/>
                  <a:pt x="235115" y="358365"/>
                  <a:pt x="237020" y="360232"/>
                </a:cubicBezTo>
                <a:cubicBezTo>
                  <a:pt x="235782" y="361577"/>
                  <a:pt x="233911" y="362146"/>
                  <a:pt x="232134" y="361718"/>
                </a:cubicBezTo>
                <a:cubicBezTo>
                  <a:pt x="233944" y="366385"/>
                  <a:pt x="226876" y="368690"/>
                  <a:pt x="225523" y="373348"/>
                </a:cubicBezTo>
                <a:cubicBezTo>
                  <a:pt x="221713" y="373710"/>
                  <a:pt x="222333" y="370986"/>
                  <a:pt x="220275" y="370138"/>
                </a:cubicBezTo>
                <a:cubicBezTo>
                  <a:pt x="221571" y="371176"/>
                  <a:pt x="221123" y="373729"/>
                  <a:pt x="221761" y="375034"/>
                </a:cubicBezTo>
                <a:cubicBezTo>
                  <a:pt x="222071" y="375912"/>
                  <a:pt x="222888" y="376509"/>
                  <a:pt x="223818" y="376539"/>
                </a:cubicBezTo>
                <a:cubicBezTo>
                  <a:pt x="222870" y="380064"/>
                  <a:pt x="219554" y="382420"/>
                  <a:pt x="215913" y="382159"/>
                </a:cubicBezTo>
                <a:cubicBezTo>
                  <a:pt x="215989" y="384587"/>
                  <a:pt x="214636" y="385016"/>
                  <a:pt x="214008" y="386473"/>
                </a:cubicBezTo>
                <a:cubicBezTo>
                  <a:pt x="213174" y="385552"/>
                  <a:pt x="212046" y="384949"/>
                  <a:pt x="210817" y="384768"/>
                </a:cubicBezTo>
                <a:cubicBezTo>
                  <a:pt x="210474" y="387626"/>
                  <a:pt x="212341" y="388578"/>
                  <a:pt x="209864" y="390407"/>
                </a:cubicBezTo>
                <a:cubicBezTo>
                  <a:pt x="207064" y="390407"/>
                  <a:pt x="207769" y="387931"/>
                  <a:pt x="204426" y="388321"/>
                </a:cubicBezTo>
                <a:cubicBezTo>
                  <a:pt x="201263" y="388055"/>
                  <a:pt x="202940" y="394608"/>
                  <a:pt x="198958" y="393188"/>
                </a:cubicBezTo>
                <a:cubicBezTo>
                  <a:pt x="197491" y="396217"/>
                  <a:pt x="200054" y="396379"/>
                  <a:pt x="199139" y="399018"/>
                </a:cubicBezTo>
                <a:cubicBezTo>
                  <a:pt x="199454" y="401437"/>
                  <a:pt x="204768" y="400304"/>
                  <a:pt x="202873" y="404295"/>
                </a:cubicBezTo>
                <a:cubicBezTo>
                  <a:pt x="200368" y="406038"/>
                  <a:pt x="200015" y="403933"/>
                  <a:pt x="197244" y="403342"/>
                </a:cubicBezTo>
                <a:cubicBezTo>
                  <a:pt x="196120" y="405247"/>
                  <a:pt x="198015" y="407409"/>
                  <a:pt x="197415" y="409171"/>
                </a:cubicBezTo>
                <a:cubicBezTo>
                  <a:pt x="197044" y="410219"/>
                  <a:pt x="194234" y="409124"/>
                  <a:pt x="193843" y="409724"/>
                </a:cubicBezTo>
                <a:cubicBezTo>
                  <a:pt x="193558" y="410143"/>
                  <a:pt x="195034" y="412848"/>
                  <a:pt x="194205" y="414420"/>
                </a:cubicBezTo>
                <a:cubicBezTo>
                  <a:pt x="193796" y="415172"/>
                  <a:pt x="191224" y="415639"/>
                  <a:pt x="190395" y="416096"/>
                </a:cubicBezTo>
                <a:cubicBezTo>
                  <a:pt x="189443" y="418735"/>
                  <a:pt x="192043" y="418896"/>
                  <a:pt x="190567" y="421925"/>
                </a:cubicBezTo>
                <a:cubicBezTo>
                  <a:pt x="189105" y="422639"/>
                  <a:pt x="187425" y="422768"/>
                  <a:pt x="185871" y="422287"/>
                </a:cubicBezTo>
                <a:cubicBezTo>
                  <a:pt x="185242" y="425345"/>
                  <a:pt x="187366" y="424878"/>
                  <a:pt x="185099" y="426802"/>
                </a:cubicBezTo>
                <a:cubicBezTo>
                  <a:pt x="183871" y="424030"/>
                  <a:pt x="182413" y="427336"/>
                  <a:pt x="181537" y="427345"/>
                </a:cubicBezTo>
                <a:cubicBezTo>
                  <a:pt x="180032" y="427345"/>
                  <a:pt x="178946" y="424488"/>
                  <a:pt x="177022" y="426583"/>
                </a:cubicBezTo>
                <a:cubicBezTo>
                  <a:pt x="178179" y="430035"/>
                  <a:pt x="178742" y="433658"/>
                  <a:pt x="178689" y="437299"/>
                </a:cubicBezTo>
                <a:cubicBezTo>
                  <a:pt x="175965" y="435479"/>
                  <a:pt x="173250" y="439956"/>
                  <a:pt x="174374" y="435394"/>
                </a:cubicBezTo>
                <a:cubicBezTo>
                  <a:pt x="172012" y="435346"/>
                  <a:pt x="171640" y="438070"/>
                  <a:pt x="169288" y="438013"/>
                </a:cubicBezTo>
                <a:cubicBezTo>
                  <a:pt x="169574" y="440128"/>
                  <a:pt x="169078" y="442776"/>
                  <a:pt x="170593" y="444033"/>
                </a:cubicBezTo>
                <a:cubicBezTo>
                  <a:pt x="167354" y="446462"/>
                  <a:pt x="163268" y="447681"/>
                  <a:pt x="160239" y="450396"/>
                </a:cubicBezTo>
                <a:cubicBezTo>
                  <a:pt x="158820" y="452615"/>
                  <a:pt x="161620" y="452177"/>
                  <a:pt x="162144" y="453025"/>
                </a:cubicBezTo>
                <a:cubicBezTo>
                  <a:pt x="162868" y="454320"/>
                  <a:pt x="161658" y="456558"/>
                  <a:pt x="163820" y="456835"/>
                </a:cubicBezTo>
                <a:cubicBezTo>
                  <a:pt x="162268" y="460835"/>
                  <a:pt x="157153" y="461483"/>
                  <a:pt x="162487" y="464721"/>
                </a:cubicBezTo>
                <a:cubicBezTo>
                  <a:pt x="159868" y="467217"/>
                  <a:pt x="158677" y="463016"/>
                  <a:pt x="155534" y="464721"/>
                </a:cubicBezTo>
                <a:cubicBezTo>
                  <a:pt x="154267" y="465255"/>
                  <a:pt x="153924" y="467112"/>
                  <a:pt x="151771" y="466398"/>
                </a:cubicBezTo>
                <a:cubicBezTo>
                  <a:pt x="149790" y="469655"/>
                  <a:pt x="154629" y="475694"/>
                  <a:pt x="149114" y="475218"/>
                </a:cubicBezTo>
                <a:cubicBezTo>
                  <a:pt x="147104" y="478628"/>
                  <a:pt x="152610" y="476704"/>
                  <a:pt x="150600" y="480104"/>
                </a:cubicBezTo>
                <a:cubicBezTo>
                  <a:pt x="147742" y="478818"/>
                  <a:pt x="148038" y="482066"/>
                  <a:pt x="146647" y="482914"/>
                </a:cubicBezTo>
                <a:cubicBezTo>
                  <a:pt x="146082" y="482010"/>
                  <a:pt x="145259" y="481297"/>
                  <a:pt x="144285" y="480866"/>
                </a:cubicBezTo>
                <a:cubicBezTo>
                  <a:pt x="141122" y="481914"/>
                  <a:pt x="142856" y="487724"/>
                  <a:pt x="142761" y="489877"/>
                </a:cubicBezTo>
                <a:cubicBezTo>
                  <a:pt x="145352" y="489334"/>
                  <a:pt x="145409" y="485248"/>
                  <a:pt x="147285" y="483685"/>
                </a:cubicBezTo>
                <a:cubicBezTo>
                  <a:pt x="152152" y="483543"/>
                  <a:pt x="152238" y="486781"/>
                  <a:pt x="155924" y="487495"/>
                </a:cubicBezTo>
                <a:cubicBezTo>
                  <a:pt x="155543" y="489743"/>
                  <a:pt x="155159" y="491998"/>
                  <a:pt x="154772" y="494258"/>
                </a:cubicBezTo>
                <a:cubicBezTo>
                  <a:pt x="150790" y="492839"/>
                  <a:pt x="149952" y="495839"/>
                  <a:pt x="149304" y="499126"/>
                </a:cubicBezTo>
                <a:cubicBezTo>
                  <a:pt x="145161" y="497468"/>
                  <a:pt x="144542" y="500783"/>
                  <a:pt x="142913" y="502678"/>
                </a:cubicBezTo>
                <a:cubicBezTo>
                  <a:pt x="142161" y="504517"/>
                  <a:pt x="143418" y="504955"/>
                  <a:pt x="144818" y="505317"/>
                </a:cubicBezTo>
                <a:cubicBezTo>
                  <a:pt x="145933" y="508174"/>
                  <a:pt x="141189" y="509060"/>
                  <a:pt x="144047" y="509822"/>
                </a:cubicBezTo>
                <a:cubicBezTo>
                  <a:pt x="143618" y="511060"/>
                  <a:pt x="142818" y="510251"/>
                  <a:pt x="142923" y="509632"/>
                </a:cubicBezTo>
                <a:cubicBezTo>
                  <a:pt x="139208" y="512041"/>
                  <a:pt x="139665" y="513070"/>
                  <a:pt x="138160" y="516947"/>
                </a:cubicBezTo>
                <a:cubicBezTo>
                  <a:pt x="136255" y="516947"/>
                  <a:pt x="136398" y="515547"/>
                  <a:pt x="134969" y="515242"/>
                </a:cubicBezTo>
                <a:cubicBezTo>
                  <a:pt x="133042" y="516765"/>
                  <a:pt x="130880" y="517965"/>
                  <a:pt x="128568" y="518795"/>
                </a:cubicBezTo>
                <a:cubicBezTo>
                  <a:pt x="128435" y="525119"/>
                  <a:pt x="123977" y="525357"/>
                  <a:pt x="121215" y="527977"/>
                </a:cubicBezTo>
                <a:cubicBezTo>
                  <a:pt x="121034" y="530091"/>
                  <a:pt x="124911" y="529320"/>
                  <a:pt x="125339" y="530996"/>
                </a:cubicBezTo>
                <a:cubicBezTo>
                  <a:pt x="125035" y="533854"/>
                  <a:pt x="124625" y="536502"/>
                  <a:pt x="122130" y="536254"/>
                </a:cubicBezTo>
                <a:cubicBezTo>
                  <a:pt x="123015" y="537940"/>
                  <a:pt x="122482" y="540626"/>
                  <a:pt x="124749" y="541331"/>
                </a:cubicBezTo>
                <a:cubicBezTo>
                  <a:pt x="124244" y="542721"/>
                  <a:pt x="121129" y="542236"/>
                  <a:pt x="121368" y="540759"/>
                </a:cubicBezTo>
                <a:cubicBezTo>
                  <a:pt x="119825" y="540902"/>
                  <a:pt x="119263" y="542445"/>
                  <a:pt x="117605" y="542436"/>
                </a:cubicBezTo>
                <a:cubicBezTo>
                  <a:pt x="120891" y="546246"/>
                  <a:pt x="118910" y="548313"/>
                  <a:pt x="119263" y="553151"/>
                </a:cubicBezTo>
                <a:cubicBezTo>
                  <a:pt x="117024" y="552789"/>
                  <a:pt x="117310" y="556009"/>
                  <a:pt x="114376" y="554637"/>
                </a:cubicBezTo>
                <a:cubicBezTo>
                  <a:pt x="113424" y="557285"/>
                  <a:pt x="116015" y="557495"/>
                  <a:pt x="114548" y="560467"/>
                </a:cubicBezTo>
                <a:cubicBezTo>
                  <a:pt x="112319" y="559638"/>
                  <a:pt x="111890" y="561419"/>
                  <a:pt x="110785" y="562152"/>
                </a:cubicBezTo>
                <a:cubicBezTo>
                  <a:pt x="110509" y="562333"/>
                  <a:pt x="108214" y="564010"/>
                  <a:pt x="108147" y="564057"/>
                </a:cubicBezTo>
                <a:cubicBezTo>
                  <a:pt x="107518" y="564191"/>
                  <a:pt x="104804" y="559981"/>
                  <a:pt x="104565" y="564610"/>
                </a:cubicBezTo>
                <a:cubicBezTo>
                  <a:pt x="101794" y="564010"/>
                  <a:pt x="101441" y="561914"/>
                  <a:pt x="98936" y="563657"/>
                </a:cubicBezTo>
                <a:cubicBezTo>
                  <a:pt x="98460" y="566305"/>
                  <a:pt x="100317" y="567306"/>
                  <a:pt x="98936" y="570611"/>
                </a:cubicBezTo>
                <a:cubicBezTo>
                  <a:pt x="102127" y="572316"/>
                  <a:pt x="101365" y="568439"/>
                  <a:pt x="101956" y="566486"/>
                </a:cubicBezTo>
                <a:cubicBezTo>
                  <a:pt x="105118" y="568687"/>
                  <a:pt x="105556" y="566667"/>
                  <a:pt x="109652" y="568944"/>
                </a:cubicBezTo>
                <a:cubicBezTo>
                  <a:pt x="109080" y="573821"/>
                  <a:pt x="105127" y="572906"/>
                  <a:pt x="106994" y="577773"/>
                </a:cubicBezTo>
                <a:cubicBezTo>
                  <a:pt x="105013" y="577859"/>
                  <a:pt x="105023" y="576535"/>
                  <a:pt x="105089" y="575135"/>
                </a:cubicBezTo>
                <a:cubicBezTo>
                  <a:pt x="100422" y="577202"/>
                  <a:pt x="104480" y="582869"/>
                  <a:pt x="100927" y="586022"/>
                </a:cubicBezTo>
                <a:cubicBezTo>
                  <a:pt x="98155" y="585384"/>
                  <a:pt x="101241" y="582145"/>
                  <a:pt x="101689" y="581507"/>
                </a:cubicBezTo>
                <a:cubicBezTo>
                  <a:pt x="101098" y="578183"/>
                  <a:pt x="97384" y="579297"/>
                  <a:pt x="95126" y="579240"/>
                </a:cubicBezTo>
                <a:cubicBezTo>
                  <a:pt x="97736" y="581345"/>
                  <a:pt x="95126" y="587184"/>
                  <a:pt x="99422" y="588089"/>
                </a:cubicBezTo>
                <a:cubicBezTo>
                  <a:pt x="100003" y="589994"/>
                  <a:pt x="95850" y="589337"/>
                  <a:pt x="95660" y="589765"/>
                </a:cubicBezTo>
                <a:cubicBezTo>
                  <a:pt x="95317" y="590480"/>
                  <a:pt x="99470" y="594757"/>
                  <a:pt x="93574" y="595204"/>
                </a:cubicBezTo>
                <a:cubicBezTo>
                  <a:pt x="92040" y="595328"/>
                  <a:pt x="90373" y="594109"/>
                  <a:pt x="90011" y="595766"/>
                </a:cubicBezTo>
                <a:cubicBezTo>
                  <a:pt x="89716" y="597071"/>
                  <a:pt x="87706" y="596347"/>
                  <a:pt x="86439" y="596319"/>
                </a:cubicBezTo>
                <a:cubicBezTo>
                  <a:pt x="85173" y="596290"/>
                  <a:pt x="85134" y="598224"/>
                  <a:pt x="84734" y="599500"/>
                </a:cubicBezTo>
                <a:cubicBezTo>
                  <a:pt x="82313" y="599538"/>
                  <a:pt x="79908" y="599912"/>
                  <a:pt x="77591" y="600614"/>
                </a:cubicBezTo>
                <a:cubicBezTo>
                  <a:pt x="76448" y="604053"/>
                  <a:pt x="80115" y="604101"/>
                  <a:pt x="80010" y="606815"/>
                </a:cubicBezTo>
                <a:cubicBezTo>
                  <a:pt x="82868" y="606129"/>
                  <a:pt x="84306" y="603558"/>
                  <a:pt x="84773" y="599500"/>
                </a:cubicBezTo>
                <a:cubicBezTo>
                  <a:pt x="89325" y="599576"/>
                  <a:pt x="89335" y="602872"/>
                  <a:pt x="89449" y="606091"/>
                </a:cubicBezTo>
                <a:cubicBezTo>
                  <a:pt x="86592" y="605729"/>
                  <a:pt x="85154" y="607491"/>
                  <a:pt x="83239" y="608520"/>
                </a:cubicBezTo>
                <a:cubicBezTo>
                  <a:pt x="83239" y="609873"/>
                  <a:pt x="85144" y="609816"/>
                  <a:pt x="86420" y="610216"/>
                </a:cubicBezTo>
                <a:cubicBezTo>
                  <a:pt x="85649" y="612787"/>
                  <a:pt x="82706" y="614978"/>
                  <a:pt x="87916" y="615111"/>
                </a:cubicBezTo>
                <a:cubicBezTo>
                  <a:pt x="86906" y="616197"/>
                  <a:pt x="86592" y="617645"/>
                  <a:pt x="85058" y="618102"/>
                </a:cubicBezTo>
                <a:cubicBezTo>
                  <a:pt x="85820" y="617874"/>
                  <a:pt x="84506" y="616778"/>
                  <a:pt x="84106" y="616797"/>
                </a:cubicBezTo>
                <a:cubicBezTo>
                  <a:pt x="84944" y="616797"/>
                  <a:pt x="82401" y="618169"/>
                  <a:pt x="82782" y="617750"/>
                </a:cubicBezTo>
                <a:cubicBezTo>
                  <a:pt x="82153" y="618483"/>
                  <a:pt x="84687" y="620388"/>
                  <a:pt x="84687" y="620388"/>
                </a:cubicBezTo>
                <a:cubicBezTo>
                  <a:pt x="84144" y="621893"/>
                  <a:pt x="83058" y="620331"/>
                  <a:pt x="82248" y="621141"/>
                </a:cubicBezTo>
                <a:cubicBezTo>
                  <a:pt x="81810" y="621569"/>
                  <a:pt x="82315" y="622979"/>
                  <a:pt x="81867" y="623389"/>
                </a:cubicBezTo>
                <a:cubicBezTo>
                  <a:pt x="81420" y="623798"/>
                  <a:pt x="79619" y="623827"/>
                  <a:pt x="79419" y="624132"/>
                </a:cubicBezTo>
                <a:cubicBezTo>
                  <a:pt x="79077" y="624646"/>
                  <a:pt x="79477" y="625970"/>
                  <a:pt x="79038" y="626389"/>
                </a:cubicBezTo>
                <a:cubicBezTo>
                  <a:pt x="77410" y="627951"/>
                  <a:pt x="74276" y="628294"/>
                  <a:pt x="73571" y="631256"/>
                </a:cubicBezTo>
                <a:cubicBezTo>
                  <a:pt x="72714" y="629351"/>
                  <a:pt x="65332" y="631914"/>
                  <a:pt x="66237" y="633485"/>
                </a:cubicBezTo>
                <a:cubicBezTo>
                  <a:pt x="66237" y="633485"/>
                  <a:pt x="68142" y="634295"/>
                  <a:pt x="67189" y="634809"/>
                </a:cubicBezTo>
                <a:cubicBezTo>
                  <a:pt x="65456" y="635762"/>
                  <a:pt x="67037" y="635990"/>
                  <a:pt x="67932" y="637257"/>
                </a:cubicBezTo>
                <a:cubicBezTo>
                  <a:pt x="70209" y="640458"/>
                  <a:pt x="69066" y="640800"/>
                  <a:pt x="65656" y="643820"/>
                </a:cubicBezTo>
                <a:cubicBezTo>
                  <a:pt x="64865" y="645553"/>
                  <a:pt x="69218" y="648316"/>
                  <a:pt x="69980" y="645725"/>
                </a:cubicBezTo>
                <a:cubicBezTo>
                  <a:pt x="71506" y="649055"/>
                  <a:pt x="71284" y="652925"/>
                  <a:pt x="69390" y="656059"/>
                </a:cubicBezTo>
                <a:cubicBezTo>
                  <a:pt x="68028" y="657650"/>
                  <a:pt x="66370" y="656164"/>
                  <a:pt x="67485" y="660374"/>
                </a:cubicBezTo>
                <a:cubicBezTo>
                  <a:pt x="64922" y="661870"/>
                  <a:pt x="66065" y="660031"/>
                  <a:pt x="62970" y="659612"/>
                </a:cubicBezTo>
                <a:cubicBezTo>
                  <a:pt x="64665" y="663813"/>
                  <a:pt x="64408" y="666985"/>
                  <a:pt x="59379" y="667118"/>
                </a:cubicBezTo>
                <a:cubicBezTo>
                  <a:pt x="59560" y="669975"/>
                  <a:pt x="59379" y="673081"/>
                  <a:pt x="62941" y="673519"/>
                </a:cubicBezTo>
                <a:cubicBezTo>
                  <a:pt x="61989" y="674290"/>
                  <a:pt x="60665" y="676300"/>
                  <a:pt x="62360" y="676900"/>
                </a:cubicBezTo>
                <a:cubicBezTo>
                  <a:pt x="61698" y="678317"/>
                  <a:pt x="60094" y="679032"/>
                  <a:pt x="58598" y="678577"/>
                </a:cubicBezTo>
                <a:cubicBezTo>
                  <a:pt x="58598" y="679920"/>
                  <a:pt x="58007" y="680539"/>
                  <a:pt x="57083" y="680634"/>
                </a:cubicBezTo>
                <a:cubicBezTo>
                  <a:pt x="59112" y="684063"/>
                  <a:pt x="54435" y="686092"/>
                  <a:pt x="56874" y="688721"/>
                </a:cubicBezTo>
                <a:cubicBezTo>
                  <a:pt x="56874" y="692283"/>
                  <a:pt x="54073" y="688959"/>
                  <a:pt x="53311" y="689273"/>
                </a:cubicBezTo>
                <a:cubicBezTo>
                  <a:pt x="51606" y="689968"/>
                  <a:pt x="52835" y="691092"/>
                  <a:pt x="51606" y="692464"/>
                </a:cubicBezTo>
                <a:cubicBezTo>
                  <a:pt x="51321" y="692778"/>
                  <a:pt x="49701" y="691797"/>
                  <a:pt x="49349" y="692083"/>
                </a:cubicBezTo>
                <a:cubicBezTo>
                  <a:pt x="48397" y="692883"/>
                  <a:pt x="48673" y="694655"/>
                  <a:pt x="47654" y="695274"/>
                </a:cubicBezTo>
                <a:cubicBezTo>
                  <a:pt x="50978" y="696693"/>
                  <a:pt x="50340" y="692540"/>
                  <a:pt x="53664" y="693969"/>
                </a:cubicBezTo>
                <a:cubicBezTo>
                  <a:pt x="53302" y="696217"/>
                  <a:pt x="56521" y="695874"/>
                  <a:pt x="55150" y="698865"/>
                </a:cubicBezTo>
                <a:cubicBezTo>
                  <a:pt x="52130" y="697388"/>
                  <a:pt x="51968" y="699951"/>
                  <a:pt x="49330" y="699027"/>
                </a:cubicBezTo>
                <a:cubicBezTo>
                  <a:pt x="48501" y="705237"/>
                  <a:pt x="45101" y="705694"/>
                  <a:pt x="46101" y="711238"/>
                </a:cubicBezTo>
                <a:cubicBezTo>
                  <a:pt x="48101" y="711724"/>
                  <a:pt x="48711" y="710285"/>
                  <a:pt x="50797" y="710876"/>
                </a:cubicBezTo>
                <a:cubicBezTo>
                  <a:pt x="51483" y="715562"/>
                  <a:pt x="47215" y="713276"/>
                  <a:pt x="45530" y="714619"/>
                </a:cubicBezTo>
                <a:cubicBezTo>
                  <a:pt x="43862" y="714927"/>
                  <a:pt x="42413" y="715950"/>
                  <a:pt x="41567" y="717420"/>
                </a:cubicBezTo>
                <a:cubicBezTo>
                  <a:pt x="41634" y="718372"/>
                  <a:pt x="42520" y="718743"/>
                  <a:pt x="42320" y="719867"/>
                </a:cubicBezTo>
                <a:cubicBezTo>
                  <a:pt x="43596" y="720525"/>
                  <a:pt x="43215" y="717962"/>
                  <a:pt x="43825" y="717810"/>
                </a:cubicBezTo>
                <a:cubicBezTo>
                  <a:pt x="45777" y="717143"/>
                  <a:pt x="46968" y="721620"/>
                  <a:pt x="48339" y="718572"/>
                </a:cubicBezTo>
                <a:cubicBezTo>
                  <a:pt x="49882" y="719344"/>
                  <a:pt x="48054" y="719524"/>
                  <a:pt x="47958" y="720829"/>
                </a:cubicBezTo>
                <a:cubicBezTo>
                  <a:pt x="47263" y="724687"/>
                  <a:pt x="51083" y="724439"/>
                  <a:pt x="48120" y="726649"/>
                </a:cubicBezTo>
                <a:cubicBezTo>
                  <a:pt x="47254" y="727306"/>
                  <a:pt x="48406" y="729202"/>
                  <a:pt x="48863" y="729097"/>
                </a:cubicBezTo>
                <a:cubicBezTo>
                  <a:pt x="49187" y="730478"/>
                  <a:pt x="46672" y="729383"/>
                  <a:pt x="46425" y="729840"/>
                </a:cubicBezTo>
                <a:cubicBezTo>
                  <a:pt x="43663" y="734993"/>
                  <a:pt x="44806" y="741918"/>
                  <a:pt x="42243" y="747680"/>
                </a:cubicBezTo>
                <a:cubicBezTo>
                  <a:pt x="42167" y="747852"/>
                  <a:pt x="40215" y="747195"/>
                  <a:pt x="39986" y="747299"/>
                </a:cubicBezTo>
                <a:cubicBezTo>
                  <a:pt x="43205" y="755024"/>
                  <a:pt x="42272" y="769788"/>
                  <a:pt x="35395" y="774341"/>
                </a:cubicBezTo>
                <a:cubicBezTo>
                  <a:pt x="34985" y="775617"/>
                  <a:pt x="35300" y="776389"/>
                  <a:pt x="36138" y="776789"/>
                </a:cubicBezTo>
                <a:cubicBezTo>
                  <a:pt x="32995" y="779313"/>
                  <a:pt x="28394" y="775627"/>
                  <a:pt x="26746" y="777513"/>
                </a:cubicBezTo>
                <a:cubicBezTo>
                  <a:pt x="24308" y="776617"/>
                  <a:pt x="26880" y="771379"/>
                  <a:pt x="27889" y="770750"/>
                </a:cubicBezTo>
                <a:cubicBezTo>
                  <a:pt x="27718" y="769388"/>
                  <a:pt x="26384" y="767559"/>
                  <a:pt x="25822" y="769245"/>
                </a:cubicBezTo>
                <a:cubicBezTo>
                  <a:pt x="23222" y="768445"/>
                  <a:pt x="24394" y="764978"/>
                  <a:pt x="20765" y="764911"/>
                </a:cubicBezTo>
                <a:cubicBezTo>
                  <a:pt x="18755" y="768312"/>
                  <a:pt x="24260" y="766388"/>
                  <a:pt x="22250" y="769797"/>
                </a:cubicBezTo>
                <a:cubicBezTo>
                  <a:pt x="24584" y="768054"/>
                  <a:pt x="26194" y="770321"/>
                  <a:pt x="25108" y="773750"/>
                </a:cubicBezTo>
                <a:cubicBezTo>
                  <a:pt x="23260" y="771283"/>
                  <a:pt x="24451" y="769940"/>
                  <a:pt x="20984" y="770731"/>
                </a:cubicBezTo>
                <a:cubicBezTo>
                  <a:pt x="18469" y="771283"/>
                  <a:pt x="19688" y="773893"/>
                  <a:pt x="17602" y="770159"/>
                </a:cubicBezTo>
                <a:cubicBezTo>
                  <a:pt x="16650" y="770217"/>
                  <a:pt x="16288" y="771112"/>
                  <a:pt x="15154" y="770902"/>
                </a:cubicBezTo>
                <a:cubicBezTo>
                  <a:pt x="14783" y="773817"/>
                  <a:pt x="19050" y="773426"/>
                  <a:pt x="20222" y="775246"/>
                </a:cubicBezTo>
                <a:cubicBezTo>
                  <a:pt x="19945" y="777589"/>
                  <a:pt x="17002" y="775541"/>
                  <a:pt x="15326" y="776732"/>
                </a:cubicBezTo>
                <a:cubicBezTo>
                  <a:pt x="15049" y="776922"/>
                  <a:pt x="15250" y="778913"/>
                  <a:pt x="14945" y="778980"/>
                </a:cubicBezTo>
                <a:cubicBezTo>
                  <a:pt x="14183" y="779141"/>
                  <a:pt x="13926" y="777237"/>
                  <a:pt x="12878" y="777475"/>
                </a:cubicBezTo>
                <a:cubicBezTo>
                  <a:pt x="11535" y="777427"/>
                  <a:pt x="11592" y="779380"/>
                  <a:pt x="11182" y="780656"/>
                </a:cubicBezTo>
                <a:cubicBezTo>
                  <a:pt x="9896" y="780256"/>
                  <a:pt x="9125" y="780570"/>
                  <a:pt x="8744" y="781408"/>
                </a:cubicBezTo>
                <a:cubicBezTo>
                  <a:pt x="4686" y="777903"/>
                  <a:pt x="11039" y="775093"/>
                  <a:pt x="13649" y="772969"/>
                </a:cubicBezTo>
                <a:cubicBezTo>
                  <a:pt x="13135" y="772426"/>
                  <a:pt x="12906" y="767207"/>
                  <a:pt x="11744" y="770331"/>
                </a:cubicBezTo>
                <a:cubicBezTo>
                  <a:pt x="9020" y="769378"/>
                  <a:pt x="12421" y="765949"/>
                  <a:pt x="14602" y="767331"/>
                </a:cubicBezTo>
                <a:cubicBezTo>
                  <a:pt x="15059" y="765283"/>
                  <a:pt x="11240" y="766530"/>
                  <a:pt x="10287" y="765425"/>
                </a:cubicBezTo>
                <a:cubicBezTo>
                  <a:pt x="10363" y="765511"/>
                  <a:pt x="12192" y="762720"/>
                  <a:pt x="10868" y="762044"/>
                </a:cubicBezTo>
                <a:cubicBezTo>
                  <a:pt x="7766" y="761816"/>
                  <a:pt x="4752" y="760908"/>
                  <a:pt x="2038" y="759387"/>
                </a:cubicBezTo>
                <a:cubicBezTo>
                  <a:pt x="2269" y="756889"/>
                  <a:pt x="3499" y="754592"/>
                  <a:pt x="5448" y="753014"/>
                </a:cubicBezTo>
                <a:cubicBezTo>
                  <a:pt x="5048" y="749052"/>
                  <a:pt x="3439" y="752062"/>
                  <a:pt x="0" y="750928"/>
                </a:cubicBezTo>
                <a:cubicBezTo>
                  <a:pt x="2191" y="749376"/>
                  <a:pt x="5058" y="748747"/>
                  <a:pt x="5648" y="744928"/>
                </a:cubicBezTo>
                <a:lnTo>
                  <a:pt x="7906" y="745309"/>
                </a:lnTo>
                <a:cubicBezTo>
                  <a:pt x="9373" y="742289"/>
                  <a:pt x="6810" y="742127"/>
                  <a:pt x="7734" y="739489"/>
                </a:cubicBezTo>
                <a:cubicBezTo>
                  <a:pt x="11859" y="737346"/>
                  <a:pt x="10668" y="730640"/>
                  <a:pt x="11154" y="726154"/>
                </a:cubicBezTo>
                <a:cubicBezTo>
                  <a:pt x="11354" y="724249"/>
                  <a:pt x="12649" y="724430"/>
                  <a:pt x="12849" y="722963"/>
                </a:cubicBezTo>
                <a:cubicBezTo>
                  <a:pt x="13230" y="720172"/>
                  <a:pt x="12182" y="717410"/>
                  <a:pt x="13059" y="714886"/>
                </a:cubicBezTo>
                <a:cubicBezTo>
                  <a:pt x="18097" y="714991"/>
                  <a:pt x="18583" y="708704"/>
                  <a:pt x="22479" y="707209"/>
                </a:cubicBezTo>
                <a:cubicBezTo>
                  <a:pt x="21892" y="706116"/>
                  <a:pt x="21701" y="704854"/>
                  <a:pt x="21936" y="703637"/>
                </a:cubicBezTo>
                <a:cubicBezTo>
                  <a:pt x="21252" y="702797"/>
                  <a:pt x="20616" y="701919"/>
                  <a:pt x="20031" y="701008"/>
                </a:cubicBezTo>
                <a:cubicBezTo>
                  <a:pt x="19412" y="700294"/>
                  <a:pt x="18726" y="698922"/>
                  <a:pt x="18126" y="698370"/>
                </a:cubicBezTo>
                <a:cubicBezTo>
                  <a:pt x="16935" y="697207"/>
                  <a:pt x="13783" y="698370"/>
                  <a:pt x="15135" y="695512"/>
                </a:cubicBezTo>
                <a:cubicBezTo>
                  <a:pt x="16488" y="694817"/>
                  <a:pt x="17040" y="697017"/>
                  <a:pt x="17193" y="697026"/>
                </a:cubicBezTo>
                <a:cubicBezTo>
                  <a:pt x="20545" y="697122"/>
                  <a:pt x="18259" y="692797"/>
                  <a:pt x="22469" y="693283"/>
                </a:cubicBezTo>
                <a:lnTo>
                  <a:pt x="23041" y="689892"/>
                </a:lnTo>
                <a:cubicBezTo>
                  <a:pt x="23317" y="688254"/>
                  <a:pt x="20841" y="688987"/>
                  <a:pt x="19850" y="688197"/>
                </a:cubicBezTo>
                <a:cubicBezTo>
                  <a:pt x="18488" y="687111"/>
                  <a:pt x="19183" y="684472"/>
                  <a:pt x="17050" y="684244"/>
                </a:cubicBezTo>
                <a:cubicBezTo>
                  <a:pt x="16745" y="682853"/>
                  <a:pt x="19212" y="683977"/>
                  <a:pt x="19488" y="683491"/>
                </a:cubicBezTo>
                <a:cubicBezTo>
                  <a:pt x="20374" y="681996"/>
                  <a:pt x="15726" y="682129"/>
                  <a:pt x="19126" y="678805"/>
                </a:cubicBezTo>
                <a:cubicBezTo>
                  <a:pt x="18926" y="677043"/>
                  <a:pt x="17612" y="678996"/>
                  <a:pt x="15745" y="678234"/>
                </a:cubicBezTo>
                <a:cubicBezTo>
                  <a:pt x="19441" y="675490"/>
                  <a:pt x="12544" y="674671"/>
                  <a:pt x="14792" y="669956"/>
                </a:cubicBezTo>
                <a:cubicBezTo>
                  <a:pt x="16674" y="670694"/>
                  <a:pt x="18777" y="670632"/>
                  <a:pt x="20612" y="669785"/>
                </a:cubicBezTo>
                <a:cubicBezTo>
                  <a:pt x="20288" y="668699"/>
                  <a:pt x="19964" y="667604"/>
                  <a:pt x="18707" y="667147"/>
                </a:cubicBezTo>
                <a:cubicBezTo>
                  <a:pt x="20679" y="665842"/>
                  <a:pt x="24270" y="663803"/>
                  <a:pt x="25851" y="666042"/>
                </a:cubicBezTo>
                <a:cubicBezTo>
                  <a:pt x="25154" y="663723"/>
                  <a:pt x="24781" y="661319"/>
                  <a:pt x="24746" y="658898"/>
                </a:cubicBezTo>
                <a:cubicBezTo>
                  <a:pt x="26022" y="658288"/>
                  <a:pt x="27699" y="658317"/>
                  <a:pt x="29642" y="657412"/>
                </a:cubicBezTo>
                <a:cubicBezTo>
                  <a:pt x="30089" y="657193"/>
                  <a:pt x="30766" y="655450"/>
                  <a:pt x="31137" y="655345"/>
                </a:cubicBezTo>
                <a:cubicBezTo>
                  <a:pt x="31509" y="655240"/>
                  <a:pt x="33137" y="655993"/>
                  <a:pt x="33395" y="655726"/>
                </a:cubicBezTo>
                <a:cubicBezTo>
                  <a:pt x="34061" y="655069"/>
                  <a:pt x="33395" y="653097"/>
                  <a:pt x="33966" y="652354"/>
                </a:cubicBezTo>
                <a:cubicBezTo>
                  <a:pt x="35347" y="652030"/>
                  <a:pt x="34261" y="654554"/>
                  <a:pt x="34719" y="654793"/>
                </a:cubicBezTo>
                <a:cubicBezTo>
                  <a:pt x="37014" y="656012"/>
                  <a:pt x="37814" y="650725"/>
                  <a:pt x="35671" y="649154"/>
                </a:cubicBezTo>
                <a:cubicBezTo>
                  <a:pt x="32509" y="648639"/>
                  <a:pt x="37833" y="652688"/>
                  <a:pt x="33033" y="651059"/>
                </a:cubicBezTo>
                <a:cubicBezTo>
                  <a:pt x="33137" y="648363"/>
                  <a:pt x="31623" y="646030"/>
                  <a:pt x="34185" y="644296"/>
                </a:cubicBezTo>
                <a:cubicBezTo>
                  <a:pt x="34547" y="642058"/>
                  <a:pt x="31328" y="642391"/>
                  <a:pt x="32699" y="639410"/>
                </a:cubicBezTo>
                <a:cubicBezTo>
                  <a:pt x="31747" y="639038"/>
                  <a:pt x="31556" y="639667"/>
                  <a:pt x="31375" y="640362"/>
                </a:cubicBezTo>
                <a:cubicBezTo>
                  <a:pt x="29804" y="639829"/>
                  <a:pt x="31556" y="636933"/>
                  <a:pt x="29699" y="636600"/>
                </a:cubicBezTo>
                <a:cubicBezTo>
                  <a:pt x="31266" y="633635"/>
                  <a:pt x="33698" y="631216"/>
                  <a:pt x="36671" y="629666"/>
                </a:cubicBezTo>
                <a:cubicBezTo>
                  <a:pt x="36909" y="627484"/>
                  <a:pt x="32671" y="630351"/>
                  <a:pt x="29908" y="628523"/>
                </a:cubicBezTo>
                <a:cubicBezTo>
                  <a:pt x="30956" y="626275"/>
                  <a:pt x="33252" y="625779"/>
                  <a:pt x="33309" y="622141"/>
                </a:cubicBezTo>
                <a:cubicBezTo>
                  <a:pt x="31061" y="622227"/>
                  <a:pt x="32356" y="627284"/>
                  <a:pt x="28223" y="624760"/>
                </a:cubicBezTo>
                <a:cubicBezTo>
                  <a:pt x="31480" y="622170"/>
                  <a:pt x="29928" y="620950"/>
                  <a:pt x="32033" y="616121"/>
                </a:cubicBezTo>
                <a:cubicBezTo>
                  <a:pt x="33610" y="616182"/>
                  <a:pt x="34895" y="617407"/>
                  <a:pt x="35033" y="618979"/>
                </a:cubicBezTo>
                <a:cubicBezTo>
                  <a:pt x="36338" y="619560"/>
                  <a:pt x="39462" y="616378"/>
                  <a:pt x="36728" y="615788"/>
                </a:cubicBezTo>
                <a:cubicBezTo>
                  <a:pt x="38452" y="612502"/>
                  <a:pt x="38167" y="618550"/>
                  <a:pt x="39729" y="618645"/>
                </a:cubicBezTo>
                <a:cubicBezTo>
                  <a:pt x="42139" y="619255"/>
                  <a:pt x="40919" y="614740"/>
                  <a:pt x="41805" y="613206"/>
                </a:cubicBezTo>
                <a:cubicBezTo>
                  <a:pt x="42758" y="613873"/>
                  <a:pt x="43710" y="614540"/>
                  <a:pt x="43710" y="615835"/>
                </a:cubicBezTo>
                <a:cubicBezTo>
                  <a:pt x="48597" y="613873"/>
                  <a:pt x="50378" y="607587"/>
                  <a:pt x="52959" y="602329"/>
                </a:cubicBezTo>
                <a:cubicBezTo>
                  <a:pt x="50959" y="601853"/>
                  <a:pt x="50349" y="603281"/>
                  <a:pt x="48263" y="602700"/>
                </a:cubicBezTo>
                <a:cubicBezTo>
                  <a:pt x="46863" y="602634"/>
                  <a:pt x="46472" y="605406"/>
                  <a:pt x="45406" y="605701"/>
                </a:cubicBezTo>
                <a:cubicBezTo>
                  <a:pt x="43691" y="606177"/>
                  <a:pt x="40919" y="604748"/>
                  <a:pt x="42958" y="606444"/>
                </a:cubicBezTo>
                <a:cubicBezTo>
                  <a:pt x="42958" y="608787"/>
                  <a:pt x="39738" y="605663"/>
                  <a:pt x="39767" y="604739"/>
                </a:cubicBezTo>
                <a:cubicBezTo>
                  <a:pt x="40258" y="603227"/>
                  <a:pt x="39537" y="601587"/>
                  <a:pt x="38090" y="600929"/>
                </a:cubicBezTo>
                <a:cubicBezTo>
                  <a:pt x="39195" y="598767"/>
                  <a:pt x="43482" y="601081"/>
                  <a:pt x="44291" y="598509"/>
                </a:cubicBezTo>
                <a:cubicBezTo>
                  <a:pt x="44644" y="595728"/>
                  <a:pt x="40615" y="597633"/>
                  <a:pt x="40719" y="599062"/>
                </a:cubicBezTo>
                <a:cubicBezTo>
                  <a:pt x="39148" y="599367"/>
                  <a:pt x="41177" y="593347"/>
                  <a:pt x="43739" y="594938"/>
                </a:cubicBezTo>
                <a:cubicBezTo>
                  <a:pt x="42786" y="593099"/>
                  <a:pt x="42996" y="591975"/>
                  <a:pt x="45444" y="591747"/>
                </a:cubicBezTo>
                <a:cubicBezTo>
                  <a:pt x="45606" y="590642"/>
                  <a:pt x="44215" y="590642"/>
                  <a:pt x="43377" y="590232"/>
                </a:cubicBezTo>
                <a:cubicBezTo>
                  <a:pt x="43215" y="587937"/>
                  <a:pt x="49168" y="587479"/>
                  <a:pt x="49206" y="590061"/>
                </a:cubicBezTo>
                <a:cubicBezTo>
                  <a:pt x="50502" y="590651"/>
                  <a:pt x="50073" y="588289"/>
                  <a:pt x="50721" y="588003"/>
                </a:cubicBezTo>
                <a:cubicBezTo>
                  <a:pt x="52330" y="587270"/>
                  <a:pt x="55245" y="589546"/>
                  <a:pt x="56540" y="587832"/>
                </a:cubicBezTo>
                <a:cubicBezTo>
                  <a:pt x="56340" y="585184"/>
                  <a:pt x="54550" y="588899"/>
                  <a:pt x="53350" y="586127"/>
                </a:cubicBezTo>
                <a:cubicBezTo>
                  <a:pt x="54731" y="584160"/>
                  <a:pt x="55150" y="581676"/>
                  <a:pt x="54493" y="579364"/>
                </a:cubicBezTo>
                <a:cubicBezTo>
                  <a:pt x="54759" y="580641"/>
                  <a:pt x="56836" y="580174"/>
                  <a:pt x="57683" y="581069"/>
                </a:cubicBezTo>
                <a:cubicBezTo>
                  <a:pt x="57979" y="581374"/>
                  <a:pt x="58169" y="583355"/>
                  <a:pt x="58436" y="583517"/>
                </a:cubicBezTo>
                <a:cubicBezTo>
                  <a:pt x="59065" y="583898"/>
                  <a:pt x="60093" y="583003"/>
                  <a:pt x="59750" y="582565"/>
                </a:cubicBezTo>
                <a:cubicBezTo>
                  <a:pt x="60636" y="583650"/>
                  <a:pt x="60103" y="585565"/>
                  <a:pt x="61427" y="586317"/>
                </a:cubicBezTo>
                <a:cubicBezTo>
                  <a:pt x="64922" y="586155"/>
                  <a:pt x="60760" y="583736"/>
                  <a:pt x="62189" y="581812"/>
                </a:cubicBezTo>
                <a:cubicBezTo>
                  <a:pt x="63837" y="581326"/>
                  <a:pt x="64703" y="579764"/>
                  <a:pt x="65208" y="577688"/>
                </a:cubicBezTo>
                <a:cubicBezTo>
                  <a:pt x="63970" y="574830"/>
                  <a:pt x="62751" y="575507"/>
                  <a:pt x="59769" y="575602"/>
                </a:cubicBezTo>
                <a:cubicBezTo>
                  <a:pt x="60103" y="571887"/>
                  <a:pt x="62027" y="570411"/>
                  <a:pt x="65237" y="570744"/>
                </a:cubicBezTo>
                <a:cubicBezTo>
                  <a:pt x="64500" y="569549"/>
                  <a:pt x="63466" y="568564"/>
                  <a:pt x="62236" y="567887"/>
                </a:cubicBezTo>
                <a:cubicBezTo>
                  <a:pt x="62646" y="566610"/>
                  <a:pt x="62332" y="565848"/>
                  <a:pt x="61493" y="565448"/>
                </a:cubicBezTo>
                <a:cubicBezTo>
                  <a:pt x="61493" y="562648"/>
                  <a:pt x="63960" y="563343"/>
                  <a:pt x="63579" y="560000"/>
                </a:cubicBezTo>
                <a:cubicBezTo>
                  <a:pt x="65999" y="560619"/>
                  <a:pt x="67323" y="559685"/>
                  <a:pt x="67532" y="557142"/>
                </a:cubicBezTo>
                <a:cubicBezTo>
                  <a:pt x="67532" y="555799"/>
                  <a:pt x="65627" y="555847"/>
                  <a:pt x="64341" y="555447"/>
                </a:cubicBezTo>
                <a:cubicBezTo>
                  <a:pt x="63617" y="553170"/>
                  <a:pt x="68351" y="552256"/>
                  <a:pt x="65103" y="550942"/>
                </a:cubicBezTo>
                <a:cubicBezTo>
                  <a:pt x="65770" y="549427"/>
                  <a:pt x="67104" y="551180"/>
                  <a:pt x="67161" y="552446"/>
                </a:cubicBezTo>
                <a:cubicBezTo>
                  <a:pt x="70971" y="551761"/>
                  <a:pt x="70371" y="544826"/>
                  <a:pt x="75267" y="545712"/>
                </a:cubicBezTo>
                <a:cubicBezTo>
                  <a:pt x="74145" y="544286"/>
                  <a:pt x="74390" y="542220"/>
                  <a:pt x="75817" y="541097"/>
                </a:cubicBezTo>
                <a:cubicBezTo>
                  <a:pt x="76568" y="540507"/>
                  <a:pt x="77538" y="540272"/>
                  <a:pt x="78476" y="540455"/>
                </a:cubicBezTo>
                <a:cubicBezTo>
                  <a:pt x="78953" y="537807"/>
                  <a:pt x="77095" y="536806"/>
                  <a:pt x="78476" y="533501"/>
                </a:cubicBezTo>
                <a:cubicBezTo>
                  <a:pt x="82601" y="536064"/>
                  <a:pt x="79696" y="528739"/>
                  <a:pt x="82620" y="529567"/>
                </a:cubicBezTo>
                <a:cubicBezTo>
                  <a:pt x="79839" y="526920"/>
                  <a:pt x="83048" y="520042"/>
                  <a:pt x="77391" y="519404"/>
                </a:cubicBezTo>
                <a:cubicBezTo>
                  <a:pt x="78701" y="517623"/>
                  <a:pt x="80552" y="516313"/>
                  <a:pt x="82667" y="515670"/>
                </a:cubicBezTo>
                <a:cubicBezTo>
                  <a:pt x="82839" y="514051"/>
                  <a:pt x="83010" y="512441"/>
                  <a:pt x="84363" y="512470"/>
                </a:cubicBezTo>
                <a:cubicBezTo>
                  <a:pt x="89611" y="512470"/>
                  <a:pt x="82115" y="515328"/>
                  <a:pt x="87363" y="515328"/>
                </a:cubicBezTo>
                <a:cubicBezTo>
                  <a:pt x="86487" y="516899"/>
                  <a:pt x="85211" y="517890"/>
                  <a:pt x="84344" y="519452"/>
                </a:cubicBezTo>
                <a:cubicBezTo>
                  <a:pt x="87754" y="520071"/>
                  <a:pt x="87830" y="515975"/>
                  <a:pt x="88868" y="513270"/>
                </a:cubicBezTo>
                <a:cubicBezTo>
                  <a:pt x="90859" y="513175"/>
                  <a:pt x="90849" y="514508"/>
                  <a:pt x="90773" y="515909"/>
                </a:cubicBezTo>
                <a:cubicBezTo>
                  <a:pt x="94440" y="515728"/>
                  <a:pt x="92754" y="513146"/>
                  <a:pt x="92859" y="510460"/>
                </a:cubicBezTo>
                <a:cubicBezTo>
                  <a:pt x="94621" y="511089"/>
                  <a:pt x="94974" y="509727"/>
                  <a:pt x="96422" y="509908"/>
                </a:cubicBezTo>
                <a:cubicBezTo>
                  <a:pt x="96250" y="506403"/>
                  <a:pt x="93840" y="510575"/>
                  <a:pt x="91916" y="509146"/>
                </a:cubicBezTo>
                <a:cubicBezTo>
                  <a:pt x="91621" y="507374"/>
                  <a:pt x="90735" y="506022"/>
                  <a:pt x="90430" y="504250"/>
                </a:cubicBezTo>
                <a:cubicBezTo>
                  <a:pt x="89788" y="504254"/>
                  <a:pt x="89271" y="504777"/>
                  <a:pt x="89275" y="505419"/>
                </a:cubicBezTo>
                <a:cubicBezTo>
                  <a:pt x="89278" y="505908"/>
                  <a:pt x="89587" y="506344"/>
                  <a:pt x="90049" y="506507"/>
                </a:cubicBezTo>
                <a:cubicBezTo>
                  <a:pt x="88354" y="509774"/>
                  <a:pt x="87259" y="504698"/>
                  <a:pt x="85725" y="504602"/>
                </a:cubicBezTo>
                <a:cubicBezTo>
                  <a:pt x="86335" y="503459"/>
                  <a:pt x="87954" y="504174"/>
                  <a:pt x="88363" y="502697"/>
                </a:cubicBezTo>
                <a:cubicBezTo>
                  <a:pt x="89211" y="499840"/>
                  <a:pt x="86554" y="493230"/>
                  <a:pt x="92173" y="494058"/>
                </a:cubicBezTo>
                <a:cubicBezTo>
                  <a:pt x="92250" y="496497"/>
                  <a:pt x="90897" y="496916"/>
                  <a:pt x="90268" y="498373"/>
                </a:cubicBezTo>
                <a:cubicBezTo>
                  <a:pt x="93126" y="502355"/>
                  <a:pt x="97888" y="497897"/>
                  <a:pt x="98346" y="498592"/>
                </a:cubicBezTo>
                <a:cubicBezTo>
                  <a:pt x="98312" y="498971"/>
                  <a:pt x="98248" y="499347"/>
                  <a:pt x="98155" y="499716"/>
                </a:cubicBezTo>
                <a:cubicBezTo>
                  <a:pt x="104584" y="496697"/>
                  <a:pt x="102632" y="487076"/>
                  <a:pt x="108918" y="484152"/>
                </a:cubicBezTo>
                <a:cubicBezTo>
                  <a:pt x="110976" y="483466"/>
                  <a:pt x="106375" y="480514"/>
                  <a:pt x="108737" y="478323"/>
                </a:cubicBezTo>
                <a:cubicBezTo>
                  <a:pt x="109538" y="477589"/>
                  <a:pt x="109490" y="480780"/>
                  <a:pt x="109490" y="480771"/>
                </a:cubicBezTo>
                <a:cubicBezTo>
                  <a:pt x="110774" y="480282"/>
                  <a:pt x="112030" y="479722"/>
                  <a:pt x="113252" y="479094"/>
                </a:cubicBezTo>
                <a:cubicBezTo>
                  <a:pt x="113871" y="477513"/>
                  <a:pt x="110519" y="476656"/>
                  <a:pt x="110633" y="474008"/>
                </a:cubicBezTo>
                <a:cubicBezTo>
                  <a:pt x="110633" y="472741"/>
                  <a:pt x="111785" y="471827"/>
                  <a:pt x="113652" y="469884"/>
                </a:cubicBezTo>
                <a:cubicBezTo>
                  <a:pt x="115300" y="468169"/>
                  <a:pt x="116348" y="465998"/>
                  <a:pt x="120987" y="467655"/>
                </a:cubicBezTo>
                <a:cubicBezTo>
                  <a:pt x="119291" y="464559"/>
                  <a:pt x="121815" y="458473"/>
                  <a:pt x="122158" y="453939"/>
                </a:cubicBezTo>
                <a:cubicBezTo>
                  <a:pt x="126908" y="452166"/>
                  <a:pt x="130013" y="447578"/>
                  <a:pt x="129892" y="442509"/>
                </a:cubicBezTo>
                <a:lnTo>
                  <a:pt x="133274" y="443080"/>
                </a:lnTo>
                <a:cubicBezTo>
                  <a:pt x="131826" y="441461"/>
                  <a:pt x="132245" y="438527"/>
                  <a:pt x="130845" y="436880"/>
                </a:cubicBezTo>
                <a:cubicBezTo>
                  <a:pt x="131513" y="435442"/>
                  <a:pt x="133141" y="434721"/>
                  <a:pt x="134655" y="435194"/>
                </a:cubicBezTo>
                <a:cubicBezTo>
                  <a:pt x="135225" y="432537"/>
                  <a:pt x="135296" y="429799"/>
                  <a:pt x="134864" y="427117"/>
                </a:cubicBezTo>
                <a:cubicBezTo>
                  <a:pt x="134922" y="427021"/>
                  <a:pt x="137112" y="427555"/>
                  <a:pt x="137122" y="427498"/>
                </a:cubicBezTo>
                <a:cubicBezTo>
                  <a:pt x="137227" y="425793"/>
                  <a:pt x="134769" y="425383"/>
                  <a:pt x="135626" y="422611"/>
                </a:cubicBezTo>
                <a:cubicBezTo>
                  <a:pt x="137208" y="422973"/>
                  <a:pt x="138789" y="423335"/>
                  <a:pt x="139189" y="422049"/>
                </a:cubicBezTo>
                <a:cubicBezTo>
                  <a:pt x="141856" y="422154"/>
                  <a:pt x="139894" y="425526"/>
                  <a:pt x="142046" y="426002"/>
                </a:cubicBezTo>
                <a:cubicBezTo>
                  <a:pt x="143818" y="426631"/>
                  <a:pt x="144161" y="425269"/>
                  <a:pt x="145618" y="425450"/>
                </a:cubicBezTo>
                <a:cubicBezTo>
                  <a:pt x="144942" y="423621"/>
                  <a:pt x="142256" y="423211"/>
                  <a:pt x="140360" y="422240"/>
                </a:cubicBezTo>
                <a:cubicBezTo>
                  <a:pt x="144618" y="419011"/>
                  <a:pt x="143218" y="415306"/>
                  <a:pt x="138322" y="413782"/>
                </a:cubicBezTo>
                <a:cubicBezTo>
                  <a:pt x="138846" y="411724"/>
                  <a:pt x="142256" y="413782"/>
                  <a:pt x="143208" y="412296"/>
                </a:cubicBezTo>
                <a:cubicBezTo>
                  <a:pt x="144075" y="408705"/>
                  <a:pt x="142027" y="407190"/>
                  <a:pt x="143608" y="403085"/>
                </a:cubicBezTo>
                <a:cubicBezTo>
                  <a:pt x="144885" y="403495"/>
                  <a:pt x="145656" y="403180"/>
                  <a:pt x="146056" y="402342"/>
                </a:cubicBezTo>
                <a:cubicBezTo>
                  <a:pt x="147961" y="403504"/>
                  <a:pt x="145875" y="404418"/>
                  <a:pt x="145485" y="405723"/>
                </a:cubicBezTo>
                <a:cubicBezTo>
                  <a:pt x="146018" y="406990"/>
                  <a:pt x="147885" y="407333"/>
                  <a:pt x="147171" y="409486"/>
                </a:cubicBezTo>
                <a:cubicBezTo>
                  <a:pt x="149105" y="407997"/>
                  <a:pt x="150929" y="406371"/>
                  <a:pt x="152629" y="404618"/>
                </a:cubicBezTo>
                <a:cubicBezTo>
                  <a:pt x="152630" y="403977"/>
                  <a:pt x="152110" y="403455"/>
                  <a:pt x="151469" y="403454"/>
                </a:cubicBezTo>
                <a:cubicBezTo>
                  <a:pt x="150976" y="403453"/>
                  <a:pt x="150536" y="403763"/>
                  <a:pt x="150371" y="404228"/>
                </a:cubicBezTo>
                <a:cubicBezTo>
                  <a:pt x="146085" y="399894"/>
                  <a:pt x="157839" y="399104"/>
                  <a:pt x="154181" y="395598"/>
                </a:cubicBezTo>
                <a:cubicBezTo>
                  <a:pt x="154334" y="392550"/>
                  <a:pt x="160325" y="397732"/>
                  <a:pt x="159268" y="392988"/>
                </a:cubicBezTo>
                <a:cubicBezTo>
                  <a:pt x="161401" y="392198"/>
                  <a:pt x="161782" y="395722"/>
                  <a:pt x="162258" y="395846"/>
                </a:cubicBezTo>
                <a:cubicBezTo>
                  <a:pt x="164983" y="396360"/>
                  <a:pt x="166364" y="391941"/>
                  <a:pt x="169050" y="390045"/>
                </a:cubicBezTo>
                <a:cubicBezTo>
                  <a:pt x="169507" y="383444"/>
                  <a:pt x="165706" y="379863"/>
                  <a:pt x="167402" y="372376"/>
                </a:cubicBezTo>
                <a:cubicBezTo>
                  <a:pt x="168868" y="371664"/>
                  <a:pt x="170550" y="371534"/>
                  <a:pt x="172107" y="372014"/>
                </a:cubicBezTo>
                <a:cubicBezTo>
                  <a:pt x="173860" y="365537"/>
                  <a:pt x="170307" y="361975"/>
                  <a:pt x="173460" y="357174"/>
                </a:cubicBezTo>
                <a:cubicBezTo>
                  <a:pt x="173631" y="356917"/>
                  <a:pt x="175365" y="357727"/>
                  <a:pt x="175717" y="357555"/>
                </a:cubicBezTo>
                <a:cubicBezTo>
                  <a:pt x="176212" y="355565"/>
                  <a:pt x="174765" y="354946"/>
                  <a:pt x="175355" y="352860"/>
                </a:cubicBezTo>
                <a:cubicBezTo>
                  <a:pt x="177794" y="352441"/>
                  <a:pt x="180413" y="350078"/>
                  <a:pt x="182309" y="352860"/>
                </a:cubicBezTo>
                <a:cubicBezTo>
                  <a:pt x="182623" y="350955"/>
                  <a:pt x="182947" y="349107"/>
                  <a:pt x="183261" y="347221"/>
                </a:cubicBezTo>
                <a:cubicBezTo>
                  <a:pt x="185604" y="347668"/>
                  <a:pt x="186652" y="346516"/>
                  <a:pt x="188157" y="345735"/>
                </a:cubicBezTo>
                <a:cubicBezTo>
                  <a:pt x="189871" y="344849"/>
                  <a:pt x="190919" y="342706"/>
                  <a:pt x="193234" y="343116"/>
                </a:cubicBezTo>
                <a:cubicBezTo>
                  <a:pt x="193291" y="339477"/>
                  <a:pt x="197120" y="341153"/>
                  <a:pt x="196634" y="336743"/>
                </a:cubicBezTo>
                <a:cubicBezTo>
                  <a:pt x="198911" y="337610"/>
                  <a:pt x="199749" y="336477"/>
                  <a:pt x="201330" y="336381"/>
                </a:cubicBezTo>
                <a:cubicBezTo>
                  <a:pt x="202778" y="334591"/>
                  <a:pt x="199587" y="333143"/>
                  <a:pt x="199654" y="332619"/>
                </a:cubicBezTo>
                <a:cubicBezTo>
                  <a:pt x="199720" y="332095"/>
                  <a:pt x="202197" y="330304"/>
                  <a:pt x="202282" y="330714"/>
                </a:cubicBezTo>
                <a:cubicBezTo>
                  <a:pt x="202101" y="329809"/>
                  <a:pt x="198672" y="329323"/>
                  <a:pt x="198168" y="327695"/>
                </a:cubicBezTo>
                <a:cubicBezTo>
                  <a:pt x="198082" y="327418"/>
                  <a:pt x="199863" y="325666"/>
                  <a:pt x="199863" y="324504"/>
                </a:cubicBezTo>
                <a:cubicBezTo>
                  <a:pt x="199863" y="324418"/>
                  <a:pt x="198825" y="324075"/>
                  <a:pt x="198911" y="323189"/>
                </a:cubicBezTo>
                <a:cubicBezTo>
                  <a:pt x="199053" y="321980"/>
                  <a:pt x="201387" y="321284"/>
                  <a:pt x="200997" y="317750"/>
                </a:cubicBezTo>
                <a:cubicBezTo>
                  <a:pt x="202082" y="317960"/>
                  <a:pt x="201635" y="319274"/>
                  <a:pt x="201739" y="320189"/>
                </a:cubicBezTo>
                <a:cubicBezTo>
                  <a:pt x="204502" y="319922"/>
                  <a:pt x="208693" y="320598"/>
                  <a:pt x="209645" y="314579"/>
                </a:cubicBezTo>
                <a:cubicBezTo>
                  <a:pt x="211550" y="316836"/>
                  <a:pt x="211093" y="314712"/>
                  <a:pt x="214160" y="315341"/>
                </a:cubicBezTo>
                <a:cubicBezTo>
                  <a:pt x="215827" y="315674"/>
                  <a:pt x="215036" y="313074"/>
                  <a:pt x="215856" y="312150"/>
                </a:cubicBezTo>
                <a:cubicBezTo>
                  <a:pt x="216122" y="311855"/>
                  <a:pt x="217761" y="312721"/>
                  <a:pt x="218103" y="312531"/>
                </a:cubicBezTo>
                <a:cubicBezTo>
                  <a:pt x="218837" y="312178"/>
                  <a:pt x="218942" y="309616"/>
                  <a:pt x="219808" y="309340"/>
                </a:cubicBezTo>
                <a:cubicBezTo>
                  <a:pt x="221066" y="308321"/>
                  <a:pt x="224018" y="309702"/>
                  <a:pt x="223771" y="306540"/>
                </a:cubicBezTo>
                <a:cubicBezTo>
                  <a:pt x="226562" y="306540"/>
                  <a:pt x="225866" y="309016"/>
                  <a:pt x="229210" y="308626"/>
                </a:cubicBezTo>
                <a:cubicBezTo>
                  <a:pt x="233020" y="308426"/>
                  <a:pt x="229829" y="303282"/>
                  <a:pt x="234096" y="307130"/>
                </a:cubicBezTo>
                <a:cubicBezTo>
                  <a:pt x="235934" y="306463"/>
                  <a:pt x="236344" y="303777"/>
                  <a:pt x="237306" y="301882"/>
                </a:cubicBezTo>
                <a:cubicBezTo>
                  <a:pt x="236571" y="300688"/>
                  <a:pt x="235541" y="299703"/>
                  <a:pt x="234315" y="299024"/>
                </a:cubicBezTo>
                <a:cubicBezTo>
                  <a:pt x="233810" y="297824"/>
                  <a:pt x="235525" y="298310"/>
                  <a:pt x="235629" y="298072"/>
                </a:cubicBezTo>
                <a:cubicBezTo>
                  <a:pt x="236163" y="296872"/>
                  <a:pt x="233810" y="296024"/>
                  <a:pt x="233724" y="295433"/>
                </a:cubicBezTo>
                <a:cubicBezTo>
                  <a:pt x="233830" y="294293"/>
                  <a:pt x="234024" y="293163"/>
                  <a:pt x="234305" y="292052"/>
                </a:cubicBezTo>
                <a:cubicBezTo>
                  <a:pt x="234439" y="290033"/>
                  <a:pt x="233572" y="289452"/>
                  <a:pt x="233934" y="287356"/>
                </a:cubicBezTo>
                <a:cubicBezTo>
                  <a:pt x="233934" y="287613"/>
                  <a:pt x="235115" y="287023"/>
                  <a:pt x="235258" y="286404"/>
                </a:cubicBezTo>
                <a:cubicBezTo>
                  <a:pt x="235753" y="284194"/>
                  <a:pt x="235715" y="282832"/>
                  <a:pt x="238115" y="283413"/>
                </a:cubicBezTo>
                <a:cubicBezTo>
                  <a:pt x="238325" y="281613"/>
                  <a:pt x="239382" y="279203"/>
                  <a:pt x="237754" y="278708"/>
                </a:cubicBezTo>
                <a:cubicBezTo>
                  <a:pt x="238363" y="277241"/>
                  <a:pt x="240725" y="278250"/>
                  <a:pt x="242449" y="278346"/>
                </a:cubicBezTo>
                <a:cubicBezTo>
                  <a:pt x="242907" y="274183"/>
                  <a:pt x="241640" y="273764"/>
                  <a:pt x="243783" y="270459"/>
                </a:cubicBezTo>
                <a:cubicBezTo>
                  <a:pt x="246974" y="271230"/>
                  <a:pt x="249917" y="271640"/>
                  <a:pt x="250003" y="268039"/>
                </a:cubicBezTo>
                <a:cubicBezTo>
                  <a:pt x="251412" y="268678"/>
                  <a:pt x="251431" y="270316"/>
                  <a:pt x="252994" y="270897"/>
                </a:cubicBezTo>
                <a:cubicBezTo>
                  <a:pt x="255508" y="271183"/>
                  <a:pt x="254279" y="266201"/>
                  <a:pt x="255270" y="264334"/>
                </a:cubicBezTo>
                <a:cubicBezTo>
                  <a:pt x="258577" y="265912"/>
                  <a:pt x="261370" y="268391"/>
                  <a:pt x="263328" y="271488"/>
                </a:cubicBezTo>
                <a:cubicBezTo>
                  <a:pt x="264414" y="271164"/>
                  <a:pt x="265509" y="270849"/>
                  <a:pt x="265967" y="269583"/>
                </a:cubicBezTo>
                <a:cubicBezTo>
                  <a:pt x="265157" y="268144"/>
                  <a:pt x="263433" y="269230"/>
                  <a:pt x="261842" y="266563"/>
                </a:cubicBezTo>
                <a:cubicBezTo>
                  <a:pt x="262795" y="260200"/>
                  <a:pt x="261661" y="261467"/>
                  <a:pt x="262614" y="255133"/>
                </a:cubicBezTo>
                <a:cubicBezTo>
                  <a:pt x="263709" y="254544"/>
                  <a:pt x="264973" y="254348"/>
                  <a:pt x="266195" y="254581"/>
                </a:cubicBezTo>
                <a:cubicBezTo>
                  <a:pt x="266814" y="250771"/>
                  <a:pt x="267472" y="247065"/>
                  <a:pt x="271853" y="248580"/>
                </a:cubicBezTo>
                <a:cubicBezTo>
                  <a:pt x="271254" y="247491"/>
                  <a:pt x="271059" y="246226"/>
                  <a:pt x="271301" y="245008"/>
                </a:cubicBezTo>
                <a:cubicBezTo>
                  <a:pt x="274158" y="242570"/>
                  <a:pt x="275206" y="248609"/>
                  <a:pt x="278054" y="246161"/>
                </a:cubicBezTo>
                <a:cubicBezTo>
                  <a:pt x="278301" y="244008"/>
                  <a:pt x="274463" y="244751"/>
                  <a:pt x="275196" y="242208"/>
                </a:cubicBezTo>
                <a:cubicBezTo>
                  <a:pt x="275930" y="238112"/>
                  <a:pt x="279359" y="237817"/>
                  <a:pt x="283855" y="239036"/>
                </a:cubicBezTo>
                <a:cubicBezTo>
                  <a:pt x="285321" y="236007"/>
                  <a:pt x="282769" y="235845"/>
                  <a:pt x="283683" y="233207"/>
                </a:cubicBezTo>
                <a:cubicBezTo>
                  <a:pt x="285147" y="232499"/>
                  <a:pt x="286823" y="232370"/>
                  <a:pt x="288379" y="232845"/>
                </a:cubicBezTo>
                <a:cubicBezTo>
                  <a:pt x="288450" y="230652"/>
                  <a:pt x="289670" y="228658"/>
                  <a:pt x="291589" y="227596"/>
                </a:cubicBezTo>
                <a:cubicBezTo>
                  <a:pt x="292056" y="227349"/>
                  <a:pt x="292827" y="229301"/>
                  <a:pt x="293656" y="229101"/>
                </a:cubicBezTo>
                <a:cubicBezTo>
                  <a:pt x="295666" y="228635"/>
                  <a:pt x="299085" y="223110"/>
                  <a:pt x="302504" y="224806"/>
                </a:cubicBezTo>
                <a:cubicBezTo>
                  <a:pt x="302169" y="222876"/>
                  <a:pt x="302505" y="220889"/>
                  <a:pt x="303457" y="219176"/>
                </a:cubicBezTo>
                <a:cubicBezTo>
                  <a:pt x="303686" y="218871"/>
                  <a:pt x="305362" y="219795"/>
                  <a:pt x="305714" y="219557"/>
                </a:cubicBezTo>
                <a:cubicBezTo>
                  <a:pt x="306067" y="219319"/>
                  <a:pt x="305714" y="217528"/>
                  <a:pt x="306095" y="217300"/>
                </a:cubicBezTo>
                <a:cubicBezTo>
                  <a:pt x="306476" y="217071"/>
                  <a:pt x="308000" y="218005"/>
                  <a:pt x="308343" y="217681"/>
                </a:cubicBezTo>
                <a:cubicBezTo>
                  <a:pt x="308686" y="217357"/>
                  <a:pt x="310505" y="212356"/>
                  <a:pt x="311363" y="213556"/>
                </a:cubicBezTo>
                <a:cubicBezTo>
                  <a:pt x="312315" y="214919"/>
                  <a:pt x="312020" y="214195"/>
                  <a:pt x="312677" y="212604"/>
                </a:cubicBezTo>
                <a:cubicBezTo>
                  <a:pt x="315611" y="213499"/>
                  <a:pt x="315982" y="216204"/>
                  <a:pt x="316240" y="219005"/>
                </a:cubicBezTo>
                <a:cubicBezTo>
                  <a:pt x="315716" y="220729"/>
                  <a:pt x="318745" y="219824"/>
                  <a:pt x="319421" y="220710"/>
                </a:cubicBezTo>
                <a:cubicBezTo>
                  <a:pt x="319735" y="221119"/>
                  <a:pt x="318811" y="222472"/>
                  <a:pt x="319040" y="222958"/>
                </a:cubicBezTo>
                <a:cubicBezTo>
                  <a:pt x="320259" y="225587"/>
                  <a:pt x="323869" y="227349"/>
                  <a:pt x="326174" y="228806"/>
                </a:cubicBezTo>
                <a:cubicBezTo>
                  <a:pt x="326612" y="227501"/>
                  <a:pt x="324564" y="227958"/>
                  <a:pt x="324107" y="227301"/>
                </a:cubicBezTo>
                <a:cubicBezTo>
                  <a:pt x="324336" y="227634"/>
                  <a:pt x="323326" y="223996"/>
                  <a:pt x="323364" y="224853"/>
                </a:cubicBezTo>
                <a:cubicBezTo>
                  <a:pt x="323279" y="223091"/>
                  <a:pt x="328051" y="218462"/>
                  <a:pt x="323574" y="216776"/>
                </a:cubicBezTo>
                <a:cubicBezTo>
                  <a:pt x="324260" y="214480"/>
                  <a:pt x="328574" y="217309"/>
                  <a:pt x="329584" y="215471"/>
                </a:cubicBezTo>
                <a:cubicBezTo>
                  <a:pt x="331260" y="210975"/>
                  <a:pt x="324545" y="212442"/>
                  <a:pt x="326231" y="207946"/>
                </a:cubicBezTo>
                <a:cubicBezTo>
                  <a:pt x="328574" y="206194"/>
                  <a:pt x="329441" y="208994"/>
                  <a:pt x="331670" y="210032"/>
                </a:cubicBezTo>
                <a:cubicBezTo>
                  <a:pt x="331022" y="207721"/>
                  <a:pt x="331441" y="205240"/>
                  <a:pt x="332813" y="203269"/>
                </a:cubicBezTo>
                <a:lnTo>
                  <a:pt x="338452" y="204222"/>
                </a:lnTo>
                <a:cubicBezTo>
                  <a:pt x="341814" y="205108"/>
                  <a:pt x="340709" y="197507"/>
                  <a:pt x="343529" y="201612"/>
                </a:cubicBezTo>
                <a:cubicBezTo>
                  <a:pt x="343853" y="199707"/>
                  <a:pt x="344167" y="197859"/>
                  <a:pt x="344481" y="195973"/>
                </a:cubicBezTo>
                <a:cubicBezTo>
                  <a:pt x="348472" y="197878"/>
                  <a:pt x="348520" y="194221"/>
                  <a:pt x="350691" y="193554"/>
                </a:cubicBezTo>
                <a:cubicBezTo>
                  <a:pt x="353901" y="192973"/>
                  <a:pt x="351644" y="196135"/>
                  <a:pt x="352368" y="197316"/>
                </a:cubicBezTo>
                <a:cubicBezTo>
                  <a:pt x="353092" y="198497"/>
                  <a:pt x="355349" y="198497"/>
                  <a:pt x="355368" y="200174"/>
                </a:cubicBezTo>
                <a:cubicBezTo>
                  <a:pt x="359654" y="200060"/>
                  <a:pt x="355463" y="196707"/>
                  <a:pt x="358578" y="194926"/>
                </a:cubicBezTo>
                <a:cubicBezTo>
                  <a:pt x="358731" y="193830"/>
                  <a:pt x="357349" y="193821"/>
                  <a:pt x="356511" y="193421"/>
                </a:cubicBezTo>
                <a:cubicBezTo>
                  <a:pt x="356711" y="191373"/>
                  <a:pt x="358292" y="191268"/>
                  <a:pt x="358416" y="189106"/>
                </a:cubicBezTo>
                <a:cubicBezTo>
                  <a:pt x="361445" y="189258"/>
                  <a:pt x="360921" y="191963"/>
                  <a:pt x="361036" y="194183"/>
                </a:cubicBezTo>
                <a:cubicBezTo>
                  <a:pt x="364065" y="195192"/>
                  <a:pt x="362798" y="190163"/>
                  <a:pt x="365169" y="190249"/>
                </a:cubicBezTo>
                <a:cubicBezTo>
                  <a:pt x="368027" y="189011"/>
                  <a:pt x="366913" y="193792"/>
                  <a:pt x="367979" y="194202"/>
                </a:cubicBezTo>
                <a:cubicBezTo>
                  <a:pt x="369046" y="194611"/>
                  <a:pt x="371351" y="192240"/>
                  <a:pt x="369494" y="192144"/>
                </a:cubicBezTo>
                <a:cubicBezTo>
                  <a:pt x="369637" y="189087"/>
                  <a:pt x="375628" y="194259"/>
                  <a:pt x="374571" y="189525"/>
                </a:cubicBezTo>
                <a:cubicBezTo>
                  <a:pt x="375990" y="189411"/>
                  <a:pt x="374809" y="191430"/>
                  <a:pt x="375314" y="191973"/>
                </a:cubicBezTo>
                <a:cubicBezTo>
                  <a:pt x="375618" y="192268"/>
                  <a:pt x="378171" y="190325"/>
                  <a:pt x="377571" y="192354"/>
                </a:cubicBezTo>
                <a:cubicBezTo>
                  <a:pt x="380429" y="190735"/>
                  <a:pt x="379266" y="183562"/>
                  <a:pt x="381743" y="181467"/>
                </a:cubicBezTo>
                <a:cubicBezTo>
                  <a:pt x="384115" y="183076"/>
                  <a:pt x="388410" y="183372"/>
                  <a:pt x="390363" y="185277"/>
                </a:cubicBezTo>
                <a:cubicBezTo>
                  <a:pt x="389020" y="187115"/>
                  <a:pt x="386744" y="187610"/>
                  <a:pt x="386972" y="191659"/>
                </a:cubicBezTo>
                <a:cubicBezTo>
                  <a:pt x="390014" y="190445"/>
                  <a:pt x="392219" y="187754"/>
                  <a:pt x="392811" y="184534"/>
                </a:cubicBezTo>
                <a:cubicBezTo>
                  <a:pt x="397926" y="184534"/>
                  <a:pt x="396812" y="188963"/>
                  <a:pt x="399936" y="190373"/>
                </a:cubicBezTo>
                <a:cubicBezTo>
                  <a:pt x="407489" y="190544"/>
                  <a:pt x="407880" y="183972"/>
                  <a:pt x="408061" y="176685"/>
                </a:cubicBezTo>
                <a:cubicBezTo>
                  <a:pt x="403631" y="175733"/>
                  <a:pt x="408127" y="178476"/>
                  <a:pt x="405203" y="179676"/>
                </a:cubicBezTo>
                <a:cubicBezTo>
                  <a:pt x="401707" y="180429"/>
                  <a:pt x="403069" y="176819"/>
                  <a:pt x="402346" y="175723"/>
                </a:cubicBezTo>
                <a:cubicBezTo>
                  <a:pt x="401290" y="174120"/>
                  <a:pt x="399959" y="172717"/>
                  <a:pt x="398412" y="171580"/>
                </a:cubicBezTo>
                <a:cubicBezTo>
                  <a:pt x="398631" y="169103"/>
                  <a:pt x="402498" y="171751"/>
                  <a:pt x="404232" y="171408"/>
                </a:cubicBezTo>
                <a:cubicBezTo>
                  <a:pt x="405536" y="170265"/>
                  <a:pt x="403765" y="167684"/>
                  <a:pt x="403679" y="167836"/>
                </a:cubicBezTo>
                <a:cubicBezTo>
                  <a:pt x="404517" y="166084"/>
                  <a:pt x="407222" y="166884"/>
                  <a:pt x="407641" y="165036"/>
                </a:cubicBezTo>
                <a:cubicBezTo>
                  <a:pt x="408061" y="163188"/>
                  <a:pt x="411547" y="165036"/>
                  <a:pt x="411785" y="161093"/>
                </a:cubicBezTo>
                <a:cubicBezTo>
                  <a:pt x="416547" y="163122"/>
                  <a:pt x="416128" y="157911"/>
                  <a:pt x="420253" y="159054"/>
                </a:cubicBezTo>
                <a:cubicBezTo>
                  <a:pt x="420500" y="157559"/>
                  <a:pt x="420757" y="156054"/>
                  <a:pt x="421015" y="154549"/>
                </a:cubicBezTo>
                <a:cubicBezTo>
                  <a:pt x="424091" y="154206"/>
                  <a:pt x="428492" y="151539"/>
                  <a:pt x="431349" y="155140"/>
                </a:cubicBezTo>
                <a:cubicBezTo>
                  <a:pt x="433854" y="155425"/>
                  <a:pt x="432635" y="150444"/>
                  <a:pt x="433626" y="148577"/>
                </a:cubicBezTo>
                <a:cubicBezTo>
                  <a:pt x="434818" y="147837"/>
                  <a:pt x="435802" y="146803"/>
                  <a:pt x="436483" y="145577"/>
                </a:cubicBezTo>
                <a:cubicBezTo>
                  <a:pt x="438388" y="146139"/>
                  <a:pt x="439731" y="144148"/>
                  <a:pt x="439865" y="146148"/>
                </a:cubicBezTo>
                <a:cubicBezTo>
                  <a:pt x="442665" y="144043"/>
                  <a:pt x="444627" y="140766"/>
                  <a:pt x="449837" y="142043"/>
                </a:cubicBezTo>
                <a:lnTo>
                  <a:pt x="449066" y="146548"/>
                </a:lnTo>
                <a:cubicBezTo>
                  <a:pt x="450790" y="147091"/>
                  <a:pt x="449894" y="144005"/>
                  <a:pt x="450771" y="143367"/>
                </a:cubicBezTo>
                <a:cubicBezTo>
                  <a:pt x="451923" y="142519"/>
                  <a:pt x="454381" y="144034"/>
                  <a:pt x="455466" y="142995"/>
                </a:cubicBezTo>
                <a:cubicBezTo>
                  <a:pt x="456552" y="141957"/>
                  <a:pt x="455676" y="135613"/>
                  <a:pt x="459810" y="137938"/>
                </a:cubicBezTo>
                <a:cubicBezTo>
                  <a:pt x="461210" y="134632"/>
                  <a:pt x="458419" y="134289"/>
                  <a:pt x="459810" y="130984"/>
                </a:cubicBezTo>
                <a:lnTo>
                  <a:pt x="466573" y="132127"/>
                </a:lnTo>
                <a:cubicBezTo>
                  <a:pt x="468982" y="132737"/>
                  <a:pt x="467754" y="128222"/>
                  <a:pt x="468649" y="126688"/>
                </a:cubicBezTo>
                <a:cubicBezTo>
                  <a:pt x="471735" y="124412"/>
                  <a:pt x="471364" y="128955"/>
                  <a:pt x="473907" y="129898"/>
                </a:cubicBezTo>
                <a:cubicBezTo>
                  <a:pt x="473783" y="127670"/>
                  <a:pt x="471049" y="127308"/>
                  <a:pt x="472602" y="123879"/>
                </a:cubicBezTo>
                <a:cubicBezTo>
                  <a:pt x="473945" y="123879"/>
                  <a:pt x="474574" y="124469"/>
                  <a:pt x="474669" y="125393"/>
                </a:cubicBezTo>
                <a:cubicBezTo>
                  <a:pt x="477643" y="123842"/>
                  <a:pt x="480074" y="121424"/>
                  <a:pt x="481641" y="118459"/>
                </a:cubicBezTo>
                <a:cubicBezTo>
                  <a:pt x="482479" y="119374"/>
                  <a:pt x="483605" y="119976"/>
                  <a:pt x="484832" y="120164"/>
                </a:cubicBezTo>
                <a:cubicBezTo>
                  <a:pt x="486527" y="120564"/>
                  <a:pt x="485680" y="117792"/>
                  <a:pt x="486537" y="116973"/>
                </a:cubicBezTo>
                <a:cubicBezTo>
                  <a:pt x="488232" y="115325"/>
                  <a:pt x="492871" y="117059"/>
                  <a:pt x="492928" y="113420"/>
                </a:cubicBezTo>
                <a:cubicBezTo>
                  <a:pt x="494833" y="113420"/>
                  <a:pt x="494690" y="114811"/>
                  <a:pt x="496119" y="115116"/>
                </a:cubicBezTo>
                <a:cubicBezTo>
                  <a:pt x="498634" y="114258"/>
                  <a:pt x="497805" y="111439"/>
                  <a:pt x="499339" y="109867"/>
                </a:cubicBezTo>
                <a:cubicBezTo>
                  <a:pt x="500224" y="108915"/>
                  <a:pt x="502730" y="109810"/>
                  <a:pt x="503091" y="108191"/>
                </a:cubicBezTo>
                <a:cubicBezTo>
                  <a:pt x="503368" y="106962"/>
                  <a:pt x="505625" y="107839"/>
                  <a:pt x="505730" y="106286"/>
                </a:cubicBezTo>
                <a:cubicBezTo>
                  <a:pt x="507218" y="107118"/>
                  <a:pt x="508264" y="108564"/>
                  <a:pt x="508587" y="110239"/>
                </a:cubicBezTo>
                <a:cubicBezTo>
                  <a:pt x="511016" y="109486"/>
                  <a:pt x="513731" y="109115"/>
                  <a:pt x="514979" y="106686"/>
                </a:cubicBezTo>
                <a:cubicBezTo>
                  <a:pt x="519055" y="107753"/>
                  <a:pt x="523246" y="104781"/>
                  <a:pt x="525313" y="107286"/>
                </a:cubicBezTo>
                <a:cubicBezTo>
                  <a:pt x="524056" y="109353"/>
                  <a:pt x="520684" y="110667"/>
                  <a:pt x="519293" y="108581"/>
                </a:cubicBezTo>
                <a:cubicBezTo>
                  <a:pt x="517989" y="114601"/>
                  <a:pt x="525961" y="109629"/>
                  <a:pt x="527552" y="114620"/>
                </a:cubicBezTo>
                <a:cubicBezTo>
                  <a:pt x="530095" y="115401"/>
                  <a:pt x="529352" y="111572"/>
                  <a:pt x="531505" y="111810"/>
                </a:cubicBezTo>
                <a:cubicBezTo>
                  <a:pt x="535134" y="111877"/>
                  <a:pt x="533972" y="115344"/>
                  <a:pt x="536572" y="116144"/>
                </a:cubicBezTo>
                <a:cubicBezTo>
                  <a:pt x="539315" y="115830"/>
                  <a:pt x="538420" y="110382"/>
                  <a:pt x="542963" y="112591"/>
                </a:cubicBezTo>
                <a:cubicBezTo>
                  <a:pt x="542858" y="108381"/>
                  <a:pt x="540020" y="106095"/>
                  <a:pt x="540182" y="101685"/>
                </a:cubicBezTo>
                <a:cubicBezTo>
                  <a:pt x="543392" y="101390"/>
                  <a:pt x="542087" y="104314"/>
                  <a:pt x="544306" y="104705"/>
                </a:cubicBezTo>
                <a:cubicBezTo>
                  <a:pt x="545973" y="104705"/>
                  <a:pt x="545259" y="101409"/>
                  <a:pt x="547164" y="101714"/>
                </a:cubicBezTo>
                <a:cubicBezTo>
                  <a:pt x="544449" y="98609"/>
                  <a:pt x="547840" y="97332"/>
                  <a:pt x="544925" y="94370"/>
                </a:cubicBezTo>
                <a:cubicBezTo>
                  <a:pt x="547421" y="91322"/>
                  <a:pt x="549231" y="93818"/>
                  <a:pt x="553002" y="94580"/>
                </a:cubicBezTo>
                <a:cubicBezTo>
                  <a:pt x="554670" y="94272"/>
                  <a:pt x="556119" y="93249"/>
                  <a:pt x="556965" y="91779"/>
                </a:cubicBezTo>
                <a:cubicBezTo>
                  <a:pt x="555174" y="87579"/>
                  <a:pt x="551526" y="92379"/>
                  <a:pt x="548878" y="91570"/>
                </a:cubicBezTo>
                <a:cubicBezTo>
                  <a:pt x="548573" y="86598"/>
                  <a:pt x="541744" y="92008"/>
                  <a:pt x="542696" y="87036"/>
                </a:cubicBezTo>
                <a:cubicBezTo>
                  <a:pt x="541411" y="86407"/>
                  <a:pt x="541801" y="88865"/>
                  <a:pt x="541182" y="89103"/>
                </a:cubicBezTo>
                <a:cubicBezTo>
                  <a:pt x="539563" y="89712"/>
                  <a:pt x="538324" y="86703"/>
                  <a:pt x="535543" y="88150"/>
                </a:cubicBezTo>
                <a:cubicBezTo>
                  <a:pt x="532190" y="87560"/>
                  <a:pt x="532209" y="84569"/>
                  <a:pt x="529361" y="83616"/>
                </a:cubicBezTo>
                <a:cubicBezTo>
                  <a:pt x="526142" y="84197"/>
                  <a:pt x="523161" y="85121"/>
                  <a:pt x="519770" y="85521"/>
                </a:cubicBezTo>
                <a:cubicBezTo>
                  <a:pt x="517484" y="82759"/>
                  <a:pt x="514131" y="86960"/>
                  <a:pt x="514521" y="82302"/>
                </a:cubicBezTo>
                <a:cubicBezTo>
                  <a:pt x="509572" y="81260"/>
                  <a:pt x="504469" y="81182"/>
                  <a:pt x="499491" y="82073"/>
                </a:cubicBezTo>
                <a:cubicBezTo>
                  <a:pt x="499005" y="79806"/>
                  <a:pt x="496253" y="80721"/>
                  <a:pt x="498929" y="78502"/>
                </a:cubicBezTo>
                <a:cubicBezTo>
                  <a:pt x="496510" y="77882"/>
                  <a:pt x="495186" y="78816"/>
                  <a:pt x="494976" y="81359"/>
                </a:cubicBezTo>
                <a:cubicBezTo>
                  <a:pt x="492290" y="81702"/>
                  <a:pt x="492662" y="78787"/>
                  <a:pt x="490852" y="78340"/>
                </a:cubicBezTo>
                <a:cubicBezTo>
                  <a:pt x="486318" y="77225"/>
                  <a:pt x="481565" y="81083"/>
                  <a:pt x="478469" y="83188"/>
                </a:cubicBezTo>
                <a:cubicBezTo>
                  <a:pt x="477322" y="82032"/>
                  <a:pt x="475781" y="81352"/>
                  <a:pt x="474155" y="81283"/>
                </a:cubicBezTo>
                <a:cubicBezTo>
                  <a:pt x="475526" y="79316"/>
                  <a:pt x="475945" y="76838"/>
                  <a:pt x="475298" y="74530"/>
                </a:cubicBezTo>
                <a:cubicBezTo>
                  <a:pt x="473678" y="75968"/>
                  <a:pt x="470735" y="75558"/>
                  <a:pt x="469087" y="76949"/>
                </a:cubicBezTo>
                <a:cubicBezTo>
                  <a:pt x="467230" y="75568"/>
                  <a:pt x="468992" y="73901"/>
                  <a:pt x="464772" y="75044"/>
                </a:cubicBezTo>
                <a:cubicBezTo>
                  <a:pt x="462610" y="75634"/>
                  <a:pt x="461820" y="77501"/>
                  <a:pt x="459877" y="76530"/>
                </a:cubicBezTo>
                <a:lnTo>
                  <a:pt x="460648" y="72025"/>
                </a:lnTo>
                <a:cubicBezTo>
                  <a:pt x="457791" y="70729"/>
                  <a:pt x="458076" y="73987"/>
                  <a:pt x="456695" y="74834"/>
                </a:cubicBezTo>
                <a:cubicBezTo>
                  <a:pt x="452990" y="72929"/>
                  <a:pt x="442522" y="74025"/>
                  <a:pt x="440369" y="68586"/>
                </a:cubicBezTo>
                <a:cubicBezTo>
                  <a:pt x="434559" y="70653"/>
                  <a:pt x="431883" y="67976"/>
                  <a:pt x="426463" y="68538"/>
                </a:cubicBezTo>
                <a:cubicBezTo>
                  <a:pt x="426891" y="63938"/>
                  <a:pt x="421338" y="68443"/>
                  <a:pt x="421586" y="63081"/>
                </a:cubicBezTo>
                <a:cubicBezTo>
                  <a:pt x="419976" y="64528"/>
                  <a:pt x="417033" y="64109"/>
                  <a:pt x="415385" y="65500"/>
                </a:cubicBezTo>
                <a:cubicBezTo>
                  <a:pt x="412890" y="64290"/>
                  <a:pt x="412994" y="61242"/>
                  <a:pt x="410518" y="60033"/>
                </a:cubicBezTo>
                <a:cubicBezTo>
                  <a:pt x="406089" y="61109"/>
                  <a:pt x="412842" y="62166"/>
                  <a:pt x="410870" y="64738"/>
                </a:cubicBezTo>
                <a:cubicBezTo>
                  <a:pt x="409785" y="65062"/>
                  <a:pt x="408689" y="65386"/>
                  <a:pt x="408242" y="66643"/>
                </a:cubicBezTo>
                <a:cubicBezTo>
                  <a:pt x="407060" y="67681"/>
                  <a:pt x="403374" y="62166"/>
                  <a:pt x="400545" y="64185"/>
                </a:cubicBezTo>
                <a:cubicBezTo>
                  <a:pt x="398345" y="65728"/>
                  <a:pt x="400155" y="62909"/>
                  <a:pt x="396221" y="62280"/>
                </a:cubicBezTo>
                <a:cubicBezTo>
                  <a:pt x="396069" y="63376"/>
                  <a:pt x="397450" y="63385"/>
                  <a:pt x="398288" y="63785"/>
                </a:cubicBezTo>
                <a:cubicBezTo>
                  <a:pt x="396812" y="67872"/>
                  <a:pt x="394678" y="62319"/>
                  <a:pt x="393202" y="66405"/>
                </a:cubicBezTo>
                <a:cubicBezTo>
                  <a:pt x="391297" y="63547"/>
                  <a:pt x="389896" y="66405"/>
                  <a:pt x="386448" y="65252"/>
                </a:cubicBezTo>
                <a:lnTo>
                  <a:pt x="387020" y="61880"/>
                </a:lnTo>
                <a:cubicBezTo>
                  <a:pt x="383877" y="62099"/>
                  <a:pt x="382181" y="64376"/>
                  <a:pt x="379495" y="65233"/>
                </a:cubicBezTo>
                <a:cubicBezTo>
                  <a:pt x="375752" y="66129"/>
                  <a:pt x="373780" y="60842"/>
                  <a:pt x="371608" y="63900"/>
                </a:cubicBezTo>
                <a:cubicBezTo>
                  <a:pt x="368008" y="62814"/>
                  <a:pt x="369608" y="58042"/>
                  <a:pt x="368437" y="55251"/>
                </a:cubicBezTo>
                <a:cubicBezTo>
                  <a:pt x="366282" y="57177"/>
                  <a:pt x="365338" y="60117"/>
                  <a:pt x="365970" y="62938"/>
                </a:cubicBezTo>
                <a:cubicBezTo>
                  <a:pt x="363331" y="61985"/>
                  <a:pt x="363169" y="64585"/>
                  <a:pt x="360150" y="63119"/>
                </a:cubicBezTo>
                <a:cubicBezTo>
                  <a:pt x="360150" y="61052"/>
                  <a:pt x="361598" y="60985"/>
                  <a:pt x="361464" y="62166"/>
                </a:cubicBezTo>
                <a:cubicBezTo>
                  <a:pt x="364693" y="61671"/>
                  <a:pt x="359312" y="59213"/>
                  <a:pt x="359969" y="57280"/>
                </a:cubicBezTo>
                <a:cubicBezTo>
                  <a:pt x="358064" y="58766"/>
                  <a:pt x="353939" y="57175"/>
                  <a:pt x="353568" y="60833"/>
                </a:cubicBezTo>
                <a:cubicBezTo>
                  <a:pt x="351939" y="58375"/>
                  <a:pt x="350053" y="61614"/>
                  <a:pt x="348129" y="58747"/>
                </a:cubicBezTo>
                <a:cubicBezTo>
                  <a:pt x="346300" y="59423"/>
                  <a:pt x="345881" y="62099"/>
                  <a:pt x="344919" y="63995"/>
                </a:cubicBezTo>
                <a:cubicBezTo>
                  <a:pt x="343833" y="63785"/>
                  <a:pt x="344281" y="62471"/>
                  <a:pt x="344176" y="61557"/>
                </a:cubicBezTo>
                <a:cubicBezTo>
                  <a:pt x="340766" y="59547"/>
                  <a:pt x="342700" y="65052"/>
                  <a:pt x="339290" y="63042"/>
                </a:cubicBezTo>
                <a:lnTo>
                  <a:pt x="339671" y="60795"/>
                </a:lnTo>
                <a:cubicBezTo>
                  <a:pt x="336877" y="60325"/>
                  <a:pt x="334007" y="60655"/>
                  <a:pt x="331394" y="61747"/>
                </a:cubicBezTo>
                <a:cubicBezTo>
                  <a:pt x="329889" y="61080"/>
                  <a:pt x="331632" y="59747"/>
                  <a:pt x="332908" y="59680"/>
                </a:cubicBezTo>
                <a:cubicBezTo>
                  <a:pt x="333642" y="57451"/>
                  <a:pt x="329613" y="59356"/>
                  <a:pt x="329336" y="60233"/>
                </a:cubicBezTo>
                <a:cubicBezTo>
                  <a:pt x="327193" y="59185"/>
                  <a:pt x="328270" y="57213"/>
                  <a:pt x="328032" y="54222"/>
                </a:cubicBezTo>
                <a:cubicBezTo>
                  <a:pt x="327974" y="53432"/>
                  <a:pt x="327079" y="53003"/>
                  <a:pt x="327079" y="52898"/>
                </a:cubicBezTo>
                <a:cubicBezTo>
                  <a:pt x="327079" y="52098"/>
                  <a:pt x="328470" y="51879"/>
                  <a:pt x="328574" y="50831"/>
                </a:cubicBezTo>
                <a:cubicBezTo>
                  <a:pt x="328574" y="50584"/>
                  <a:pt x="327174" y="49422"/>
                  <a:pt x="327841" y="48393"/>
                </a:cubicBezTo>
                <a:cubicBezTo>
                  <a:pt x="328022" y="48098"/>
                  <a:pt x="330756" y="49041"/>
                  <a:pt x="330279" y="47650"/>
                </a:cubicBezTo>
                <a:cubicBezTo>
                  <a:pt x="330194" y="45402"/>
                  <a:pt x="326069" y="46012"/>
                  <a:pt x="327660" y="42564"/>
                </a:cubicBezTo>
                <a:lnTo>
                  <a:pt x="324288" y="41992"/>
                </a:lnTo>
                <a:cubicBezTo>
                  <a:pt x="320735" y="44431"/>
                  <a:pt x="322040" y="45602"/>
                  <a:pt x="321821" y="49688"/>
                </a:cubicBezTo>
                <a:cubicBezTo>
                  <a:pt x="320243" y="49631"/>
                  <a:pt x="318955" y="48405"/>
                  <a:pt x="318821" y="46831"/>
                </a:cubicBezTo>
                <a:cubicBezTo>
                  <a:pt x="315335" y="47250"/>
                  <a:pt x="321154" y="48964"/>
                  <a:pt x="319183" y="51536"/>
                </a:cubicBezTo>
                <a:cubicBezTo>
                  <a:pt x="314801" y="51012"/>
                  <a:pt x="313011" y="48679"/>
                  <a:pt x="313382" y="44754"/>
                </a:cubicBezTo>
                <a:cubicBezTo>
                  <a:pt x="314658" y="45154"/>
                  <a:pt x="315430" y="44840"/>
                  <a:pt x="315830" y="44002"/>
                </a:cubicBezTo>
                <a:cubicBezTo>
                  <a:pt x="316421" y="42297"/>
                  <a:pt x="313211" y="43183"/>
                  <a:pt x="312630" y="42307"/>
                </a:cubicBezTo>
                <a:cubicBezTo>
                  <a:pt x="311744" y="40963"/>
                  <a:pt x="316906" y="37925"/>
                  <a:pt x="310953" y="38544"/>
                </a:cubicBezTo>
                <a:cubicBezTo>
                  <a:pt x="312725" y="34467"/>
                  <a:pt x="311906" y="33267"/>
                  <a:pt x="313420" y="30848"/>
                </a:cubicBezTo>
                <a:cubicBezTo>
                  <a:pt x="315706" y="31905"/>
                  <a:pt x="318907" y="35763"/>
                  <a:pt x="320183" y="31991"/>
                </a:cubicBezTo>
                <a:cubicBezTo>
                  <a:pt x="321650" y="32601"/>
                  <a:pt x="320640" y="34972"/>
                  <a:pt x="320535" y="36687"/>
                </a:cubicBezTo>
                <a:cubicBezTo>
                  <a:pt x="323488" y="36182"/>
                  <a:pt x="323917" y="32134"/>
                  <a:pt x="328070" y="33334"/>
                </a:cubicBezTo>
                <a:lnTo>
                  <a:pt x="328841" y="28829"/>
                </a:lnTo>
                <a:cubicBezTo>
                  <a:pt x="333023" y="30543"/>
                  <a:pt x="333308" y="26752"/>
                  <a:pt x="336166" y="26590"/>
                </a:cubicBezTo>
                <a:cubicBezTo>
                  <a:pt x="335547" y="24028"/>
                  <a:pt x="331280" y="27943"/>
                  <a:pt x="328089" y="26381"/>
                </a:cubicBezTo>
                <a:cubicBezTo>
                  <a:pt x="328889" y="25485"/>
                  <a:pt x="332308" y="22018"/>
                  <a:pt x="329603" y="24314"/>
                </a:cubicBezTo>
                <a:cubicBezTo>
                  <a:pt x="326984" y="23142"/>
                  <a:pt x="329975" y="18523"/>
                  <a:pt x="332623" y="20189"/>
                </a:cubicBezTo>
                <a:cubicBezTo>
                  <a:pt x="333727" y="19075"/>
                  <a:pt x="331822" y="17932"/>
                  <a:pt x="331870" y="17742"/>
                </a:cubicBezTo>
                <a:cubicBezTo>
                  <a:pt x="332080" y="16856"/>
                  <a:pt x="334823" y="17037"/>
                  <a:pt x="334509" y="15837"/>
                </a:cubicBezTo>
                <a:cubicBezTo>
                  <a:pt x="334194" y="14636"/>
                  <a:pt x="332908" y="14455"/>
                  <a:pt x="331327" y="14141"/>
                </a:cubicBezTo>
                <a:cubicBezTo>
                  <a:pt x="331546" y="11655"/>
                  <a:pt x="335404" y="14303"/>
                  <a:pt x="337147" y="13960"/>
                </a:cubicBezTo>
                <a:cubicBezTo>
                  <a:pt x="338342" y="13228"/>
                  <a:pt x="339327" y="12197"/>
                  <a:pt x="340004" y="10969"/>
                </a:cubicBezTo>
                <a:cubicBezTo>
                  <a:pt x="344234" y="10874"/>
                  <a:pt x="349720" y="12560"/>
                  <a:pt x="351844" y="9502"/>
                </a:cubicBezTo>
                <a:cubicBezTo>
                  <a:pt x="354835" y="7283"/>
                  <a:pt x="350406" y="12303"/>
                  <a:pt x="350891" y="15132"/>
                </a:cubicBezTo>
                <a:cubicBezTo>
                  <a:pt x="354882" y="13455"/>
                  <a:pt x="355083" y="14522"/>
                  <a:pt x="359159" y="14179"/>
                </a:cubicBezTo>
                <a:cubicBezTo>
                  <a:pt x="362283" y="13465"/>
                  <a:pt x="364046" y="10817"/>
                  <a:pt x="367808" y="11007"/>
                </a:cubicBezTo>
                <a:cubicBezTo>
                  <a:pt x="367141" y="13798"/>
                  <a:pt x="368951" y="14817"/>
                  <a:pt x="370427" y="16094"/>
                </a:cubicBezTo>
                <a:cubicBezTo>
                  <a:pt x="371380" y="16027"/>
                  <a:pt x="371742" y="15141"/>
                  <a:pt x="372866" y="15341"/>
                </a:cubicBezTo>
                <a:cubicBezTo>
                  <a:pt x="374028" y="11884"/>
                  <a:pt x="371513" y="11017"/>
                  <a:pt x="373075" y="7264"/>
                </a:cubicBezTo>
                <a:cubicBezTo>
                  <a:pt x="373932" y="8645"/>
                  <a:pt x="377180" y="8321"/>
                  <a:pt x="375933" y="11217"/>
                </a:cubicBezTo>
                <a:cubicBezTo>
                  <a:pt x="377200" y="10198"/>
                  <a:pt x="380152" y="11579"/>
                  <a:pt x="379895" y="8417"/>
                </a:cubicBezTo>
                <a:cubicBezTo>
                  <a:pt x="380162" y="6740"/>
                  <a:pt x="378533" y="8055"/>
                  <a:pt x="378762" y="8226"/>
                </a:cubicBezTo>
                <a:cubicBezTo>
                  <a:pt x="376586" y="6140"/>
                  <a:pt x="376514" y="2685"/>
                  <a:pt x="378601" y="509"/>
                </a:cubicBezTo>
                <a:cubicBezTo>
                  <a:pt x="378722" y="383"/>
                  <a:pt x="378848" y="263"/>
                  <a:pt x="378981" y="149"/>
                </a:cubicBezTo>
                <a:cubicBezTo>
                  <a:pt x="381533" y="901"/>
                  <a:pt x="381048" y="3587"/>
                  <a:pt x="379343" y="4845"/>
                </a:cubicBezTo>
                <a:cubicBezTo>
                  <a:pt x="382667" y="6273"/>
                  <a:pt x="382029" y="2121"/>
                  <a:pt x="385353" y="3540"/>
                </a:cubicBezTo>
                <a:cubicBezTo>
                  <a:pt x="385201" y="4645"/>
                  <a:pt x="386591" y="4654"/>
                  <a:pt x="387420" y="5054"/>
                </a:cubicBezTo>
                <a:cubicBezTo>
                  <a:pt x="385201" y="9255"/>
                  <a:pt x="391087" y="8483"/>
                  <a:pt x="387591" y="10884"/>
                </a:cubicBezTo>
                <a:cubicBezTo>
                  <a:pt x="393306" y="9226"/>
                  <a:pt x="392992" y="16189"/>
                  <a:pt x="399793" y="14113"/>
                </a:cubicBezTo>
                <a:cubicBezTo>
                  <a:pt x="399720" y="12090"/>
                  <a:pt x="400469" y="10125"/>
                  <a:pt x="401869" y="8664"/>
                </a:cubicBezTo>
                <a:cubicBezTo>
                  <a:pt x="404574" y="11617"/>
                  <a:pt x="406698" y="8807"/>
                  <a:pt x="409575" y="11131"/>
                </a:cubicBezTo>
                <a:cubicBezTo>
                  <a:pt x="412270" y="11048"/>
                  <a:pt x="414966" y="11118"/>
                  <a:pt x="417652" y="11341"/>
                </a:cubicBezTo>
                <a:cubicBezTo>
                  <a:pt x="416995" y="13303"/>
                  <a:pt x="418328" y="13836"/>
                  <a:pt x="418605" y="12655"/>
                </a:cubicBezTo>
                <a:cubicBezTo>
                  <a:pt x="421634" y="13674"/>
                  <a:pt x="418052" y="16208"/>
                  <a:pt x="415966" y="14560"/>
                </a:cubicBezTo>
                <a:cubicBezTo>
                  <a:pt x="416862" y="16237"/>
                  <a:pt x="416357" y="18904"/>
                  <a:pt x="417262" y="20580"/>
                </a:cubicBezTo>
                <a:cubicBezTo>
                  <a:pt x="418625" y="19531"/>
                  <a:pt x="420580" y="19786"/>
                  <a:pt x="421630" y="21149"/>
                </a:cubicBezTo>
                <a:cubicBezTo>
                  <a:pt x="421677" y="21211"/>
                  <a:pt x="421724" y="21276"/>
                  <a:pt x="421767" y="21342"/>
                </a:cubicBezTo>
                <a:cubicBezTo>
                  <a:pt x="422409" y="21338"/>
                  <a:pt x="422926" y="20815"/>
                  <a:pt x="422922" y="20173"/>
                </a:cubicBezTo>
                <a:cubicBezTo>
                  <a:pt x="422920" y="19684"/>
                  <a:pt x="422610" y="19248"/>
                  <a:pt x="422148" y="19085"/>
                </a:cubicBezTo>
                <a:cubicBezTo>
                  <a:pt x="423624" y="16980"/>
                  <a:pt x="426911" y="17389"/>
                  <a:pt x="430416" y="18132"/>
                </a:cubicBezTo>
                <a:cubicBezTo>
                  <a:pt x="429682" y="18675"/>
                  <a:pt x="429558" y="19485"/>
                  <a:pt x="428911" y="20199"/>
                </a:cubicBezTo>
                <a:cubicBezTo>
                  <a:pt x="428151" y="21148"/>
                  <a:pt x="427576" y="22230"/>
                  <a:pt x="427215" y="23390"/>
                </a:cubicBezTo>
                <a:cubicBezTo>
                  <a:pt x="426977" y="23923"/>
                  <a:pt x="425853" y="24485"/>
                  <a:pt x="425891" y="24342"/>
                </a:cubicBezTo>
                <a:cubicBezTo>
                  <a:pt x="425253" y="26924"/>
                  <a:pt x="427711" y="29267"/>
                  <a:pt x="423624" y="30915"/>
                </a:cubicBezTo>
                <a:cubicBezTo>
                  <a:pt x="425380" y="32929"/>
                  <a:pt x="426191" y="35598"/>
                  <a:pt x="425853" y="38249"/>
                </a:cubicBezTo>
                <a:cubicBezTo>
                  <a:pt x="429978" y="39411"/>
                  <a:pt x="432626" y="38468"/>
                  <a:pt x="433378" y="34887"/>
                </a:cubicBezTo>
                <a:cubicBezTo>
                  <a:pt x="437188" y="36001"/>
                  <a:pt x="434330" y="38173"/>
                  <a:pt x="438817" y="36973"/>
                </a:cubicBezTo>
                <a:cubicBezTo>
                  <a:pt x="437236" y="41068"/>
                  <a:pt x="439284" y="42592"/>
                  <a:pt x="438417" y="46174"/>
                </a:cubicBezTo>
                <a:cubicBezTo>
                  <a:pt x="439179" y="46802"/>
                  <a:pt x="440931" y="42564"/>
                  <a:pt x="440322" y="41859"/>
                </a:cubicBezTo>
                <a:cubicBezTo>
                  <a:pt x="439036" y="40382"/>
                  <a:pt x="440407" y="41516"/>
                  <a:pt x="440512" y="40735"/>
                </a:cubicBezTo>
                <a:cubicBezTo>
                  <a:pt x="440646" y="39687"/>
                  <a:pt x="438750" y="34306"/>
                  <a:pt x="441855" y="32848"/>
                </a:cubicBezTo>
                <a:cubicBezTo>
                  <a:pt x="443265" y="32772"/>
                  <a:pt x="442093" y="34753"/>
                  <a:pt x="442598" y="35287"/>
                </a:cubicBezTo>
                <a:cubicBezTo>
                  <a:pt x="443646" y="36458"/>
                  <a:pt x="446494" y="35620"/>
                  <a:pt x="446913" y="37192"/>
                </a:cubicBezTo>
                <a:cubicBezTo>
                  <a:pt x="449066" y="36506"/>
                  <a:pt x="449637" y="33591"/>
                  <a:pt x="451247" y="32134"/>
                </a:cubicBezTo>
                <a:cubicBezTo>
                  <a:pt x="455057" y="33163"/>
                  <a:pt x="457095" y="35839"/>
                  <a:pt x="459515" y="31181"/>
                </a:cubicBezTo>
                <a:cubicBezTo>
                  <a:pt x="460810" y="31591"/>
                  <a:pt x="460124" y="33401"/>
                  <a:pt x="460077" y="34753"/>
                </a:cubicBezTo>
                <a:cubicBezTo>
                  <a:pt x="460077" y="36792"/>
                  <a:pt x="467097" y="41945"/>
                  <a:pt x="467773" y="37220"/>
                </a:cubicBezTo>
                <a:cubicBezTo>
                  <a:pt x="471583" y="36849"/>
                  <a:pt x="468678" y="41202"/>
                  <a:pt x="471707" y="41364"/>
                </a:cubicBezTo>
                <a:cubicBezTo>
                  <a:pt x="474002" y="40287"/>
                  <a:pt x="471840" y="35725"/>
                  <a:pt x="474155" y="40630"/>
                </a:cubicBezTo>
                <a:cubicBezTo>
                  <a:pt x="477393" y="40116"/>
                  <a:pt x="471497" y="38020"/>
                  <a:pt x="473974" y="34801"/>
                </a:cubicBezTo>
                <a:cubicBezTo>
                  <a:pt x="474726" y="35925"/>
                  <a:pt x="476945" y="35991"/>
                  <a:pt x="476974" y="37658"/>
                </a:cubicBezTo>
                <a:cubicBezTo>
                  <a:pt x="476483" y="39173"/>
                  <a:pt x="477209" y="40813"/>
                  <a:pt x="478660" y="41468"/>
                </a:cubicBezTo>
                <a:cubicBezTo>
                  <a:pt x="478250" y="42754"/>
                  <a:pt x="476441" y="42068"/>
                  <a:pt x="475078" y="42011"/>
                </a:cubicBezTo>
                <a:cubicBezTo>
                  <a:pt x="474202" y="44288"/>
                  <a:pt x="475345" y="45135"/>
                  <a:pt x="475440" y="46717"/>
                </a:cubicBezTo>
                <a:cubicBezTo>
                  <a:pt x="476545" y="46869"/>
                  <a:pt x="476555" y="45488"/>
                  <a:pt x="476955" y="44659"/>
                </a:cubicBezTo>
                <a:cubicBezTo>
                  <a:pt x="480603" y="44659"/>
                  <a:pt x="480936" y="47860"/>
                  <a:pt x="483718" y="45802"/>
                </a:cubicBezTo>
                <a:cubicBezTo>
                  <a:pt x="483899" y="43688"/>
                  <a:pt x="480012" y="44459"/>
                  <a:pt x="479593" y="42783"/>
                </a:cubicBezTo>
                <a:cubicBezTo>
                  <a:pt x="481394" y="41592"/>
                  <a:pt x="481498" y="38077"/>
                  <a:pt x="482060" y="35087"/>
                </a:cubicBezTo>
                <a:cubicBezTo>
                  <a:pt x="483475" y="35752"/>
                  <a:pt x="484187" y="37353"/>
                  <a:pt x="483737" y="38849"/>
                </a:cubicBezTo>
                <a:cubicBezTo>
                  <a:pt x="487204" y="38458"/>
                  <a:pt x="482784" y="35763"/>
                  <a:pt x="484689" y="33220"/>
                </a:cubicBezTo>
                <a:cubicBezTo>
                  <a:pt x="488994" y="35544"/>
                  <a:pt x="488671" y="31372"/>
                  <a:pt x="491842" y="32105"/>
                </a:cubicBezTo>
                <a:lnTo>
                  <a:pt x="490890" y="37744"/>
                </a:lnTo>
                <a:cubicBezTo>
                  <a:pt x="488499" y="36696"/>
                  <a:pt x="488918" y="39649"/>
                  <a:pt x="487128" y="39420"/>
                </a:cubicBezTo>
                <a:cubicBezTo>
                  <a:pt x="487128" y="42116"/>
                  <a:pt x="490137" y="39716"/>
                  <a:pt x="491642" y="40182"/>
                </a:cubicBezTo>
                <a:cubicBezTo>
                  <a:pt x="491557" y="40182"/>
                  <a:pt x="491642" y="42087"/>
                  <a:pt x="492595" y="41506"/>
                </a:cubicBezTo>
                <a:cubicBezTo>
                  <a:pt x="495024" y="40744"/>
                  <a:pt x="497729" y="40373"/>
                  <a:pt x="498986" y="37954"/>
                </a:cubicBezTo>
                <a:cubicBezTo>
                  <a:pt x="500646" y="39046"/>
                  <a:pt x="502689" y="39392"/>
                  <a:pt x="504615" y="38906"/>
                </a:cubicBezTo>
                <a:cubicBezTo>
                  <a:pt x="505209" y="39997"/>
                  <a:pt x="505407" y="41258"/>
                  <a:pt x="505177" y="42478"/>
                </a:cubicBezTo>
                <a:cubicBezTo>
                  <a:pt x="507883" y="42630"/>
                  <a:pt x="506711" y="37611"/>
                  <a:pt x="504806" y="37782"/>
                </a:cubicBezTo>
                <a:cubicBezTo>
                  <a:pt x="504873" y="35982"/>
                  <a:pt x="507483" y="37849"/>
                  <a:pt x="508387" y="37230"/>
                </a:cubicBezTo>
                <a:cubicBezTo>
                  <a:pt x="509464" y="36487"/>
                  <a:pt x="508787" y="33096"/>
                  <a:pt x="510292" y="32915"/>
                </a:cubicBezTo>
                <a:cubicBezTo>
                  <a:pt x="511164" y="34005"/>
                  <a:pt x="511742" y="35300"/>
                  <a:pt x="511969" y="36677"/>
                </a:cubicBezTo>
                <a:cubicBezTo>
                  <a:pt x="515636" y="36496"/>
                  <a:pt x="513950" y="33915"/>
                  <a:pt x="514045" y="31229"/>
                </a:cubicBezTo>
                <a:cubicBezTo>
                  <a:pt x="515836" y="33705"/>
                  <a:pt x="516903" y="31839"/>
                  <a:pt x="519684" y="32181"/>
                </a:cubicBezTo>
                <a:cubicBezTo>
                  <a:pt x="521341" y="33315"/>
                  <a:pt x="518493" y="37649"/>
                  <a:pt x="522303" y="37258"/>
                </a:cubicBezTo>
                <a:cubicBezTo>
                  <a:pt x="521970" y="40325"/>
                  <a:pt x="520313" y="38716"/>
                  <a:pt x="521541" y="41764"/>
                </a:cubicBezTo>
                <a:cubicBezTo>
                  <a:pt x="522703" y="44621"/>
                  <a:pt x="523103" y="42983"/>
                  <a:pt x="525656" y="44783"/>
                </a:cubicBezTo>
                <a:cubicBezTo>
                  <a:pt x="525932" y="44974"/>
                  <a:pt x="525008" y="46840"/>
                  <a:pt x="525275" y="47040"/>
                </a:cubicBezTo>
                <a:cubicBezTo>
                  <a:pt x="526380" y="47831"/>
                  <a:pt x="526228" y="46088"/>
                  <a:pt x="526599" y="46088"/>
                </a:cubicBezTo>
                <a:cubicBezTo>
                  <a:pt x="528180" y="45945"/>
                  <a:pt x="529076" y="51574"/>
                  <a:pt x="529971" y="46659"/>
                </a:cubicBezTo>
                <a:cubicBezTo>
                  <a:pt x="533648" y="48012"/>
                  <a:pt x="535210" y="50879"/>
                  <a:pt x="540858" y="50822"/>
                </a:cubicBezTo>
                <a:cubicBezTo>
                  <a:pt x="540003" y="48583"/>
                  <a:pt x="540003" y="46108"/>
                  <a:pt x="540858" y="43869"/>
                </a:cubicBezTo>
                <a:cubicBezTo>
                  <a:pt x="543763" y="45650"/>
                  <a:pt x="546887" y="46726"/>
                  <a:pt x="547078" y="41449"/>
                </a:cubicBezTo>
                <a:cubicBezTo>
                  <a:pt x="550288" y="41144"/>
                  <a:pt x="548983" y="44069"/>
                  <a:pt x="551193" y="44469"/>
                </a:cubicBezTo>
                <a:cubicBezTo>
                  <a:pt x="554165" y="45621"/>
                  <a:pt x="552841" y="41525"/>
                  <a:pt x="554212" y="40335"/>
                </a:cubicBezTo>
                <a:cubicBezTo>
                  <a:pt x="554593" y="40021"/>
                  <a:pt x="556022" y="40944"/>
                  <a:pt x="556470" y="40725"/>
                </a:cubicBezTo>
                <a:cubicBezTo>
                  <a:pt x="558737" y="39640"/>
                  <a:pt x="560280" y="35963"/>
                  <a:pt x="562127" y="34725"/>
                </a:cubicBezTo>
                <a:cubicBezTo>
                  <a:pt x="564680" y="35887"/>
                  <a:pt x="560765" y="41630"/>
                  <a:pt x="563080" y="42992"/>
                </a:cubicBezTo>
                <a:cubicBezTo>
                  <a:pt x="567157" y="44735"/>
                  <a:pt x="563566" y="39525"/>
                  <a:pt x="564985" y="38677"/>
                </a:cubicBezTo>
                <a:cubicBezTo>
                  <a:pt x="565261" y="38516"/>
                  <a:pt x="567957" y="44764"/>
                  <a:pt x="568376" y="39249"/>
                </a:cubicBezTo>
                <a:cubicBezTo>
                  <a:pt x="570776" y="40954"/>
                  <a:pt x="571433" y="39525"/>
                  <a:pt x="573624" y="42468"/>
                </a:cubicBezTo>
                <a:cubicBezTo>
                  <a:pt x="571195" y="45012"/>
                  <a:pt x="574243" y="46631"/>
                  <a:pt x="571538" y="47907"/>
                </a:cubicBezTo>
                <a:cubicBezTo>
                  <a:pt x="571748" y="49660"/>
                  <a:pt x="573053" y="47707"/>
                  <a:pt x="574920" y="48479"/>
                </a:cubicBezTo>
                <a:cubicBezTo>
                  <a:pt x="573967" y="50793"/>
                  <a:pt x="576158" y="50898"/>
                  <a:pt x="577920" y="51336"/>
                </a:cubicBezTo>
                <a:cubicBezTo>
                  <a:pt x="577606" y="53241"/>
                  <a:pt x="577282" y="55089"/>
                  <a:pt x="576967" y="56975"/>
                </a:cubicBezTo>
                <a:cubicBezTo>
                  <a:pt x="582454" y="59690"/>
                  <a:pt x="577329" y="53708"/>
                  <a:pt x="579977" y="52851"/>
                </a:cubicBezTo>
                <a:cubicBezTo>
                  <a:pt x="581587" y="52327"/>
                  <a:pt x="580101" y="56070"/>
                  <a:pt x="580530" y="56413"/>
                </a:cubicBezTo>
                <a:cubicBezTo>
                  <a:pt x="582492" y="58004"/>
                  <a:pt x="582930" y="54794"/>
                  <a:pt x="584492" y="53613"/>
                </a:cubicBezTo>
                <a:cubicBezTo>
                  <a:pt x="585302" y="52994"/>
                  <a:pt x="587550" y="54127"/>
                  <a:pt x="587121" y="51708"/>
                </a:cubicBezTo>
                <a:cubicBezTo>
                  <a:pt x="589607" y="51927"/>
                  <a:pt x="590560" y="53241"/>
                  <a:pt x="589931" y="55670"/>
                </a:cubicBezTo>
                <a:cubicBezTo>
                  <a:pt x="593541" y="54908"/>
                  <a:pt x="596475" y="57451"/>
                  <a:pt x="599523" y="53765"/>
                </a:cubicBezTo>
                <a:cubicBezTo>
                  <a:pt x="601580" y="54613"/>
                  <a:pt x="601942" y="56680"/>
                  <a:pt x="604771" y="56975"/>
                </a:cubicBezTo>
                <a:cubicBezTo>
                  <a:pt x="603599" y="58621"/>
                  <a:pt x="601315" y="59005"/>
                  <a:pt x="599670" y="57833"/>
                </a:cubicBezTo>
                <a:cubicBezTo>
                  <a:pt x="599397" y="57639"/>
                  <a:pt x="599152" y="57407"/>
                  <a:pt x="598942" y="57146"/>
                </a:cubicBezTo>
                <a:cubicBezTo>
                  <a:pt x="598479" y="58646"/>
                  <a:pt x="599201" y="60256"/>
                  <a:pt x="600627" y="60909"/>
                </a:cubicBezTo>
                <a:cubicBezTo>
                  <a:pt x="603152" y="59194"/>
                  <a:pt x="601866" y="59004"/>
                  <a:pt x="605333" y="60547"/>
                </a:cubicBezTo>
                <a:cubicBezTo>
                  <a:pt x="606903" y="60405"/>
                  <a:pt x="608125" y="59122"/>
                  <a:pt x="608190" y="57547"/>
                </a:cubicBezTo>
                <a:cubicBezTo>
                  <a:pt x="612572" y="58585"/>
                  <a:pt x="615744" y="59890"/>
                  <a:pt x="616058" y="65833"/>
                </a:cubicBezTo>
                <a:cubicBezTo>
                  <a:pt x="618173" y="66662"/>
                  <a:pt x="618582" y="60985"/>
                  <a:pt x="615515" y="62271"/>
                </a:cubicBezTo>
                <a:cubicBezTo>
                  <a:pt x="618487" y="57213"/>
                  <a:pt x="618439" y="65205"/>
                  <a:pt x="621887" y="65671"/>
                </a:cubicBezTo>
                <a:cubicBezTo>
                  <a:pt x="622840" y="61680"/>
                  <a:pt x="619201" y="60966"/>
                  <a:pt x="619839" y="57204"/>
                </a:cubicBezTo>
                <a:cubicBezTo>
                  <a:pt x="622697" y="57042"/>
                  <a:pt x="621421" y="59594"/>
                  <a:pt x="625278" y="59290"/>
                </a:cubicBezTo>
                <a:cubicBezTo>
                  <a:pt x="627059" y="59156"/>
                  <a:pt x="626897" y="58575"/>
                  <a:pt x="630927" y="60242"/>
                </a:cubicBezTo>
                <a:cubicBezTo>
                  <a:pt x="632601" y="61256"/>
                  <a:pt x="634442" y="61962"/>
                  <a:pt x="636365" y="62328"/>
                </a:cubicBezTo>
                <a:cubicBezTo>
                  <a:pt x="638594" y="63061"/>
                  <a:pt x="636689" y="59032"/>
                  <a:pt x="635803" y="58756"/>
                </a:cubicBezTo>
                <a:cubicBezTo>
                  <a:pt x="637527" y="55470"/>
                  <a:pt x="638661" y="60528"/>
                  <a:pt x="638813" y="61614"/>
                </a:cubicBezTo>
                <a:cubicBezTo>
                  <a:pt x="640966" y="60956"/>
                  <a:pt x="642709" y="58604"/>
                  <a:pt x="644643" y="61442"/>
                </a:cubicBezTo>
                <a:cubicBezTo>
                  <a:pt x="646395" y="61233"/>
                  <a:pt x="644433" y="59928"/>
                  <a:pt x="645214" y="58061"/>
                </a:cubicBezTo>
                <a:cubicBezTo>
                  <a:pt x="646166" y="59347"/>
                  <a:pt x="647919" y="59013"/>
                  <a:pt x="649719" y="58823"/>
                </a:cubicBezTo>
                <a:cubicBezTo>
                  <a:pt x="651520" y="58632"/>
                  <a:pt x="653777" y="58461"/>
                  <a:pt x="654606" y="57337"/>
                </a:cubicBezTo>
                <a:cubicBezTo>
                  <a:pt x="657158" y="58099"/>
                  <a:pt x="656692" y="60785"/>
                  <a:pt x="654968" y="62042"/>
                </a:cubicBezTo>
                <a:cubicBezTo>
                  <a:pt x="659330" y="63538"/>
                  <a:pt x="658921" y="58299"/>
                  <a:pt x="659730" y="54718"/>
                </a:cubicBezTo>
                <a:cubicBezTo>
                  <a:pt x="659730" y="55251"/>
                  <a:pt x="661711" y="55842"/>
                  <a:pt x="661787" y="56232"/>
                </a:cubicBezTo>
                <a:cubicBezTo>
                  <a:pt x="662121" y="57966"/>
                  <a:pt x="660397" y="57766"/>
                  <a:pt x="660283" y="58289"/>
                </a:cubicBezTo>
                <a:cubicBezTo>
                  <a:pt x="659616" y="61271"/>
                  <a:pt x="661549" y="61414"/>
                  <a:pt x="658197" y="63738"/>
                </a:cubicBezTo>
                <a:cubicBezTo>
                  <a:pt x="657368" y="64824"/>
                  <a:pt x="660264" y="64862"/>
                  <a:pt x="660264" y="65243"/>
                </a:cubicBezTo>
                <a:cubicBezTo>
                  <a:pt x="660264" y="66624"/>
                  <a:pt x="657939" y="66490"/>
                  <a:pt x="657625" y="67148"/>
                </a:cubicBezTo>
                <a:cubicBezTo>
                  <a:pt x="656720" y="68938"/>
                  <a:pt x="658911" y="69910"/>
                  <a:pt x="657987" y="71844"/>
                </a:cubicBezTo>
                <a:cubicBezTo>
                  <a:pt x="656339" y="72720"/>
                  <a:pt x="653434" y="69939"/>
                  <a:pt x="653663" y="69939"/>
                </a:cubicBezTo>
                <a:cubicBezTo>
                  <a:pt x="652082" y="70081"/>
                  <a:pt x="650634" y="74149"/>
                  <a:pt x="651605" y="68424"/>
                </a:cubicBezTo>
                <a:cubicBezTo>
                  <a:pt x="647976" y="69157"/>
                  <a:pt x="651358" y="73691"/>
                  <a:pt x="650462" y="75187"/>
                </a:cubicBezTo>
                <a:cubicBezTo>
                  <a:pt x="650300" y="75454"/>
                  <a:pt x="647510" y="74558"/>
                  <a:pt x="648014" y="75930"/>
                </a:cubicBezTo>
                <a:cubicBezTo>
                  <a:pt x="648100" y="77520"/>
                  <a:pt x="650681" y="77339"/>
                  <a:pt x="652329" y="77835"/>
                </a:cubicBezTo>
                <a:lnTo>
                  <a:pt x="651948" y="80092"/>
                </a:lnTo>
                <a:cubicBezTo>
                  <a:pt x="653434" y="81997"/>
                  <a:pt x="655387" y="83597"/>
                  <a:pt x="655501" y="86493"/>
                </a:cubicBezTo>
                <a:cubicBezTo>
                  <a:pt x="657558" y="86493"/>
                  <a:pt x="654891" y="84664"/>
                  <a:pt x="656073" y="83112"/>
                </a:cubicBezTo>
                <a:cubicBezTo>
                  <a:pt x="656654" y="82340"/>
                  <a:pt x="657330" y="84493"/>
                  <a:pt x="657025" y="84436"/>
                </a:cubicBezTo>
                <a:cubicBezTo>
                  <a:pt x="658158" y="84636"/>
                  <a:pt x="658730" y="81473"/>
                  <a:pt x="660778" y="82750"/>
                </a:cubicBezTo>
                <a:cubicBezTo>
                  <a:pt x="660159" y="84521"/>
                  <a:pt x="661511" y="84874"/>
                  <a:pt x="661330" y="86322"/>
                </a:cubicBezTo>
                <a:cubicBezTo>
                  <a:pt x="663235" y="87017"/>
                  <a:pt x="663807" y="83664"/>
                  <a:pt x="662845" y="84255"/>
                </a:cubicBezTo>
                <a:cubicBezTo>
                  <a:pt x="666274" y="82150"/>
                  <a:pt x="668874" y="85655"/>
                  <a:pt x="670379" y="80902"/>
                </a:cubicBezTo>
                <a:cubicBezTo>
                  <a:pt x="673856" y="82178"/>
                  <a:pt x="674189" y="79378"/>
                  <a:pt x="676008" y="81854"/>
                </a:cubicBezTo>
                <a:cubicBezTo>
                  <a:pt x="674903" y="84026"/>
                  <a:pt x="670608" y="81702"/>
                  <a:pt x="669798" y="84283"/>
                </a:cubicBezTo>
                <a:cubicBezTo>
                  <a:pt x="670598" y="85721"/>
                  <a:pt x="672560" y="84474"/>
                  <a:pt x="672598" y="88236"/>
                </a:cubicBezTo>
                <a:cubicBezTo>
                  <a:pt x="676475" y="86798"/>
                  <a:pt x="673122" y="88674"/>
                  <a:pt x="674284" y="91998"/>
                </a:cubicBezTo>
                <a:cubicBezTo>
                  <a:pt x="678237" y="91608"/>
                  <a:pt x="675237" y="89998"/>
                  <a:pt x="676370" y="86550"/>
                </a:cubicBezTo>
                <a:cubicBezTo>
                  <a:pt x="680942" y="91189"/>
                  <a:pt x="676875" y="96637"/>
                  <a:pt x="672951" y="99885"/>
                </a:cubicBezTo>
                <a:cubicBezTo>
                  <a:pt x="673903" y="104648"/>
                  <a:pt x="677523" y="106553"/>
                  <a:pt x="674408" y="111725"/>
                </a:cubicBezTo>
                <a:cubicBezTo>
                  <a:pt x="675694" y="111191"/>
                  <a:pt x="676018" y="109334"/>
                  <a:pt x="678218" y="110048"/>
                </a:cubicBezTo>
                <a:cubicBezTo>
                  <a:pt x="678418" y="111953"/>
                  <a:pt x="676580" y="111801"/>
                  <a:pt x="676513" y="113239"/>
                </a:cubicBezTo>
                <a:cubicBezTo>
                  <a:pt x="676113" y="114363"/>
                  <a:pt x="679009" y="114754"/>
                  <a:pt x="677847" y="116887"/>
                </a:cubicBezTo>
                <a:close/>
                <a:moveTo>
                  <a:pt x="321974" y="41440"/>
                </a:moveTo>
                <a:cubicBezTo>
                  <a:pt x="326736" y="37554"/>
                  <a:pt x="318802" y="38163"/>
                  <a:pt x="321974" y="41440"/>
                </a:cubicBezTo>
                <a:close/>
                <a:moveTo>
                  <a:pt x="343881" y="15008"/>
                </a:moveTo>
                <a:cubicBezTo>
                  <a:pt x="343700" y="15684"/>
                  <a:pt x="343491" y="16313"/>
                  <a:pt x="342567" y="15960"/>
                </a:cubicBezTo>
                <a:lnTo>
                  <a:pt x="342186" y="18218"/>
                </a:lnTo>
                <a:cubicBezTo>
                  <a:pt x="344624" y="20418"/>
                  <a:pt x="346110" y="14932"/>
                  <a:pt x="343843" y="15008"/>
                </a:cubicBezTo>
                <a:close/>
                <a:moveTo>
                  <a:pt x="360588" y="25962"/>
                </a:moveTo>
                <a:cubicBezTo>
                  <a:pt x="360455" y="26705"/>
                  <a:pt x="360331" y="27457"/>
                  <a:pt x="360207" y="28210"/>
                </a:cubicBezTo>
                <a:cubicBezTo>
                  <a:pt x="357205" y="28803"/>
                  <a:pt x="354485" y="30382"/>
                  <a:pt x="352482" y="32696"/>
                </a:cubicBezTo>
                <a:cubicBezTo>
                  <a:pt x="352711" y="30543"/>
                  <a:pt x="348891" y="31277"/>
                  <a:pt x="349625" y="28743"/>
                </a:cubicBezTo>
                <a:cubicBezTo>
                  <a:pt x="347348" y="29467"/>
                  <a:pt x="346434" y="24733"/>
                  <a:pt x="345119" y="27981"/>
                </a:cubicBezTo>
                <a:cubicBezTo>
                  <a:pt x="346700" y="30153"/>
                  <a:pt x="349768" y="31286"/>
                  <a:pt x="351111" y="33629"/>
                </a:cubicBezTo>
                <a:cubicBezTo>
                  <a:pt x="354700" y="33022"/>
                  <a:pt x="358107" y="31619"/>
                  <a:pt x="361083" y="29524"/>
                </a:cubicBezTo>
                <a:cubicBezTo>
                  <a:pt x="357511" y="29276"/>
                  <a:pt x="364512" y="26762"/>
                  <a:pt x="360550" y="25962"/>
                </a:cubicBezTo>
                <a:close/>
                <a:moveTo>
                  <a:pt x="403060" y="21571"/>
                </a:moveTo>
                <a:cubicBezTo>
                  <a:pt x="403003" y="22266"/>
                  <a:pt x="403003" y="22933"/>
                  <a:pt x="404012" y="22885"/>
                </a:cubicBezTo>
                <a:cubicBezTo>
                  <a:pt x="403765" y="20094"/>
                  <a:pt x="403393" y="17389"/>
                  <a:pt x="400460" y="16484"/>
                </a:cubicBezTo>
                <a:cubicBezTo>
                  <a:pt x="398793" y="19942"/>
                  <a:pt x="403860" y="18665"/>
                  <a:pt x="403022" y="21571"/>
                </a:cubicBezTo>
                <a:close/>
                <a:moveTo>
                  <a:pt x="395745" y="16808"/>
                </a:moveTo>
                <a:lnTo>
                  <a:pt x="398002" y="17199"/>
                </a:lnTo>
                <a:lnTo>
                  <a:pt x="398383" y="14941"/>
                </a:lnTo>
                <a:lnTo>
                  <a:pt x="396126" y="14560"/>
                </a:lnTo>
                <a:close/>
                <a:moveTo>
                  <a:pt x="394983" y="21323"/>
                </a:moveTo>
                <a:cubicBezTo>
                  <a:pt x="393706" y="20751"/>
                  <a:pt x="393154" y="14875"/>
                  <a:pt x="390858" y="18304"/>
                </a:cubicBezTo>
                <a:cubicBezTo>
                  <a:pt x="392030" y="18561"/>
                  <a:pt x="391497" y="19894"/>
                  <a:pt x="389534" y="19256"/>
                </a:cubicBezTo>
                <a:cubicBezTo>
                  <a:pt x="388068" y="23733"/>
                  <a:pt x="393525" y="23666"/>
                  <a:pt x="394945" y="21361"/>
                </a:cubicBezTo>
                <a:close/>
                <a:moveTo>
                  <a:pt x="383553" y="20532"/>
                </a:moveTo>
                <a:cubicBezTo>
                  <a:pt x="383779" y="21912"/>
                  <a:pt x="384359" y="23208"/>
                  <a:pt x="385239" y="24295"/>
                </a:cubicBezTo>
                <a:cubicBezTo>
                  <a:pt x="385591" y="22856"/>
                  <a:pt x="384448" y="17827"/>
                  <a:pt x="383477" y="20570"/>
                </a:cubicBezTo>
                <a:close/>
                <a:moveTo>
                  <a:pt x="378495" y="16198"/>
                </a:moveTo>
                <a:cubicBezTo>
                  <a:pt x="377542" y="19837"/>
                  <a:pt x="381476" y="20332"/>
                  <a:pt x="381495" y="19056"/>
                </a:cubicBezTo>
                <a:cubicBezTo>
                  <a:pt x="381457" y="18551"/>
                  <a:pt x="378647" y="16865"/>
                  <a:pt x="378419" y="16237"/>
                </a:cubicBezTo>
                <a:close/>
                <a:moveTo>
                  <a:pt x="379800" y="22218"/>
                </a:moveTo>
                <a:lnTo>
                  <a:pt x="379228" y="25590"/>
                </a:lnTo>
                <a:cubicBezTo>
                  <a:pt x="381219" y="26085"/>
                  <a:pt x="382086" y="24923"/>
                  <a:pt x="382086" y="22599"/>
                </a:cubicBezTo>
                <a:close/>
                <a:moveTo>
                  <a:pt x="381248" y="41011"/>
                </a:moveTo>
                <a:lnTo>
                  <a:pt x="378990" y="40630"/>
                </a:lnTo>
                <a:lnTo>
                  <a:pt x="378600" y="42878"/>
                </a:lnTo>
                <a:lnTo>
                  <a:pt x="380857" y="43269"/>
                </a:lnTo>
                <a:close/>
                <a:moveTo>
                  <a:pt x="400574" y="50088"/>
                </a:moveTo>
                <a:cubicBezTo>
                  <a:pt x="399063" y="49615"/>
                  <a:pt x="397435" y="50331"/>
                  <a:pt x="396764" y="51765"/>
                </a:cubicBezTo>
                <a:cubicBezTo>
                  <a:pt x="398244" y="52202"/>
                  <a:pt x="399824" y="51511"/>
                  <a:pt x="400507" y="50127"/>
                </a:cubicBezTo>
                <a:close/>
                <a:moveTo>
                  <a:pt x="407156" y="45402"/>
                </a:moveTo>
                <a:cubicBezTo>
                  <a:pt x="402965" y="43221"/>
                  <a:pt x="403708" y="47993"/>
                  <a:pt x="401888" y="49145"/>
                </a:cubicBezTo>
                <a:lnTo>
                  <a:pt x="406394" y="49917"/>
                </a:lnTo>
                <a:cubicBezTo>
                  <a:pt x="406575" y="48431"/>
                  <a:pt x="406832" y="46945"/>
                  <a:pt x="407079" y="45440"/>
                </a:cubicBezTo>
                <a:close/>
                <a:moveTo>
                  <a:pt x="406270" y="30162"/>
                </a:moveTo>
                <a:cubicBezTo>
                  <a:pt x="406270" y="30162"/>
                  <a:pt x="408041" y="29476"/>
                  <a:pt x="407775" y="28105"/>
                </a:cubicBezTo>
                <a:cubicBezTo>
                  <a:pt x="407699" y="27714"/>
                  <a:pt x="405736" y="27152"/>
                  <a:pt x="405717" y="26590"/>
                </a:cubicBezTo>
                <a:cubicBezTo>
                  <a:pt x="404612" y="28829"/>
                  <a:pt x="402441" y="27305"/>
                  <a:pt x="400822" y="28086"/>
                </a:cubicBezTo>
                <a:cubicBezTo>
                  <a:pt x="400174" y="28390"/>
                  <a:pt x="400622" y="30715"/>
                  <a:pt x="399307" y="30143"/>
                </a:cubicBezTo>
                <a:cubicBezTo>
                  <a:pt x="398621" y="25695"/>
                  <a:pt x="393916" y="27047"/>
                  <a:pt x="392001" y="25428"/>
                </a:cubicBezTo>
                <a:cubicBezTo>
                  <a:pt x="391173" y="27990"/>
                  <a:pt x="390020" y="30086"/>
                  <a:pt x="387658" y="30486"/>
                </a:cubicBezTo>
                <a:cubicBezTo>
                  <a:pt x="385991" y="26876"/>
                  <a:pt x="380571" y="29686"/>
                  <a:pt x="377523" y="28771"/>
                </a:cubicBezTo>
                <a:cubicBezTo>
                  <a:pt x="375823" y="30523"/>
                  <a:pt x="373995" y="32147"/>
                  <a:pt x="372056" y="33629"/>
                </a:cubicBezTo>
                <a:cubicBezTo>
                  <a:pt x="372132" y="31924"/>
                  <a:pt x="369503" y="32143"/>
                  <a:pt x="367741" y="31724"/>
                </a:cubicBezTo>
                <a:cubicBezTo>
                  <a:pt x="366893" y="34639"/>
                  <a:pt x="369646" y="35029"/>
                  <a:pt x="371675" y="35868"/>
                </a:cubicBezTo>
                <a:cubicBezTo>
                  <a:pt x="371225" y="37364"/>
                  <a:pt x="371937" y="38964"/>
                  <a:pt x="373351" y="39630"/>
                </a:cubicBezTo>
                <a:cubicBezTo>
                  <a:pt x="374297" y="37514"/>
                  <a:pt x="376318" y="36080"/>
                  <a:pt x="378628" y="35887"/>
                </a:cubicBezTo>
                <a:cubicBezTo>
                  <a:pt x="379505" y="36020"/>
                  <a:pt x="380067" y="37487"/>
                  <a:pt x="380686" y="37401"/>
                </a:cubicBezTo>
                <a:cubicBezTo>
                  <a:pt x="381038" y="37354"/>
                  <a:pt x="381343" y="35496"/>
                  <a:pt x="382200" y="35334"/>
                </a:cubicBezTo>
                <a:cubicBezTo>
                  <a:pt x="383238" y="35115"/>
                  <a:pt x="384524" y="36049"/>
                  <a:pt x="385582" y="35906"/>
                </a:cubicBezTo>
                <a:cubicBezTo>
                  <a:pt x="385182" y="39830"/>
                  <a:pt x="388096" y="41392"/>
                  <a:pt x="391382" y="42688"/>
                </a:cubicBezTo>
                <a:cubicBezTo>
                  <a:pt x="390430" y="35772"/>
                  <a:pt x="397002" y="39439"/>
                  <a:pt x="401164" y="39716"/>
                </a:cubicBezTo>
                <a:cubicBezTo>
                  <a:pt x="402993" y="36953"/>
                  <a:pt x="400126" y="32715"/>
                  <a:pt x="402307" y="32953"/>
                </a:cubicBezTo>
                <a:cubicBezTo>
                  <a:pt x="403784" y="34858"/>
                  <a:pt x="404689" y="37211"/>
                  <a:pt x="407175" y="38420"/>
                </a:cubicBezTo>
                <a:cubicBezTo>
                  <a:pt x="409175" y="34591"/>
                  <a:pt x="406498" y="32591"/>
                  <a:pt x="406222" y="30219"/>
                </a:cubicBezTo>
                <a:close/>
                <a:moveTo>
                  <a:pt x="416404" y="31886"/>
                </a:moveTo>
                <a:cubicBezTo>
                  <a:pt x="416804" y="35353"/>
                  <a:pt x="419491" y="30934"/>
                  <a:pt x="422043" y="32839"/>
                </a:cubicBezTo>
                <a:cubicBezTo>
                  <a:pt x="422148" y="30667"/>
                  <a:pt x="423739" y="30572"/>
                  <a:pt x="423948" y="28524"/>
                </a:cubicBezTo>
                <a:cubicBezTo>
                  <a:pt x="420738" y="29972"/>
                  <a:pt x="420224" y="26562"/>
                  <a:pt x="418128" y="28695"/>
                </a:cubicBezTo>
                <a:cubicBezTo>
                  <a:pt x="418733" y="28910"/>
                  <a:pt x="419050" y="29573"/>
                  <a:pt x="418836" y="30178"/>
                </a:cubicBezTo>
                <a:cubicBezTo>
                  <a:pt x="418671" y="30643"/>
                  <a:pt x="418231" y="30954"/>
                  <a:pt x="417738" y="30953"/>
                </a:cubicBezTo>
                <a:cubicBezTo>
                  <a:pt x="418338" y="28543"/>
                  <a:pt x="413833" y="29762"/>
                  <a:pt x="412290" y="28867"/>
                </a:cubicBezTo>
                <a:cubicBezTo>
                  <a:pt x="412128" y="27809"/>
                  <a:pt x="411004" y="22761"/>
                  <a:pt x="409289" y="26009"/>
                </a:cubicBezTo>
                <a:cubicBezTo>
                  <a:pt x="410575" y="26428"/>
                  <a:pt x="410242" y="28000"/>
                  <a:pt x="409842" y="29581"/>
                </a:cubicBezTo>
                <a:cubicBezTo>
                  <a:pt x="415919" y="28571"/>
                  <a:pt x="410385" y="35810"/>
                  <a:pt x="414528" y="36172"/>
                </a:cubicBezTo>
                <a:cubicBezTo>
                  <a:pt x="417462" y="35229"/>
                  <a:pt x="412985" y="32515"/>
                  <a:pt x="416328" y="31943"/>
                </a:cubicBezTo>
                <a:close/>
                <a:moveTo>
                  <a:pt x="425587" y="39239"/>
                </a:moveTo>
                <a:cubicBezTo>
                  <a:pt x="423577" y="38906"/>
                  <a:pt x="419557" y="35096"/>
                  <a:pt x="417700" y="37896"/>
                </a:cubicBezTo>
                <a:cubicBezTo>
                  <a:pt x="420853" y="39420"/>
                  <a:pt x="415795" y="40487"/>
                  <a:pt x="416747" y="43535"/>
                </a:cubicBezTo>
                <a:cubicBezTo>
                  <a:pt x="421510" y="45821"/>
                  <a:pt x="422281" y="38925"/>
                  <a:pt x="425015" y="42583"/>
                </a:cubicBezTo>
                <a:close/>
                <a:moveTo>
                  <a:pt x="429720" y="42259"/>
                </a:moveTo>
                <a:cubicBezTo>
                  <a:pt x="433130" y="43383"/>
                  <a:pt x="434483" y="39944"/>
                  <a:pt x="431425" y="39068"/>
                </a:cubicBezTo>
                <a:cubicBezTo>
                  <a:pt x="431232" y="40326"/>
                  <a:pt x="430601" y="41477"/>
                  <a:pt x="429644" y="42316"/>
                </a:cubicBezTo>
                <a:close/>
                <a:moveTo>
                  <a:pt x="434045" y="44164"/>
                </a:moveTo>
                <a:lnTo>
                  <a:pt x="431787" y="43773"/>
                </a:lnTo>
                <a:lnTo>
                  <a:pt x="431406" y="46031"/>
                </a:lnTo>
                <a:lnTo>
                  <a:pt x="433664" y="46412"/>
                </a:lnTo>
                <a:close/>
                <a:moveTo>
                  <a:pt x="451685" y="49469"/>
                </a:moveTo>
                <a:lnTo>
                  <a:pt x="448304" y="48898"/>
                </a:lnTo>
                <a:cubicBezTo>
                  <a:pt x="447551" y="51412"/>
                  <a:pt x="447846" y="53184"/>
                  <a:pt x="449799" y="53794"/>
                </a:cubicBezTo>
                <a:cubicBezTo>
                  <a:pt x="450333" y="52374"/>
                  <a:pt x="451685" y="51955"/>
                  <a:pt x="451609" y="49517"/>
                </a:cubicBezTo>
                <a:close/>
                <a:moveTo>
                  <a:pt x="455105" y="36134"/>
                </a:moveTo>
                <a:cubicBezTo>
                  <a:pt x="455514" y="37144"/>
                  <a:pt x="452076" y="37449"/>
                  <a:pt x="452476" y="38039"/>
                </a:cubicBezTo>
                <a:cubicBezTo>
                  <a:pt x="453123" y="39078"/>
                  <a:pt x="458553" y="38763"/>
                  <a:pt x="455028" y="36191"/>
                </a:cubicBezTo>
                <a:close/>
                <a:moveTo>
                  <a:pt x="465582" y="49469"/>
                </a:moveTo>
                <a:cubicBezTo>
                  <a:pt x="466449" y="47907"/>
                  <a:pt x="467725" y="46917"/>
                  <a:pt x="468601" y="45345"/>
                </a:cubicBezTo>
                <a:cubicBezTo>
                  <a:pt x="466354" y="44631"/>
                  <a:pt x="466906" y="41926"/>
                  <a:pt x="464658" y="41202"/>
                </a:cubicBezTo>
                <a:cubicBezTo>
                  <a:pt x="465963" y="45526"/>
                  <a:pt x="463448" y="43850"/>
                  <a:pt x="462391" y="47774"/>
                </a:cubicBezTo>
                <a:cubicBezTo>
                  <a:pt x="463604" y="47997"/>
                  <a:pt x="464706" y="48624"/>
                  <a:pt x="465515" y="49555"/>
                </a:cubicBezTo>
                <a:close/>
                <a:moveTo>
                  <a:pt x="468944" y="57004"/>
                </a:moveTo>
                <a:lnTo>
                  <a:pt x="466687" y="56623"/>
                </a:lnTo>
                <a:lnTo>
                  <a:pt x="466306" y="58880"/>
                </a:lnTo>
                <a:lnTo>
                  <a:pt x="468563" y="59261"/>
                </a:lnTo>
                <a:close/>
                <a:moveTo>
                  <a:pt x="503301" y="66310"/>
                </a:moveTo>
                <a:cubicBezTo>
                  <a:pt x="502510" y="67995"/>
                  <a:pt x="499586" y="66671"/>
                  <a:pt x="500282" y="70434"/>
                </a:cubicBezTo>
                <a:cubicBezTo>
                  <a:pt x="502863" y="72186"/>
                  <a:pt x="505854" y="67567"/>
                  <a:pt x="503234" y="66395"/>
                </a:cubicBezTo>
                <a:close/>
                <a:moveTo>
                  <a:pt x="512778" y="37735"/>
                </a:moveTo>
                <a:cubicBezTo>
                  <a:pt x="512416" y="40382"/>
                  <a:pt x="509816" y="49641"/>
                  <a:pt x="513731" y="46012"/>
                </a:cubicBezTo>
                <a:cubicBezTo>
                  <a:pt x="511797" y="44354"/>
                  <a:pt x="515960" y="40363"/>
                  <a:pt x="512712" y="37858"/>
                </a:cubicBezTo>
                <a:close/>
                <a:moveTo>
                  <a:pt x="543906" y="59251"/>
                </a:moveTo>
                <a:cubicBezTo>
                  <a:pt x="543973" y="64128"/>
                  <a:pt x="539439" y="59509"/>
                  <a:pt x="539210" y="59613"/>
                </a:cubicBezTo>
                <a:cubicBezTo>
                  <a:pt x="538353" y="59994"/>
                  <a:pt x="538039" y="63195"/>
                  <a:pt x="537305" y="63928"/>
                </a:cubicBezTo>
                <a:cubicBezTo>
                  <a:pt x="536010" y="65181"/>
                  <a:pt x="534192" y="65733"/>
                  <a:pt x="532419" y="65414"/>
                </a:cubicBezTo>
                <a:cubicBezTo>
                  <a:pt x="532019" y="69005"/>
                  <a:pt x="532067" y="72272"/>
                  <a:pt x="535772" y="72939"/>
                </a:cubicBezTo>
                <a:cubicBezTo>
                  <a:pt x="537210" y="69615"/>
                  <a:pt x="533057" y="70253"/>
                  <a:pt x="534486" y="66929"/>
                </a:cubicBezTo>
                <a:cubicBezTo>
                  <a:pt x="536829" y="66929"/>
                  <a:pt x="537867" y="65176"/>
                  <a:pt x="539563" y="64309"/>
                </a:cubicBezTo>
                <a:cubicBezTo>
                  <a:pt x="542906" y="63919"/>
                  <a:pt x="542211" y="66395"/>
                  <a:pt x="545011" y="66395"/>
                </a:cubicBezTo>
                <a:cubicBezTo>
                  <a:pt x="546671" y="64403"/>
                  <a:pt x="546402" y="61441"/>
                  <a:pt x="544409" y="59782"/>
                </a:cubicBezTo>
                <a:cubicBezTo>
                  <a:pt x="544229" y="59632"/>
                  <a:pt x="544039" y="59496"/>
                  <a:pt x="543839" y="59375"/>
                </a:cubicBezTo>
                <a:close/>
                <a:moveTo>
                  <a:pt x="547888" y="49488"/>
                </a:moveTo>
                <a:cubicBezTo>
                  <a:pt x="545649" y="49603"/>
                  <a:pt x="542963" y="49069"/>
                  <a:pt x="542801" y="52108"/>
                </a:cubicBezTo>
                <a:cubicBezTo>
                  <a:pt x="544030" y="52284"/>
                  <a:pt x="545159" y="52883"/>
                  <a:pt x="545992" y="53803"/>
                </a:cubicBezTo>
                <a:cubicBezTo>
                  <a:pt x="546030" y="51755"/>
                  <a:pt x="547611" y="51660"/>
                  <a:pt x="547821" y="49612"/>
                </a:cubicBezTo>
                <a:close/>
                <a:moveTo>
                  <a:pt x="51454" y="597243"/>
                </a:moveTo>
                <a:cubicBezTo>
                  <a:pt x="50787" y="597062"/>
                  <a:pt x="50159" y="596843"/>
                  <a:pt x="50502" y="595919"/>
                </a:cubicBezTo>
                <a:lnTo>
                  <a:pt x="48244" y="595538"/>
                </a:lnTo>
                <a:cubicBezTo>
                  <a:pt x="46053" y="598024"/>
                  <a:pt x="51530" y="599500"/>
                  <a:pt x="51454" y="597243"/>
                </a:cubicBezTo>
                <a:close/>
                <a:moveTo>
                  <a:pt x="9658" y="754767"/>
                </a:moveTo>
                <a:cubicBezTo>
                  <a:pt x="8915" y="757291"/>
                  <a:pt x="9211" y="759053"/>
                  <a:pt x="11154" y="759663"/>
                </a:cubicBezTo>
                <a:cubicBezTo>
                  <a:pt x="11887" y="757148"/>
                  <a:pt x="11592" y="755377"/>
                  <a:pt x="9658" y="754767"/>
                </a:cubicBezTo>
                <a:close/>
                <a:moveTo>
                  <a:pt x="20355" y="760063"/>
                </a:moveTo>
                <a:cubicBezTo>
                  <a:pt x="19149" y="759610"/>
                  <a:pt x="17796" y="759820"/>
                  <a:pt x="16783" y="760615"/>
                </a:cubicBezTo>
                <a:cubicBezTo>
                  <a:pt x="16002" y="760968"/>
                  <a:pt x="15021" y="762187"/>
                  <a:pt x="14145" y="762520"/>
                </a:cubicBezTo>
                <a:cubicBezTo>
                  <a:pt x="16650" y="766026"/>
                  <a:pt x="18555" y="761596"/>
                  <a:pt x="20355" y="760063"/>
                </a:cubicBezTo>
                <a:close/>
                <a:moveTo>
                  <a:pt x="26813" y="674214"/>
                </a:moveTo>
                <a:cubicBezTo>
                  <a:pt x="25317" y="673947"/>
                  <a:pt x="26108" y="672061"/>
                  <a:pt x="24908" y="671566"/>
                </a:cubicBezTo>
                <a:cubicBezTo>
                  <a:pt x="25098" y="673909"/>
                  <a:pt x="18240" y="673100"/>
                  <a:pt x="21888" y="675700"/>
                </a:cubicBezTo>
                <a:cubicBezTo>
                  <a:pt x="21631" y="672500"/>
                  <a:pt x="27127" y="677405"/>
                  <a:pt x="26813" y="674224"/>
                </a:cubicBezTo>
                <a:close/>
                <a:moveTo>
                  <a:pt x="26175" y="691492"/>
                </a:moveTo>
                <a:cubicBezTo>
                  <a:pt x="26108" y="692674"/>
                  <a:pt x="20926" y="692950"/>
                  <a:pt x="24470" y="694683"/>
                </a:cubicBezTo>
                <a:cubicBezTo>
                  <a:pt x="24165" y="692959"/>
                  <a:pt x="29347" y="692683"/>
                  <a:pt x="26175" y="691492"/>
                </a:cubicBezTo>
                <a:close/>
                <a:moveTo>
                  <a:pt x="27889" y="681348"/>
                </a:moveTo>
                <a:cubicBezTo>
                  <a:pt x="27436" y="682848"/>
                  <a:pt x="28154" y="684452"/>
                  <a:pt x="29575" y="685111"/>
                </a:cubicBezTo>
                <a:cubicBezTo>
                  <a:pt x="29785" y="683320"/>
                  <a:pt x="30413" y="681234"/>
                  <a:pt x="27908" y="681348"/>
                </a:cubicBezTo>
                <a:close/>
                <a:moveTo>
                  <a:pt x="40072" y="637076"/>
                </a:moveTo>
                <a:cubicBezTo>
                  <a:pt x="39472" y="639934"/>
                  <a:pt x="35042" y="637448"/>
                  <a:pt x="35728" y="642143"/>
                </a:cubicBezTo>
                <a:cubicBezTo>
                  <a:pt x="38633" y="643267"/>
                  <a:pt x="42253" y="638438"/>
                  <a:pt x="40072" y="637076"/>
                </a:cubicBezTo>
                <a:close/>
                <a:moveTo>
                  <a:pt x="44929" y="710943"/>
                </a:moveTo>
                <a:cubicBezTo>
                  <a:pt x="44139" y="708009"/>
                  <a:pt x="38786" y="711714"/>
                  <a:pt x="41167" y="712619"/>
                </a:cubicBezTo>
                <a:cubicBezTo>
                  <a:pt x="41491" y="710723"/>
                  <a:pt x="44396" y="712486"/>
                  <a:pt x="44929" y="710904"/>
                </a:cubicBezTo>
                <a:close/>
                <a:moveTo>
                  <a:pt x="57998" y="674900"/>
                </a:moveTo>
                <a:cubicBezTo>
                  <a:pt x="54559" y="673785"/>
                  <a:pt x="52797" y="675024"/>
                  <a:pt x="52730" y="678643"/>
                </a:cubicBezTo>
                <a:cubicBezTo>
                  <a:pt x="56378" y="680015"/>
                  <a:pt x="57169" y="677414"/>
                  <a:pt x="57998" y="674862"/>
                </a:cubicBezTo>
                <a:close/>
                <a:moveTo>
                  <a:pt x="58579" y="603120"/>
                </a:moveTo>
                <a:cubicBezTo>
                  <a:pt x="57331" y="601405"/>
                  <a:pt x="54635" y="600919"/>
                  <a:pt x="53883" y="603481"/>
                </a:cubicBezTo>
                <a:cubicBezTo>
                  <a:pt x="55607" y="603539"/>
                  <a:pt x="57969" y="604548"/>
                  <a:pt x="58560" y="603081"/>
                </a:cubicBezTo>
                <a:close/>
                <a:moveTo>
                  <a:pt x="65780" y="649554"/>
                </a:moveTo>
                <a:cubicBezTo>
                  <a:pt x="68828" y="649706"/>
                  <a:pt x="63646" y="655688"/>
                  <a:pt x="68399" y="654640"/>
                </a:cubicBezTo>
                <a:cubicBezTo>
                  <a:pt x="68790" y="652545"/>
                  <a:pt x="67237" y="646982"/>
                  <a:pt x="65780" y="649516"/>
                </a:cubicBezTo>
                <a:close/>
                <a:moveTo>
                  <a:pt x="96965" y="520366"/>
                </a:moveTo>
                <a:cubicBezTo>
                  <a:pt x="95736" y="520183"/>
                  <a:pt x="94609" y="519580"/>
                  <a:pt x="93774" y="518661"/>
                </a:cubicBezTo>
                <a:cubicBezTo>
                  <a:pt x="95450" y="522662"/>
                  <a:pt x="88716" y="521433"/>
                  <a:pt x="91869" y="522976"/>
                </a:cubicBezTo>
                <a:cubicBezTo>
                  <a:pt x="93689" y="522351"/>
                  <a:pt x="95407" y="521459"/>
                  <a:pt x="96965" y="520328"/>
                </a:cubicBezTo>
                <a:close/>
                <a:moveTo>
                  <a:pt x="124587" y="514651"/>
                </a:moveTo>
                <a:cubicBezTo>
                  <a:pt x="122492" y="512965"/>
                  <a:pt x="118920" y="515509"/>
                  <a:pt x="121958" y="516556"/>
                </a:cubicBezTo>
                <a:cubicBezTo>
                  <a:pt x="122234" y="514966"/>
                  <a:pt x="124120" y="515756"/>
                  <a:pt x="124606" y="514585"/>
                </a:cubicBezTo>
                <a:close/>
                <a:moveTo>
                  <a:pt x="136827" y="442528"/>
                </a:moveTo>
                <a:lnTo>
                  <a:pt x="134579" y="442147"/>
                </a:lnTo>
                <a:lnTo>
                  <a:pt x="134198" y="444404"/>
                </a:lnTo>
                <a:lnTo>
                  <a:pt x="136436" y="444785"/>
                </a:lnTo>
                <a:close/>
                <a:moveTo>
                  <a:pt x="141170" y="498916"/>
                </a:moveTo>
                <a:cubicBezTo>
                  <a:pt x="140494" y="498735"/>
                  <a:pt x="139865" y="498516"/>
                  <a:pt x="140218" y="497592"/>
                </a:cubicBezTo>
                <a:lnTo>
                  <a:pt x="137960" y="497211"/>
                </a:lnTo>
                <a:cubicBezTo>
                  <a:pt x="135779" y="499621"/>
                  <a:pt x="141265" y="501107"/>
                  <a:pt x="141189" y="498849"/>
                </a:cubicBezTo>
                <a:close/>
                <a:moveTo>
                  <a:pt x="144370" y="432241"/>
                </a:moveTo>
                <a:cubicBezTo>
                  <a:pt x="142284" y="431003"/>
                  <a:pt x="142561" y="433622"/>
                  <a:pt x="141732" y="434146"/>
                </a:cubicBezTo>
                <a:cubicBezTo>
                  <a:pt x="140903" y="434670"/>
                  <a:pt x="139351" y="433546"/>
                  <a:pt x="139284" y="434898"/>
                </a:cubicBezTo>
                <a:cubicBezTo>
                  <a:pt x="140512" y="435084"/>
                  <a:pt x="141641" y="435682"/>
                  <a:pt x="142484" y="436594"/>
                </a:cubicBezTo>
                <a:cubicBezTo>
                  <a:pt x="143113" y="435003"/>
                  <a:pt x="144466" y="434584"/>
                  <a:pt x="144389" y="432146"/>
                </a:cubicBezTo>
                <a:close/>
                <a:moveTo>
                  <a:pt x="178146" y="383483"/>
                </a:moveTo>
                <a:cubicBezTo>
                  <a:pt x="178232" y="383483"/>
                  <a:pt x="176803" y="387178"/>
                  <a:pt x="176451" y="386673"/>
                </a:cubicBezTo>
                <a:cubicBezTo>
                  <a:pt x="178708" y="389750"/>
                  <a:pt x="180013" y="383378"/>
                  <a:pt x="178165" y="383387"/>
                </a:cubicBezTo>
                <a:close/>
                <a:moveTo>
                  <a:pt x="190414" y="365852"/>
                </a:moveTo>
                <a:cubicBezTo>
                  <a:pt x="189862" y="364661"/>
                  <a:pt x="190843" y="361223"/>
                  <a:pt x="187614" y="361908"/>
                </a:cubicBezTo>
                <a:cubicBezTo>
                  <a:pt x="184309" y="365537"/>
                  <a:pt x="185099" y="367481"/>
                  <a:pt x="185890" y="372043"/>
                </a:cubicBezTo>
                <a:cubicBezTo>
                  <a:pt x="190957" y="373777"/>
                  <a:pt x="188185" y="368004"/>
                  <a:pt x="190033" y="368109"/>
                </a:cubicBezTo>
                <a:cubicBezTo>
                  <a:pt x="191519" y="368376"/>
                  <a:pt x="190729" y="370262"/>
                  <a:pt x="191938" y="370748"/>
                </a:cubicBezTo>
                <a:cubicBezTo>
                  <a:pt x="193738" y="368033"/>
                  <a:pt x="191157" y="367328"/>
                  <a:pt x="190433" y="365756"/>
                </a:cubicBezTo>
                <a:close/>
                <a:moveTo>
                  <a:pt x="195177" y="399132"/>
                </a:moveTo>
                <a:cubicBezTo>
                  <a:pt x="194043" y="398942"/>
                  <a:pt x="193996" y="397989"/>
                  <a:pt x="193110" y="397627"/>
                </a:cubicBezTo>
                <a:cubicBezTo>
                  <a:pt x="192919" y="399408"/>
                  <a:pt x="192300" y="401504"/>
                  <a:pt x="194796" y="401389"/>
                </a:cubicBezTo>
                <a:cubicBezTo>
                  <a:pt x="194967" y="400542"/>
                  <a:pt x="195091" y="399789"/>
                  <a:pt x="195224" y="399037"/>
                </a:cubicBezTo>
                <a:close/>
                <a:moveTo>
                  <a:pt x="198844" y="363813"/>
                </a:moveTo>
                <a:cubicBezTo>
                  <a:pt x="199244" y="362975"/>
                  <a:pt x="200015" y="362661"/>
                  <a:pt x="201292" y="363070"/>
                </a:cubicBezTo>
                <a:lnTo>
                  <a:pt x="201673" y="360823"/>
                </a:lnTo>
                <a:cubicBezTo>
                  <a:pt x="200446" y="360635"/>
                  <a:pt x="199320" y="360033"/>
                  <a:pt x="198482" y="359118"/>
                </a:cubicBezTo>
                <a:cubicBezTo>
                  <a:pt x="198434" y="360737"/>
                  <a:pt x="197434" y="363109"/>
                  <a:pt x="198892" y="363709"/>
                </a:cubicBezTo>
                <a:close/>
                <a:moveTo>
                  <a:pt x="203359" y="364585"/>
                </a:moveTo>
                <a:cubicBezTo>
                  <a:pt x="202694" y="366025"/>
                  <a:pt x="201059" y="366744"/>
                  <a:pt x="199549" y="366261"/>
                </a:cubicBezTo>
                <a:lnTo>
                  <a:pt x="198977" y="369643"/>
                </a:lnTo>
                <a:cubicBezTo>
                  <a:pt x="202692" y="372072"/>
                  <a:pt x="200311" y="365928"/>
                  <a:pt x="202940" y="366833"/>
                </a:cubicBezTo>
                <a:cubicBezTo>
                  <a:pt x="202940" y="368176"/>
                  <a:pt x="204511" y="368357"/>
                  <a:pt x="206121" y="368528"/>
                </a:cubicBezTo>
                <a:cubicBezTo>
                  <a:pt x="207502" y="365537"/>
                  <a:pt x="204245" y="365861"/>
                  <a:pt x="203406" y="364490"/>
                </a:cubicBezTo>
                <a:close/>
                <a:moveTo>
                  <a:pt x="209074" y="344678"/>
                </a:moveTo>
                <a:cubicBezTo>
                  <a:pt x="207931" y="344487"/>
                  <a:pt x="207883" y="343535"/>
                  <a:pt x="207007" y="343173"/>
                </a:cubicBezTo>
                <a:cubicBezTo>
                  <a:pt x="206816" y="344963"/>
                  <a:pt x="206188" y="347049"/>
                  <a:pt x="208693" y="346935"/>
                </a:cubicBezTo>
                <a:close/>
                <a:moveTo>
                  <a:pt x="210645" y="321760"/>
                </a:moveTo>
                <a:cubicBezTo>
                  <a:pt x="208636" y="320198"/>
                  <a:pt x="210217" y="326018"/>
                  <a:pt x="211198" y="325332"/>
                </a:cubicBezTo>
                <a:cubicBezTo>
                  <a:pt x="212179" y="324647"/>
                  <a:pt x="210960" y="321884"/>
                  <a:pt x="210674" y="321665"/>
                </a:cubicBezTo>
                <a:close/>
                <a:moveTo>
                  <a:pt x="225266" y="331200"/>
                </a:moveTo>
                <a:cubicBezTo>
                  <a:pt x="221961" y="329800"/>
                  <a:pt x="220961" y="331647"/>
                  <a:pt x="218323" y="331200"/>
                </a:cubicBezTo>
                <a:cubicBezTo>
                  <a:pt x="218042" y="332091"/>
                  <a:pt x="218337" y="333063"/>
                  <a:pt x="219065" y="333648"/>
                </a:cubicBezTo>
                <a:cubicBezTo>
                  <a:pt x="219742" y="334410"/>
                  <a:pt x="217675" y="334724"/>
                  <a:pt x="217741" y="334600"/>
                </a:cubicBezTo>
                <a:cubicBezTo>
                  <a:pt x="217922" y="334229"/>
                  <a:pt x="217370" y="332695"/>
                  <a:pt x="216789" y="333276"/>
                </a:cubicBezTo>
                <a:cubicBezTo>
                  <a:pt x="215400" y="334906"/>
                  <a:pt x="215596" y="337353"/>
                  <a:pt x="217225" y="338742"/>
                </a:cubicBezTo>
                <a:cubicBezTo>
                  <a:pt x="217486" y="338964"/>
                  <a:pt x="217775" y="339150"/>
                  <a:pt x="218084" y="339296"/>
                </a:cubicBezTo>
                <a:cubicBezTo>
                  <a:pt x="219265" y="336877"/>
                  <a:pt x="222428" y="334219"/>
                  <a:pt x="224295" y="336867"/>
                </a:cubicBezTo>
                <a:cubicBezTo>
                  <a:pt x="224695" y="333914"/>
                  <a:pt x="222828" y="332886"/>
                  <a:pt x="225295" y="331105"/>
                </a:cubicBezTo>
                <a:close/>
                <a:moveTo>
                  <a:pt x="239535" y="295252"/>
                </a:moveTo>
                <a:cubicBezTo>
                  <a:pt x="240487" y="291623"/>
                  <a:pt x="239116" y="289604"/>
                  <a:pt x="235982" y="288852"/>
                </a:cubicBezTo>
                <a:cubicBezTo>
                  <a:pt x="235725" y="290357"/>
                  <a:pt x="235477" y="291862"/>
                  <a:pt x="235220" y="293357"/>
                </a:cubicBezTo>
                <a:cubicBezTo>
                  <a:pt x="236847" y="293419"/>
                  <a:pt x="238389" y="294096"/>
                  <a:pt x="239535" y="295252"/>
                </a:cubicBezTo>
                <a:close/>
                <a:moveTo>
                  <a:pt x="244040" y="296014"/>
                </a:moveTo>
                <a:cubicBezTo>
                  <a:pt x="241630" y="295557"/>
                  <a:pt x="235849" y="297329"/>
                  <a:pt x="238763" y="299758"/>
                </a:cubicBezTo>
                <a:cubicBezTo>
                  <a:pt x="239535" y="297176"/>
                  <a:pt x="242640" y="297834"/>
                  <a:pt x="244002" y="296014"/>
                </a:cubicBezTo>
                <a:close/>
                <a:moveTo>
                  <a:pt x="253565" y="315064"/>
                </a:moveTo>
                <a:cubicBezTo>
                  <a:pt x="253115" y="316561"/>
                  <a:pt x="253827" y="318161"/>
                  <a:pt x="255241" y="318827"/>
                </a:cubicBezTo>
                <a:cubicBezTo>
                  <a:pt x="255403" y="317036"/>
                  <a:pt x="256032" y="314903"/>
                  <a:pt x="253536" y="315026"/>
                </a:cubicBezTo>
                <a:close/>
                <a:moveTo>
                  <a:pt x="257585" y="291395"/>
                </a:moveTo>
                <a:cubicBezTo>
                  <a:pt x="254803" y="290757"/>
                  <a:pt x="252146" y="290261"/>
                  <a:pt x="251555" y="292700"/>
                </a:cubicBezTo>
                <a:cubicBezTo>
                  <a:pt x="254298" y="293300"/>
                  <a:pt x="256956" y="293795"/>
                  <a:pt x="257556" y="291319"/>
                </a:cubicBezTo>
                <a:close/>
                <a:moveTo>
                  <a:pt x="290570" y="254095"/>
                </a:moveTo>
                <a:cubicBezTo>
                  <a:pt x="290087" y="255651"/>
                  <a:pt x="290212" y="257333"/>
                  <a:pt x="290922" y="258800"/>
                </a:cubicBezTo>
                <a:cubicBezTo>
                  <a:pt x="294075" y="259515"/>
                  <a:pt x="294294" y="256086"/>
                  <a:pt x="296199" y="255057"/>
                </a:cubicBezTo>
                <a:close/>
                <a:moveTo>
                  <a:pt x="292646" y="248656"/>
                </a:moveTo>
                <a:cubicBezTo>
                  <a:pt x="292951" y="247227"/>
                  <a:pt x="294361" y="247342"/>
                  <a:pt x="294351" y="245465"/>
                </a:cubicBezTo>
                <a:cubicBezTo>
                  <a:pt x="291846" y="243208"/>
                  <a:pt x="290360" y="248694"/>
                  <a:pt x="292618" y="248618"/>
                </a:cubicBezTo>
                <a:close/>
                <a:moveTo>
                  <a:pt x="293599" y="236074"/>
                </a:moveTo>
                <a:cubicBezTo>
                  <a:pt x="295951" y="234102"/>
                  <a:pt x="293132" y="233721"/>
                  <a:pt x="295504" y="231749"/>
                </a:cubicBezTo>
                <a:lnTo>
                  <a:pt x="289874" y="230797"/>
                </a:lnTo>
                <a:cubicBezTo>
                  <a:pt x="288731" y="234169"/>
                  <a:pt x="292151" y="234416"/>
                  <a:pt x="293599" y="236074"/>
                </a:cubicBezTo>
                <a:close/>
                <a:moveTo>
                  <a:pt x="286045" y="246380"/>
                </a:moveTo>
                <a:cubicBezTo>
                  <a:pt x="287179" y="246561"/>
                  <a:pt x="287236" y="247523"/>
                  <a:pt x="288112" y="247885"/>
                </a:cubicBezTo>
                <a:cubicBezTo>
                  <a:pt x="288303" y="246761"/>
                  <a:pt x="289246" y="246704"/>
                  <a:pt x="289627" y="245827"/>
                </a:cubicBezTo>
                <a:cubicBezTo>
                  <a:pt x="288493" y="245646"/>
                  <a:pt x="288436" y="244694"/>
                  <a:pt x="287560" y="244322"/>
                </a:cubicBezTo>
                <a:cubicBezTo>
                  <a:pt x="287369" y="245418"/>
                  <a:pt x="286426" y="245465"/>
                  <a:pt x="286045" y="246342"/>
                </a:cubicBezTo>
                <a:close/>
                <a:moveTo>
                  <a:pt x="272272" y="266068"/>
                </a:moveTo>
                <a:cubicBezTo>
                  <a:pt x="271823" y="267566"/>
                  <a:pt x="272541" y="269168"/>
                  <a:pt x="273958" y="269830"/>
                </a:cubicBezTo>
                <a:cubicBezTo>
                  <a:pt x="274149" y="268011"/>
                  <a:pt x="274777" y="265915"/>
                  <a:pt x="272272" y="266030"/>
                </a:cubicBezTo>
                <a:close/>
                <a:moveTo>
                  <a:pt x="292751" y="268382"/>
                </a:moveTo>
                <a:cubicBezTo>
                  <a:pt x="290151" y="264572"/>
                  <a:pt x="285055" y="262610"/>
                  <a:pt x="284178" y="257648"/>
                </a:cubicBezTo>
                <a:cubicBezTo>
                  <a:pt x="280368" y="257295"/>
                  <a:pt x="280368" y="255743"/>
                  <a:pt x="278930" y="254438"/>
                </a:cubicBezTo>
                <a:cubicBezTo>
                  <a:pt x="276073" y="251818"/>
                  <a:pt x="275654" y="252952"/>
                  <a:pt x="277435" y="249551"/>
                </a:cubicBezTo>
                <a:cubicBezTo>
                  <a:pt x="272225" y="249504"/>
                  <a:pt x="275082" y="252771"/>
                  <a:pt x="273844" y="257057"/>
                </a:cubicBezTo>
                <a:cubicBezTo>
                  <a:pt x="272139" y="258676"/>
                  <a:pt x="268576" y="258305"/>
                  <a:pt x="267633" y="259477"/>
                </a:cubicBezTo>
                <a:cubicBezTo>
                  <a:pt x="267138" y="260096"/>
                  <a:pt x="267700" y="262410"/>
                  <a:pt x="267062" y="262858"/>
                </a:cubicBezTo>
                <a:cubicBezTo>
                  <a:pt x="266186" y="263487"/>
                  <a:pt x="263528" y="261610"/>
                  <a:pt x="263490" y="263410"/>
                </a:cubicBezTo>
                <a:cubicBezTo>
                  <a:pt x="265862" y="265525"/>
                  <a:pt x="265186" y="266154"/>
                  <a:pt x="268938" y="265496"/>
                </a:cubicBezTo>
                <a:cubicBezTo>
                  <a:pt x="270615" y="265068"/>
                  <a:pt x="269834" y="261191"/>
                  <a:pt x="271948" y="261372"/>
                </a:cubicBezTo>
                <a:cubicBezTo>
                  <a:pt x="270320" y="265506"/>
                  <a:pt x="277044" y="263706"/>
                  <a:pt x="279463" y="264963"/>
                </a:cubicBezTo>
                <a:cubicBezTo>
                  <a:pt x="280206" y="267401"/>
                  <a:pt x="280587" y="270106"/>
                  <a:pt x="283007" y="271364"/>
                </a:cubicBezTo>
                <a:cubicBezTo>
                  <a:pt x="283826" y="268802"/>
                  <a:pt x="284988" y="266706"/>
                  <a:pt x="287350" y="266306"/>
                </a:cubicBezTo>
                <a:cubicBezTo>
                  <a:pt x="284988" y="269411"/>
                  <a:pt x="292637" y="270221"/>
                  <a:pt x="292751" y="268344"/>
                </a:cubicBezTo>
                <a:close/>
                <a:moveTo>
                  <a:pt x="295408" y="259562"/>
                </a:moveTo>
                <a:cubicBezTo>
                  <a:pt x="295208" y="266668"/>
                  <a:pt x="292779" y="258362"/>
                  <a:pt x="291598" y="261248"/>
                </a:cubicBezTo>
                <a:cubicBezTo>
                  <a:pt x="293284" y="262029"/>
                  <a:pt x="291951" y="264953"/>
                  <a:pt x="295723" y="264258"/>
                </a:cubicBezTo>
                <a:cubicBezTo>
                  <a:pt x="296170" y="262744"/>
                  <a:pt x="297332" y="256076"/>
                  <a:pt x="295408" y="259524"/>
                </a:cubicBezTo>
                <a:close/>
                <a:moveTo>
                  <a:pt x="297933" y="230987"/>
                </a:moveTo>
                <a:cubicBezTo>
                  <a:pt x="299723" y="231178"/>
                  <a:pt x="301809" y="231797"/>
                  <a:pt x="301695" y="229301"/>
                </a:cubicBezTo>
                <a:lnTo>
                  <a:pt x="299447" y="228920"/>
                </a:lnTo>
                <a:cubicBezTo>
                  <a:pt x="299256" y="230035"/>
                  <a:pt x="298304" y="230092"/>
                  <a:pt x="297933" y="230968"/>
                </a:cubicBezTo>
                <a:close/>
                <a:moveTo>
                  <a:pt x="297704" y="246018"/>
                </a:moveTo>
                <a:cubicBezTo>
                  <a:pt x="297249" y="247514"/>
                  <a:pt x="297963" y="249118"/>
                  <a:pt x="299380" y="249780"/>
                </a:cubicBezTo>
                <a:cubicBezTo>
                  <a:pt x="299542" y="247980"/>
                  <a:pt x="300190" y="245884"/>
                  <a:pt x="297704" y="245999"/>
                </a:cubicBezTo>
                <a:close/>
                <a:moveTo>
                  <a:pt x="302171" y="260686"/>
                </a:moveTo>
                <a:cubicBezTo>
                  <a:pt x="304076" y="258143"/>
                  <a:pt x="299657" y="255457"/>
                  <a:pt x="303124" y="255057"/>
                </a:cubicBezTo>
                <a:cubicBezTo>
                  <a:pt x="304619" y="255324"/>
                  <a:pt x="303819" y="257210"/>
                  <a:pt x="305029" y="257695"/>
                </a:cubicBezTo>
                <a:cubicBezTo>
                  <a:pt x="307391" y="256105"/>
                  <a:pt x="305438" y="253200"/>
                  <a:pt x="302409" y="252609"/>
                </a:cubicBezTo>
                <a:cubicBezTo>
                  <a:pt x="302019" y="253447"/>
                  <a:pt x="301247" y="253762"/>
                  <a:pt x="299971" y="253352"/>
                </a:cubicBezTo>
                <a:cubicBezTo>
                  <a:pt x="299048" y="256009"/>
                  <a:pt x="299936" y="258959"/>
                  <a:pt x="302171" y="260667"/>
                </a:cubicBezTo>
                <a:close/>
                <a:moveTo>
                  <a:pt x="307210" y="271983"/>
                </a:moveTo>
                <a:cubicBezTo>
                  <a:pt x="305171" y="271897"/>
                  <a:pt x="301752" y="269887"/>
                  <a:pt x="302324" y="273469"/>
                </a:cubicBezTo>
                <a:cubicBezTo>
                  <a:pt x="304105" y="273892"/>
                  <a:pt x="305975" y="273316"/>
                  <a:pt x="307210" y="271964"/>
                </a:cubicBezTo>
                <a:close/>
                <a:moveTo>
                  <a:pt x="307210" y="278927"/>
                </a:moveTo>
                <a:cubicBezTo>
                  <a:pt x="306457" y="281441"/>
                  <a:pt x="306762" y="283213"/>
                  <a:pt x="308696" y="283822"/>
                </a:cubicBezTo>
                <a:cubicBezTo>
                  <a:pt x="309108" y="282036"/>
                  <a:pt x="308521" y="280167"/>
                  <a:pt x="307162" y="278936"/>
                </a:cubicBezTo>
                <a:close/>
                <a:moveTo>
                  <a:pt x="316392" y="224844"/>
                </a:moveTo>
                <a:cubicBezTo>
                  <a:pt x="316392" y="223482"/>
                  <a:pt x="317125" y="221672"/>
                  <a:pt x="315839" y="221272"/>
                </a:cubicBezTo>
                <a:cubicBezTo>
                  <a:pt x="315659" y="221948"/>
                  <a:pt x="315439" y="222577"/>
                  <a:pt x="314516" y="222224"/>
                </a:cubicBezTo>
                <a:cubicBezTo>
                  <a:pt x="314620" y="221596"/>
                  <a:pt x="313820" y="220786"/>
                  <a:pt x="313392" y="222034"/>
                </a:cubicBezTo>
                <a:cubicBezTo>
                  <a:pt x="314925" y="222539"/>
                  <a:pt x="314954" y="224167"/>
                  <a:pt x="316373" y="224825"/>
                </a:cubicBezTo>
                <a:close/>
                <a:moveTo>
                  <a:pt x="318735" y="258857"/>
                </a:moveTo>
                <a:cubicBezTo>
                  <a:pt x="319165" y="257078"/>
                  <a:pt x="318592" y="255205"/>
                  <a:pt x="317240" y="253971"/>
                </a:cubicBezTo>
                <a:cubicBezTo>
                  <a:pt x="316039" y="254851"/>
                  <a:pt x="315779" y="256538"/>
                  <a:pt x="316659" y="257738"/>
                </a:cubicBezTo>
                <a:cubicBezTo>
                  <a:pt x="317143" y="258398"/>
                  <a:pt x="317899" y="258803"/>
                  <a:pt x="318716" y="258838"/>
                </a:cubicBezTo>
                <a:close/>
                <a:moveTo>
                  <a:pt x="334080" y="216252"/>
                </a:moveTo>
                <a:cubicBezTo>
                  <a:pt x="335032" y="219319"/>
                  <a:pt x="329022" y="219024"/>
                  <a:pt x="332175" y="220567"/>
                </a:cubicBezTo>
                <a:cubicBezTo>
                  <a:pt x="332356" y="219891"/>
                  <a:pt x="332565" y="219262"/>
                  <a:pt x="333489" y="219614"/>
                </a:cubicBezTo>
                <a:cubicBezTo>
                  <a:pt x="333185" y="222472"/>
                  <a:pt x="337252" y="220567"/>
                  <a:pt x="337995" y="220376"/>
                </a:cubicBezTo>
                <a:cubicBezTo>
                  <a:pt x="339033" y="222281"/>
                  <a:pt x="338614" y="225225"/>
                  <a:pt x="340424" y="226577"/>
                </a:cubicBezTo>
                <a:cubicBezTo>
                  <a:pt x="342574" y="223673"/>
                  <a:pt x="341964" y="219575"/>
                  <a:pt x="339059" y="217425"/>
                </a:cubicBezTo>
                <a:cubicBezTo>
                  <a:pt x="337625" y="216363"/>
                  <a:pt x="335819" y="215932"/>
                  <a:pt x="334061" y="216233"/>
                </a:cubicBezTo>
                <a:close/>
                <a:moveTo>
                  <a:pt x="352282" y="225129"/>
                </a:moveTo>
                <a:lnTo>
                  <a:pt x="352882" y="221786"/>
                </a:lnTo>
                <a:cubicBezTo>
                  <a:pt x="354006" y="221967"/>
                  <a:pt x="354063" y="222920"/>
                  <a:pt x="354940" y="223291"/>
                </a:cubicBezTo>
                <a:cubicBezTo>
                  <a:pt x="355054" y="220672"/>
                  <a:pt x="355892" y="219100"/>
                  <a:pt x="357959" y="219167"/>
                </a:cubicBezTo>
                <a:cubicBezTo>
                  <a:pt x="358073" y="221396"/>
                  <a:pt x="359864" y="222405"/>
                  <a:pt x="359254" y="225177"/>
                </a:cubicBezTo>
                <a:cubicBezTo>
                  <a:pt x="367827" y="224853"/>
                  <a:pt x="360502" y="219310"/>
                  <a:pt x="360597" y="217290"/>
                </a:cubicBezTo>
                <a:cubicBezTo>
                  <a:pt x="360502" y="219138"/>
                  <a:pt x="366855" y="213556"/>
                  <a:pt x="362293" y="214109"/>
                </a:cubicBezTo>
                <a:cubicBezTo>
                  <a:pt x="361731" y="216576"/>
                  <a:pt x="357435" y="213776"/>
                  <a:pt x="355349" y="214109"/>
                </a:cubicBezTo>
                <a:cubicBezTo>
                  <a:pt x="355302" y="218309"/>
                  <a:pt x="349758" y="221958"/>
                  <a:pt x="352263" y="225110"/>
                </a:cubicBezTo>
                <a:close/>
                <a:moveTo>
                  <a:pt x="346853" y="216100"/>
                </a:moveTo>
                <a:cubicBezTo>
                  <a:pt x="350301" y="217690"/>
                  <a:pt x="350663" y="214966"/>
                  <a:pt x="351930" y="213480"/>
                </a:cubicBezTo>
                <a:cubicBezTo>
                  <a:pt x="350377" y="212937"/>
                  <a:pt x="350349" y="211309"/>
                  <a:pt x="348929" y="210623"/>
                </a:cubicBezTo>
                <a:cubicBezTo>
                  <a:pt x="347522" y="212080"/>
                  <a:pt x="346766" y="214046"/>
                  <a:pt x="346834" y="216071"/>
                </a:cubicBezTo>
                <a:close/>
                <a:moveTo>
                  <a:pt x="350177" y="237531"/>
                </a:moveTo>
                <a:cubicBezTo>
                  <a:pt x="348615" y="236988"/>
                  <a:pt x="348586" y="235350"/>
                  <a:pt x="347177" y="234673"/>
                </a:cubicBezTo>
                <a:cubicBezTo>
                  <a:pt x="345500" y="238493"/>
                  <a:pt x="348901" y="241093"/>
                  <a:pt x="350158" y="237512"/>
                </a:cubicBezTo>
                <a:close/>
                <a:moveTo>
                  <a:pt x="358750" y="248266"/>
                </a:moveTo>
                <a:cubicBezTo>
                  <a:pt x="358169" y="243179"/>
                  <a:pt x="355530" y="245722"/>
                  <a:pt x="351425" y="243503"/>
                </a:cubicBezTo>
                <a:cubicBezTo>
                  <a:pt x="351260" y="245542"/>
                  <a:pt x="349472" y="247063"/>
                  <a:pt x="347433" y="246898"/>
                </a:cubicBezTo>
                <a:cubicBezTo>
                  <a:pt x="346610" y="246831"/>
                  <a:pt x="345832" y="246491"/>
                  <a:pt x="345224" y="245932"/>
                </a:cubicBezTo>
                <a:cubicBezTo>
                  <a:pt x="344100" y="249380"/>
                  <a:pt x="347520" y="249590"/>
                  <a:pt x="348967" y="251209"/>
                </a:cubicBezTo>
                <a:cubicBezTo>
                  <a:pt x="349682" y="247180"/>
                  <a:pt x="349225" y="247170"/>
                  <a:pt x="351987" y="247084"/>
                </a:cubicBezTo>
                <a:cubicBezTo>
                  <a:pt x="350339" y="247084"/>
                  <a:pt x="354759" y="253123"/>
                  <a:pt x="355178" y="248780"/>
                </a:cubicBezTo>
                <a:cubicBezTo>
                  <a:pt x="353949" y="248323"/>
                  <a:pt x="353635" y="247227"/>
                  <a:pt x="353273" y="246142"/>
                </a:cubicBezTo>
                <a:cubicBezTo>
                  <a:pt x="355316" y="246059"/>
                  <a:pt x="357304" y="246821"/>
                  <a:pt x="358769" y="248247"/>
                </a:cubicBezTo>
                <a:close/>
                <a:moveTo>
                  <a:pt x="366522" y="222920"/>
                </a:moveTo>
                <a:cubicBezTo>
                  <a:pt x="362531" y="225034"/>
                  <a:pt x="365998" y="228997"/>
                  <a:pt x="362712" y="231549"/>
                </a:cubicBezTo>
                <a:cubicBezTo>
                  <a:pt x="362493" y="230156"/>
                  <a:pt x="361916" y="228842"/>
                  <a:pt x="361036" y="227739"/>
                </a:cubicBezTo>
                <a:cubicBezTo>
                  <a:pt x="361807" y="232549"/>
                  <a:pt x="358340" y="231387"/>
                  <a:pt x="356692" y="232807"/>
                </a:cubicBezTo>
                <a:cubicBezTo>
                  <a:pt x="360207" y="233273"/>
                  <a:pt x="359312" y="236893"/>
                  <a:pt x="364198" y="236397"/>
                </a:cubicBezTo>
                <a:cubicBezTo>
                  <a:pt x="364817" y="234311"/>
                  <a:pt x="363360" y="233692"/>
                  <a:pt x="363836" y="231692"/>
                </a:cubicBezTo>
                <a:cubicBezTo>
                  <a:pt x="366351" y="231978"/>
                  <a:pt x="365131" y="226996"/>
                  <a:pt x="366112" y="225129"/>
                </a:cubicBezTo>
                <a:cubicBezTo>
                  <a:pt x="366754" y="225112"/>
                  <a:pt x="367260" y="224578"/>
                  <a:pt x="367243" y="223937"/>
                </a:cubicBezTo>
                <a:cubicBezTo>
                  <a:pt x="367231" y="223484"/>
                  <a:pt x="366957" y="223080"/>
                  <a:pt x="366541" y="222901"/>
                </a:cubicBezTo>
                <a:close/>
                <a:moveTo>
                  <a:pt x="380810" y="227682"/>
                </a:moveTo>
                <a:cubicBezTo>
                  <a:pt x="382400" y="225110"/>
                  <a:pt x="381600" y="225339"/>
                  <a:pt x="383086" y="221110"/>
                </a:cubicBezTo>
                <a:cubicBezTo>
                  <a:pt x="378857" y="219462"/>
                  <a:pt x="375037" y="227101"/>
                  <a:pt x="380810" y="227644"/>
                </a:cubicBezTo>
                <a:close/>
                <a:moveTo>
                  <a:pt x="383591" y="238579"/>
                </a:moveTo>
                <a:cubicBezTo>
                  <a:pt x="381133" y="235855"/>
                  <a:pt x="378000" y="230130"/>
                  <a:pt x="374771" y="235931"/>
                </a:cubicBezTo>
                <a:cubicBezTo>
                  <a:pt x="378276" y="234350"/>
                  <a:pt x="379752" y="239341"/>
                  <a:pt x="378905" y="238950"/>
                </a:cubicBezTo>
                <a:cubicBezTo>
                  <a:pt x="380352" y="239569"/>
                  <a:pt x="383181" y="239579"/>
                  <a:pt x="383591" y="238541"/>
                </a:cubicBezTo>
                <a:close/>
                <a:moveTo>
                  <a:pt x="385801" y="191430"/>
                </a:moveTo>
                <a:lnTo>
                  <a:pt x="386182" y="189172"/>
                </a:lnTo>
                <a:lnTo>
                  <a:pt x="383934" y="188791"/>
                </a:lnTo>
                <a:lnTo>
                  <a:pt x="383543" y="191039"/>
                </a:lnTo>
                <a:close/>
                <a:moveTo>
                  <a:pt x="386258" y="229759"/>
                </a:moveTo>
                <a:cubicBezTo>
                  <a:pt x="384781" y="232787"/>
                  <a:pt x="387344" y="232949"/>
                  <a:pt x="386429" y="235588"/>
                </a:cubicBezTo>
                <a:cubicBezTo>
                  <a:pt x="393249" y="237921"/>
                  <a:pt x="391992" y="229282"/>
                  <a:pt x="386220" y="229720"/>
                </a:cubicBezTo>
                <a:close/>
                <a:moveTo>
                  <a:pt x="391354" y="220234"/>
                </a:moveTo>
                <a:cubicBezTo>
                  <a:pt x="388934" y="219598"/>
                  <a:pt x="387617" y="220532"/>
                  <a:pt x="387401" y="223034"/>
                </a:cubicBezTo>
                <a:cubicBezTo>
                  <a:pt x="390306" y="224253"/>
                  <a:pt x="390030" y="221005"/>
                  <a:pt x="391354" y="220157"/>
                </a:cubicBezTo>
                <a:close/>
                <a:moveTo>
                  <a:pt x="391897" y="230711"/>
                </a:moveTo>
                <a:cubicBezTo>
                  <a:pt x="391097" y="234369"/>
                  <a:pt x="395888" y="232006"/>
                  <a:pt x="397145" y="233930"/>
                </a:cubicBezTo>
                <a:lnTo>
                  <a:pt x="398097" y="228292"/>
                </a:lnTo>
                <a:cubicBezTo>
                  <a:pt x="393754" y="227701"/>
                  <a:pt x="392420" y="228234"/>
                  <a:pt x="391935" y="230673"/>
                </a:cubicBezTo>
                <a:close/>
                <a:moveTo>
                  <a:pt x="395859" y="220957"/>
                </a:moveTo>
                <a:cubicBezTo>
                  <a:pt x="395411" y="221586"/>
                  <a:pt x="392325" y="224825"/>
                  <a:pt x="395097" y="225463"/>
                </a:cubicBezTo>
                <a:cubicBezTo>
                  <a:pt x="396421" y="223605"/>
                  <a:pt x="399459" y="222577"/>
                  <a:pt x="395859" y="220919"/>
                </a:cubicBezTo>
                <a:close/>
                <a:moveTo>
                  <a:pt x="404365" y="205013"/>
                </a:moveTo>
                <a:cubicBezTo>
                  <a:pt x="401336" y="203536"/>
                  <a:pt x="401174" y="206108"/>
                  <a:pt x="398536" y="205184"/>
                </a:cubicBezTo>
                <a:cubicBezTo>
                  <a:pt x="398355" y="209108"/>
                  <a:pt x="401336" y="207089"/>
                  <a:pt x="398707" y="211004"/>
                </a:cubicBezTo>
                <a:cubicBezTo>
                  <a:pt x="402908" y="211575"/>
                  <a:pt x="401822" y="209851"/>
                  <a:pt x="401726" y="206879"/>
                </a:cubicBezTo>
                <a:cubicBezTo>
                  <a:pt x="403127" y="206946"/>
                  <a:pt x="404460" y="206956"/>
                  <a:pt x="404365" y="204974"/>
                </a:cubicBezTo>
                <a:close/>
                <a:moveTo>
                  <a:pt x="410385" y="203717"/>
                </a:moveTo>
                <a:cubicBezTo>
                  <a:pt x="408899" y="203450"/>
                  <a:pt x="409689" y="201565"/>
                  <a:pt x="408480" y="201079"/>
                </a:cubicBezTo>
                <a:cubicBezTo>
                  <a:pt x="407870" y="202536"/>
                  <a:pt x="406517" y="202984"/>
                  <a:pt x="406575" y="205394"/>
                </a:cubicBezTo>
                <a:lnTo>
                  <a:pt x="408823" y="205775"/>
                </a:lnTo>
                <a:cubicBezTo>
                  <a:pt x="409080" y="204641"/>
                  <a:pt x="410032" y="204555"/>
                  <a:pt x="410385" y="203689"/>
                </a:cubicBezTo>
                <a:close/>
                <a:moveTo>
                  <a:pt x="410385" y="217624"/>
                </a:moveTo>
                <a:cubicBezTo>
                  <a:pt x="412661" y="217624"/>
                  <a:pt x="412366" y="219529"/>
                  <a:pt x="413375" y="220481"/>
                </a:cubicBezTo>
                <a:cubicBezTo>
                  <a:pt x="414719" y="218252"/>
                  <a:pt x="411280" y="214852"/>
                  <a:pt x="410347" y="217586"/>
                </a:cubicBezTo>
                <a:close/>
                <a:moveTo>
                  <a:pt x="416614" y="208242"/>
                </a:moveTo>
                <a:cubicBezTo>
                  <a:pt x="415383" y="208065"/>
                  <a:pt x="414254" y="207461"/>
                  <a:pt x="413423" y="206537"/>
                </a:cubicBezTo>
                <a:cubicBezTo>
                  <a:pt x="414528" y="210127"/>
                  <a:pt x="411432" y="210508"/>
                  <a:pt x="414709" y="212556"/>
                </a:cubicBezTo>
                <a:cubicBezTo>
                  <a:pt x="415195" y="211232"/>
                  <a:pt x="416090" y="212080"/>
                  <a:pt x="416966" y="212937"/>
                </a:cubicBezTo>
                <a:cubicBezTo>
                  <a:pt x="417547" y="210813"/>
                  <a:pt x="416090" y="210204"/>
                  <a:pt x="416576" y="208203"/>
                </a:cubicBezTo>
                <a:close/>
                <a:moveTo>
                  <a:pt x="415890" y="198840"/>
                </a:moveTo>
                <a:cubicBezTo>
                  <a:pt x="416576" y="198898"/>
                  <a:pt x="417243" y="198898"/>
                  <a:pt x="417195" y="197888"/>
                </a:cubicBezTo>
                <a:cubicBezTo>
                  <a:pt x="414099" y="195573"/>
                  <a:pt x="413242" y="203212"/>
                  <a:pt x="415119" y="203336"/>
                </a:cubicBezTo>
                <a:cubicBezTo>
                  <a:pt x="415719" y="201622"/>
                  <a:pt x="417719" y="202965"/>
                  <a:pt x="418500" y="203908"/>
                </a:cubicBezTo>
                <a:cubicBezTo>
                  <a:pt x="420062" y="200431"/>
                  <a:pt x="415938" y="201050"/>
                  <a:pt x="415852" y="198802"/>
                </a:cubicBezTo>
                <a:close/>
                <a:moveTo>
                  <a:pt x="489737" y="132537"/>
                </a:moveTo>
                <a:cubicBezTo>
                  <a:pt x="494624" y="130727"/>
                  <a:pt x="494500" y="135709"/>
                  <a:pt x="496862" y="138385"/>
                </a:cubicBezTo>
                <a:cubicBezTo>
                  <a:pt x="497586" y="136147"/>
                  <a:pt x="500291" y="136690"/>
                  <a:pt x="501005" y="134451"/>
                </a:cubicBezTo>
                <a:cubicBezTo>
                  <a:pt x="499824" y="133966"/>
                  <a:pt x="498615" y="132137"/>
                  <a:pt x="500263" y="132003"/>
                </a:cubicBezTo>
                <a:cubicBezTo>
                  <a:pt x="502539" y="132003"/>
                  <a:pt x="502244" y="133908"/>
                  <a:pt x="503263" y="134861"/>
                </a:cubicBezTo>
                <a:cubicBezTo>
                  <a:pt x="504339" y="132080"/>
                  <a:pt x="505425" y="131165"/>
                  <a:pt x="503091" y="129032"/>
                </a:cubicBezTo>
                <a:cubicBezTo>
                  <a:pt x="502901" y="131318"/>
                  <a:pt x="499796" y="128746"/>
                  <a:pt x="498386" y="129394"/>
                </a:cubicBezTo>
                <a:cubicBezTo>
                  <a:pt x="497738" y="129698"/>
                  <a:pt x="498177" y="132042"/>
                  <a:pt x="496881" y="131461"/>
                </a:cubicBezTo>
                <a:cubicBezTo>
                  <a:pt x="495129" y="131051"/>
                  <a:pt x="496481" y="128441"/>
                  <a:pt x="493881" y="128603"/>
                </a:cubicBezTo>
                <a:cubicBezTo>
                  <a:pt x="492385" y="128365"/>
                  <a:pt x="492519" y="130403"/>
                  <a:pt x="491242" y="130508"/>
                </a:cubicBezTo>
                <a:cubicBezTo>
                  <a:pt x="490290" y="130537"/>
                  <a:pt x="489737" y="131165"/>
                  <a:pt x="489699" y="132499"/>
                </a:cubicBezTo>
                <a:close/>
                <a:moveTo>
                  <a:pt x="457086" y="181486"/>
                </a:moveTo>
                <a:cubicBezTo>
                  <a:pt x="456648" y="180533"/>
                  <a:pt x="455343" y="181352"/>
                  <a:pt x="455028" y="179981"/>
                </a:cubicBezTo>
                <a:cubicBezTo>
                  <a:pt x="455143" y="180476"/>
                  <a:pt x="457800" y="177047"/>
                  <a:pt x="454276" y="177533"/>
                </a:cubicBezTo>
                <a:cubicBezTo>
                  <a:pt x="451914" y="178362"/>
                  <a:pt x="453866" y="186334"/>
                  <a:pt x="449189" y="187058"/>
                </a:cubicBezTo>
                <a:cubicBezTo>
                  <a:pt x="449047" y="185484"/>
                  <a:pt x="447759" y="184261"/>
                  <a:pt x="446180" y="184200"/>
                </a:cubicBezTo>
                <a:cubicBezTo>
                  <a:pt x="445703" y="191278"/>
                  <a:pt x="452085" y="185801"/>
                  <a:pt x="456133" y="187058"/>
                </a:cubicBezTo>
                <a:cubicBezTo>
                  <a:pt x="455676" y="185534"/>
                  <a:pt x="457657" y="182896"/>
                  <a:pt x="457048" y="181448"/>
                </a:cubicBezTo>
                <a:close/>
                <a:moveTo>
                  <a:pt x="473278" y="181905"/>
                </a:moveTo>
                <a:cubicBezTo>
                  <a:pt x="470421" y="181314"/>
                  <a:pt x="472907" y="176885"/>
                  <a:pt x="468220" y="177571"/>
                </a:cubicBezTo>
                <a:cubicBezTo>
                  <a:pt x="468544" y="174037"/>
                  <a:pt x="464810" y="173380"/>
                  <a:pt x="462210" y="171913"/>
                </a:cubicBezTo>
                <a:cubicBezTo>
                  <a:pt x="460943" y="174599"/>
                  <a:pt x="460305" y="176361"/>
                  <a:pt x="462210" y="178876"/>
                </a:cubicBezTo>
                <a:cubicBezTo>
                  <a:pt x="463534" y="176066"/>
                  <a:pt x="466201" y="179505"/>
                  <a:pt x="466725" y="179638"/>
                </a:cubicBezTo>
                <a:cubicBezTo>
                  <a:pt x="466658" y="179638"/>
                  <a:pt x="469154" y="177733"/>
                  <a:pt x="468982" y="180019"/>
                </a:cubicBezTo>
                <a:cubicBezTo>
                  <a:pt x="468030" y="180124"/>
                  <a:pt x="467506" y="180733"/>
                  <a:pt x="467468" y="182076"/>
                </a:cubicBezTo>
                <a:cubicBezTo>
                  <a:pt x="465830" y="179628"/>
                  <a:pt x="463953" y="182867"/>
                  <a:pt x="462020" y="180000"/>
                </a:cubicBezTo>
                <a:cubicBezTo>
                  <a:pt x="460134" y="185220"/>
                  <a:pt x="473069" y="186458"/>
                  <a:pt x="473212" y="181867"/>
                </a:cubicBezTo>
                <a:close/>
                <a:moveTo>
                  <a:pt x="485089" y="166541"/>
                </a:moveTo>
                <a:cubicBezTo>
                  <a:pt x="486042" y="169589"/>
                  <a:pt x="480993" y="170665"/>
                  <a:pt x="484137" y="172180"/>
                </a:cubicBezTo>
                <a:cubicBezTo>
                  <a:pt x="485280" y="170018"/>
                  <a:pt x="488842" y="167979"/>
                  <a:pt x="485089" y="166541"/>
                </a:cubicBezTo>
                <a:close/>
                <a:moveTo>
                  <a:pt x="493900" y="176152"/>
                </a:moveTo>
                <a:cubicBezTo>
                  <a:pt x="497948" y="171304"/>
                  <a:pt x="490661" y="172799"/>
                  <a:pt x="493900" y="176152"/>
                </a:cubicBezTo>
                <a:close/>
                <a:moveTo>
                  <a:pt x="495100" y="148529"/>
                </a:moveTo>
                <a:cubicBezTo>
                  <a:pt x="493538" y="147653"/>
                  <a:pt x="492547" y="146377"/>
                  <a:pt x="490976" y="145500"/>
                </a:cubicBezTo>
                <a:cubicBezTo>
                  <a:pt x="490566" y="146805"/>
                  <a:pt x="490633" y="148739"/>
                  <a:pt x="489280" y="148701"/>
                </a:cubicBezTo>
                <a:cubicBezTo>
                  <a:pt x="487023" y="146996"/>
                  <a:pt x="486120" y="144032"/>
                  <a:pt x="487042" y="141357"/>
                </a:cubicBezTo>
                <a:cubicBezTo>
                  <a:pt x="484937" y="139395"/>
                  <a:pt x="483813" y="142376"/>
                  <a:pt x="482155" y="142852"/>
                </a:cubicBezTo>
                <a:cubicBezTo>
                  <a:pt x="480241" y="143276"/>
                  <a:pt x="478263" y="143334"/>
                  <a:pt x="476326" y="143024"/>
                </a:cubicBezTo>
                <a:cubicBezTo>
                  <a:pt x="475507" y="142833"/>
                  <a:pt x="475374" y="141709"/>
                  <a:pt x="475374" y="141709"/>
                </a:cubicBezTo>
                <a:cubicBezTo>
                  <a:pt x="473783" y="141214"/>
                  <a:pt x="470611" y="143719"/>
                  <a:pt x="470868" y="140938"/>
                </a:cubicBezTo>
                <a:cubicBezTo>
                  <a:pt x="472145" y="140881"/>
                  <a:pt x="473888" y="139538"/>
                  <a:pt x="472373" y="138871"/>
                </a:cubicBezTo>
                <a:cubicBezTo>
                  <a:pt x="470097" y="140290"/>
                  <a:pt x="469430" y="142948"/>
                  <a:pt x="466906" y="143748"/>
                </a:cubicBezTo>
                <a:cubicBezTo>
                  <a:pt x="467201" y="143662"/>
                  <a:pt x="466087" y="141843"/>
                  <a:pt x="465782" y="143557"/>
                </a:cubicBezTo>
                <a:cubicBezTo>
                  <a:pt x="466620" y="143948"/>
                  <a:pt x="466935" y="144719"/>
                  <a:pt x="466525" y="146005"/>
                </a:cubicBezTo>
                <a:cubicBezTo>
                  <a:pt x="462934" y="143233"/>
                  <a:pt x="462715" y="146224"/>
                  <a:pt x="459381" y="147110"/>
                </a:cubicBezTo>
                <a:cubicBezTo>
                  <a:pt x="458038" y="147110"/>
                  <a:pt x="456219" y="146367"/>
                  <a:pt x="455819" y="147663"/>
                </a:cubicBezTo>
                <a:cubicBezTo>
                  <a:pt x="456648" y="148063"/>
                  <a:pt x="458029" y="148072"/>
                  <a:pt x="457876" y="149167"/>
                </a:cubicBezTo>
                <a:cubicBezTo>
                  <a:pt x="457724" y="150263"/>
                  <a:pt x="456743" y="150358"/>
                  <a:pt x="456362" y="151234"/>
                </a:cubicBezTo>
                <a:cubicBezTo>
                  <a:pt x="459305" y="152577"/>
                  <a:pt x="459019" y="149329"/>
                  <a:pt x="461258" y="149749"/>
                </a:cubicBezTo>
                <a:cubicBezTo>
                  <a:pt x="462363" y="151273"/>
                  <a:pt x="465020" y="151654"/>
                  <a:pt x="467830" y="152015"/>
                </a:cubicBezTo>
                <a:cubicBezTo>
                  <a:pt x="468220" y="150720"/>
                  <a:pt x="468173" y="148786"/>
                  <a:pt x="469525" y="148825"/>
                </a:cubicBezTo>
                <a:cubicBezTo>
                  <a:pt x="469525" y="150815"/>
                  <a:pt x="473183" y="148386"/>
                  <a:pt x="473659" y="151844"/>
                </a:cubicBezTo>
                <a:cubicBezTo>
                  <a:pt x="472164" y="151606"/>
                  <a:pt x="472288" y="153644"/>
                  <a:pt x="471021" y="153749"/>
                </a:cubicBezTo>
                <a:cubicBezTo>
                  <a:pt x="469878" y="153559"/>
                  <a:pt x="469821" y="152606"/>
                  <a:pt x="468954" y="152235"/>
                </a:cubicBezTo>
                <a:cubicBezTo>
                  <a:pt x="467554" y="153520"/>
                  <a:pt x="467154" y="156206"/>
                  <a:pt x="465744" y="157483"/>
                </a:cubicBezTo>
                <a:cubicBezTo>
                  <a:pt x="470945" y="157759"/>
                  <a:pt x="469973" y="153673"/>
                  <a:pt x="471764" y="156197"/>
                </a:cubicBezTo>
                <a:cubicBezTo>
                  <a:pt x="472802" y="158138"/>
                  <a:pt x="474811" y="159363"/>
                  <a:pt x="477012" y="159397"/>
                </a:cubicBezTo>
                <a:cubicBezTo>
                  <a:pt x="476559" y="160897"/>
                  <a:pt x="477277" y="162501"/>
                  <a:pt x="478698" y="163160"/>
                </a:cubicBezTo>
                <a:cubicBezTo>
                  <a:pt x="480603" y="160588"/>
                  <a:pt x="478698" y="159540"/>
                  <a:pt x="480603" y="158845"/>
                </a:cubicBezTo>
                <a:cubicBezTo>
                  <a:pt x="482060" y="159464"/>
                  <a:pt x="482508" y="160817"/>
                  <a:pt x="484908" y="160750"/>
                </a:cubicBezTo>
                <a:cubicBezTo>
                  <a:pt x="485470" y="159216"/>
                  <a:pt x="487604" y="159883"/>
                  <a:pt x="488671" y="159073"/>
                </a:cubicBezTo>
                <a:cubicBezTo>
                  <a:pt x="489071" y="157769"/>
                  <a:pt x="489023" y="155835"/>
                  <a:pt x="490376" y="155883"/>
                </a:cubicBezTo>
                <a:cubicBezTo>
                  <a:pt x="493528" y="156626"/>
                  <a:pt x="493719" y="152073"/>
                  <a:pt x="496195" y="155711"/>
                </a:cubicBezTo>
                <a:cubicBezTo>
                  <a:pt x="497662" y="151692"/>
                  <a:pt x="490757" y="151558"/>
                  <a:pt x="495100" y="148491"/>
                </a:cubicBezTo>
                <a:close/>
                <a:moveTo>
                  <a:pt x="501634" y="164722"/>
                </a:moveTo>
                <a:cubicBezTo>
                  <a:pt x="502244" y="163398"/>
                  <a:pt x="503539" y="163912"/>
                  <a:pt x="504263" y="162817"/>
                </a:cubicBezTo>
                <a:cubicBezTo>
                  <a:pt x="497967" y="161864"/>
                  <a:pt x="499110" y="165065"/>
                  <a:pt x="497491" y="168618"/>
                </a:cubicBezTo>
                <a:cubicBezTo>
                  <a:pt x="499777" y="169675"/>
                  <a:pt x="502968" y="173542"/>
                  <a:pt x="504244" y="169770"/>
                </a:cubicBezTo>
                <a:cubicBezTo>
                  <a:pt x="502587" y="168932"/>
                  <a:pt x="500834" y="166398"/>
                  <a:pt x="501634" y="164636"/>
                </a:cubicBezTo>
                <a:close/>
                <a:moveTo>
                  <a:pt x="505625" y="148005"/>
                </a:moveTo>
                <a:cubicBezTo>
                  <a:pt x="503063" y="152692"/>
                  <a:pt x="499072" y="144996"/>
                  <a:pt x="496414" y="147605"/>
                </a:cubicBezTo>
                <a:cubicBezTo>
                  <a:pt x="499481" y="149958"/>
                  <a:pt x="501548" y="154101"/>
                  <a:pt x="505987" y="152711"/>
                </a:cubicBezTo>
                <a:cubicBezTo>
                  <a:pt x="506082" y="150939"/>
                  <a:pt x="507101" y="148567"/>
                  <a:pt x="505625" y="147948"/>
                </a:cubicBezTo>
                <a:close/>
                <a:moveTo>
                  <a:pt x="509435" y="125469"/>
                </a:moveTo>
                <a:cubicBezTo>
                  <a:pt x="508121" y="123400"/>
                  <a:pt x="506480" y="121557"/>
                  <a:pt x="504577" y="120011"/>
                </a:cubicBezTo>
                <a:lnTo>
                  <a:pt x="503806" y="124517"/>
                </a:lnTo>
                <a:cubicBezTo>
                  <a:pt x="504396" y="125231"/>
                  <a:pt x="508721" y="128003"/>
                  <a:pt x="509445" y="125412"/>
                </a:cubicBezTo>
                <a:close/>
                <a:moveTo>
                  <a:pt x="514055" y="152920"/>
                </a:moveTo>
                <a:cubicBezTo>
                  <a:pt x="511140" y="152073"/>
                  <a:pt x="510750" y="154825"/>
                  <a:pt x="509921" y="156854"/>
                </a:cubicBezTo>
                <a:cubicBezTo>
                  <a:pt x="512978" y="157235"/>
                  <a:pt x="515760" y="155111"/>
                  <a:pt x="514064" y="152863"/>
                </a:cubicBezTo>
                <a:close/>
                <a:moveTo>
                  <a:pt x="517417" y="160445"/>
                </a:moveTo>
                <a:cubicBezTo>
                  <a:pt x="519160" y="160836"/>
                  <a:pt x="518760" y="157302"/>
                  <a:pt x="517617" y="159321"/>
                </a:cubicBezTo>
                <a:cubicBezTo>
                  <a:pt x="515179" y="159940"/>
                  <a:pt x="517274" y="164341"/>
                  <a:pt x="518360" y="161769"/>
                </a:cubicBezTo>
                <a:cubicBezTo>
                  <a:pt x="517665" y="161531"/>
                  <a:pt x="517055" y="161312"/>
                  <a:pt x="517427" y="160388"/>
                </a:cubicBezTo>
                <a:close/>
                <a:moveTo>
                  <a:pt x="526152" y="129470"/>
                </a:moveTo>
                <a:cubicBezTo>
                  <a:pt x="522389" y="129822"/>
                  <a:pt x="522970" y="127098"/>
                  <a:pt x="520903" y="126260"/>
                </a:cubicBezTo>
                <a:cubicBezTo>
                  <a:pt x="520251" y="127687"/>
                  <a:pt x="518638" y="128405"/>
                  <a:pt x="517141" y="127936"/>
                </a:cubicBezTo>
                <a:cubicBezTo>
                  <a:pt x="518484" y="124012"/>
                  <a:pt x="514388" y="123945"/>
                  <a:pt x="510950" y="123412"/>
                </a:cubicBezTo>
                <a:cubicBezTo>
                  <a:pt x="510321" y="127822"/>
                  <a:pt x="515150" y="128365"/>
                  <a:pt x="519198" y="129451"/>
                </a:cubicBezTo>
                <a:cubicBezTo>
                  <a:pt x="519429" y="130829"/>
                  <a:pt x="520009" y="132124"/>
                  <a:pt x="520884" y="133213"/>
                </a:cubicBezTo>
                <a:cubicBezTo>
                  <a:pt x="520932" y="129498"/>
                  <a:pt x="526552" y="133689"/>
                  <a:pt x="526161" y="129394"/>
                </a:cubicBezTo>
                <a:close/>
                <a:moveTo>
                  <a:pt x="544592" y="123317"/>
                </a:moveTo>
                <a:cubicBezTo>
                  <a:pt x="547697" y="125641"/>
                  <a:pt x="548545" y="117992"/>
                  <a:pt x="546668" y="117878"/>
                </a:cubicBezTo>
                <a:cubicBezTo>
                  <a:pt x="547068" y="121164"/>
                  <a:pt x="544592" y="120469"/>
                  <a:pt x="544601" y="123259"/>
                </a:cubicBezTo>
                <a:close/>
                <a:moveTo>
                  <a:pt x="541934" y="132146"/>
                </a:moveTo>
                <a:cubicBezTo>
                  <a:pt x="541573" y="132213"/>
                  <a:pt x="543030" y="133642"/>
                  <a:pt x="543992" y="133651"/>
                </a:cubicBezTo>
                <a:cubicBezTo>
                  <a:pt x="544382" y="133651"/>
                  <a:pt x="545163" y="131832"/>
                  <a:pt x="546430" y="132908"/>
                </a:cubicBezTo>
                <a:cubicBezTo>
                  <a:pt x="547040" y="130476"/>
                  <a:pt x="546641" y="127900"/>
                  <a:pt x="545325" y="125765"/>
                </a:cubicBezTo>
                <a:cubicBezTo>
                  <a:pt x="544544" y="127612"/>
                  <a:pt x="543916" y="125279"/>
                  <a:pt x="541953" y="125193"/>
                </a:cubicBezTo>
                <a:cubicBezTo>
                  <a:pt x="540465" y="127531"/>
                  <a:pt x="538545" y="129564"/>
                  <a:pt x="536296" y="131184"/>
                </a:cubicBezTo>
                <a:cubicBezTo>
                  <a:pt x="534610" y="130403"/>
                  <a:pt x="535934" y="127479"/>
                  <a:pt x="532171" y="128174"/>
                </a:cubicBezTo>
                <a:cubicBezTo>
                  <a:pt x="529819" y="131432"/>
                  <a:pt x="532400" y="135118"/>
                  <a:pt x="528771" y="134547"/>
                </a:cubicBezTo>
                <a:cubicBezTo>
                  <a:pt x="529371" y="137090"/>
                  <a:pt x="527666" y="141281"/>
                  <a:pt x="532324" y="140947"/>
                </a:cubicBezTo>
                <a:cubicBezTo>
                  <a:pt x="533457" y="138366"/>
                  <a:pt x="532324" y="132537"/>
                  <a:pt x="534981" y="132127"/>
                </a:cubicBezTo>
                <a:cubicBezTo>
                  <a:pt x="536734" y="132527"/>
                  <a:pt x="535372" y="135147"/>
                  <a:pt x="537972" y="134985"/>
                </a:cubicBezTo>
                <a:cubicBezTo>
                  <a:pt x="539896" y="134061"/>
                  <a:pt x="540525" y="132356"/>
                  <a:pt x="541944" y="132089"/>
                </a:cubicBezTo>
                <a:close/>
                <a:moveTo>
                  <a:pt x="546240" y="134051"/>
                </a:moveTo>
                <a:cubicBezTo>
                  <a:pt x="545868" y="139471"/>
                  <a:pt x="544487" y="135956"/>
                  <a:pt x="542677" y="134613"/>
                </a:cubicBezTo>
                <a:cubicBezTo>
                  <a:pt x="543630" y="137661"/>
                  <a:pt x="538572" y="138719"/>
                  <a:pt x="541725" y="140243"/>
                </a:cubicBezTo>
                <a:cubicBezTo>
                  <a:pt x="543563" y="138442"/>
                  <a:pt x="551088" y="136709"/>
                  <a:pt x="546240" y="133975"/>
                </a:cubicBezTo>
                <a:close/>
                <a:moveTo>
                  <a:pt x="552326" y="111906"/>
                </a:moveTo>
                <a:cubicBezTo>
                  <a:pt x="553593" y="115763"/>
                  <a:pt x="547354" y="115792"/>
                  <a:pt x="550240" y="117344"/>
                </a:cubicBezTo>
                <a:cubicBezTo>
                  <a:pt x="550659" y="116059"/>
                  <a:pt x="552240" y="116392"/>
                  <a:pt x="553812" y="116792"/>
                </a:cubicBezTo>
                <a:cubicBezTo>
                  <a:pt x="554574" y="114201"/>
                  <a:pt x="554269" y="112430"/>
                  <a:pt x="552336" y="111829"/>
                </a:cubicBezTo>
                <a:close/>
                <a:moveTo>
                  <a:pt x="559460" y="49345"/>
                </a:moveTo>
                <a:cubicBezTo>
                  <a:pt x="557975" y="49079"/>
                  <a:pt x="558765" y="47193"/>
                  <a:pt x="557555" y="46707"/>
                </a:cubicBezTo>
                <a:cubicBezTo>
                  <a:pt x="557155" y="47545"/>
                  <a:pt x="556384" y="47860"/>
                  <a:pt x="555108" y="47460"/>
                </a:cubicBezTo>
                <a:cubicBezTo>
                  <a:pt x="553964" y="51508"/>
                  <a:pt x="557936" y="51422"/>
                  <a:pt x="559470" y="49269"/>
                </a:cubicBezTo>
                <a:close/>
                <a:moveTo>
                  <a:pt x="558270" y="70015"/>
                </a:moveTo>
                <a:cubicBezTo>
                  <a:pt x="559118" y="67948"/>
                  <a:pt x="561832" y="68519"/>
                  <a:pt x="561480" y="64766"/>
                </a:cubicBezTo>
                <a:cubicBezTo>
                  <a:pt x="558822" y="64871"/>
                  <a:pt x="555346" y="66024"/>
                  <a:pt x="553593" y="63423"/>
                </a:cubicBezTo>
                <a:cubicBezTo>
                  <a:pt x="553193" y="64719"/>
                  <a:pt x="553241" y="66652"/>
                  <a:pt x="551898" y="66614"/>
                </a:cubicBezTo>
                <a:cubicBezTo>
                  <a:pt x="552374" y="71377"/>
                  <a:pt x="555708" y="71853"/>
                  <a:pt x="552431" y="77139"/>
                </a:cubicBezTo>
                <a:cubicBezTo>
                  <a:pt x="557584" y="79197"/>
                  <a:pt x="557670" y="74149"/>
                  <a:pt x="558279" y="69939"/>
                </a:cubicBezTo>
                <a:close/>
                <a:moveTo>
                  <a:pt x="563385" y="121897"/>
                </a:moveTo>
                <a:cubicBezTo>
                  <a:pt x="562070" y="120507"/>
                  <a:pt x="560299" y="119459"/>
                  <a:pt x="559441" y="117745"/>
                </a:cubicBezTo>
                <a:cubicBezTo>
                  <a:pt x="562099" y="118183"/>
                  <a:pt x="559556" y="114601"/>
                  <a:pt x="557536" y="115106"/>
                </a:cubicBezTo>
                <a:cubicBezTo>
                  <a:pt x="558287" y="117804"/>
                  <a:pt x="557794" y="120695"/>
                  <a:pt x="556193" y="122993"/>
                </a:cubicBezTo>
                <a:cubicBezTo>
                  <a:pt x="558650" y="123589"/>
                  <a:pt x="561244" y="123167"/>
                  <a:pt x="563385" y="121821"/>
                </a:cubicBezTo>
                <a:close/>
                <a:moveTo>
                  <a:pt x="571129" y="42049"/>
                </a:moveTo>
                <a:cubicBezTo>
                  <a:pt x="568271" y="39716"/>
                  <a:pt x="567195" y="46393"/>
                  <a:pt x="569224" y="46374"/>
                </a:cubicBezTo>
                <a:cubicBezTo>
                  <a:pt x="569274" y="44715"/>
                  <a:pt x="569959" y="43140"/>
                  <a:pt x="571138" y="41973"/>
                </a:cubicBezTo>
                <a:close/>
                <a:moveTo>
                  <a:pt x="592274" y="74625"/>
                </a:moveTo>
                <a:cubicBezTo>
                  <a:pt x="594055" y="74815"/>
                  <a:pt x="596151" y="75434"/>
                  <a:pt x="596027" y="72939"/>
                </a:cubicBezTo>
                <a:lnTo>
                  <a:pt x="593779" y="72558"/>
                </a:lnTo>
                <a:cubicBezTo>
                  <a:pt x="593598" y="73615"/>
                  <a:pt x="592646" y="73672"/>
                  <a:pt x="592284" y="74549"/>
                </a:cubicBezTo>
                <a:close/>
                <a:moveTo>
                  <a:pt x="584873" y="97713"/>
                </a:moveTo>
                <a:cubicBezTo>
                  <a:pt x="584959" y="95675"/>
                  <a:pt x="586969" y="92265"/>
                  <a:pt x="583387" y="92827"/>
                </a:cubicBezTo>
                <a:cubicBezTo>
                  <a:pt x="582644" y="95266"/>
                  <a:pt x="582949" y="97009"/>
                  <a:pt x="584883" y="97637"/>
                </a:cubicBezTo>
                <a:close/>
                <a:moveTo>
                  <a:pt x="572767" y="128117"/>
                </a:moveTo>
                <a:lnTo>
                  <a:pt x="575015" y="128498"/>
                </a:lnTo>
                <a:cubicBezTo>
                  <a:pt x="575148" y="127755"/>
                  <a:pt x="575272" y="127003"/>
                  <a:pt x="575405" y="126250"/>
                </a:cubicBezTo>
                <a:lnTo>
                  <a:pt x="573148" y="125869"/>
                </a:lnTo>
                <a:cubicBezTo>
                  <a:pt x="573024" y="126536"/>
                  <a:pt x="572910" y="127289"/>
                  <a:pt x="572776" y="128041"/>
                </a:cubicBezTo>
                <a:close/>
                <a:moveTo>
                  <a:pt x="574224" y="139966"/>
                </a:moveTo>
                <a:cubicBezTo>
                  <a:pt x="571005" y="135899"/>
                  <a:pt x="570109" y="143548"/>
                  <a:pt x="574224" y="139966"/>
                </a:cubicBezTo>
                <a:close/>
                <a:moveTo>
                  <a:pt x="578034" y="131327"/>
                </a:moveTo>
                <a:cubicBezTo>
                  <a:pt x="573100" y="130708"/>
                  <a:pt x="575643" y="132937"/>
                  <a:pt x="574815" y="136585"/>
                </a:cubicBezTo>
                <a:cubicBezTo>
                  <a:pt x="579311" y="137442"/>
                  <a:pt x="578282" y="134156"/>
                  <a:pt x="578025" y="131299"/>
                </a:cubicBezTo>
                <a:close/>
                <a:moveTo>
                  <a:pt x="594455" y="102724"/>
                </a:moveTo>
                <a:cubicBezTo>
                  <a:pt x="591598" y="102419"/>
                  <a:pt x="591255" y="100361"/>
                  <a:pt x="589198" y="99504"/>
                </a:cubicBezTo>
                <a:cubicBezTo>
                  <a:pt x="589521" y="103590"/>
                  <a:pt x="586807" y="103076"/>
                  <a:pt x="585435" y="101190"/>
                </a:cubicBezTo>
                <a:cubicBezTo>
                  <a:pt x="583997" y="103095"/>
                  <a:pt x="588178" y="105524"/>
                  <a:pt x="584673" y="105695"/>
                </a:cubicBezTo>
                <a:cubicBezTo>
                  <a:pt x="583721" y="102733"/>
                  <a:pt x="580673" y="101266"/>
                  <a:pt x="577548" y="99857"/>
                </a:cubicBezTo>
                <a:cubicBezTo>
                  <a:pt x="576929" y="101943"/>
                  <a:pt x="578396" y="102552"/>
                  <a:pt x="577901" y="104552"/>
                </a:cubicBezTo>
                <a:cubicBezTo>
                  <a:pt x="579558" y="105029"/>
                  <a:pt x="582139" y="104857"/>
                  <a:pt x="582225" y="106457"/>
                </a:cubicBezTo>
                <a:cubicBezTo>
                  <a:pt x="580141" y="108984"/>
                  <a:pt x="578484" y="111835"/>
                  <a:pt x="577320" y="114897"/>
                </a:cubicBezTo>
                <a:cubicBezTo>
                  <a:pt x="580320" y="116392"/>
                  <a:pt x="581330" y="119316"/>
                  <a:pt x="585759" y="119802"/>
                </a:cubicBezTo>
                <a:cubicBezTo>
                  <a:pt x="586159" y="118973"/>
                  <a:pt x="586169" y="117583"/>
                  <a:pt x="587264" y="117745"/>
                </a:cubicBezTo>
                <a:cubicBezTo>
                  <a:pt x="588187" y="115075"/>
                  <a:pt x="587287" y="112115"/>
                  <a:pt x="585035" y="110410"/>
                </a:cubicBezTo>
                <a:cubicBezTo>
                  <a:pt x="583349" y="110829"/>
                  <a:pt x="584130" y="114716"/>
                  <a:pt x="582016" y="114535"/>
                </a:cubicBezTo>
                <a:cubicBezTo>
                  <a:pt x="582206" y="113401"/>
                  <a:pt x="581330" y="113039"/>
                  <a:pt x="581273" y="112087"/>
                </a:cubicBezTo>
                <a:cubicBezTo>
                  <a:pt x="583178" y="110515"/>
                  <a:pt x="583635" y="107038"/>
                  <a:pt x="585607" y="107029"/>
                </a:cubicBezTo>
                <a:cubicBezTo>
                  <a:pt x="585692" y="107029"/>
                  <a:pt x="586350" y="109239"/>
                  <a:pt x="587664" y="108534"/>
                </a:cubicBezTo>
                <a:cubicBezTo>
                  <a:pt x="588521" y="108077"/>
                  <a:pt x="587664" y="104657"/>
                  <a:pt x="589369" y="105343"/>
                </a:cubicBezTo>
                <a:cubicBezTo>
                  <a:pt x="589845" y="107248"/>
                  <a:pt x="588664" y="110782"/>
                  <a:pt x="592369" y="108200"/>
                </a:cubicBezTo>
                <a:cubicBezTo>
                  <a:pt x="587864" y="105867"/>
                  <a:pt x="593865" y="105743"/>
                  <a:pt x="594455" y="102724"/>
                </a:cubicBezTo>
                <a:close/>
                <a:moveTo>
                  <a:pt x="606838" y="97866"/>
                </a:moveTo>
                <a:cubicBezTo>
                  <a:pt x="602723" y="96475"/>
                  <a:pt x="590293" y="89627"/>
                  <a:pt x="592922" y="97866"/>
                </a:cubicBezTo>
                <a:cubicBezTo>
                  <a:pt x="595084" y="98580"/>
                  <a:pt x="595417" y="96723"/>
                  <a:pt x="596732" y="96189"/>
                </a:cubicBezTo>
                <a:cubicBezTo>
                  <a:pt x="596541" y="97980"/>
                  <a:pt x="595913" y="100066"/>
                  <a:pt x="598408" y="99952"/>
                </a:cubicBezTo>
                <a:cubicBezTo>
                  <a:pt x="599180" y="98047"/>
                  <a:pt x="597218" y="96780"/>
                  <a:pt x="598989" y="96570"/>
                </a:cubicBezTo>
                <a:cubicBezTo>
                  <a:pt x="604190" y="96504"/>
                  <a:pt x="597294" y="105029"/>
                  <a:pt x="602151" y="105229"/>
                </a:cubicBezTo>
                <a:cubicBezTo>
                  <a:pt x="604628" y="103438"/>
                  <a:pt x="601828" y="103066"/>
                  <a:pt x="603104" y="99590"/>
                </a:cubicBezTo>
                <a:cubicBezTo>
                  <a:pt x="604487" y="99355"/>
                  <a:pt x="605785" y="98767"/>
                  <a:pt x="606876" y="97885"/>
                </a:cubicBezTo>
                <a:close/>
                <a:moveTo>
                  <a:pt x="487289" y="379025"/>
                </a:moveTo>
                <a:cubicBezTo>
                  <a:pt x="487509" y="380225"/>
                  <a:pt x="486337" y="379653"/>
                  <a:pt x="485975" y="379977"/>
                </a:cubicBezTo>
                <a:cubicBezTo>
                  <a:pt x="483822" y="381635"/>
                  <a:pt x="486127" y="384816"/>
                  <a:pt x="487651" y="383787"/>
                </a:cubicBezTo>
                <a:cubicBezTo>
                  <a:pt x="488528" y="383102"/>
                  <a:pt x="488137" y="378806"/>
                  <a:pt x="487289" y="379025"/>
                </a:cubicBezTo>
                <a:close/>
                <a:moveTo>
                  <a:pt x="491185" y="397046"/>
                </a:moveTo>
                <a:cubicBezTo>
                  <a:pt x="487756" y="395055"/>
                  <a:pt x="488899" y="402952"/>
                  <a:pt x="491738" y="400628"/>
                </a:cubicBezTo>
                <a:cubicBezTo>
                  <a:pt x="492776" y="399799"/>
                  <a:pt x="491595" y="397313"/>
                  <a:pt x="491185" y="397046"/>
                </a:cubicBezTo>
                <a:close/>
                <a:moveTo>
                  <a:pt x="511121" y="388845"/>
                </a:moveTo>
                <a:cubicBezTo>
                  <a:pt x="510950" y="389521"/>
                  <a:pt x="510730" y="390150"/>
                  <a:pt x="509807" y="389798"/>
                </a:cubicBezTo>
                <a:cubicBezTo>
                  <a:pt x="509683" y="390550"/>
                  <a:pt x="509559" y="391293"/>
                  <a:pt x="509426" y="392045"/>
                </a:cubicBezTo>
                <a:cubicBezTo>
                  <a:pt x="512226" y="392674"/>
                  <a:pt x="512588" y="394798"/>
                  <a:pt x="514121" y="391684"/>
                </a:cubicBezTo>
                <a:cubicBezTo>
                  <a:pt x="511854" y="391655"/>
                  <a:pt x="512150" y="389798"/>
                  <a:pt x="511121" y="388874"/>
                </a:cubicBezTo>
                <a:close/>
                <a:moveTo>
                  <a:pt x="520303" y="334753"/>
                </a:moveTo>
                <a:cubicBezTo>
                  <a:pt x="517084" y="331790"/>
                  <a:pt x="513969" y="335010"/>
                  <a:pt x="512026" y="335705"/>
                </a:cubicBezTo>
                <a:cubicBezTo>
                  <a:pt x="512521" y="335534"/>
                  <a:pt x="510473" y="333800"/>
                  <a:pt x="510721" y="336658"/>
                </a:cubicBezTo>
                <a:cubicBezTo>
                  <a:pt x="510473" y="338153"/>
                  <a:pt x="512521" y="338020"/>
                  <a:pt x="512626" y="339296"/>
                </a:cubicBezTo>
                <a:cubicBezTo>
                  <a:pt x="515760" y="338629"/>
                  <a:pt x="519313" y="338496"/>
                  <a:pt x="520303" y="334781"/>
                </a:cubicBezTo>
                <a:close/>
                <a:moveTo>
                  <a:pt x="535486" y="347764"/>
                </a:moveTo>
                <a:cubicBezTo>
                  <a:pt x="534762" y="345478"/>
                  <a:pt x="539506" y="344563"/>
                  <a:pt x="536258" y="343249"/>
                </a:cubicBezTo>
                <a:cubicBezTo>
                  <a:pt x="535810" y="343916"/>
                  <a:pt x="532714" y="347145"/>
                  <a:pt x="535486" y="347792"/>
                </a:cubicBezTo>
                <a:close/>
                <a:moveTo>
                  <a:pt x="530247" y="337601"/>
                </a:moveTo>
                <a:cubicBezTo>
                  <a:pt x="530123" y="338353"/>
                  <a:pt x="530000" y="339096"/>
                  <a:pt x="529866" y="339848"/>
                </a:cubicBezTo>
                <a:cubicBezTo>
                  <a:pt x="525904" y="338896"/>
                  <a:pt x="522989" y="339467"/>
                  <a:pt x="521408" y="341896"/>
                </a:cubicBezTo>
                <a:cubicBezTo>
                  <a:pt x="522265" y="343801"/>
                  <a:pt x="523970" y="342001"/>
                  <a:pt x="524789" y="342468"/>
                </a:cubicBezTo>
                <a:cubicBezTo>
                  <a:pt x="525609" y="342935"/>
                  <a:pt x="525409" y="345802"/>
                  <a:pt x="527790" y="345325"/>
                </a:cubicBezTo>
                <a:cubicBezTo>
                  <a:pt x="530247" y="342544"/>
                  <a:pt x="535762" y="340782"/>
                  <a:pt x="530247" y="337629"/>
                </a:cubicBezTo>
                <a:close/>
                <a:moveTo>
                  <a:pt x="553964" y="259305"/>
                </a:moveTo>
                <a:cubicBezTo>
                  <a:pt x="551374" y="258505"/>
                  <a:pt x="554203" y="253857"/>
                  <a:pt x="550231" y="254038"/>
                </a:cubicBezTo>
                <a:cubicBezTo>
                  <a:pt x="548545" y="258172"/>
                  <a:pt x="546973" y="262172"/>
                  <a:pt x="550755" y="264515"/>
                </a:cubicBezTo>
                <a:cubicBezTo>
                  <a:pt x="551069" y="261791"/>
                  <a:pt x="553126" y="261401"/>
                  <a:pt x="553964" y="259334"/>
                </a:cubicBezTo>
                <a:close/>
                <a:moveTo>
                  <a:pt x="561480" y="255981"/>
                </a:moveTo>
                <a:cubicBezTo>
                  <a:pt x="558622" y="253638"/>
                  <a:pt x="557536" y="260315"/>
                  <a:pt x="559575" y="260296"/>
                </a:cubicBezTo>
                <a:cubicBezTo>
                  <a:pt x="560222" y="258829"/>
                  <a:pt x="561575" y="258419"/>
                  <a:pt x="561480" y="255981"/>
                </a:cubicBezTo>
                <a:close/>
                <a:moveTo>
                  <a:pt x="567509" y="247723"/>
                </a:moveTo>
                <a:lnTo>
                  <a:pt x="565261" y="247342"/>
                </a:lnTo>
                <a:lnTo>
                  <a:pt x="564880" y="249599"/>
                </a:lnTo>
                <a:lnTo>
                  <a:pt x="567128" y="249980"/>
                </a:lnTo>
                <a:close/>
                <a:moveTo>
                  <a:pt x="581882" y="224644"/>
                </a:moveTo>
                <a:cubicBezTo>
                  <a:pt x="578425" y="223043"/>
                  <a:pt x="579025" y="227177"/>
                  <a:pt x="576805" y="227263"/>
                </a:cubicBezTo>
                <a:cubicBezTo>
                  <a:pt x="576853" y="226568"/>
                  <a:pt x="576863" y="225901"/>
                  <a:pt x="575853" y="225949"/>
                </a:cubicBezTo>
                <a:cubicBezTo>
                  <a:pt x="575758" y="227663"/>
                  <a:pt x="574739" y="230035"/>
                  <a:pt x="576215" y="230644"/>
                </a:cubicBezTo>
                <a:cubicBezTo>
                  <a:pt x="577444" y="227720"/>
                  <a:pt x="581416" y="228644"/>
                  <a:pt x="581882" y="224644"/>
                </a:cubicBezTo>
                <a:close/>
                <a:moveTo>
                  <a:pt x="609905" y="216652"/>
                </a:moveTo>
                <a:cubicBezTo>
                  <a:pt x="609705" y="216262"/>
                  <a:pt x="608000" y="216566"/>
                  <a:pt x="607657" y="216271"/>
                </a:cubicBezTo>
                <a:cubicBezTo>
                  <a:pt x="607505" y="216138"/>
                  <a:pt x="607104" y="214366"/>
                  <a:pt x="606523" y="216071"/>
                </a:cubicBezTo>
                <a:cubicBezTo>
                  <a:pt x="606628" y="215776"/>
                  <a:pt x="608276" y="218710"/>
                  <a:pt x="608428" y="218710"/>
                </a:cubicBezTo>
                <a:cubicBezTo>
                  <a:pt x="608858" y="217984"/>
                  <a:pt x="609351" y="217298"/>
                  <a:pt x="609905" y="216662"/>
                </a:cubicBezTo>
                <a:close/>
                <a:moveTo>
                  <a:pt x="660387" y="103486"/>
                </a:moveTo>
                <a:cubicBezTo>
                  <a:pt x="662454" y="101337"/>
                  <a:pt x="664726" y="99394"/>
                  <a:pt x="667169" y="97685"/>
                </a:cubicBezTo>
                <a:cubicBezTo>
                  <a:pt x="664283" y="97866"/>
                  <a:pt x="657463" y="99704"/>
                  <a:pt x="660406" y="103495"/>
                </a:cubicBezTo>
                <a:close/>
                <a:moveTo>
                  <a:pt x="662292" y="92218"/>
                </a:moveTo>
                <a:lnTo>
                  <a:pt x="657787" y="91456"/>
                </a:lnTo>
                <a:cubicBezTo>
                  <a:pt x="656949" y="95104"/>
                  <a:pt x="662340" y="96799"/>
                  <a:pt x="662321" y="92246"/>
                </a:cubicBezTo>
                <a:close/>
                <a:moveTo>
                  <a:pt x="650862" y="91427"/>
                </a:moveTo>
                <a:lnTo>
                  <a:pt x="653120" y="91817"/>
                </a:lnTo>
                <a:cubicBezTo>
                  <a:pt x="653434" y="90389"/>
                  <a:pt x="654834" y="90503"/>
                  <a:pt x="654825" y="88627"/>
                </a:cubicBezTo>
                <a:lnTo>
                  <a:pt x="651434" y="88055"/>
                </a:lnTo>
                <a:close/>
                <a:moveTo>
                  <a:pt x="650653" y="99514"/>
                </a:moveTo>
                <a:cubicBezTo>
                  <a:pt x="651311" y="98067"/>
                  <a:pt x="652949" y="97342"/>
                  <a:pt x="654463" y="97828"/>
                </a:cubicBezTo>
                <a:cubicBezTo>
                  <a:pt x="654384" y="95807"/>
                  <a:pt x="655134" y="93842"/>
                  <a:pt x="656539" y="92389"/>
                </a:cubicBezTo>
                <a:cubicBezTo>
                  <a:pt x="655806" y="92389"/>
                  <a:pt x="655015" y="91932"/>
                  <a:pt x="654291" y="92008"/>
                </a:cubicBezTo>
                <a:cubicBezTo>
                  <a:pt x="652739" y="92151"/>
                  <a:pt x="653625" y="92913"/>
                  <a:pt x="652777" y="94065"/>
                </a:cubicBezTo>
                <a:cubicBezTo>
                  <a:pt x="652177" y="94885"/>
                  <a:pt x="651615" y="93818"/>
                  <a:pt x="652586" y="95199"/>
                </a:cubicBezTo>
                <a:cubicBezTo>
                  <a:pt x="652977" y="95751"/>
                  <a:pt x="650129" y="96694"/>
                  <a:pt x="649948" y="97104"/>
                </a:cubicBezTo>
                <a:cubicBezTo>
                  <a:pt x="649557" y="97780"/>
                  <a:pt x="649910" y="99476"/>
                  <a:pt x="650643" y="99523"/>
                </a:cubicBezTo>
                <a:close/>
                <a:moveTo>
                  <a:pt x="648157" y="66624"/>
                </a:moveTo>
                <a:cubicBezTo>
                  <a:pt x="652196" y="61776"/>
                  <a:pt x="644928" y="63271"/>
                  <a:pt x="648157" y="66624"/>
                </a:cubicBezTo>
                <a:close/>
                <a:moveTo>
                  <a:pt x="647481" y="104724"/>
                </a:moveTo>
                <a:cubicBezTo>
                  <a:pt x="647176" y="106153"/>
                  <a:pt x="645776" y="106038"/>
                  <a:pt x="645776" y="107915"/>
                </a:cubicBezTo>
                <a:cubicBezTo>
                  <a:pt x="648681" y="108277"/>
                  <a:pt x="650072" y="106515"/>
                  <a:pt x="651996" y="105486"/>
                </a:cubicBezTo>
                <a:cubicBezTo>
                  <a:pt x="649748" y="104438"/>
                  <a:pt x="649243" y="102152"/>
                  <a:pt x="645614" y="102085"/>
                </a:cubicBezTo>
                <a:cubicBezTo>
                  <a:pt x="643909" y="106934"/>
                  <a:pt x="647957" y="101609"/>
                  <a:pt x="647433" y="104771"/>
                </a:cubicBezTo>
                <a:close/>
                <a:moveTo>
                  <a:pt x="645204" y="111296"/>
                </a:moveTo>
                <a:cubicBezTo>
                  <a:pt x="645500" y="112068"/>
                  <a:pt x="649214" y="111353"/>
                  <a:pt x="648395" y="113001"/>
                </a:cubicBezTo>
                <a:cubicBezTo>
                  <a:pt x="647700" y="112944"/>
                  <a:pt x="647043" y="112934"/>
                  <a:pt x="647081" y="113954"/>
                </a:cubicBezTo>
                <a:cubicBezTo>
                  <a:pt x="650205" y="115859"/>
                  <a:pt x="652729" y="110029"/>
                  <a:pt x="650291" y="108705"/>
                </a:cubicBezTo>
                <a:cubicBezTo>
                  <a:pt x="650234" y="111982"/>
                  <a:pt x="644414" y="109324"/>
                  <a:pt x="645157" y="111344"/>
                </a:cubicBezTo>
                <a:close/>
                <a:moveTo>
                  <a:pt x="631384" y="83445"/>
                </a:moveTo>
                <a:cubicBezTo>
                  <a:pt x="635270" y="82664"/>
                  <a:pt x="631622" y="87255"/>
                  <a:pt x="635508" y="86464"/>
                </a:cubicBezTo>
                <a:cubicBezTo>
                  <a:pt x="636232" y="84302"/>
                  <a:pt x="634365" y="83969"/>
                  <a:pt x="633832" y="82702"/>
                </a:cubicBezTo>
                <a:cubicBezTo>
                  <a:pt x="634917" y="79921"/>
                  <a:pt x="635994" y="79006"/>
                  <a:pt x="633660" y="76873"/>
                </a:cubicBezTo>
                <a:cubicBezTo>
                  <a:pt x="633742" y="79292"/>
                  <a:pt x="632912" y="81655"/>
                  <a:pt x="631336" y="83493"/>
                </a:cubicBezTo>
                <a:close/>
                <a:moveTo>
                  <a:pt x="617392" y="97361"/>
                </a:moveTo>
                <a:lnTo>
                  <a:pt x="617782" y="95104"/>
                </a:lnTo>
                <a:cubicBezTo>
                  <a:pt x="617668" y="94151"/>
                  <a:pt x="618115" y="92875"/>
                  <a:pt x="617030" y="92656"/>
                </a:cubicBezTo>
                <a:cubicBezTo>
                  <a:pt x="616944" y="94370"/>
                  <a:pt x="615925" y="96751"/>
                  <a:pt x="617392" y="97361"/>
                </a:cubicBezTo>
                <a:close/>
                <a:moveTo>
                  <a:pt x="613248" y="101295"/>
                </a:moveTo>
                <a:cubicBezTo>
                  <a:pt x="613172" y="103981"/>
                  <a:pt x="613581" y="106343"/>
                  <a:pt x="615677" y="107505"/>
                </a:cubicBezTo>
                <a:cubicBezTo>
                  <a:pt x="615934" y="106000"/>
                  <a:pt x="616182" y="104495"/>
                  <a:pt x="616439" y="102990"/>
                </a:cubicBezTo>
                <a:cubicBezTo>
                  <a:pt x="615213" y="102805"/>
                  <a:pt x="614088" y="102206"/>
                  <a:pt x="613248" y="101295"/>
                </a:cubicBezTo>
                <a:close/>
                <a:moveTo>
                  <a:pt x="611343" y="119516"/>
                </a:moveTo>
                <a:cubicBezTo>
                  <a:pt x="609171" y="119402"/>
                  <a:pt x="609076" y="117821"/>
                  <a:pt x="607028" y="117611"/>
                </a:cubicBezTo>
                <a:cubicBezTo>
                  <a:pt x="606924" y="119011"/>
                  <a:pt x="606914" y="120335"/>
                  <a:pt x="608933" y="120250"/>
                </a:cubicBezTo>
                <a:cubicBezTo>
                  <a:pt x="608829" y="121650"/>
                  <a:pt x="608819" y="122974"/>
                  <a:pt x="610838" y="122878"/>
                </a:cubicBezTo>
                <a:close/>
                <a:moveTo>
                  <a:pt x="612800" y="199755"/>
                </a:moveTo>
                <a:cubicBezTo>
                  <a:pt x="612924" y="199002"/>
                  <a:pt x="613058" y="198250"/>
                  <a:pt x="613181" y="197497"/>
                </a:cubicBezTo>
                <a:cubicBezTo>
                  <a:pt x="614515" y="191382"/>
                  <a:pt x="609562" y="199440"/>
                  <a:pt x="612772" y="199755"/>
                </a:cubicBezTo>
                <a:close/>
                <a:moveTo>
                  <a:pt x="613572" y="126850"/>
                </a:moveTo>
                <a:cubicBezTo>
                  <a:pt x="612229" y="130060"/>
                  <a:pt x="611276" y="132175"/>
                  <a:pt x="612429" y="133604"/>
                </a:cubicBezTo>
                <a:cubicBezTo>
                  <a:pt x="614514" y="132575"/>
                  <a:pt x="615371" y="130051"/>
                  <a:pt x="614342" y="127966"/>
                </a:cubicBezTo>
                <a:cubicBezTo>
                  <a:pt x="614139" y="127552"/>
                  <a:pt x="613869" y="127176"/>
                  <a:pt x="613543" y="126850"/>
                </a:cubicBezTo>
                <a:close/>
                <a:moveTo>
                  <a:pt x="615867" y="113325"/>
                </a:moveTo>
                <a:cubicBezTo>
                  <a:pt x="616153" y="112763"/>
                  <a:pt x="619677" y="112306"/>
                  <a:pt x="617372" y="111258"/>
                </a:cubicBezTo>
                <a:cubicBezTo>
                  <a:pt x="617201" y="111934"/>
                  <a:pt x="616982" y="112563"/>
                  <a:pt x="616058" y="112210"/>
                </a:cubicBezTo>
                <a:cubicBezTo>
                  <a:pt x="615840" y="110816"/>
                  <a:pt x="615262" y="109503"/>
                  <a:pt x="614382" y="108400"/>
                </a:cubicBezTo>
                <a:cubicBezTo>
                  <a:pt x="615086" y="113582"/>
                  <a:pt x="609619" y="110058"/>
                  <a:pt x="609857" y="114592"/>
                </a:cubicBezTo>
                <a:cubicBezTo>
                  <a:pt x="612648" y="114592"/>
                  <a:pt x="611953" y="117068"/>
                  <a:pt x="615296" y="116678"/>
                </a:cubicBezTo>
                <a:cubicBezTo>
                  <a:pt x="617172" y="115773"/>
                  <a:pt x="615382" y="114239"/>
                  <a:pt x="615839" y="113325"/>
                </a:cubicBezTo>
                <a:close/>
                <a:moveTo>
                  <a:pt x="621468" y="189630"/>
                </a:moveTo>
                <a:cubicBezTo>
                  <a:pt x="621659" y="188953"/>
                  <a:pt x="621868" y="188325"/>
                  <a:pt x="622802" y="188677"/>
                </a:cubicBezTo>
                <a:cubicBezTo>
                  <a:pt x="622618" y="189908"/>
                  <a:pt x="622011" y="191036"/>
                  <a:pt x="621087" y="191868"/>
                </a:cubicBezTo>
                <a:cubicBezTo>
                  <a:pt x="623345" y="192916"/>
                  <a:pt x="623830" y="195211"/>
                  <a:pt x="627469" y="195268"/>
                </a:cubicBezTo>
                <a:cubicBezTo>
                  <a:pt x="628079" y="193802"/>
                  <a:pt x="629441" y="193363"/>
                  <a:pt x="629374" y="190954"/>
                </a:cubicBezTo>
                <a:cubicBezTo>
                  <a:pt x="628231" y="190049"/>
                  <a:pt x="626278" y="191830"/>
                  <a:pt x="625802" y="191506"/>
                </a:cubicBezTo>
                <a:cubicBezTo>
                  <a:pt x="625107" y="191030"/>
                  <a:pt x="625802" y="188401"/>
                  <a:pt x="625250" y="187934"/>
                </a:cubicBezTo>
                <a:cubicBezTo>
                  <a:pt x="623392" y="186315"/>
                  <a:pt x="618896" y="185934"/>
                  <a:pt x="621487" y="189630"/>
                </a:cubicBezTo>
                <a:close/>
                <a:moveTo>
                  <a:pt x="632584" y="117316"/>
                </a:moveTo>
                <a:cubicBezTo>
                  <a:pt x="632651" y="116087"/>
                  <a:pt x="633679" y="113973"/>
                  <a:pt x="633355" y="112811"/>
                </a:cubicBezTo>
                <a:cubicBezTo>
                  <a:pt x="633174" y="112220"/>
                  <a:pt x="630603" y="112553"/>
                  <a:pt x="631288" y="111296"/>
                </a:cubicBezTo>
                <a:cubicBezTo>
                  <a:pt x="633032" y="112125"/>
                  <a:pt x="634146" y="105476"/>
                  <a:pt x="632241" y="105667"/>
                </a:cubicBezTo>
                <a:cubicBezTo>
                  <a:pt x="630993" y="108391"/>
                  <a:pt x="629193" y="100961"/>
                  <a:pt x="627536" y="106029"/>
                </a:cubicBezTo>
                <a:cubicBezTo>
                  <a:pt x="629603" y="106553"/>
                  <a:pt x="627593" y="109963"/>
                  <a:pt x="629031" y="110915"/>
                </a:cubicBezTo>
                <a:cubicBezTo>
                  <a:pt x="626040" y="110420"/>
                  <a:pt x="622668" y="109401"/>
                  <a:pt x="620954" y="110706"/>
                </a:cubicBezTo>
                <a:cubicBezTo>
                  <a:pt x="620773" y="106600"/>
                  <a:pt x="624764" y="106162"/>
                  <a:pt x="626040" y="108096"/>
                </a:cubicBezTo>
                <a:cubicBezTo>
                  <a:pt x="627298" y="105238"/>
                  <a:pt x="624326" y="106419"/>
                  <a:pt x="623040" y="105238"/>
                </a:cubicBezTo>
                <a:cubicBezTo>
                  <a:pt x="622373" y="104648"/>
                  <a:pt x="622564" y="102724"/>
                  <a:pt x="621135" y="102600"/>
                </a:cubicBezTo>
                <a:cubicBezTo>
                  <a:pt x="620249" y="104667"/>
                  <a:pt x="623792" y="108039"/>
                  <a:pt x="619230" y="106915"/>
                </a:cubicBezTo>
                <a:cubicBezTo>
                  <a:pt x="617811" y="110248"/>
                  <a:pt x="621963" y="109610"/>
                  <a:pt x="620535" y="112934"/>
                </a:cubicBezTo>
                <a:cubicBezTo>
                  <a:pt x="620182" y="118707"/>
                  <a:pt x="614410" y="121412"/>
                  <a:pt x="618049" y="127584"/>
                </a:cubicBezTo>
                <a:cubicBezTo>
                  <a:pt x="620106" y="127231"/>
                  <a:pt x="618858" y="122221"/>
                  <a:pt x="621259" y="122336"/>
                </a:cubicBezTo>
                <a:cubicBezTo>
                  <a:pt x="621259" y="123736"/>
                  <a:pt x="622392" y="123240"/>
                  <a:pt x="623516" y="122717"/>
                </a:cubicBezTo>
                <a:cubicBezTo>
                  <a:pt x="623328" y="123943"/>
                  <a:pt x="622726" y="125069"/>
                  <a:pt x="621811" y="125907"/>
                </a:cubicBezTo>
                <a:cubicBezTo>
                  <a:pt x="625764" y="125336"/>
                  <a:pt x="625621" y="126908"/>
                  <a:pt x="629888" y="126117"/>
                </a:cubicBezTo>
                <a:cubicBezTo>
                  <a:pt x="630326" y="124726"/>
                  <a:pt x="630250" y="121535"/>
                  <a:pt x="631793" y="121793"/>
                </a:cubicBezTo>
                <a:cubicBezTo>
                  <a:pt x="634165" y="122231"/>
                  <a:pt x="632479" y="118668"/>
                  <a:pt x="632555" y="117316"/>
                </a:cubicBezTo>
                <a:close/>
                <a:moveTo>
                  <a:pt x="641633" y="97961"/>
                </a:moveTo>
                <a:cubicBezTo>
                  <a:pt x="640075" y="97481"/>
                  <a:pt x="638393" y="97611"/>
                  <a:pt x="636927" y="98323"/>
                </a:cubicBezTo>
                <a:cubicBezTo>
                  <a:pt x="636823" y="97371"/>
                  <a:pt x="637280" y="96094"/>
                  <a:pt x="636194" y="95885"/>
                </a:cubicBezTo>
                <a:cubicBezTo>
                  <a:pt x="635641" y="97437"/>
                  <a:pt x="634003" y="97466"/>
                  <a:pt x="633336" y="98875"/>
                </a:cubicBezTo>
                <a:cubicBezTo>
                  <a:pt x="637108" y="98133"/>
                  <a:pt x="638108" y="100333"/>
                  <a:pt x="641633" y="97961"/>
                </a:cubicBezTo>
                <a:close/>
                <a:moveTo>
                  <a:pt x="646843" y="115106"/>
                </a:moveTo>
                <a:cubicBezTo>
                  <a:pt x="644242" y="114306"/>
                  <a:pt x="645414" y="110839"/>
                  <a:pt x="641785" y="110772"/>
                </a:cubicBezTo>
                <a:cubicBezTo>
                  <a:pt x="639937" y="114982"/>
                  <a:pt x="645004" y="119354"/>
                  <a:pt x="646843" y="115106"/>
                </a:cubicBezTo>
                <a:close/>
                <a:moveTo>
                  <a:pt x="653691" y="149891"/>
                </a:moveTo>
                <a:cubicBezTo>
                  <a:pt x="653053" y="152663"/>
                  <a:pt x="649824" y="149568"/>
                  <a:pt x="649186" y="149120"/>
                </a:cubicBezTo>
                <a:cubicBezTo>
                  <a:pt x="648395" y="151692"/>
                  <a:pt x="645957" y="153568"/>
                  <a:pt x="649357" y="154949"/>
                </a:cubicBezTo>
                <a:cubicBezTo>
                  <a:pt x="649643" y="152425"/>
                  <a:pt x="657196" y="153139"/>
                  <a:pt x="653691" y="149891"/>
                </a:cubicBezTo>
                <a:close/>
                <a:moveTo>
                  <a:pt x="651634" y="148386"/>
                </a:moveTo>
                <a:cubicBezTo>
                  <a:pt x="655358" y="141538"/>
                  <a:pt x="648091" y="144681"/>
                  <a:pt x="651634" y="148386"/>
                </a:cubicBezTo>
                <a:close/>
                <a:moveTo>
                  <a:pt x="654863" y="136175"/>
                </a:moveTo>
                <a:cubicBezTo>
                  <a:pt x="652777" y="135566"/>
                  <a:pt x="652158" y="137023"/>
                  <a:pt x="650167" y="136537"/>
                </a:cubicBezTo>
                <a:cubicBezTo>
                  <a:pt x="653186" y="134280"/>
                  <a:pt x="648910" y="131603"/>
                  <a:pt x="645290" y="131070"/>
                </a:cubicBezTo>
                <a:cubicBezTo>
                  <a:pt x="644157" y="134880"/>
                  <a:pt x="648091" y="135032"/>
                  <a:pt x="648843" y="137471"/>
                </a:cubicBezTo>
                <a:cubicBezTo>
                  <a:pt x="650224" y="139547"/>
                  <a:pt x="654987" y="140214"/>
                  <a:pt x="654825" y="136175"/>
                </a:cubicBezTo>
                <a:close/>
                <a:moveTo>
                  <a:pt x="655434" y="132794"/>
                </a:moveTo>
                <a:cubicBezTo>
                  <a:pt x="652643" y="132175"/>
                  <a:pt x="652262" y="130041"/>
                  <a:pt x="650739" y="133156"/>
                </a:cubicBezTo>
                <a:cubicBezTo>
                  <a:pt x="651967" y="134880"/>
                  <a:pt x="654015" y="134423"/>
                  <a:pt x="655434" y="132794"/>
                </a:cubicBezTo>
                <a:close/>
                <a:moveTo>
                  <a:pt x="662607" y="124736"/>
                </a:moveTo>
                <a:cubicBezTo>
                  <a:pt x="662026" y="122917"/>
                  <a:pt x="659530" y="124241"/>
                  <a:pt x="657901" y="125098"/>
                </a:cubicBezTo>
                <a:cubicBezTo>
                  <a:pt x="657387" y="125374"/>
                  <a:pt x="656149" y="124412"/>
                  <a:pt x="655644" y="124717"/>
                </a:cubicBezTo>
                <a:cubicBezTo>
                  <a:pt x="655310" y="124917"/>
                  <a:pt x="655644" y="127517"/>
                  <a:pt x="656387" y="127155"/>
                </a:cubicBezTo>
                <a:cubicBezTo>
                  <a:pt x="657292" y="124707"/>
                  <a:pt x="662540" y="128374"/>
                  <a:pt x="662607" y="124736"/>
                </a:cubicBezTo>
                <a:close/>
                <a:moveTo>
                  <a:pt x="667703" y="115211"/>
                </a:moveTo>
                <a:cubicBezTo>
                  <a:pt x="667112" y="118592"/>
                  <a:pt x="665369" y="109934"/>
                  <a:pt x="663188" y="114449"/>
                </a:cubicBezTo>
                <a:cubicBezTo>
                  <a:pt x="667169" y="115249"/>
                  <a:pt x="660168" y="117764"/>
                  <a:pt x="663750" y="118021"/>
                </a:cubicBezTo>
                <a:cubicBezTo>
                  <a:pt x="664064" y="116354"/>
                  <a:pt x="671122" y="117468"/>
                  <a:pt x="667703" y="115163"/>
                </a:cubicBezTo>
                <a:close/>
                <a:moveTo>
                  <a:pt x="670560" y="91398"/>
                </a:moveTo>
                <a:cubicBezTo>
                  <a:pt x="666702" y="85731"/>
                  <a:pt x="669207" y="95208"/>
                  <a:pt x="666055" y="90627"/>
                </a:cubicBezTo>
                <a:cubicBezTo>
                  <a:pt x="664559" y="94675"/>
                  <a:pt x="669522" y="94113"/>
                  <a:pt x="670922" y="96094"/>
                </a:cubicBezTo>
                <a:cubicBezTo>
                  <a:pt x="671450" y="94513"/>
                  <a:pt x="671330" y="92787"/>
                  <a:pt x="670589" y="91294"/>
                </a:cubicBezTo>
                <a:close/>
                <a:moveTo>
                  <a:pt x="660816" y="80473"/>
                </a:moveTo>
                <a:lnTo>
                  <a:pt x="660435" y="82721"/>
                </a:lnTo>
                <a:cubicBezTo>
                  <a:pt x="661080" y="82834"/>
                  <a:pt x="661693" y="82404"/>
                  <a:pt x="661807" y="81759"/>
                </a:cubicBezTo>
                <a:cubicBezTo>
                  <a:pt x="661920" y="81114"/>
                  <a:pt x="661488" y="80501"/>
                  <a:pt x="660845" y="80387"/>
                </a:cubicBezTo>
                <a:close/>
                <a:moveTo>
                  <a:pt x="50940" y="586717"/>
                </a:moveTo>
                <a:cubicBezTo>
                  <a:pt x="51216" y="583317"/>
                  <a:pt x="56340" y="581955"/>
                  <a:pt x="52083" y="579955"/>
                </a:cubicBezTo>
                <a:cubicBezTo>
                  <a:pt x="49063" y="580983"/>
                  <a:pt x="53531" y="583698"/>
                  <a:pt x="50178" y="584270"/>
                </a:cubicBezTo>
                <a:cubicBezTo>
                  <a:pt x="50178" y="582926"/>
                  <a:pt x="48606" y="582746"/>
                  <a:pt x="46977" y="582565"/>
                </a:cubicBezTo>
                <a:cubicBezTo>
                  <a:pt x="46177" y="585479"/>
                  <a:pt x="48854" y="585870"/>
                  <a:pt x="50940" y="586717"/>
                </a:cubicBezTo>
                <a:close/>
                <a:moveTo>
                  <a:pt x="676008" y="100342"/>
                </a:moveTo>
                <a:cubicBezTo>
                  <a:pt x="675832" y="101571"/>
                  <a:pt x="675233" y="102700"/>
                  <a:pt x="674313" y="103533"/>
                </a:cubicBezTo>
                <a:cubicBezTo>
                  <a:pt x="677085" y="104190"/>
                  <a:pt x="678123" y="102362"/>
                  <a:pt x="680333" y="102238"/>
                </a:cubicBezTo>
                <a:cubicBezTo>
                  <a:pt x="680218" y="102857"/>
                  <a:pt x="681028" y="103676"/>
                  <a:pt x="681457" y="102428"/>
                </a:cubicBezTo>
                <a:cubicBezTo>
                  <a:pt x="680133" y="101962"/>
                  <a:pt x="680971" y="101057"/>
                  <a:pt x="681838" y="100180"/>
                </a:cubicBezTo>
                <a:cubicBezTo>
                  <a:pt x="679199" y="99256"/>
                  <a:pt x="679037" y="101819"/>
                  <a:pt x="676008" y="100342"/>
                </a:cubicBezTo>
                <a:close/>
                <a:moveTo>
                  <a:pt x="637280" y="171446"/>
                </a:moveTo>
                <a:cubicBezTo>
                  <a:pt x="638394" y="174304"/>
                  <a:pt x="633660" y="175199"/>
                  <a:pt x="636518" y="175961"/>
                </a:cubicBezTo>
                <a:cubicBezTo>
                  <a:pt x="636699" y="175276"/>
                  <a:pt x="636908" y="174647"/>
                  <a:pt x="637832" y="175009"/>
                </a:cubicBezTo>
                <a:cubicBezTo>
                  <a:pt x="637737" y="176723"/>
                  <a:pt x="636727" y="179095"/>
                  <a:pt x="638194" y="179705"/>
                </a:cubicBezTo>
                <a:cubicBezTo>
                  <a:pt x="638556" y="178352"/>
                  <a:pt x="638994" y="177095"/>
                  <a:pt x="640842" y="177800"/>
                </a:cubicBezTo>
                <a:cubicBezTo>
                  <a:pt x="641956" y="174075"/>
                  <a:pt x="641585" y="171370"/>
                  <a:pt x="637280" y="171446"/>
                </a:cubicBezTo>
                <a:close/>
                <a:moveTo>
                  <a:pt x="654082" y="79235"/>
                </a:moveTo>
                <a:cubicBezTo>
                  <a:pt x="654158" y="78063"/>
                  <a:pt x="659330" y="77778"/>
                  <a:pt x="655787" y="76044"/>
                </a:cubicBezTo>
                <a:cubicBezTo>
                  <a:pt x="656120" y="77778"/>
                  <a:pt x="650929" y="78054"/>
                  <a:pt x="654082" y="79235"/>
                </a:cubicBezTo>
                <a:close/>
                <a:moveTo>
                  <a:pt x="469363" y="402647"/>
                </a:moveTo>
                <a:cubicBezTo>
                  <a:pt x="467154" y="407200"/>
                  <a:pt x="472602" y="406304"/>
                  <a:pt x="472926" y="409048"/>
                </a:cubicBezTo>
                <a:cubicBezTo>
                  <a:pt x="470828" y="410076"/>
                  <a:pt x="469963" y="412610"/>
                  <a:pt x="470991" y="414707"/>
                </a:cubicBezTo>
                <a:cubicBezTo>
                  <a:pt x="471191" y="415114"/>
                  <a:pt x="471455" y="415486"/>
                  <a:pt x="471773" y="415810"/>
                </a:cubicBezTo>
                <a:cubicBezTo>
                  <a:pt x="472240" y="414496"/>
                  <a:pt x="473135" y="415334"/>
                  <a:pt x="474031" y="416201"/>
                </a:cubicBezTo>
                <a:cubicBezTo>
                  <a:pt x="473574" y="410905"/>
                  <a:pt x="474859" y="404380"/>
                  <a:pt x="469363" y="402647"/>
                </a:cubicBezTo>
                <a:close/>
                <a:moveTo>
                  <a:pt x="483251" y="149958"/>
                </a:moveTo>
                <a:cubicBezTo>
                  <a:pt x="480936" y="147101"/>
                  <a:pt x="482441" y="147558"/>
                  <a:pt x="479879" y="149377"/>
                </a:cubicBezTo>
                <a:cubicBezTo>
                  <a:pt x="478844" y="150163"/>
                  <a:pt x="477368" y="149960"/>
                  <a:pt x="476582" y="148926"/>
                </a:cubicBezTo>
                <a:cubicBezTo>
                  <a:pt x="476553" y="148887"/>
                  <a:pt x="476524" y="148847"/>
                  <a:pt x="476498" y="148806"/>
                </a:cubicBezTo>
                <a:cubicBezTo>
                  <a:pt x="477222" y="151092"/>
                  <a:pt x="472478" y="152006"/>
                  <a:pt x="475736" y="153311"/>
                </a:cubicBezTo>
                <a:cubicBezTo>
                  <a:pt x="476469" y="149006"/>
                  <a:pt x="478460" y="152692"/>
                  <a:pt x="480431" y="152958"/>
                </a:cubicBezTo>
                <a:cubicBezTo>
                  <a:pt x="480098" y="152911"/>
                  <a:pt x="481336" y="152063"/>
                  <a:pt x="481755" y="152006"/>
                </a:cubicBezTo>
                <a:cubicBezTo>
                  <a:pt x="482832" y="151873"/>
                  <a:pt x="484041" y="152654"/>
                  <a:pt x="485127" y="152587"/>
                </a:cubicBezTo>
                <a:cubicBezTo>
                  <a:pt x="486232" y="150425"/>
                  <a:pt x="484003" y="150872"/>
                  <a:pt x="483251" y="149958"/>
                </a:cubicBezTo>
                <a:close/>
                <a:moveTo>
                  <a:pt x="470992" y="30791"/>
                </a:moveTo>
                <a:cubicBezTo>
                  <a:pt x="472669" y="28952"/>
                  <a:pt x="471526" y="33544"/>
                  <a:pt x="475498" y="31553"/>
                </a:cubicBezTo>
                <a:cubicBezTo>
                  <a:pt x="473478" y="34410"/>
                  <a:pt x="479308" y="36172"/>
                  <a:pt x="476241" y="33991"/>
                </a:cubicBezTo>
                <a:cubicBezTo>
                  <a:pt x="475059" y="30086"/>
                  <a:pt x="477469" y="27628"/>
                  <a:pt x="481898" y="28000"/>
                </a:cubicBezTo>
                <a:cubicBezTo>
                  <a:pt x="480870" y="23285"/>
                  <a:pt x="485223" y="26162"/>
                  <a:pt x="486042" y="24066"/>
                </a:cubicBezTo>
                <a:cubicBezTo>
                  <a:pt x="484556" y="23799"/>
                  <a:pt x="485346" y="21913"/>
                  <a:pt x="484137" y="21428"/>
                </a:cubicBezTo>
                <a:cubicBezTo>
                  <a:pt x="482577" y="22543"/>
                  <a:pt x="480864" y="23425"/>
                  <a:pt x="479050" y="24047"/>
                </a:cubicBezTo>
                <a:cubicBezTo>
                  <a:pt x="479917" y="22475"/>
                  <a:pt x="481203" y="21485"/>
                  <a:pt x="482070" y="19923"/>
                </a:cubicBezTo>
                <a:cubicBezTo>
                  <a:pt x="479620" y="20971"/>
                  <a:pt x="476775" y="19985"/>
                  <a:pt x="475498" y="17646"/>
                </a:cubicBezTo>
                <a:cubicBezTo>
                  <a:pt x="474688" y="21618"/>
                  <a:pt x="473173" y="24600"/>
                  <a:pt x="469649" y="24771"/>
                </a:cubicBezTo>
                <a:cubicBezTo>
                  <a:pt x="468852" y="26866"/>
                  <a:pt x="469381" y="29233"/>
                  <a:pt x="470992" y="30791"/>
                </a:cubicBezTo>
                <a:close/>
                <a:moveTo>
                  <a:pt x="467839" y="15179"/>
                </a:moveTo>
                <a:cubicBezTo>
                  <a:pt x="466049" y="15617"/>
                  <a:pt x="465506" y="16132"/>
                  <a:pt x="466335" y="17246"/>
                </a:cubicBezTo>
                <a:cubicBezTo>
                  <a:pt x="468687" y="20561"/>
                  <a:pt x="463010" y="21713"/>
                  <a:pt x="466506" y="23066"/>
                </a:cubicBezTo>
                <a:cubicBezTo>
                  <a:pt x="468211" y="21628"/>
                  <a:pt x="471688" y="20466"/>
                  <a:pt x="469706" y="17818"/>
                </a:cubicBezTo>
                <a:cubicBezTo>
                  <a:pt x="471068" y="17818"/>
                  <a:pt x="472878" y="18551"/>
                  <a:pt x="473288" y="17265"/>
                </a:cubicBezTo>
                <a:cubicBezTo>
                  <a:pt x="471504" y="15954"/>
                  <a:pt x="470188" y="14104"/>
                  <a:pt x="469535" y="11988"/>
                </a:cubicBezTo>
                <a:cubicBezTo>
                  <a:pt x="470173" y="12103"/>
                  <a:pt x="470973" y="11293"/>
                  <a:pt x="469725" y="10864"/>
                </a:cubicBezTo>
                <a:cubicBezTo>
                  <a:pt x="469030" y="13131"/>
                  <a:pt x="464696" y="10283"/>
                  <a:pt x="464649" y="13484"/>
                </a:cubicBezTo>
                <a:cubicBezTo>
                  <a:pt x="465973" y="13874"/>
                  <a:pt x="467916" y="13836"/>
                  <a:pt x="467868" y="15179"/>
                </a:cubicBezTo>
                <a:close/>
                <a:moveTo>
                  <a:pt x="462124" y="35077"/>
                </a:moveTo>
                <a:cubicBezTo>
                  <a:pt x="466887" y="37468"/>
                  <a:pt x="464620" y="26505"/>
                  <a:pt x="462896" y="30572"/>
                </a:cubicBezTo>
                <a:cubicBezTo>
                  <a:pt x="465792" y="31334"/>
                  <a:pt x="461067" y="32239"/>
                  <a:pt x="462172" y="35096"/>
                </a:cubicBezTo>
                <a:close/>
                <a:moveTo>
                  <a:pt x="449847" y="12122"/>
                </a:moveTo>
                <a:cubicBezTo>
                  <a:pt x="452390" y="13922"/>
                  <a:pt x="446808" y="15989"/>
                  <a:pt x="450009" y="17942"/>
                </a:cubicBezTo>
                <a:cubicBezTo>
                  <a:pt x="451797" y="15300"/>
                  <a:pt x="452354" y="12013"/>
                  <a:pt x="451533" y="8931"/>
                </a:cubicBezTo>
                <a:cubicBezTo>
                  <a:pt x="447570" y="10922"/>
                  <a:pt x="448675" y="6331"/>
                  <a:pt x="447037" y="8169"/>
                </a:cubicBezTo>
                <a:cubicBezTo>
                  <a:pt x="446227" y="10703"/>
                  <a:pt x="450037" y="9969"/>
                  <a:pt x="449847" y="12122"/>
                </a:cubicBezTo>
                <a:close/>
                <a:moveTo>
                  <a:pt x="444570" y="15865"/>
                </a:moveTo>
                <a:cubicBezTo>
                  <a:pt x="441227" y="16437"/>
                  <a:pt x="445694" y="19151"/>
                  <a:pt x="442665" y="20180"/>
                </a:cubicBezTo>
                <a:cubicBezTo>
                  <a:pt x="444751" y="20799"/>
                  <a:pt x="445370" y="19332"/>
                  <a:pt x="447361" y="19818"/>
                </a:cubicBezTo>
                <a:cubicBezTo>
                  <a:pt x="447980" y="17732"/>
                  <a:pt x="446513" y="17113"/>
                  <a:pt x="447008" y="15122"/>
                </a:cubicBezTo>
                <a:cubicBezTo>
                  <a:pt x="443474" y="15856"/>
                  <a:pt x="443732" y="9007"/>
                  <a:pt x="441750" y="11912"/>
                </a:cubicBezTo>
                <a:cubicBezTo>
                  <a:pt x="442722" y="13189"/>
                  <a:pt x="443665" y="14522"/>
                  <a:pt x="444570" y="15865"/>
                </a:cubicBezTo>
                <a:close/>
                <a:moveTo>
                  <a:pt x="335985" y="266373"/>
                </a:moveTo>
                <a:cubicBezTo>
                  <a:pt x="336642" y="270754"/>
                  <a:pt x="331784" y="268135"/>
                  <a:pt x="333346" y="268278"/>
                </a:cubicBezTo>
                <a:cubicBezTo>
                  <a:pt x="330241" y="268078"/>
                  <a:pt x="326393" y="269106"/>
                  <a:pt x="327689" y="274269"/>
                </a:cubicBezTo>
                <a:cubicBezTo>
                  <a:pt x="328755" y="275583"/>
                  <a:pt x="330975" y="272469"/>
                  <a:pt x="332775" y="271659"/>
                </a:cubicBezTo>
                <a:cubicBezTo>
                  <a:pt x="334051" y="271087"/>
                  <a:pt x="333261" y="270326"/>
                  <a:pt x="334289" y="269592"/>
                </a:cubicBezTo>
                <a:cubicBezTo>
                  <a:pt x="334566" y="269402"/>
                  <a:pt x="336375" y="270240"/>
                  <a:pt x="336547" y="269983"/>
                </a:cubicBezTo>
                <a:cubicBezTo>
                  <a:pt x="337147" y="268973"/>
                  <a:pt x="336823" y="266554"/>
                  <a:pt x="335975" y="266411"/>
                </a:cubicBezTo>
                <a:close/>
                <a:moveTo>
                  <a:pt x="358750" y="63871"/>
                </a:moveTo>
                <a:cubicBezTo>
                  <a:pt x="360293" y="61299"/>
                  <a:pt x="354320" y="59280"/>
                  <a:pt x="354625" y="60852"/>
                </a:cubicBezTo>
                <a:cubicBezTo>
                  <a:pt x="356854" y="61280"/>
                  <a:pt x="355530" y="64204"/>
                  <a:pt x="358740" y="63909"/>
                </a:cubicBezTo>
                <a:close/>
                <a:moveTo>
                  <a:pt x="363436" y="2063"/>
                </a:moveTo>
                <a:cubicBezTo>
                  <a:pt x="364569" y="2263"/>
                  <a:pt x="364941" y="1378"/>
                  <a:pt x="365884" y="1320"/>
                </a:cubicBezTo>
                <a:cubicBezTo>
                  <a:pt x="365779" y="2711"/>
                  <a:pt x="365770" y="4045"/>
                  <a:pt x="367789" y="3949"/>
                </a:cubicBezTo>
                <a:lnTo>
                  <a:pt x="368370" y="568"/>
                </a:lnTo>
                <a:cubicBezTo>
                  <a:pt x="364855" y="-1918"/>
                  <a:pt x="360778" y="4721"/>
                  <a:pt x="363426" y="2101"/>
                </a:cubicBezTo>
                <a:close/>
                <a:moveTo>
                  <a:pt x="337118" y="6874"/>
                </a:moveTo>
                <a:cubicBezTo>
                  <a:pt x="337014" y="8264"/>
                  <a:pt x="337004" y="9598"/>
                  <a:pt x="339023" y="9502"/>
                </a:cubicBezTo>
                <a:cubicBezTo>
                  <a:pt x="341443" y="7874"/>
                  <a:pt x="339328" y="5969"/>
                  <a:pt x="337537" y="4616"/>
                </a:cubicBezTo>
                <a:cubicBezTo>
                  <a:pt x="337442" y="7274"/>
                  <a:pt x="334070" y="5311"/>
                  <a:pt x="333575" y="7426"/>
                </a:cubicBezTo>
                <a:cubicBezTo>
                  <a:pt x="335737" y="10141"/>
                  <a:pt x="334832" y="7388"/>
                  <a:pt x="337109" y="6912"/>
                </a:cubicBezTo>
                <a:close/>
                <a:moveTo>
                  <a:pt x="180280" y="432441"/>
                </a:moveTo>
                <a:cubicBezTo>
                  <a:pt x="182309" y="433775"/>
                  <a:pt x="182185" y="430946"/>
                  <a:pt x="182918" y="430536"/>
                </a:cubicBezTo>
                <a:cubicBezTo>
                  <a:pt x="183337" y="430317"/>
                  <a:pt x="184823" y="431231"/>
                  <a:pt x="185166" y="430917"/>
                </a:cubicBezTo>
                <a:cubicBezTo>
                  <a:pt x="186118" y="429964"/>
                  <a:pt x="186528" y="427488"/>
                  <a:pt x="185737" y="427526"/>
                </a:cubicBezTo>
                <a:cubicBezTo>
                  <a:pt x="184537" y="430060"/>
                  <a:pt x="181489" y="429955"/>
                  <a:pt x="180280" y="432441"/>
                </a:cubicBezTo>
                <a:close/>
                <a:moveTo>
                  <a:pt x="439360" y="12655"/>
                </a:moveTo>
                <a:cubicBezTo>
                  <a:pt x="439255" y="14055"/>
                  <a:pt x="439236" y="15379"/>
                  <a:pt x="441265" y="15294"/>
                </a:cubicBezTo>
                <a:cubicBezTo>
                  <a:pt x="440200" y="11891"/>
                  <a:pt x="440413" y="8216"/>
                  <a:pt x="441865" y="4959"/>
                </a:cubicBezTo>
                <a:cubicBezTo>
                  <a:pt x="438160" y="2530"/>
                  <a:pt x="440531" y="8674"/>
                  <a:pt x="437912" y="7769"/>
                </a:cubicBezTo>
                <a:cubicBezTo>
                  <a:pt x="437817" y="6816"/>
                  <a:pt x="437188" y="6302"/>
                  <a:pt x="435845" y="6254"/>
                </a:cubicBezTo>
                <a:cubicBezTo>
                  <a:pt x="435845" y="9045"/>
                  <a:pt x="433378" y="8359"/>
                  <a:pt x="433769" y="11693"/>
                </a:cubicBezTo>
                <a:cubicBezTo>
                  <a:pt x="436464" y="12293"/>
                  <a:pt x="436817" y="14408"/>
                  <a:pt x="439322" y="12655"/>
                </a:cubicBezTo>
                <a:close/>
              </a:path>
            </a:pathLst>
          </a:custGeom>
          <a:solidFill>
            <a:schemeClr val="bg2"/>
          </a:solidFill>
          <a:ln w="9525" cap="flat">
            <a:noFill/>
            <a:prstDash val="solid"/>
            <a:miter/>
          </a:ln>
        </p:spPr>
        <p:txBody>
          <a:bodyPr rtlCol="0" anchor="ctr"/>
          <a:lstStyle/>
          <a:p>
            <a:endParaRPr lang="fr-FR"/>
          </a:p>
        </p:txBody>
      </p:sp>
      <p:sp>
        <p:nvSpPr>
          <p:cNvPr id="2048" name="Forme libre : forme 2047">
            <a:extLst>
              <a:ext uri="{FF2B5EF4-FFF2-40B4-BE49-F238E27FC236}">
                <a16:creationId xmlns:a16="http://schemas.microsoft.com/office/drawing/2014/main" id="{DD0C2D69-665C-977E-448B-2649C5B91ED9}"/>
              </a:ext>
            </a:extLst>
          </p:cNvPr>
          <p:cNvSpPr>
            <a:spLocks noChangeAspect="1"/>
          </p:cNvSpPr>
          <p:nvPr/>
        </p:nvSpPr>
        <p:spPr>
          <a:xfrm rot="15567534" flipH="1">
            <a:off x="1715454" y="2540559"/>
            <a:ext cx="812083" cy="530467"/>
          </a:xfrm>
          <a:custGeom>
            <a:avLst/>
            <a:gdLst>
              <a:gd name="connsiteX0" fmla="*/ 681704 w 682417"/>
              <a:gd name="connsiteY0" fmla="*/ 80445 h 798267"/>
              <a:gd name="connsiteX1" fmla="*/ 677580 w 682417"/>
              <a:gd name="connsiteY1" fmla="*/ 77425 h 798267"/>
              <a:gd name="connsiteX2" fmla="*/ 681704 w 682417"/>
              <a:gd name="connsiteY2" fmla="*/ 80445 h 798267"/>
              <a:gd name="connsiteX3" fmla="*/ 630488 w 682417"/>
              <a:gd name="connsiteY3" fmla="*/ 184210 h 798267"/>
              <a:gd name="connsiteX4" fmla="*/ 635946 w 682417"/>
              <a:gd name="connsiteY4" fmla="*/ 179343 h 798267"/>
              <a:gd name="connsiteX5" fmla="*/ 630488 w 682417"/>
              <a:gd name="connsiteY5" fmla="*/ 184210 h 798267"/>
              <a:gd name="connsiteX6" fmla="*/ 627859 w 682417"/>
              <a:gd name="connsiteY6" fmla="*/ 117678 h 798267"/>
              <a:gd name="connsiteX7" fmla="*/ 628221 w 682417"/>
              <a:gd name="connsiteY7" fmla="*/ 122383 h 798267"/>
              <a:gd name="connsiteX8" fmla="*/ 627859 w 682417"/>
              <a:gd name="connsiteY8" fmla="*/ 117678 h 798267"/>
              <a:gd name="connsiteX9" fmla="*/ 577253 w 682417"/>
              <a:gd name="connsiteY9" fmla="*/ 265601 h 798267"/>
              <a:gd name="connsiteX10" fmla="*/ 579301 w 682417"/>
              <a:gd name="connsiteY10" fmla="*/ 274059 h 798267"/>
              <a:gd name="connsiteX11" fmla="*/ 577253 w 682417"/>
              <a:gd name="connsiteY11" fmla="*/ 265601 h 798267"/>
              <a:gd name="connsiteX12" fmla="*/ 610753 w 682417"/>
              <a:gd name="connsiteY12" fmla="*/ 54489 h 798267"/>
              <a:gd name="connsiteX13" fmla="*/ 606992 w 682417"/>
              <a:gd name="connsiteY13" fmla="*/ 53866 h 798267"/>
              <a:gd name="connsiteX14" fmla="*/ 605866 w 682417"/>
              <a:gd name="connsiteY14" fmla="*/ 55975 h 798267"/>
              <a:gd name="connsiteX15" fmla="*/ 610753 w 682417"/>
              <a:gd name="connsiteY15" fmla="*/ 54499 h 798267"/>
              <a:gd name="connsiteX16" fmla="*/ 564032 w 682417"/>
              <a:gd name="connsiteY16" fmla="*/ 288871 h 798267"/>
              <a:gd name="connsiteX17" fmla="*/ 567414 w 682417"/>
              <a:gd name="connsiteY17" fmla="*/ 289442 h 798267"/>
              <a:gd name="connsiteX18" fmla="*/ 564032 w 682417"/>
              <a:gd name="connsiteY18" fmla="*/ 288871 h 798267"/>
              <a:gd name="connsiteX19" fmla="*/ 561956 w 682417"/>
              <a:gd name="connsiteY19" fmla="*/ 294309 h 798267"/>
              <a:gd name="connsiteX20" fmla="*/ 562127 w 682417"/>
              <a:gd name="connsiteY20" fmla="*/ 300139 h 798267"/>
              <a:gd name="connsiteX21" fmla="*/ 564985 w 682417"/>
              <a:gd name="connsiteY21" fmla="*/ 297138 h 798267"/>
              <a:gd name="connsiteX22" fmla="*/ 561956 w 682417"/>
              <a:gd name="connsiteY22" fmla="*/ 294309 h 798267"/>
              <a:gd name="connsiteX23" fmla="*/ 538144 w 682417"/>
              <a:gd name="connsiteY23" fmla="*/ 352869 h 798267"/>
              <a:gd name="connsiteX24" fmla="*/ 537381 w 682417"/>
              <a:gd name="connsiteY24" fmla="*/ 357374 h 798267"/>
              <a:gd name="connsiteX25" fmla="*/ 538096 w 682417"/>
              <a:gd name="connsiteY25" fmla="*/ 352869 h 798267"/>
              <a:gd name="connsiteX26" fmla="*/ 514179 w 682417"/>
              <a:gd name="connsiteY26" fmla="*/ 323294 h 798267"/>
              <a:gd name="connsiteX27" fmla="*/ 510997 w 682417"/>
              <a:gd name="connsiteY27" fmla="*/ 321599 h 798267"/>
              <a:gd name="connsiteX28" fmla="*/ 510616 w 682417"/>
              <a:gd name="connsiteY28" fmla="*/ 323846 h 798267"/>
              <a:gd name="connsiteX29" fmla="*/ 514131 w 682417"/>
              <a:gd name="connsiteY29" fmla="*/ 323294 h 798267"/>
              <a:gd name="connsiteX30" fmla="*/ 539267 w 682417"/>
              <a:gd name="connsiteY30" fmla="*/ 100323 h 798267"/>
              <a:gd name="connsiteX31" fmla="*/ 535134 w 682417"/>
              <a:gd name="connsiteY31" fmla="*/ 97304 h 798267"/>
              <a:gd name="connsiteX32" fmla="*/ 539220 w 682417"/>
              <a:gd name="connsiteY32" fmla="*/ 100323 h 798267"/>
              <a:gd name="connsiteX33" fmla="*/ 532286 w 682417"/>
              <a:gd name="connsiteY33" fmla="*/ 107257 h 798267"/>
              <a:gd name="connsiteX34" fmla="*/ 536096 w 682417"/>
              <a:gd name="connsiteY34" fmla="*/ 105572 h 798267"/>
              <a:gd name="connsiteX35" fmla="*/ 532895 w 682417"/>
              <a:gd name="connsiteY35" fmla="*/ 103876 h 798267"/>
              <a:gd name="connsiteX36" fmla="*/ 489423 w 682417"/>
              <a:gd name="connsiteY36" fmla="*/ 366633 h 798267"/>
              <a:gd name="connsiteX37" fmla="*/ 487166 w 682417"/>
              <a:gd name="connsiteY37" fmla="*/ 366252 h 798267"/>
              <a:gd name="connsiteX38" fmla="*/ 486785 w 682417"/>
              <a:gd name="connsiteY38" fmla="*/ 368500 h 798267"/>
              <a:gd name="connsiteX39" fmla="*/ 489042 w 682417"/>
              <a:gd name="connsiteY39" fmla="*/ 368881 h 798267"/>
              <a:gd name="connsiteX40" fmla="*/ 501082 w 682417"/>
              <a:gd name="connsiteY40" fmla="*/ 31286 h 798267"/>
              <a:gd name="connsiteX41" fmla="*/ 498081 w 682417"/>
              <a:gd name="connsiteY41" fmla="*/ 28429 h 798267"/>
              <a:gd name="connsiteX42" fmla="*/ 501082 w 682417"/>
              <a:gd name="connsiteY42" fmla="*/ 31286 h 798267"/>
              <a:gd name="connsiteX43" fmla="*/ 494348 w 682417"/>
              <a:gd name="connsiteY43" fmla="*/ 23190 h 798267"/>
              <a:gd name="connsiteX44" fmla="*/ 497338 w 682417"/>
              <a:gd name="connsiteY44" fmla="*/ 26047 h 798267"/>
              <a:gd name="connsiteX45" fmla="*/ 491528 w 682417"/>
              <a:gd name="connsiteY45" fmla="*/ 19275 h 798267"/>
              <a:gd name="connsiteX46" fmla="*/ 493024 w 682417"/>
              <a:gd name="connsiteY46" fmla="*/ 24161 h 798267"/>
              <a:gd name="connsiteX47" fmla="*/ 494348 w 682417"/>
              <a:gd name="connsiteY47" fmla="*/ 23152 h 798267"/>
              <a:gd name="connsiteX48" fmla="*/ 485851 w 682417"/>
              <a:gd name="connsiteY48" fmla="*/ 32181 h 798267"/>
              <a:gd name="connsiteX49" fmla="*/ 486623 w 682417"/>
              <a:gd name="connsiteY49" fmla="*/ 27676 h 798267"/>
              <a:gd name="connsiteX50" fmla="*/ 485851 w 682417"/>
              <a:gd name="connsiteY50" fmla="*/ 32143 h 798267"/>
              <a:gd name="connsiteX51" fmla="*/ 430263 w 682417"/>
              <a:gd name="connsiteY51" fmla="*/ 216328 h 798267"/>
              <a:gd name="connsiteX52" fmla="*/ 434578 w 682417"/>
              <a:gd name="connsiteY52" fmla="*/ 218233 h 798267"/>
              <a:gd name="connsiteX53" fmla="*/ 435150 w 682417"/>
              <a:gd name="connsiteY53" fmla="*/ 214852 h 798267"/>
              <a:gd name="connsiteX54" fmla="*/ 430263 w 682417"/>
              <a:gd name="connsiteY54" fmla="*/ 216328 h 798267"/>
              <a:gd name="connsiteX55" fmla="*/ 430092 w 682417"/>
              <a:gd name="connsiteY55" fmla="*/ 210499 h 798267"/>
              <a:gd name="connsiteX56" fmla="*/ 430092 w 682417"/>
              <a:gd name="connsiteY56" fmla="*/ 210499 h 798267"/>
              <a:gd name="connsiteX57" fmla="*/ 456705 w 682417"/>
              <a:gd name="connsiteY57" fmla="*/ 26047 h 798267"/>
              <a:gd name="connsiteX58" fmla="*/ 461810 w 682417"/>
              <a:gd name="connsiteY58" fmla="*/ 16522 h 798267"/>
              <a:gd name="connsiteX59" fmla="*/ 458810 w 682417"/>
              <a:gd name="connsiteY59" fmla="*/ 13665 h 798267"/>
              <a:gd name="connsiteX60" fmla="*/ 455057 w 682417"/>
              <a:gd name="connsiteY60" fmla="*/ 15341 h 798267"/>
              <a:gd name="connsiteX61" fmla="*/ 453371 w 682417"/>
              <a:gd name="connsiteY61" fmla="*/ 11579 h 798267"/>
              <a:gd name="connsiteX62" fmla="*/ 456705 w 682417"/>
              <a:gd name="connsiteY62" fmla="*/ 26047 h 798267"/>
              <a:gd name="connsiteX63" fmla="*/ 426882 w 682417"/>
              <a:gd name="connsiteY63" fmla="*/ 215747 h 798267"/>
              <a:gd name="connsiteX64" fmla="*/ 424815 w 682417"/>
              <a:gd name="connsiteY64" fmla="*/ 214242 h 798267"/>
              <a:gd name="connsiteX65" fmla="*/ 422205 w 682417"/>
              <a:gd name="connsiteY65" fmla="*/ 209156 h 798267"/>
              <a:gd name="connsiteX66" fmla="*/ 421062 w 682417"/>
              <a:gd name="connsiteY66" fmla="*/ 215919 h 798267"/>
              <a:gd name="connsiteX67" fmla="*/ 427434 w 682417"/>
              <a:gd name="connsiteY67" fmla="*/ 219319 h 798267"/>
              <a:gd name="connsiteX68" fmla="*/ 426882 w 682417"/>
              <a:gd name="connsiteY68" fmla="*/ 215747 h 798267"/>
              <a:gd name="connsiteX69" fmla="*/ 445837 w 682417"/>
              <a:gd name="connsiteY69" fmla="*/ 28829 h 798267"/>
              <a:gd name="connsiteX70" fmla="*/ 447551 w 682417"/>
              <a:gd name="connsiteY70" fmla="*/ 25647 h 798267"/>
              <a:gd name="connsiteX71" fmla="*/ 445837 w 682417"/>
              <a:gd name="connsiteY71" fmla="*/ 28829 h 798267"/>
              <a:gd name="connsiteX72" fmla="*/ 404812 w 682417"/>
              <a:gd name="connsiteY72" fmla="*/ 181857 h 798267"/>
              <a:gd name="connsiteX73" fmla="*/ 396345 w 682417"/>
              <a:gd name="connsiteY73" fmla="*/ 183905 h 798267"/>
              <a:gd name="connsiteX74" fmla="*/ 400279 w 682417"/>
              <a:gd name="connsiteY74" fmla="*/ 188049 h 798267"/>
              <a:gd name="connsiteX75" fmla="*/ 404812 w 682417"/>
              <a:gd name="connsiteY75" fmla="*/ 181857 h 798267"/>
              <a:gd name="connsiteX76" fmla="*/ 420910 w 682417"/>
              <a:gd name="connsiteY76" fmla="*/ 11855 h 798267"/>
              <a:gd name="connsiteX77" fmla="*/ 417157 w 682417"/>
              <a:gd name="connsiteY77" fmla="*/ 6578 h 798267"/>
              <a:gd name="connsiteX78" fmla="*/ 420910 w 682417"/>
              <a:gd name="connsiteY78" fmla="*/ 11855 h 798267"/>
              <a:gd name="connsiteX79" fmla="*/ 388125 w 682417"/>
              <a:gd name="connsiteY79" fmla="*/ 34144 h 798267"/>
              <a:gd name="connsiteX80" fmla="*/ 389801 w 682417"/>
              <a:gd name="connsiteY80" fmla="*/ 37906 h 798267"/>
              <a:gd name="connsiteX81" fmla="*/ 388125 w 682417"/>
              <a:gd name="connsiteY81" fmla="*/ 34144 h 798267"/>
              <a:gd name="connsiteX82" fmla="*/ 337833 w 682417"/>
              <a:gd name="connsiteY82" fmla="*/ 269078 h 798267"/>
              <a:gd name="connsiteX83" fmla="*/ 341786 w 682417"/>
              <a:gd name="connsiteY83" fmla="*/ 266220 h 798267"/>
              <a:gd name="connsiteX84" fmla="*/ 337852 w 682417"/>
              <a:gd name="connsiteY84" fmla="*/ 269049 h 798267"/>
              <a:gd name="connsiteX85" fmla="*/ 334289 w 682417"/>
              <a:gd name="connsiteY85" fmla="*/ 9902 h 798267"/>
              <a:gd name="connsiteX86" fmla="*/ 332032 w 682417"/>
              <a:gd name="connsiteY86" fmla="*/ 9521 h 798267"/>
              <a:gd name="connsiteX87" fmla="*/ 331651 w 682417"/>
              <a:gd name="connsiteY87" fmla="*/ 11779 h 798267"/>
              <a:gd name="connsiteX88" fmla="*/ 333899 w 682417"/>
              <a:gd name="connsiteY88" fmla="*/ 12160 h 798267"/>
              <a:gd name="connsiteX89" fmla="*/ 334289 w 682417"/>
              <a:gd name="connsiteY89" fmla="*/ 9902 h 798267"/>
              <a:gd name="connsiteX90" fmla="*/ 322945 w 682417"/>
              <a:gd name="connsiteY90" fmla="*/ 28857 h 798267"/>
              <a:gd name="connsiteX91" fmla="*/ 327650 w 682417"/>
              <a:gd name="connsiteY91" fmla="*/ 28486 h 798267"/>
              <a:gd name="connsiteX92" fmla="*/ 328412 w 682417"/>
              <a:gd name="connsiteY92" fmla="*/ 23980 h 798267"/>
              <a:gd name="connsiteX93" fmla="*/ 319192 w 682417"/>
              <a:gd name="connsiteY93" fmla="*/ 30534 h 798267"/>
              <a:gd name="connsiteX94" fmla="*/ 322945 w 682417"/>
              <a:gd name="connsiteY94" fmla="*/ 28857 h 798267"/>
              <a:gd name="connsiteX95" fmla="*/ 318364 w 682417"/>
              <a:gd name="connsiteY95" fmla="*/ 55899 h 798267"/>
              <a:gd name="connsiteX96" fmla="*/ 315363 w 682417"/>
              <a:gd name="connsiteY96" fmla="*/ 53041 h 798267"/>
              <a:gd name="connsiteX97" fmla="*/ 318364 w 682417"/>
              <a:gd name="connsiteY97" fmla="*/ 55899 h 798267"/>
              <a:gd name="connsiteX98" fmla="*/ 278120 w 682417"/>
              <a:gd name="connsiteY98" fmla="*/ 258934 h 798267"/>
              <a:gd name="connsiteX99" fmla="*/ 280740 w 682417"/>
              <a:gd name="connsiteY99" fmla="*/ 264010 h 798267"/>
              <a:gd name="connsiteX100" fmla="*/ 278120 w 682417"/>
              <a:gd name="connsiteY100" fmla="*/ 258934 h 798267"/>
              <a:gd name="connsiteX101" fmla="*/ 316382 w 682417"/>
              <a:gd name="connsiteY101" fmla="*/ 26600 h 798267"/>
              <a:gd name="connsiteX102" fmla="*/ 316744 w 682417"/>
              <a:gd name="connsiteY102" fmla="*/ 31296 h 798267"/>
              <a:gd name="connsiteX103" fmla="*/ 316382 w 682417"/>
              <a:gd name="connsiteY103" fmla="*/ 26581 h 798267"/>
              <a:gd name="connsiteX104" fmla="*/ 312572 w 682417"/>
              <a:gd name="connsiteY104" fmla="*/ 49136 h 798267"/>
              <a:gd name="connsiteX105" fmla="*/ 308762 w 682417"/>
              <a:gd name="connsiteY105" fmla="*/ 50812 h 798267"/>
              <a:gd name="connsiteX106" fmla="*/ 312553 w 682417"/>
              <a:gd name="connsiteY106" fmla="*/ 49117 h 798267"/>
              <a:gd name="connsiteX107" fmla="*/ 243288 w 682417"/>
              <a:gd name="connsiteY107" fmla="*/ 348069 h 798267"/>
              <a:gd name="connsiteX108" fmla="*/ 242907 w 682417"/>
              <a:gd name="connsiteY108" fmla="*/ 350316 h 798267"/>
              <a:gd name="connsiteX109" fmla="*/ 243859 w 682417"/>
              <a:gd name="connsiteY109" fmla="*/ 351640 h 798267"/>
              <a:gd name="connsiteX110" fmla="*/ 245183 w 682417"/>
              <a:gd name="connsiteY110" fmla="*/ 350688 h 798267"/>
              <a:gd name="connsiteX111" fmla="*/ 245916 w 682417"/>
              <a:gd name="connsiteY111" fmla="*/ 353136 h 798267"/>
              <a:gd name="connsiteX112" fmla="*/ 243288 w 682417"/>
              <a:gd name="connsiteY112" fmla="*/ 348069 h 798267"/>
              <a:gd name="connsiteX113" fmla="*/ 230476 w 682417"/>
              <a:gd name="connsiteY113" fmla="*/ 293719 h 798267"/>
              <a:gd name="connsiteX114" fmla="*/ 230476 w 682417"/>
              <a:gd name="connsiteY114" fmla="*/ 293719 h 798267"/>
              <a:gd name="connsiteX115" fmla="*/ 153857 w 682417"/>
              <a:gd name="connsiteY115" fmla="*/ 472008 h 798267"/>
              <a:gd name="connsiteX116" fmla="*/ 160620 w 682417"/>
              <a:gd name="connsiteY116" fmla="*/ 473160 h 798267"/>
              <a:gd name="connsiteX117" fmla="*/ 161573 w 682417"/>
              <a:gd name="connsiteY117" fmla="*/ 467522 h 798267"/>
              <a:gd name="connsiteX118" fmla="*/ 153857 w 682417"/>
              <a:gd name="connsiteY118" fmla="*/ 472008 h 798267"/>
              <a:gd name="connsiteX119" fmla="*/ 154010 w 682417"/>
              <a:gd name="connsiteY119" fmla="*/ 484790 h 798267"/>
              <a:gd name="connsiteX120" fmla="*/ 160220 w 682417"/>
              <a:gd name="connsiteY120" fmla="*/ 482362 h 798267"/>
              <a:gd name="connsiteX121" fmla="*/ 154010 w 682417"/>
              <a:gd name="connsiteY121" fmla="*/ 484790 h 798267"/>
              <a:gd name="connsiteX122" fmla="*/ 163335 w 682417"/>
              <a:gd name="connsiteY122" fmla="*/ 388978 h 798267"/>
              <a:gd name="connsiteX123" fmla="*/ 167478 w 682417"/>
              <a:gd name="connsiteY123" fmla="*/ 385054 h 798267"/>
              <a:gd name="connsiteX124" fmla="*/ 163335 w 682417"/>
              <a:gd name="connsiteY124" fmla="*/ 388978 h 798267"/>
              <a:gd name="connsiteX125" fmla="*/ 163935 w 682417"/>
              <a:gd name="connsiteY125" fmla="*/ 378653 h 798267"/>
              <a:gd name="connsiteX126" fmla="*/ 163935 w 682417"/>
              <a:gd name="connsiteY126" fmla="*/ 378653 h 798267"/>
              <a:gd name="connsiteX127" fmla="*/ 128521 w 682417"/>
              <a:gd name="connsiteY127" fmla="*/ 525681 h 798267"/>
              <a:gd name="connsiteX128" fmla="*/ 131521 w 682417"/>
              <a:gd name="connsiteY128" fmla="*/ 528539 h 798267"/>
              <a:gd name="connsiteX129" fmla="*/ 128521 w 682417"/>
              <a:gd name="connsiteY129" fmla="*/ 525681 h 798267"/>
              <a:gd name="connsiteX130" fmla="*/ 135607 w 682417"/>
              <a:gd name="connsiteY130" fmla="*/ 415582 h 798267"/>
              <a:gd name="connsiteX131" fmla="*/ 140475 w 682417"/>
              <a:gd name="connsiteY131" fmla="*/ 421049 h 798267"/>
              <a:gd name="connsiteX132" fmla="*/ 135607 w 682417"/>
              <a:gd name="connsiteY132" fmla="*/ 415582 h 798267"/>
              <a:gd name="connsiteX133" fmla="*/ 125378 w 682417"/>
              <a:gd name="connsiteY133" fmla="*/ 441671 h 798267"/>
              <a:gd name="connsiteX134" fmla="*/ 129188 w 682417"/>
              <a:gd name="connsiteY134" fmla="*/ 439994 h 798267"/>
              <a:gd name="connsiteX135" fmla="*/ 128435 w 682417"/>
              <a:gd name="connsiteY135" fmla="*/ 437546 h 798267"/>
              <a:gd name="connsiteX136" fmla="*/ 125378 w 682417"/>
              <a:gd name="connsiteY136" fmla="*/ 441671 h 798267"/>
              <a:gd name="connsiteX137" fmla="*/ 105156 w 682417"/>
              <a:gd name="connsiteY137" fmla="*/ 485771 h 798267"/>
              <a:gd name="connsiteX138" fmla="*/ 102537 w 682417"/>
              <a:gd name="connsiteY138" fmla="*/ 480695 h 798267"/>
              <a:gd name="connsiteX139" fmla="*/ 105156 w 682417"/>
              <a:gd name="connsiteY139" fmla="*/ 485771 h 798267"/>
              <a:gd name="connsiteX140" fmla="*/ 103070 w 682417"/>
              <a:gd name="connsiteY140" fmla="*/ 491220 h 798267"/>
              <a:gd name="connsiteX141" fmla="*/ 102899 w 682417"/>
              <a:gd name="connsiteY141" fmla="*/ 485390 h 798267"/>
              <a:gd name="connsiteX142" fmla="*/ 99708 w 682417"/>
              <a:gd name="connsiteY142" fmla="*/ 483695 h 798267"/>
              <a:gd name="connsiteX143" fmla="*/ 97431 w 682417"/>
              <a:gd name="connsiteY143" fmla="*/ 490267 h 798267"/>
              <a:gd name="connsiteX144" fmla="*/ 103070 w 682417"/>
              <a:gd name="connsiteY144" fmla="*/ 491220 h 798267"/>
              <a:gd name="connsiteX145" fmla="*/ 37014 w 682417"/>
              <a:gd name="connsiteY145" fmla="*/ 784914 h 798267"/>
              <a:gd name="connsiteX146" fmla="*/ 30794 w 682417"/>
              <a:gd name="connsiteY146" fmla="*/ 787343 h 798267"/>
              <a:gd name="connsiteX147" fmla="*/ 23851 w 682417"/>
              <a:gd name="connsiteY147" fmla="*/ 787343 h 798267"/>
              <a:gd name="connsiteX148" fmla="*/ 26460 w 682417"/>
              <a:gd name="connsiteY148" fmla="*/ 792419 h 798267"/>
              <a:gd name="connsiteX149" fmla="*/ 29318 w 682417"/>
              <a:gd name="connsiteY149" fmla="*/ 789419 h 798267"/>
              <a:gd name="connsiteX150" fmla="*/ 33614 w 682417"/>
              <a:gd name="connsiteY150" fmla="*/ 798268 h 798267"/>
              <a:gd name="connsiteX151" fmla="*/ 33442 w 682417"/>
              <a:gd name="connsiteY151" fmla="*/ 792438 h 798267"/>
              <a:gd name="connsiteX152" fmla="*/ 34957 w 682417"/>
              <a:gd name="connsiteY152" fmla="*/ 790381 h 798267"/>
              <a:gd name="connsiteX153" fmla="*/ 37586 w 682417"/>
              <a:gd name="connsiteY153" fmla="*/ 788476 h 798267"/>
              <a:gd name="connsiteX154" fmla="*/ 37014 w 682417"/>
              <a:gd name="connsiteY154" fmla="*/ 784914 h 798267"/>
              <a:gd name="connsiteX155" fmla="*/ 29127 w 682417"/>
              <a:gd name="connsiteY155" fmla="*/ 783580 h 798267"/>
              <a:gd name="connsiteX156" fmla="*/ 36452 w 682417"/>
              <a:gd name="connsiteY156" fmla="*/ 781342 h 798267"/>
              <a:gd name="connsiteX157" fmla="*/ 37776 w 682417"/>
              <a:gd name="connsiteY157" fmla="*/ 780389 h 798267"/>
              <a:gd name="connsiteX158" fmla="*/ 29127 w 682417"/>
              <a:gd name="connsiteY158" fmla="*/ 783580 h 798267"/>
              <a:gd name="connsiteX159" fmla="*/ 27061 w 682417"/>
              <a:gd name="connsiteY159" fmla="*/ 782066 h 798267"/>
              <a:gd name="connsiteX160" fmla="*/ 24422 w 682417"/>
              <a:gd name="connsiteY160" fmla="*/ 783971 h 798267"/>
              <a:gd name="connsiteX161" fmla="*/ 27061 w 682417"/>
              <a:gd name="connsiteY161" fmla="*/ 782066 h 798267"/>
              <a:gd name="connsiteX162" fmla="*/ 678799 w 682417"/>
              <a:gd name="connsiteY162" fmla="*/ 111296 h 798267"/>
              <a:gd name="connsiteX163" fmla="*/ 679752 w 682417"/>
              <a:gd name="connsiteY163" fmla="*/ 112620 h 798267"/>
              <a:gd name="connsiteX164" fmla="*/ 679561 w 682417"/>
              <a:gd name="connsiteY164" fmla="*/ 113744 h 798267"/>
              <a:gd name="connsiteX165" fmla="*/ 678799 w 682417"/>
              <a:gd name="connsiteY165" fmla="*/ 111296 h 798267"/>
              <a:gd name="connsiteX166" fmla="*/ 677847 w 682417"/>
              <a:gd name="connsiteY166" fmla="*/ 116935 h 798267"/>
              <a:gd name="connsiteX167" fmla="*/ 676142 w 682417"/>
              <a:gd name="connsiteY167" fmla="*/ 120126 h 798267"/>
              <a:gd name="connsiteX168" fmla="*/ 669569 w 682417"/>
              <a:gd name="connsiteY168" fmla="*/ 117849 h 798267"/>
              <a:gd name="connsiteX169" fmla="*/ 664293 w 682417"/>
              <a:gd name="connsiteY169" fmla="*/ 121593 h 798267"/>
              <a:gd name="connsiteX170" fmla="*/ 663531 w 682417"/>
              <a:gd name="connsiteY170" fmla="*/ 126098 h 798267"/>
              <a:gd name="connsiteX171" fmla="*/ 668045 w 682417"/>
              <a:gd name="connsiteY171" fmla="*/ 126869 h 798267"/>
              <a:gd name="connsiteX172" fmla="*/ 666702 w 682417"/>
              <a:gd name="connsiteY172" fmla="*/ 134756 h 798267"/>
              <a:gd name="connsiteX173" fmla="*/ 659940 w 682417"/>
              <a:gd name="connsiteY173" fmla="*/ 133604 h 798267"/>
              <a:gd name="connsiteX174" fmla="*/ 661045 w 682417"/>
              <a:gd name="connsiteY174" fmla="*/ 140747 h 798267"/>
              <a:gd name="connsiteX175" fmla="*/ 663683 w 682417"/>
              <a:gd name="connsiteY175" fmla="*/ 138842 h 798267"/>
              <a:gd name="connsiteX176" fmla="*/ 658406 w 682417"/>
              <a:gd name="connsiteY176" fmla="*/ 142586 h 798267"/>
              <a:gd name="connsiteX177" fmla="*/ 661406 w 682417"/>
              <a:gd name="connsiteY177" fmla="*/ 145443 h 798267"/>
              <a:gd name="connsiteX178" fmla="*/ 658778 w 682417"/>
              <a:gd name="connsiteY178" fmla="*/ 147348 h 798267"/>
              <a:gd name="connsiteX179" fmla="*/ 656139 w 682417"/>
              <a:gd name="connsiteY179" fmla="*/ 149253 h 798267"/>
              <a:gd name="connsiteX180" fmla="*/ 659321 w 682417"/>
              <a:gd name="connsiteY180" fmla="*/ 150949 h 798267"/>
              <a:gd name="connsiteX181" fmla="*/ 660073 w 682417"/>
              <a:gd name="connsiteY181" fmla="*/ 153397 h 798267"/>
              <a:gd name="connsiteX182" fmla="*/ 654806 w 682417"/>
              <a:gd name="connsiteY182" fmla="*/ 157140 h 798267"/>
              <a:gd name="connsiteX183" fmla="*/ 654053 w 682417"/>
              <a:gd name="connsiteY183" fmla="*/ 154692 h 798267"/>
              <a:gd name="connsiteX184" fmla="*/ 645595 w 682417"/>
              <a:gd name="connsiteY184" fmla="*/ 156740 h 798267"/>
              <a:gd name="connsiteX185" fmla="*/ 644071 w 682417"/>
              <a:gd name="connsiteY185" fmla="*/ 165751 h 798267"/>
              <a:gd name="connsiteX186" fmla="*/ 639366 w 682417"/>
              <a:gd name="connsiteY186" fmla="*/ 166112 h 798267"/>
              <a:gd name="connsiteX187" fmla="*/ 639728 w 682417"/>
              <a:gd name="connsiteY187" fmla="*/ 170808 h 798267"/>
              <a:gd name="connsiteX188" fmla="*/ 636175 w 682417"/>
              <a:gd name="connsiteY188" fmla="*/ 164417 h 798267"/>
              <a:gd name="connsiteX189" fmla="*/ 631117 w 682417"/>
              <a:gd name="connsiteY189" fmla="*/ 160074 h 798267"/>
              <a:gd name="connsiteX190" fmla="*/ 636556 w 682417"/>
              <a:gd name="connsiteY190" fmla="*/ 162160 h 798267"/>
              <a:gd name="connsiteX191" fmla="*/ 639194 w 682417"/>
              <a:gd name="connsiteY191" fmla="*/ 160255 h 798267"/>
              <a:gd name="connsiteX192" fmla="*/ 635813 w 682417"/>
              <a:gd name="connsiteY192" fmla="*/ 159683 h 798267"/>
              <a:gd name="connsiteX193" fmla="*/ 635260 w 682417"/>
              <a:gd name="connsiteY193" fmla="*/ 156111 h 798267"/>
              <a:gd name="connsiteX194" fmla="*/ 633946 w 682417"/>
              <a:gd name="connsiteY194" fmla="*/ 157064 h 798267"/>
              <a:gd name="connsiteX195" fmla="*/ 629431 w 682417"/>
              <a:gd name="connsiteY195" fmla="*/ 156302 h 798267"/>
              <a:gd name="connsiteX196" fmla="*/ 624145 w 682417"/>
              <a:gd name="connsiteY196" fmla="*/ 166998 h 798267"/>
              <a:gd name="connsiteX197" fmla="*/ 623192 w 682417"/>
              <a:gd name="connsiteY197" fmla="*/ 172637 h 798267"/>
              <a:gd name="connsiteX198" fmla="*/ 628079 w 682417"/>
              <a:gd name="connsiteY198" fmla="*/ 171142 h 798267"/>
              <a:gd name="connsiteX199" fmla="*/ 628821 w 682417"/>
              <a:gd name="connsiteY199" fmla="*/ 173590 h 798267"/>
              <a:gd name="connsiteX200" fmla="*/ 634641 w 682417"/>
              <a:gd name="connsiteY200" fmla="*/ 173418 h 798267"/>
              <a:gd name="connsiteX201" fmla="*/ 630698 w 682417"/>
              <a:gd name="connsiteY201" fmla="*/ 176276 h 798267"/>
              <a:gd name="connsiteX202" fmla="*/ 625993 w 682417"/>
              <a:gd name="connsiteY202" fmla="*/ 176638 h 798267"/>
              <a:gd name="connsiteX203" fmla="*/ 626545 w 682417"/>
              <a:gd name="connsiteY203" fmla="*/ 180209 h 798267"/>
              <a:gd name="connsiteX204" fmla="*/ 627097 w 682417"/>
              <a:gd name="connsiteY204" fmla="*/ 183772 h 798267"/>
              <a:gd name="connsiteX205" fmla="*/ 630098 w 682417"/>
              <a:gd name="connsiteY205" fmla="*/ 186629 h 798267"/>
              <a:gd name="connsiteX206" fmla="*/ 633289 w 682417"/>
              <a:gd name="connsiteY206" fmla="*/ 188325 h 798267"/>
              <a:gd name="connsiteX207" fmla="*/ 637242 w 682417"/>
              <a:gd name="connsiteY207" fmla="*/ 185515 h 798267"/>
              <a:gd name="connsiteX208" fmla="*/ 635337 w 682417"/>
              <a:gd name="connsiteY208" fmla="*/ 189830 h 798267"/>
              <a:gd name="connsiteX209" fmla="*/ 629707 w 682417"/>
              <a:gd name="connsiteY209" fmla="*/ 188877 h 798267"/>
              <a:gd name="connsiteX210" fmla="*/ 632127 w 682417"/>
              <a:gd name="connsiteY210" fmla="*/ 195088 h 798267"/>
              <a:gd name="connsiteX211" fmla="*/ 628564 w 682417"/>
              <a:gd name="connsiteY211" fmla="*/ 195640 h 798267"/>
              <a:gd name="connsiteX212" fmla="*/ 623097 w 682417"/>
              <a:gd name="connsiteY212" fmla="*/ 200507 h 798267"/>
              <a:gd name="connsiteX213" fmla="*/ 619906 w 682417"/>
              <a:gd name="connsiteY213" fmla="*/ 198812 h 798267"/>
              <a:gd name="connsiteX214" fmla="*/ 619506 w 682417"/>
              <a:gd name="connsiteY214" fmla="*/ 208013 h 798267"/>
              <a:gd name="connsiteX215" fmla="*/ 616887 w 682417"/>
              <a:gd name="connsiteY215" fmla="*/ 202936 h 798267"/>
              <a:gd name="connsiteX216" fmla="*/ 617058 w 682417"/>
              <a:gd name="connsiteY216" fmla="*/ 208765 h 798267"/>
              <a:gd name="connsiteX217" fmla="*/ 613677 w 682417"/>
              <a:gd name="connsiteY217" fmla="*/ 208184 h 798267"/>
              <a:gd name="connsiteX218" fmla="*/ 616677 w 682417"/>
              <a:gd name="connsiteY218" fmla="*/ 211042 h 798267"/>
              <a:gd name="connsiteX219" fmla="*/ 612724 w 682417"/>
              <a:gd name="connsiteY219" fmla="*/ 213852 h 798267"/>
              <a:gd name="connsiteX220" fmla="*/ 611381 w 682417"/>
              <a:gd name="connsiteY220" fmla="*/ 221738 h 798267"/>
              <a:gd name="connsiteX221" fmla="*/ 605752 w 682417"/>
              <a:gd name="connsiteY221" fmla="*/ 220786 h 798267"/>
              <a:gd name="connsiteX222" fmla="*/ 603114 w 682417"/>
              <a:gd name="connsiteY222" fmla="*/ 222691 h 798267"/>
              <a:gd name="connsiteX223" fmla="*/ 593503 w 682417"/>
              <a:gd name="connsiteY223" fmla="*/ 231492 h 798267"/>
              <a:gd name="connsiteX224" fmla="*/ 586750 w 682417"/>
              <a:gd name="connsiteY224" fmla="*/ 230349 h 798267"/>
              <a:gd name="connsiteX225" fmla="*/ 590864 w 682417"/>
              <a:gd name="connsiteY225" fmla="*/ 233368 h 798267"/>
              <a:gd name="connsiteX226" fmla="*/ 595751 w 682417"/>
              <a:gd name="connsiteY226" fmla="*/ 231873 h 798267"/>
              <a:gd name="connsiteX227" fmla="*/ 595922 w 682417"/>
              <a:gd name="connsiteY227" fmla="*/ 237702 h 798267"/>
              <a:gd name="connsiteX228" fmla="*/ 595179 w 682417"/>
              <a:gd name="connsiteY228" fmla="*/ 235254 h 798267"/>
              <a:gd name="connsiteX229" fmla="*/ 593674 w 682417"/>
              <a:gd name="connsiteY229" fmla="*/ 237321 h 798267"/>
              <a:gd name="connsiteX230" fmla="*/ 587845 w 682417"/>
              <a:gd name="connsiteY230" fmla="*/ 237493 h 798267"/>
              <a:gd name="connsiteX231" fmla="*/ 588407 w 682417"/>
              <a:gd name="connsiteY231" fmla="*/ 241065 h 798267"/>
              <a:gd name="connsiteX232" fmla="*/ 595351 w 682417"/>
              <a:gd name="connsiteY232" fmla="*/ 241065 h 798267"/>
              <a:gd name="connsiteX233" fmla="*/ 592493 w 682417"/>
              <a:gd name="connsiteY233" fmla="*/ 244065 h 798267"/>
              <a:gd name="connsiteX234" fmla="*/ 587407 w 682417"/>
              <a:gd name="connsiteY234" fmla="*/ 246675 h 798267"/>
              <a:gd name="connsiteX235" fmla="*/ 588540 w 682417"/>
              <a:gd name="connsiteY235" fmla="*/ 246865 h 798267"/>
              <a:gd name="connsiteX236" fmla="*/ 587588 w 682417"/>
              <a:gd name="connsiteY236" fmla="*/ 252504 h 798267"/>
              <a:gd name="connsiteX237" fmla="*/ 580615 w 682417"/>
              <a:gd name="connsiteY237" fmla="*/ 259438 h 798267"/>
              <a:gd name="connsiteX238" fmla="*/ 577425 w 682417"/>
              <a:gd name="connsiteY238" fmla="*/ 257733 h 798267"/>
              <a:gd name="connsiteX239" fmla="*/ 573472 w 682417"/>
              <a:gd name="connsiteY239" fmla="*/ 260543 h 798267"/>
              <a:gd name="connsiteX240" fmla="*/ 574958 w 682417"/>
              <a:gd name="connsiteY240" fmla="*/ 265439 h 798267"/>
              <a:gd name="connsiteX241" fmla="*/ 573624 w 682417"/>
              <a:gd name="connsiteY241" fmla="*/ 273316 h 798267"/>
              <a:gd name="connsiteX242" fmla="*/ 577005 w 682417"/>
              <a:gd name="connsiteY242" fmla="*/ 273897 h 798267"/>
              <a:gd name="connsiteX243" fmla="*/ 575100 w 682417"/>
              <a:gd name="connsiteY243" fmla="*/ 278212 h 798267"/>
              <a:gd name="connsiteX244" fmla="*/ 573396 w 682417"/>
              <a:gd name="connsiteY244" fmla="*/ 281403 h 798267"/>
              <a:gd name="connsiteX245" fmla="*/ 570538 w 682417"/>
              <a:gd name="connsiteY245" fmla="*/ 277450 h 798267"/>
              <a:gd name="connsiteX246" fmla="*/ 568633 w 682417"/>
              <a:gd name="connsiteY246" fmla="*/ 281765 h 798267"/>
              <a:gd name="connsiteX247" fmla="*/ 571633 w 682417"/>
              <a:gd name="connsiteY247" fmla="*/ 284623 h 798267"/>
              <a:gd name="connsiteX248" fmla="*/ 564299 w 682417"/>
              <a:gd name="connsiteY248" fmla="*/ 286851 h 798267"/>
              <a:gd name="connsiteX249" fmla="*/ 562813 w 682417"/>
              <a:gd name="connsiteY249" fmla="*/ 281965 h 798267"/>
              <a:gd name="connsiteX250" fmla="*/ 558298 w 682417"/>
              <a:gd name="connsiteY250" fmla="*/ 281194 h 798267"/>
              <a:gd name="connsiteX251" fmla="*/ 557727 w 682417"/>
              <a:gd name="connsiteY251" fmla="*/ 284575 h 798267"/>
              <a:gd name="connsiteX252" fmla="*/ 554355 w 682417"/>
              <a:gd name="connsiteY252" fmla="*/ 284003 h 798267"/>
              <a:gd name="connsiteX253" fmla="*/ 555098 w 682417"/>
              <a:gd name="connsiteY253" fmla="*/ 286451 h 798267"/>
              <a:gd name="connsiteX254" fmla="*/ 562242 w 682417"/>
              <a:gd name="connsiteY254" fmla="*/ 285346 h 798267"/>
              <a:gd name="connsiteX255" fmla="*/ 560537 w 682417"/>
              <a:gd name="connsiteY255" fmla="*/ 288528 h 798267"/>
              <a:gd name="connsiteX256" fmla="*/ 558089 w 682417"/>
              <a:gd name="connsiteY256" fmla="*/ 289280 h 798267"/>
              <a:gd name="connsiteX257" fmla="*/ 556031 w 682417"/>
              <a:gd name="connsiteY257" fmla="*/ 287766 h 798267"/>
              <a:gd name="connsiteX258" fmla="*/ 550202 w 682417"/>
              <a:gd name="connsiteY258" fmla="*/ 287937 h 798267"/>
              <a:gd name="connsiteX259" fmla="*/ 558641 w 682417"/>
              <a:gd name="connsiteY259" fmla="*/ 292843 h 798267"/>
              <a:gd name="connsiteX260" fmla="*/ 558260 w 682417"/>
              <a:gd name="connsiteY260" fmla="*/ 295100 h 798267"/>
              <a:gd name="connsiteX261" fmla="*/ 560165 w 682417"/>
              <a:gd name="connsiteY261" fmla="*/ 297738 h 798267"/>
              <a:gd name="connsiteX262" fmla="*/ 559403 w 682417"/>
              <a:gd name="connsiteY262" fmla="*/ 302244 h 798267"/>
              <a:gd name="connsiteX263" fmla="*/ 553383 w 682417"/>
              <a:gd name="connsiteY263" fmla="*/ 303549 h 798267"/>
              <a:gd name="connsiteX264" fmla="*/ 549812 w 682417"/>
              <a:gd name="connsiteY264" fmla="*/ 304101 h 798267"/>
              <a:gd name="connsiteX265" fmla="*/ 550174 w 682417"/>
              <a:gd name="connsiteY265" fmla="*/ 308797 h 798267"/>
              <a:gd name="connsiteX266" fmla="*/ 546964 w 682417"/>
              <a:gd name="connsiteY266" fmla="*/ 314055 h 798267"/>
              <a:gd name="connsiteX267" fmla="*/ 553164 w 682417"/>
              <a:gd name="connsiteY267" fmla="*/ 311626 h 798267"/>
              <a:gd name="connsiteX268" fmla="*/ 547516 w 682417"/>
              <a:gd name="connsiteY268" fmla="*/ 317617 h 798267"/>
              <a:gd name="connsiteX269" fmla="*/ 547516 w 682417"/>
              <a:gd name="connsiteY269" fmla="*/ 324570 h 798267"/>
              <a:gd name="connsiteX270" fmla="*/ 539439 w 682417"/>
              <a:gd name="connsiteY270" fmla="*/ 324361 h 798267"/>
              <a:gd name="connsiteX271" fmla="*/ 542049 w 682417"/>
              <a:gd name="connsiteY271" fmla="*/ 329438 h 798267"/>
              <a:gd name="connsiteX272" fmla="*/ 547878 w 682417"/>
              <a:gd name="connsiteY272" fmla="*/ 329266 h 798267"/>
              <a:gd name="connsiteX273" fmla="*/ 545430 w 682417"/>
              <a:gd name="connsiteY273" fmla="*/ 330019 h 798267"/>
              <a:gd name="connsiteX274" fmla="*/ 542411 w 682417"/>
              <a:gd name="connsiteY274" fmla="*/ 334143 h 798267"/>
              <a:gd name="connsiteX275" fmla="*/ 539410 w 682417"/>
              <a:gd name="connsiteY275" fmla="*/ 331285 h 798267"/>
              <a:gd name="connsiteX276" fmla="*/ 532438 w 682417"/>
              <a:gd name="connsiteY276" fmla="*/ 338220 h 798267"/>
              <a:gd name="connsiteX277" fmla="*/ 534124 w 682417"/>
              <a:gd name="connsiteY277" fmla="*/ 342030 h 798267"/>
              <a:gd name="connsiteX278" fmla="*/ 536572 w 682417"/>
              <a:gd name="connsiteY278" fmla="*/ 341287 h 798267"/>
              <a:gd name="connsiteX279" fmla="*/ 538477 w 682417"/>
              <a:gd name="connsiteY279" fmla="*/ 343925 h 798267"/>
              <a:gd name="connsiteX280" fmla="*/ 539782 w 682417"/>
              <a:gd name="connsiteY280" fmla="*/ 342973 h 798267"/>
              <a:gd name="connsiteX281" fmla="*/ 543163 w 682417"/>
              <a:gd name="connsiteY281" fmla="*/ 343544 h 798267"/>
              <a:gd name="connsiteX282" fmla="*/ 540525 w 682417"/>
              <a:gd name="connsiteY282" fmla="*/ 345449 h 798267"/>
              <a:gd name="connsiteX283" fmla="*/ 536762 w 682417"/>
              <a:gd name="connsiteY283" fmla="*/ 347126 h 798267"/>
              <a:gd name="connsiteX284" fmla="*/ 536000 w 682417"/>
              <a:gd name="connsiteY284" fmla="*/ 351631 h 798267"/>
              <a:gd name="connsiteX285" fmla="*/ 535229 w 682417"/>
              <a:gd name="connsiteY285" fmla="*/ 356146 h 798267"/>
              <a:gd name="connsiteX286" fmla="*/ 529962 w 682417"/>
              <a:gd name="connsiteY286" fmla="*/ 359889 h 798267"/>
              <a:gd name="connsiteX287" fmla="*/ 525199 w 682417"/>
              <a:gd name="connsiteY287" fmla="*/ 367204 h 798267"/>
              <a:gd name="connsiteX288" fmla="*/ 521084 w 682417"/>
              <a:gd name="connsiteY288" fmla="*/ 364185 h 798267"/>
              <a:gd name="connsiteX289" fmla="*/ 520684 w 682417"/>
              <a:gd name="connsiteY289" fmla="*/ 373386 h 798267"/>
              <a:gd name="connsiteX290" fmla="*/ 515045 w 682417"/>
              <a:gd name="connsiteY290" fmla="*/ 372434 h 798267"/>
              <a:gd name="connsiteX291" fmla="*/ 517665 w 682417"/>
              <a:gd name="connsiteY291" fmla="*/ 377510 h 798267"/>
              <a:gd name="connsiteX292" fmla="*/ 513702 w 682417"/>
              <a:gd name="connsiteY292" fmla="*/ 380368 h 798267"/>
              <a:gd name="connsiteX293" fmla="*/ 513131 w 682417"/>
              <a:gd name="connsiteY293" fmla="*/ 383749 h 798267"/>
              <a:gd name="connsiteX294" fmla="*/ 519894 w 682417"/>
              <a:gd name="connsiteY294" fmla="*/ 384902 h 798267"/>
              <a:gd name="connsiteX295" fmla="*/ 515007 w 682417"/>
              <a:gd name="connsiteY295" fmla="*/ 386388 h 798267"/>
              <a:gd name="connsiteX296" fmla="*/ 517627 w 682417"/>
              <a:gd name="connsiteY296" fmla="*/ 391474 h 798267"/>
              <a:gd name="connsiteX297" fmla="*/ 514598 w 682417"/>
              <a:gd name="connsiteY297" fmla="*/ 395598 h 798267"/>
              <a:gd name="connsiteX298" fmla="*/ 514217 w 682417"/>
              <a:gd name="connsiteY298" fmla="*/ 397846 h 798267"/>
              <a:gd name="connsiteX299" fmla="*/ 510645 w 682417"/>
              <a:gd name="connsiteY299" fmla="*/ 398399 h 798267"/>
              <a:gd name="connsiteX300" fmla="*/ 507082 w 682417"/>
              <a:gd name="connsiteY300" fmla="*/ 398951 h 798267"/>
              <a:gd name="connsiteX301" fmla="*/ 506520 w 682417"/>
              <a:gd name="connsiteY301" fmla="*/ 395379 h 798267"/>
              <a:gd name="connsiteX302" fmla="*/ 503663 w 682417"/>
              <a:gd name="connsiteY302" fmla="*/ 391426 h 798267"/>
              <a:gd name="connsiteX303" fmla="*/ 501758 w 682417"/>
              <a:gd name="connsiteY303" fmla="*/ 395741 h 798267"/>
              <a:gd name="connsiteX304" fmla="*/ 503663 w 682417"/>
              <a:gd name="connsiteY304" fmla="*/ 398380 h 798267"/>
              <a:gd name="connsiteX305" fmla="*/ 501968 w 682417"/>
              <a:gd name="connsiteY305" fmla="*/ 401570 h 798267"/>
              <a:gd name="connsiteX306" fmla="*/ 502139 w 682417"/>
              <a:gd name="connsiteY306" fmla="*/ 407400 h 798267"/>
              <a:gd name="connsiteX307" fmla="*/ 493509 w 682417"/>
              <a:gd name="connsiteY307" fmla="*/ 403590 h 798267"/>
              <a:gd name="connsiteX308" fmla="*/ 498567 w 682417"/>
              <a:gd name="connsiteY308" fmla="*/ 407924 h 798267"/>
              <a:gd name="connsiteX309" fmla="*/ 496853 w 682417"/>
              <a:gd name="connsiteY309" fmla="*/ 418068 h 798267"/>
              <a:gd name="connsiteX310" fmla="*/ 487251 w 682417"/>
              <a:gd name="connsiteY310" fmla="*/ 419973 h 798267"/>
              <a:gd name="connsiteX311" fmla="*/ 490842 w 682417"/>
              <a:gd name="connsiteY311" fmla="*/ 412467 h 798267"/>
              <a:gd name="connsiteX312" fmla="*/ 488594 w 682417"/>
              <a:gd name="connsiteY312" fmla="*/ 412077 h 798267"/>
              <a:gd name="connsiteX313" fmla="*/ 488404 w 682417"/>
              <a:gd name="connsiteY313" fmla="*/ 413210 h 798267"/>
              <a:gd name="connsiteX314" fmla="*/ 484451 w 682417"/>
              <a:gd name="connsiteY314" fmla="*/ 416010 h 798267"/>
              <a:gd name="connsiteX315" fmla="*/ 480641 w 682417"/>
              <a:gd name="connsiteY315" fmla="*/ 417696 h 798267"/>
              <a:gd name="connsiteX316" fmla="*/ 479336 w 682417"/>
              <a:gd name="connsiteY316" fmla="*/ 411677 h 798267"/>
              <a:gd name="connsiteX317" fmla="*/ 483680 w 682417"/>
              <a:gd name="connsiteY317" fmla="*/ 406619 h 798267"/>
              <a:gd name="connsiteX318" fmla="*/ 478050 w 682417"/>
              <a:gd name="connsiteY318" fmla="*/ 405666 h 798267"/>
              <a:gd name="connsiteX319" fmla="*/ 476364 w 682417"/>
              <a:gd name="connsiteY319" fmla="*/ 401856 h 798267"/>
              <a:gd name="connsiteX320" fmla="*/ 479384 w 682417"/>
              <a:gd name="connsiteY320" fmla="*/ 397741 h 798267"/>
              <a:gd name="connsiteX321" fmla="*/ 480698 w 682417"/>
              <a:gd name="connsiteY321" fmla="*/ 396789 h 798267"/>
              <a:gd name="connsiteX322" fmla="*/ 480146 w 682417"/>
              <a:gd name="connsiteY322" fmla="*/ 393217 h 798267"/>
              <a:gd name="connsiteX323" fmla="*/ 483156 w 682417"/>
              <a:gd name="connsiteY323" fmla="*/ 389093 h 798267"/>
              <a:gd name="connsiteX324" fmla="*/ 480298 w 682417"/>
              <a:gd name="connsiteY324" fmla="*/ 392093 h 798267"/>
              <a:gd name="connsiteX325" fmla="*/ 478393 w 682417"/>
              <a:gd name="connsiteY325" fmla="*/ 389455 h 798267"/>
              <a:gd name="connsiteX326" fmla="*/ 473688 w 682417"/>
              <a:gd name="connsiteY326" fmla="*/ 389817 h 798267"/>
              <a:gd name="connsiteX327" fmla="*/ 476326 w 682417"/>
              <a:gd name="connsiteY327" fmla="*/ 387912 h 798267"/>
              <a:gd name="connsiteX328" fmla="*/ 477469 w 682417"/>
              <a:gd name="connsiteY328" fmla="*/ 381149 h 798267"/>
              <a:gd name="connsiteX329" fmla="*/ 484803 w 682417"/>
              <a:gd name="connsiteY329" fmla="*/ 378910 h 798267"/>
              <a:gd name="connsiteX330" fmla="*/ 487251 w 682417"/>
              <a:gd name="connsiteY330" fmla="*/ 378168 h 798267"/>
              <a:gd name="connsiteX331" fmla="*/ 486299 w 682417"/>
              <a:gd name="connsiteY331" fmla="*/ 376844 h 798267"/>
              <a:gd name="connsiteX332" fmla="*/ 493271 w 682417"/>
              <a:gd name="connsiteY332" fmla="*/ 369919 h 798267"/>
              <a:gd name="connsiteX333" fmla="*/ 492142 w 682417"/>
              <a:gd name="connsiteY333" fmla="*/ 368744 h 798267"/>
              <a:gd name="connsiteX334" fmla="*/ 491023 w 682417"/>
              <a:gd name="connsiteY334" fmla="*/ 369538 h 798267"/>
              <a:gd name="connsiteX335" fmla="*/ 491404 w 682417"/>
              <a:gd name="connsiteY335" fmla="*/ 367280 h 798267"/>
              <a:gd name="connsiteX336" fmla="*/ 490452 w 682417"/>
              <a:gd name="connsiteY336" fmla="*/ 365966 h 798267"/>
              <a:gd name="connsiteX337" fmla="*/ 493862 w 682417"/>
              <a:gd name="connsiteY337" fmla="*/ 359584 h 798267"/>
              <a:gd name="connsiteX338" fmla="*/ 493690 w 682417"/>
              <a:gd name="connsiteY338" fmla="*/ 353764 h 798267"/>
              <a:gd name="connsiteX339" fmla="*/ 495595 w 682417"/>
              <a:gd name="connsiteY339" fmla="*/ 349440 h 798267"/>
              <a:gd name="connsiteX340" fmla="*/ 498805 w 682417"/>
              <a:gd name="connsiteY340" fmla="*/ 344192 h 798267"/>
              <a:gd name="connsiteX341" fmla="*/ 506139 w 682417"/>
              <a:gd name="connsiteY341" fmla="*/ 341954 h 798267"/>
              <a:gd name="connsiteX342" fmla="*/ 503282 w 682417"/>
              <a:gd name="connsiteY342" fmla="*/ 338001 h 798267"/>
              <a:gd name="connsiteX343" fmla="*/ 505558 w 682417"/>
              <a:gd name="connsiteY343" fmla="*/ 331438 h 798267"/>
              <a:gd name="connsiteX344" fmla="*/ 508940 w 682417"/>
              <a:gd name="connsiteY344" fmla="*/ 332009 h 798267"/>
              <a:gd name="connsiteX345" fmla="*/ 509711 w 682417"/>
              <a:gd name="connsiteY345" fmla="*/ 327504 h 798267"/>
              <a:gd name="connsiteX346" fmla="*/ 515722 w 682417"/>
              <a:gd name="connsiteY346" fmla="*/ 326199 h 798267"/>
              <a:gd name="connsiteX347" fmla="*/ 516674 w 682417"/>
              <a:gd name="connsiteY347" fmla="*/ 320570 h 798267"/>
              <a:gd name="connsiteX348" fmla="*/ 520636 w 682417"/>
              <a:gd name="connsiteY348" fmla="*/ 317712 h 798267"/>
              <a:gd name="connsiteX349" fmla="*/ 528161 w 682417"/>
              <a:gd name="connsiteY349" fmla="*/ 314350 h 798267"/>
              <a:gd name="connsiteX350" fmla="*/ 525523 w 682417"/>
              <a:gd name="connsiteY350" fmla="*/ 316255 h 798267"/>
              <a:gd name="connsiteX351" fmla="*/ 519522 w 682417"/>
              <a:gd name="connsiteY351" fmla="*/ 310607 h 798267"/>
              <a:gd name="connsiteX352" fmla="*/ 515407 w 682417"/>
              <a:gd name="connsiteY352" fmla="*/ 307587 h 798267"/>
              <a:gd name="connsiteX353" fmla="*/ 513912 w 682417"/>
              <a:gd name="connsiteY353" fmla="*/ 302701 h 798267"/>
              <a:gd name="connsiteX354" fmla="*/ 520694 w 682417"/>
              <a:gd name="connsiteY354" fmla="*/ 296891 h 798267"/>
              <a:gd name="connsiteX355" fmla="*/ 529152 w 682417"/>
              <a:gd name="connsiteY355" fmla="*/ 294852 h 798267"/>
              <a:gd name="connsiteX356" fmla="*/ 520713 w 682417"/>
              <a:gd name="connsiteY356" fmla="*/ 289937 h 798267"/>
              <a:gd name="connsiteX357" fmla="*/ 528980 w 682417"/>
              <a:gd name="connsiteY357" fmla="*/ 288985 h 798267"/>
              <a:gd name="connsiteX358" fmla="*/ 526923 w 682417"/>
              <a:gd name="connsiteY358" fmla="*/ 287470 h 798267"/>
              <a:gd name="connsiteX359" fmla="*/ 528619 w 682417"/>
              <a:gd name="connsiteY359" fmla="*/ 284289 h 798267"/>
              <a:gd name="connsiteX360" fmla="*/ 526713 w 682417"/>
              <a:gd name="connsiteY360" fmla="*/ 281651 h 798267"/>
              <a:gd name="connsiteX361" fmla="*/ 527285 w 682417"/>
              <a:gd name="connsiteY361" fmla="*/ 278269 h 798267"/>
              <a:gd name="connsiteX362" fmla="*/ 530495 w 682417"/>
              <a:gd name="connsiteY362" fmla="*/ 273021 h 798267"/>
              <a:gd name="connsiteX363" fmla="*/ 532933 w 682417"/>
              <a:gd name="connsiteY363" fmla="*/ 272278 h 798267"/>
              <a:gd name="connsiteX364" fmla="*/ 532381 w 682417"/>
              <a:gd name="connsiteY364" fmla="*/ 268697 h 798267"/>
              <a:gd name="connsiteX365" fmla="*/ 539744 w 682417"/>
              <a:gd name="connsiteY365" fmla="*/ 259515 h 798267"/>
              <a:gd name="connsiteX366" fmla="*/ 544058 w 682417"/>
              <a:gd name="connsiteY366" fmla="*/ 261420 h 798267"/>
              <a:gd name="connsiteX367" fmla="*/ 541068 w 682417"/>
              <a:gd name="connsiteY367" fmla="*/ 258562 h 798267"/>
              <a:gd name="connsiteX368" fmla="*/ 544078 w 682417"/>
              <a:gd name="connsiteY368" fmla="*/ 254438 h 798267"/>
              <a:gd name="connsiteX369" fmla="*/ 547097 w 682417"/>
              <a:gd name="connsiteY369" fmla="*/ 250313 h 798267"/>
              <a:gd name="connsiteX370" fmla="*/ 552726 w 682417"/>
              <a:gd name="connsiteY370" fmla="*/ 251266 h 798267"/>
              <a:gd name="connsiteX371" fmla="*/ 552726 w 682417"/>
              <a:gd name="connsiteY371" fmla="*/ 244313 h 798267"/>
              <a:gd name="connsiteX372" fmla="*/ 549707 w 682417"/>
              <a:gd name="connsiteY372" fmla="*/ 248437 h 798267"/>
              <a:gd name="connsiteX373" fmla="*/ 548964 w 682417"/>
              <a:gd name="connsiteY373" fmla="*/ 245999 h 798267"/>
              <a:gd name="connsiteX374" fmla="*/ 544268 w 682417"/>
              <a:gd name="connsiteY374" fmla="*/ 246361 h 798267"/>
              <a:gd name="connsiteX375" fmla="*/ 551793 w 682417"/>
              <a:gd name="connsiteY375" fmla="*/ 242998 h 798267"/>
              <a:gd name="connsiteX376" fmla="*/ 554803 w 682417"/>
              <a:gd name="connsiteY376" fmla="*/ 238864 h 798267"/>
              <a:gd name="connsiteX377" fmla="*/ 553126 w 682417"/>
              <a:gd name="connsiteY377" fmla="*/ 235112 h 798267"/>
              <a:gd name="connsiteX378" fmla="*/ 562166 w 682417"/>
              <a:gd name="connsiteY378" fmla="*/ 229682 h 798267"/>
              <a:gd name="connsiteX379" fmla="*/ 571691 w 682417"/>
              <a:gd name="connsiteY379" fmla="*/ 234788 h 798267"/>
              <a:gd name="connsiteX380" fmla="*/ 567947 w 682417"/>
              <a:gd name="connsiteY380" fmla="*/ 229511 h 798267"/>
              <a:gd name="connsiteX381" fmla="*/ 568709 w 682417"/>
              <a:gd name="connsiteY381" fmla="*/ 225006 h 798267"/>
              <a:gd name="connsiteX382" fmla="*/ 567585 w 682417"/>
              <a:gd name="connsiteY382" fmla="*/ 224815 h 798267"/>
              <a:gd name="connsiteX383" fmla="*/ 566099 w 682417"/>
              <a:gd name="connsiteY383" fmla="*/ 219929 h 798267"/>
              <a:gd name="connsiteX384" fmla="*/ 578539 w 682417"/>
              <a:gd name="connsiteY384" fmla="*/ 208127 h 798267"/>
              <a:gd name="connsiteX385" fmla="*/ 580254 w 682417"/>
              <a:gd name="connsiteY385" fmla="*/ 197983 h 798267"/>
              <a:gd name="connsiteX386" fmla="*/ 585330 w 682417"/>
              <a:gd name="connsiteY386" fmla="*/ 195364 h 798267"/>
              <a:gd name="connsiteX387" fmla="*/ 587054 w 682417"/>
              <a:gd name="connsiteY387" fmla="*/ 185229 h 798267"/>
              <a:gd name="connsiteX388" fmla="*/ 585759 w 682417"/>
              <a:gd name="connsiteY388" fmla="*/ 179209 h 798267"/>
              <a:gd name="connsiteX389" fmla="*/ 588207 w 682417"/>
              <a:gd name="connsiteY389" fmla="*/ 178457 h 798267"/>
              <a:gd name="connsiteX390" fmla="*/ 592712 w 682417"/>
              <a:gd name="connsiteY390" fmla="*/ 179228 h 798267"/>
              <a:gd name="connsiteX391" fmla="*/ 595570 w 682417"/>
              <a:gd name="connsiteY391" fmla="*/ 176228 h 798267"/>
              <a:gd name="connsiteX392" fmla="*/ 597818 w 682417"/>
              <a:gd name="connsiteY392" fmla="*/ 176609 h 798267"/>
              <a:gd name="connsiteX393" fmla="*/ 598199 w 682417"/>
              <a:gd name="connsiteY393" fmla="*/ 174352 h 798267"/>
              <a:gd name="connsiteX394" fmla="*/ 600475 w 682417"/>
              <a:gd name="connsiteY394" fmla="*/ 167789 h 798267"/>
              <a:gd name="connsiteX395" fmla="*/ 602923 w 682417"/>
              <a:gd name="connsiteY395" fmla="*/ 167046 h 798267"/>
              <a:gd name="connsiteX396" fmla="*/ 604647 w 682417"/>
              <a:gd name="connsiteY396" fmla="*/ 156902 h 798267"/>
              <a:gd name="connsiteX397" fmla="*/ 607505 w 682417"/>
              <a:gd name="connsiteY397" fmla="*/ 153901 h 798267"/>
              <a:gd name="connsiteX398" fmla="*/ 611257 w 682417"/>
              <a:gd name="connsiteY398" fmla="*/ 152215 h 798267"/>
              <a:gd name="connsiteX399" fmla="*/ 605438 w 682417"/>
              <a:gd name="connsiteY399" fmla="*/ 152396 h 798267"/>
              <a:gd name="connsiteX400" fmla="*/ 609390 w 682417"/>
              <a:gd name="connsiteY400" fmla="*/ 149587 h 798267"/>
              <a:gd name="connsiteX401" fmla="*/ 609029 w 682417"/>
              <a:gd name="connsiteY401" fmla="*/ 144891 h 798267"/>
              <a:gd name="connsiteX402" fmla="*/ 606171 w 682417"/>
              <a:gd name="connsiteY402" fmla="*/ 147882 h 798267"/>
              <a:gd name="connsiteX403" fmla="*/ 600732 w 682417"/>
              <a:gd name="connsiteY403" fmla="*/ 145805 h 798267"/>
              <a:gd name="connsiteX404" fmla="*/ 598827 w 682417"/>
              <a:gd name="connsiteY404" fmla="*/ 150110 h 798267"/>
              <a:gd name="connsiteX405" fmla="*/ 594322 w 682417"/>
              <a:gd name="connsiteY405" fmla="*/ 149348 h 798267"/>
              <a:gd name="connsiteX406" fmla="*/ 597179 w 682417"/>
              <a:gd name="connsiteY406" fmla="*/ 146358 h 798267"/>
              <a:gd name="connsiteX407" fmla="*/ 587778 w 682417"/>
              <a:gd name="connsiteY407" fmla="*/ 147082 h 798267"/>
              <a:gd name="connsiteX408" fmla="*/ 586273 w 682417"/>
              <a:gd name="connsiteY408" fmla="*/ 149139 h 798267"/>
              <a:gd name="connsiteX409" fmla="*/ 583635 w 682417"/>
              <a:gd name="connsiteY409" fmla="*/ 151044 h 798267"/>
              <a:gd name="connsiteX410" fmla="*/ 573872 w 682417"/>
              <a:gd name="connsiteY410" fmla="*/ 147062 h 798267"/>
              <a:gd name="connsiteX411" fmla="*/ 567290 w 682417"/>
              <a:gd name="connsiteY411" fmla="*/ 151749 h 798267"/>
              <a:gd name="connsiteX412" fmla="*/ 561642 w 682417"/>
              <a:gd name="connsiteY412" fmla="*/ 150796 h 798267"/>
              <a:gd name="connsiteX413" fmla="*/ 557698 w 682417"/>
              <a:gd name="connsiteY413" fmla="*/ 153654 h 798267"/>
              <a:gd name="connsiteX414" fmla="*/ 550926 w 682417"/>
              <a:gd name="connsiteY414" fmla="*/ 152501 h 798267"/>
              <a:gd name="connsiteX415" fmla="*/ 549431 w 682417"/>
              <a:gd name="connsiteY415" fmla="*/ 154568 h 798267"/>
              <a:gd name="connsiteX416" fmla="*/ 543020 w 682417"/>
              <a:gd name="connsiteY416" fmla="*/ 158121 h 798267"/>
              <a:gd name="connsiteX417" fmla="*/ 533800 w 682417"/>
              <a:gd name="connsiteY417" fmla="*/ 164674 h 798267"/>
              <a:gd name="connsiteX418" fmla="*/ 528914 w 682417"/>
              <a:gd name="connsiteY418" fmla="*/ 166160 h 798267"/>
              <a:gd name="connsiteX419" fmla="*/ 527228 w 682417"/>
              <a:gd name="connsiteY419" fmla="*/ 162398 h 798267"/>
              <a:gd name="connsiteX420" fmla="*/ 522141 w 682417"/>
              <a:gd name="connsiteY420" fmla="*/ 165017 h 798267"/>
              <a:gd name="connsiteX421" fmla="*/ 517265 w 682417"/>
              <a:gd name="connsiteY421" fmla="*/ 166503 h 798267"/>
              <a:gd name="connsiteX422" fmla="*/ 514407 w 682417"/>
              <a:gd name="connsiteY422" fmla="*/ 169494 h 798267"/>
              <a:gd name="connsiteX423" fmla="*/ 506911 w 682417"/>
              <a:gd name="connsiteY423" fmla="*/ 165912 h 798267"/>
              <a:gd name="connsiteX424" fmla="*/ 506330 w 682417"/>
              <a:gd name="connsiteY424" fmla="*/ 169284 h 798267"/>
              <a:gd name="connsiteX425" fmla="*/ 510073 w 682417"/>
              <a:gd name="connsiteY425" fmla="*/ 174561 h 798267"/>
              <a:gd name="connsiteX426" fmla="*/ 505535 w 682417"/>
              <a:gd name="connsiteY426" fmla="*/ 173564 h 798267"/>
              <a:gd name="connsiteX427" fmla="*/ 504053 w 682417"/>
              <a:gd name="connsiteY427" fmla="*/ 175857 h 798267"/>
              <a:gd name="connsiteX428" fmla="*/ 501053 w 682417"/>
              <a:gd name="connsiteY428" fmla="*/ 172999 h 798267"/>
              <a:gd name="connsiteX429" fmla="*/ 494091 w 682417"/>
              <a:gd name="connsiteY429" fmla="*/ 178952 h 798267"/>
              <a:gd name="connsiteX430" fmla="*/ 494090 w 682417"/>
              <a:gd name="connsiteY430" fmla="*/ 179943 h 798267"/>
              <a:gd name="connsiteX431" fmla="*/ 493347 w 682417"/>
              <a:gd name="connsiteY431" fmla="*/ 177495 h 798267"/>
              <a:gd name="connsiteX432" fmla="*/ 489385 w 682417"/>
              <a:gd name="connsiteY432" fmla="*/ 180295 h 798267"/>
              <a:gd name="connsiteX433" fmla="*/ 485261 w 682417"/>
              <a:gd name="connsiteY433" fmla="*/ 177276 h 798267"/>
              <a:gd name="connsiteX434" fmla="*/ 485813 w 682417"/>
              <a:gd name="connsiteY434" fmla="*/ 180848 h 798267"/>
              <a:gd name="connsiteX435" fmla="*/ 484861 w 682417"/>
              <a:gd name="connsiteY435" fmla="*/ 179533 h 798267"/>
              <a:gd name="connsiteX436" fmla="*/ 478469 w 682417"/>
              <a:gd name="connsiteY436" fmla="*/ 183086 h 798267"/>
              <a:gd name="connsiteX437" fmla="*/ 479231 w 682417"/>
              <a:gd name="connsiteY437" fmla="*/ 178581 h 798267"/>
              <a:gd name="connsiteX438" fmla="*/ 475278 w 682417"/>
              <a:gd name="connsiteY438" fmla="*/ 181391 h 798267"/>
              <a:gd name="connsiteX439" fmla="*/ 471468 w 682417"/>
              <a:gd name="connsiteY439" fmla="*/ 190020 h 798267"/>
              <a:gd name="connsiteX440" fmla="*/ 466030 w 682417"/>
              <a:gd name="connsiteY440" fmla="*/ 187934 h 798267"/>
              <a:gd name="connsiteX441" fmla="*/ 463944 w 682417"/>
              <a:gd name="connsiteY441" fmla="*/ 193383 h 798267"/>
              <a:gd name="connsiteX442" fmla="*/ 462820 w 682417"/>
              <a:gd name="connsiteY442" fmla="*/ 193192 h 798267"/>
              <a:gd name="connsiteX443" fmla="*/ 460753 w 682417"/>
              <a:gd name="connsiteY443" fmla="*/ 191678 h 798267"/>
              <a:gd name="connsiteX444" fmla="*/ 457895 w 682417"/>
              <a:gd name="connsiteY444" fmla="*/ 194678 h 798267"/>
              <a:gd name="connsiteX445" fmla="*/ 453009 w 682417"/>
              <a:gd name="connsiteY445" fmla="*/ 196164 h 798267"/>
              <a:gd name="connsiteX446" fmla="*/ 459772 w 682417"/>
              <a:gd name="connsiteY446" fmla="*/ 197316 h 798267"/>
              <a:gd name="connsiteX447" fmla="*/ 456752 w 682417"/>
              <a:gd name="connsiteY447" fmla="*/ 201441 h 798267"/>
              <a:gd name="connsiteX448" fmla="*/ 450561 w 682417"/>
              <a:gd name="connsiteY448" fmla="*/ 196907 h 798267"/>
              <a:gd name="connsiteX449" fmla="*/ 440760 w 682417"/>
              <a:gd name="connsiteY449" fmla="*/ 206841 h 798267"/>
              <a:gd name="connsiteX450" fmla="*/ 433816 w 682417"/>
              <a:gd name="connsiteY450" fmla="*/ 206841 h 798267"/>
              <a:gd name="connsiteX451" fmla="*/ 432111 w 682417"/>
              <a:gd name="connsiteY451" fmla="*/ 210032 h 798267"/>
              <a:gd name="connsiteX452" fmla="*/ 430425 w 682417"/>
              <a:gd name="connsiteY452" fmla="*/ 206270 h 798267"/>
              <a:gd name="connsiteX453" fmla="*/ 428730 w 682417"/>
              <a:gd name="connsiteY453" fmla="*/ 209451 h 798267"/>
              <a:gd name="connsiteX454" fmla="*/ 426472 w 682417"/>
              <a:gd name="connsiteY454" fmla="*/ 209070 h 798267"/>
              <a:gd name="connsiteX455" fmla="*/ 423120 w 682417"/>
              <a:gd name="connsiteY455" fmla="*/ 201545 h 798267"/>
              <a:gd name="connsiteX456" fmla="*/ 422348 w 682417"/>
              <a:gd name="connsiteY456" fmla="*/ 206051 h 798267"/>
              <a:gd name="connsiteX457" fmla="*/ 417652 w 682417"/>
              <a:gd name="connsiteY457" fmla="*/ 206413 h 798267"/>
              <a:gd name="connsiteX458" fmla="*/ 417652 w 682417"/>
              <a:gd name="connsiteY458" fmla="*/ 213366 h 798267"/>
              <a:gd name="connsiteX459" fmla="*/ 420824 w 682417"/>
              <a:gd name="connsiteY459" fmla="*/ 222024 h 798267"/>
              <a:gd name="connsiteX460" fmla="*/ 419310 w 682417"/>
              <a:gd name="connsiteY460" fmla="*/ 224082 h 798267"/>
              <a:gd name="connsiteX461" fmla="*/ 414223 w 682417"/>
              <a:gd name="connsiteY461" fmla="*/ 226701 h 798267"/>
              <a:gd name="connsiteX462" fmla="*/ 413490 w 682417"/>
              <a:gd name="connsiteY462" fmla="*/ 224263 h 798267"/>
              <a:gd name="connsiteX463" fmla="*/ 409746 w 682417"/>
              <a:gd name="connsiteY463" fmla="*/ 218976 h 798267"/>
              <a:gd name="connsiteX464" fmla="*/ 404470 w 682417"/>
              <a:gd name="connsiteY464" fmla="*/ 222729 h 798267"/>
              <a:gd name="connsiteX465" fmla="*/ 397135 w 682417"/>
              <a:gd name="connsiteY465" fmla="*/ 224958 h 798267"/>
              <a:gd name="connsiteX466" fmla="*/ 401450 w 682417"/>
              <a:gd name="connsiteY466" fmla="*/ 226863 h 798267"/>
              <a:gd name="connsiteX467" fmla="*/ 407641 w 682417"/>
              <a:gd name="connsiteY467" fmla="*/ 231387 h 798267"/>
              <a:gd name="connsiteX468" fmla="*/ 405555 w 682417"/>
              <a:gd name="connsiteY468" fmla="*/ 236836 h 798267"/>
              <a:gd name="connsiteX469" fmla="*/ 403489 w 682417"/>
              <a:gd name="connsiteY469" fmla="*/ 235321 h 798267"/>
              <a:gd name="connsiteX470" fmla="*/ 401984 w 682417"/>
              <a:gd name="connsiteY470" fmla="*/ 237379 h 798267"/>
              <a:gd name="connsiteX471" fmla="*/ 398174 w 682417"/>
              <a:gd name="connsiteY471" fmla="*/ 239064 h 798267"/>
              <a:gd name="connsiteX472" fmla="*/ 397221 w 682417"/>
              <a:gd name="connsiteY472" fmla="*/ 237750 h 798267"/>
              <a:gd name="connsiteX473" fmla="*/ 394202 w 682417"/>
              <a:gd name="connsiteY473" fmla="*/ 241874 h 798267"/>
              <a:gd name="connsiteX474" fmla="*/ 387439 w 682417"/>
              <a:gd name="connsiteY474" fmla="*/ 240722 h 798267"/>
              <a:gd name="connsiteX475" fmla="*/ 383677 w 682417"/>
              <a:gd name="connsiteY475" fmla="*/ 242408 h 798267"/>
              <a:gd name="connsiteX476" fmla="*/ 381591 w 682417"/>
              <a:gd name="connsiteY476" fmla="*/ 247846 h 798267"/>
              <a:gd name="connsiteX477" fmla="*/ 375771 w 682417"/>
              <a:gd name="connsiteY477" fmla="*/ 248018 h 798267"/>
              <a:gd name="connsiteX478" fmla="*/ 374447 w 682417"/>
              <a:gd name="connsiteY478" fmla="*/ 248970 h 798267"/>
              <a:gd name="connsiteX479" fmla="*/ 368437 w 682417"/>
              <a:gd name="connsiteY479" fmla="*/ 250275 h 798267"/>
              <a:gd name="connsiteX480" fmla="*/ 370494 w 682417"/>
              <a:gd name="connsiteY480" fmla="*/ 251780 h 798267"/>
              <a:gd name="connsiteX481" fmla="*/ 366684 w 682417"/>
              <a:gd name="connsiteY481" fmla="*/ 253466 h 798267"/>
              <a:gd name="connsiteX482" fmla="*/ 360836 w 682417"/>
              <a:gd name="connsiteY482" fmla="*/ 260581 h 798267"/>
              <a:gd name="connsiteX483" fmla="*/ 353692 w 682417"/>
              <a:gd name="connsiteY483" fmla="*/ 261696 h 798267"/>
              <a:gd name="connsiteX484" fmla="*/ 354273 w 682417"/>
              <a:gd name="connsiteY484" fmla="*/ 258305 h 798267"/>
              <a:gd name="connsiteX485" fmla="*/ 348053 w 682417"/>
              <a:gd name="connsiteY485" fmla="*/ 260734 h 798267"/>
              <a:gd name="connsiteX486" fmla="*/ 340357 w 682417"/>
              <a:gd name="connsiteY486" fmla="*/ 258267 h 798267"/>
              <a:gd name="connsiteX487" fmla="*/ 338861 w 682417"/>
              <a:gd name="connsiteY487" fmla="*/ 260334 h 798267"/>
              <a:gd name="connsiteX488" fmla="*/ 335832 w 682417"/>
              <a:gd name="connsiteY488" fmla="*/ 264458 h 798267"/>
              <a:gd name="connsiteX489" fmla="*/ 327755 w 682417"/>
              <a:gd name="connsiteY489" fmla="*/ 264249 h 798267"/>
              <a:gd name="connsiteX490" fmla="*/ 324545 w 682417"/>
              <a:gd name="connsiteY490" fmla="*/ 269497 h 798267"/>
              <a:gd name="connsiteX491" fmla="*/ 321688 w 682417"/>
              <a:gd name="connsiteY491" fmla="*/ 265544 h 798267"/>
              <a:gd name="connsiteX492" fmla="*/ 316421 w 682417"/>
              <a:gd name="connsiteY492" fmla="*/ 269287 h 798267"/>
              <a:gd name="connsiteX493" fmla="*/ 310801 w 682417"/>
              <a:gd name="connsiteY493" fmla="*/ 261382 h 798267"/>
              <a:gd name="connsiteX494" fmla="*/ 315487 w 682417"/>
              <a:gd name="connsiteY494" fmla="*/ 267973 h 798267"/>
              <a:gd name="connsiteX495" fmla="*/ 312630 w 682417"/>
              <a:gd name="connsiteY495" fmla="*/ 270964 h 798267"/>
              <a:gd name="connsiteX496" fmla="*/ 315249 w 682417"/>
              <a:gd name="connsiteY496" fmla="*/ 276050 h 798267"/>
              <a:gd name="connsiteX497" fmla="*/ 309439 w 682417"/>
              <a:gd name="connsiteY497" fmla="*/ 269268 h 798267"/>
              <a:gd name="connsiteX498" fmla="*/ 306991 w 682417"/>
              <a:gd name="connsiteY498" fmla="*/ 270011 h 798267"/>
              <a:gd name="connsiteX499" fmla="*/ 313734 w 682417"/>
              <a:gd name="connsiteY499" fmla="*/ 278107 h 798267"/>
              <a:gd name="connsiteX500" fmla="*/ 316744 w 682417"/>
              <a:gd name="connsiteY500" fmla="*/ 273983 h 798267"/>
              <a:gd name="connsiteX501" fmla="*/ 321069 w 682417"/>
              <a:gd name="connsiteY501" fmla="*/ 275888 h 798267"/>
              <a:gd name="connsiteX502" fmla="*/ 321831 w 682417"/>
              <a:gd name="connsiteY502" fmla="*/ 271383 h 798267"/>
              <a:gd name="connsiteX503" fmla="*/ 324450 w 682417"/>
              <a:gd name="connsiteY503" fmla="*/ 276460 h 798267"/>
              <a:gd name="connsiteX504" fmla="*/ 326126 w 682417"/>
              <a:gd name="connsiteY504" fmla="*/ 280222 h 798267"/>
              <a:gd name="connsiteX505" fmla="*/ 323688 w 682417"/>
              <a:gd name="connsiteY505" fmla="*/ 280974 h 798267"/>
              <a:gd name="connsiteX506" fmla="*/ 320688 w 682417"/>
              <a:gd name="connsiteY506" fmla="*/ 278117 h 798267"/>
              <a:gd name="connsiteX507" fmla="*/ 315925 w 682417"/>
              <a:gd name="connsiteY507" fmla="*/ 285432 h 798267"/>
              <a:gd name="connsiteX508" fmla="*/ 311991 w 682417"/>
              <a:gd name="connsiteY508" fmla="*/ 281289 h 798267"/>
              <a:gd name="connsiteX509" fmla="*/ 307838 w 682417"/>
              <a:gd name="connsiteY509" fmla="*/ 285223 h 798267"/>
              <a:gd name="connsiteX510" fmla="*/ 301076 w 682417"/>
              <a:gd name="connsiteY510" fmla="*/ 284080 h 798267"/>
              <a:gd name="connsiteX511" fmla="*/ 298094 w 682417"/>
              <a:gd name="connsiteY511" fmla="*/ 274297 h 798267"/>
              <a:gd name="connsiteX512" fmla="*/ 295237 w 682417"/>
              <a:gd name="connsiteY512" fmla="*/ 277298 h 798267"/>
              <a:gd name="connsiteX513" fmla="*/ 297294 w 682417"/>
              <a:gd name="connsiteY513" fmla="*/ 278803 h 798267"/>
              <a:gd name="connsiteX514" fmla="*/ 298780 w 682417"/>
              <a:gd name="connsiteY514" fmla="*/ 283699 h 798267"/>
              <a:gd name="connsiteX515" fmla="*/ 298399 w 682417"/>
              <a:gd name="connsiteY515" fmla="*/ 285947 h 798267"/>
              <a:gd name="connsiteX516" fmla="*/ 294999 w 682417"/>
              <a:gd name="connsiteY516" fmla="*/ 292328 h 798267"/>
              <a:gd name="connsiteX517" fmla="*/ 298809 w 682417"/>
              <a:gd name="connsiteY517" fmla="*/ 290652 h 798267"/>
              <a:gd name="connsiteX518" fmla="*/ 297094 w 682417"/>
              <a:gd name="connsiteY518" fmla="*/ 300796 h 798267"/>
              <a:gd name="connsiteX519" fmla="*/ 295599 w 682417"/>
              <a:gd name="connsiteY519" fmla="*/ 295900 h 798267"/>
              <a:gd name="connsiteX520" fmla="*/ 291275 w 682417"/>
              <a:gd name="connsiteY520" fmla="*/ 300958 h 798267"/>
              <a:gd name="connsiteX521" fmla="*/ 288417 w 682417"/>
              <a:gd name="connsiteY521" fmla="*/ 303958 h 798267"/>
              <a:gd name="connsiteX522" fmla="*/ 288246 w 682417"/>
              <a:gd name="connsiteY522" fmla="*/ 298138 h 798267"/>
              <a:gd name="connsiteX523" fmla="*/ 286169 w 682417"/>
              <a:gd name="connsiteY523" fmla="*/ 303577 h 798267"/>
              <a:gd name="connsiteX524" fmla="*/ 283169 w 682417"/>
              <a:gd name="connsiteY524" fmla="*/ 300720 h 798267"/>
              <a:gd name="connsiteX525" fmla="*/ 280311 w 682417"/>
              <a:gd name="connsiteY525" fmla="*/ 303720 h 798267"/>
              <a:gd name="connsiteX526" fmla="*/ 275996 w 682417"/>
              <a:gd name="connsiteY526" fmla="*/ 301815 h 798267"/>
              <a:gd name="connsiteX527" fmla="*/ 271663 w 682417"/>
              <a:gd name="connsiteY527" fmla="*/ 306873 h 798267"/>
              <a:gd name="connsiteX528" fmla="*/ 269986 w 682417"/>
              <a:gd name="connsiteY528" fmla="*/ 303111 h 798267"/>
              <a:gd name="connsiteX529" fmla="*/ 263766 w 682417"/>
              <a:gd name="connsiteY529" fmla="*/ 305539 h 798267"/>
              <a:gd name="connsiteX530" fmla="*/ 265671 w 682417"/>
              <a:gd name="connsiteY530" fmla="*/ 308178 h 798267"/>
              <a:gd name="connsiteX531" fmla="*/ 263966 w 682417"/>
              <a:gd name="connsiteY531" fmla="*/ 311369 h 798267"/>
              <a:gd name="connsiteX532" fmla="*/ 260614 w 682417"/>
              <a:gd name="connsiteY532" fmla="*/ 303844 h 798267"/>
              <a:gd name="connsiteX533" fmla="*/ 256651 w 682417"/>
              <a:gd name="connsiteY533" fmla="*/ 306644 h 798267"/>
              <a:gd name="connsiteX534" fmla="*/ 259832 w 682417"/>
              <a:gd name="connsiteY534" fmla="*/ 315303 h 798267"/>
              <a:gd name="connsiteX535" fmla="*/ 266224 w 682417"/>
              <a:gd name="connsiteY535" fmla="*/ 311750 h 798267"/>
              <a:gd name="connsiteX536" fmla="*/ 268862 w 682417"/>
              <a:gd name="connsiteY536" fmla="*/ 309845 h 798267"/>
              <a:gd name="connsiteX537" fmla="*/ 266005 w 682417"/>
              <a:gd name="connsiteY537" fmla="*/ 312836 h 798267"/>
              <a:gd name="connsiteX538" fmla="*/ 273529 w 682417"/>
              <a:gd name="connsiteY538" fmla="*/ 309473 h 798267"/>
              <a:gd name="connsiteX539" fmla="*/ 270901 w 682417"/>
              <a:gd name="connsiteY539" fmla="*/ 311378 h 798267"/>
              <a:gd name="connsiteX540" fmla="*/ 275958 w 682417"/>
              <a:gd name="connsiteY540" fmla="*/ 315712 h 798267"/>
              <a:gd name="connsiteX541" fmla="*/ 275187 w 682417"/>
              <a:gd name="connsiteY541" fmla="*/ 320217 h 798267"/>
              <a:gd name="connsiteX542" fmla="*/ 273282 w 682417"/>
              <a:gd name="connsiteY542" fmla="*/ 317579 h 798267"/>
              <a:gd name="connsiteX543" fmla="*/ 271577 w 682417"/>
              <a:gd name="connsiteY543" fmla="*/ 320779 h 798267"/>
              <a:gd name="connsiteX544" fmla="*/ 266881 w 682417"/>
              <a:gd name="connsiteY544" fmla="*/ 321132 h 798267"/>
              <a:gd name="connsiteX545" fmla="*/ 268567 w 682417"/>
              <a:gd name="connsiteY545" fmla="*/ 324942 h 798267"/>
              <a:gd name="connsiteX546" fmla="*/ 265186 w 682417"/>
              <a:gd name="connsiteY546" fmla="*/ 324370 h 798267"/>
              <a:gd name="connsiteX547" fmla="*/ 263281 w 682417"/>
              <a:gd name="connsiteY547" fmla="*/ 328685 h 798267"/>
              <a:gd name="connsiteX548" fmla="*/ 264966 w 682417"/>
              <a:gd name="connsiteY548" fmla="*/ 332495 h 798267"/>
              <a:gd name="connsiteX549" fmla="*/ 260642 w 682417"/>
              <a:gd name="connsiteY549" fmla="*/ 330590 h 798267"/>
              <a:gd name="connsiteX550" fmla="*/ 261004 w 682417"/>
              <a:gd name="connsiteY550" fmla="*/ 335286 h 798267"/>
              <a:gd name="connsiteX551" fmla="*/ 254060 w 682417"/>
              <a:gd name="connsiteY551" fmla="*/ 335286 h 798267"/>
              <a:gd name="connsiteX552" fmla="*/ 251031 w 682417"/>
              <a:gd name="connsiteY552" fmla="*/ 339410 h 798267"/>
              <a:gd name="connsiteX553" fmla="*/ 255737 w 682417"/>
              <a:gd name="connsiteY553" fmla="*/ 339048 h 798267"/>
              <a:gd name="connsiteX554" fmla="*/ 248402 w 682417"/>
              <a:gd name="connsiteY554" fmla="*/ 341287 h 798267"/>
              <a:gd name="connsiteX555" fmla="*/ 251422 w 682417"/>
              <a:gd name="connsiteY555" fmla="*/ 337153 h 798267"/>
              <a:gd name="connsiteX556" fmla="*/ 246726 w 682417"/>
              <a:gd name="connsiteY556" fmla="*/ 337524 h 798267"/>
              <a:gd name="connsiteX557" fmla="*/ 249336 w 682417"/>
              <a:gd name="connsiteY557" fmla="*/ 342601 h 798267"/>
              <a:gd name="connsiteX558" fmla="*/ 247259 w 682417"/>
              <a:gd name="connsiteY558" fmla="*/ 348050 h 798267"/>
              <a:gd name="connsiteX559" fmla="*/ 242383 w 682417"/>
              <a:gd name="connsiteY559" fmla="*/ 342582 h 798267"/>
              <a:gd name="connsiteX560" fmla="*/ 238573 w 682417"/>
              <a:gd name="connsiteY560" fmla="*/ 344268 h 798267"/>
              <a:gd name="connsiteX561" fmla="*/ 241192 w 682417"/>
              <a:gd name="connsiteY561" fmla="*/ 349345 h 798267"/>
              <a:gd name="connsiteX562" fmla="*/ 238744 w 682417"/>
              <a:gd name="connsiteY562" fmla="*/ 350088 h 798267"/>
              <a:gd name="connsiteX563" fmla="*/ 237230 w 682417"/>
              <a:gd name="connsiteY563" fmla="*/ 352155 h 798267"/>
              <a:gd name="connsiteX564" fmla="*/ 237020 w 682417"/>
              <a:gd name="connsiteY564" fmla="*/ 360232 h 798267"/>
              <a:gd name="connsiteX565" fmla="*/ 232134 w 682417"/>
              <a:gd name="connsiteY565" fmla="*/ 361718 h 798267"/>
              <a:gd name="connsiteX566" fmla="*/ 225523 w 682417"/>
              <a:gd name="connsiteY566" fmla="*/ 373348 h 798267"/>
              <a:gd name="connsiteX567" fmla="*/ 220275 w 682417"/>
              <a:gd name="connsiteY567" fmla="*/ 370138 h 798267"/>
              <a:gd name="connsiteX568" fmla="*/ 221761 w 682417"/>
              <a:gd name="connsiteY568" fmla="*/ 375034 h 798267"/>
              <a:gd name="connsiteX569" fmla="*/ 223818 w 682417"/>
              <a:gd name="connsiteY569" fmla="*/ 376539 h 798267"/>
              <a:gd name="connsiteX570" fmla="*/ 215913 w 682417"/>
              <a:gd name="connsiteY570" fmla="*/ 382159 h 798267"/>
              <a:gd name="connsiteX571" fmla="*/ 214008 w 682417"/>
              <a:gd name="connsiteY571" fmla="*/ 386473 h 798267"/>
              <a:gd name="connsiteX572" fmla="*/ 210817 w 682417"/>
              <a:gd name="connsiteY572" fmla="*/ 384768 h 798267"/>
              <a:gd name="connsiteX573" fmla="*/ 209864 w 682417"/>
              <a:gd name="connsiteY573" fmla="*/ 390407 h 798267"/>
              <a:gd name="connsiteX574" fmla="*/ 204426 w 682417"/>
              <a:gd name="connsiteY574" fmla="*/ 388321 h 798267"/>
              <a:gd name="connsiteX575" fmla="*/ 198958 w 682417"/>
              <a:gd name="connsiteY575" fmla="*/ 393188 h 798267"/>
              <a:gd name="connsiteX576" fmla="*/ 199139 w 682417"/>
              <a:gd name="connsiteY576" fmla="*/ 399018 h 798267"/>
              <a:gd name="connsiteX577" fmla="*/ 202873 w 682417"/>
              <a:gd name="connsiteY577" fmla="*/ 404295 h 798267"/>
              <a:gd name="connsiteX578" fmla="*/ 197244 w 682417"/>
              <a:gd name="connsiteY578" fmla="*/ 403342 h 798267"/>
              <a:gd name="connsiteX579" fmla="*/ 197415 w 682417"/>
              <a:gd name="connsiteY579" fmla="*/ 409171 h 798267"/>
              <a:gd name="connsiteX580" fmla="*/ 193843 w 682417"/>
              <a:gd name="connsiteY580" fmla="*/ 409724 h 798267"/>
              <a:gd name="connsiteX581" fmla="*/ 194205 w 682417"/>
              <a:gd name="connsiteY581" fmla="*/ 414420 h 798267"/>
              <a:gd name="connsiteX582" fmla="*/ 190395 w 682417"/>
              <a:gd name="connsiteY582" fmla="*/ 416096 h 798267"/>
              <a:gd name="connsiteX583" fmla="*/ 190567 w 682417"/>
              <a:gd name="connsiteY583" fmla="*/ 421925 h 798267"/>
              <a:gd name="connsiteX584" fmla="*/ 185871 w 682417"/>
              <a:gd name="connsiteY584" fmla="*/ 422287 h 798267"/>
              <a:gd name="connsiteX585" fmla="*/ 185099 w 682417"/>
              <a:gd name="connsiteY585" fmla="*/ 426802 h 798267"/>
              <a:gd name="connsiteX586" fmla="*/ 181537 w 682417"/>
              <a:gd name="connsiteY586" fmla="*/ 427345 h 798267"/>
              <a:gd name="connsiteX587" fmla="*/ 177022 w 682417"/>
              <a:gd name="connsiteY587" fmla="*/ 426583 h 798267"/>
              <a:gd name="connsiteX588" fmla="*/ 178689 w 682417"/>
              <a:gd name="connsiteY588" fmla="*/ 437299 h 798267"/>
              <a:gd name="connsiteX589" fmla="*/ 174374 w 682417"/>
              <a:gd name="connsiteY589" fmla="*/ 435394 h 798267"/>
              <a:gd name="connsiteX590" fmla="*/ 169288 w 682417"/>
              <a:gd name="connsiteY590" fmla="*/ 438013 h 798267"/>
              <a:gd name="connsiteX591" fmla="*/ 170593 w 682417"/>
              <a:gd name="connsiteY591" fmla="*/ 444033 h 798267"/>
              <a:gd name="connsiteX592" fmla="*/ 160239 w 682417"/>
              <a:gd name="connsiteY592" fmla="*/ 450396 h 798267"/>
              <a:gd name="connsiteX593" fmla="*/ 162144 w 682417"/>
              <a:gd name="connsiteY593" fmla="*/ 453025 h 798267"/>
              <a:gd name="connsiteX594" fmla="*/ 163820 w 682417"/>
              <a:gd name="connsiteY594" fmla="*/ 456835 h 798267"/>
              <a:gd name="connsiteX595" fmla="*/ 162487 w 682417"/>
              <a:gd name="connsiteY595" fmla="*/ 464721 h 798267"/>
              <a:gd name="connsiteX596" fmla="*/ 155534 w 682417"/>
              <a:gd name="connsiteY596" fmla="*/ 464721 h 798267"/>
              <a:gd name="connsiteX597" fmla="*/ 151771 w 682417"/>
              <a:gd name="connsiteY597" fmla="*/ 466398 h 798267"/>
              <a:gd name="connsiteX598" fmla="*/ 149114 w 682417"/>
              <a:gd name="connsiteY598" fmla="*/ 475218 h 798267"/>
              <a:gd name="connsiteX599" fmla="*/ 150600 w 682417"/>
              <a:gd name="connsiteY599" fmla="*/ 480104 h 798267"/>
              <a:gd name="connsiteX600" fmla="*/ 146647 w 682417"/>
              <a:gd name="connsiteY600" fmla="*/ 482914 h 798267"/>
              <a:gd name="connsiteX601" fmla="*/ 144285 w 682417"/>
              <a:gd name="connsiteY601" fmla="*/ 480866 h 798267"/>
              <a:gd name="connsiteX602" fmla="*/ 142761 w 682417"/>
              <a:gd name="connsiteY602" fmla="*/ 489877 h 798267"/>
              <a:gd name="connsiteX603" fmla="*/ 147285 w 682417"/>
              <a:gd name="connsiteY603" fmla="*/ 483685 h 798267"/>
              <a:gd name="connsiteX604" fmla="*/ 155924 w 682417"/>
              <a:gd name="connsiteY604" fmla="*/ 487495 h 798267"/>
              <a:gd name="connsiteX605" fmla="*/ 154772 w 682417"/>
              <a:gd name="connsiteY605" fmla="*/ 494258 h 798267"/>
              <a:gd name="connsiteX606" fmla="*/ 149304 w 682417"/>
              <a:gd name="connsiteY606" fmla="*/ 499126 h 798267"/>
              <a:gd name="connsiteX607" fmla="*/ 142913 w 682417"/>
              <a:gd name="connsiteY607" fmla="*/ 502678 h 798267"/>
              <a:gd name="connsiteX608" fmla="*/ 144818 w 682417"/>
              <a:gd name="connsiteY608" fmla="*/ 505317 h 798267"/>
              <a:gd name="connsiteX609" fmla="*/ 144047 w 682417"/>
              <a:gd name="connsiteY609" fmla="*/ 509822 h 798267"/>
              <a:gd name="connsiteX610" fmla="*/ 142923 w 682417"/>
              <a:gd name="connsiteY610" fmla="*/ 509632 h 798267"/>
              <a:gd name="connsiteX611" fmla="*/ 138160 w 682417"/>
              <a:gd name="connsiteY611" fmla="*/ 516947 h 798267"/>
              <a:gd name="connsiteX612" fmla="*/ 134969 w 682417"/>
              <a:gd name="connsiteY612" fmla="*/ 515242 h 798267"/>
              <a:gd name="connsiteX613" fmla="*/ 128568 w 682417"/>
              <a:gd name="connsiteY613" fmla="*/ 518795 h 798267"/>
              <a:gd name="connsiteX614" fmla="*/ 121215 w 682417"/>
              <a:gd name="connsiteY614" fmla="*/ 527977 h 798267"/>
              <a:gd name="connsiteX615" fmla="*/ 125339 w 682417"/>
              <a:gd name="connsiteY615" fmla="*/ 530996 h 798267"/>
              <a:gd name="connsiteX616" fmla="*/ 122130 w 682417"/>
              <a:gd name="connsiteY616" fmla="*/ 536254 h 798267"/>
              <a:gd name="connsiteX617" fmla="*/ 124749 w 682417"/>
              <a:gd name="connsiteY617" fmla="*/ 541331 h 798267"/>
              <a:gd name="connsiteX618" fmla="*/ 121368 w 682417"/>
              <a:gd name="connsiteY618" fmla="*/ 540759 h 798267"/>
              <a:gd name="connsiteX619" fmla="*/ 117605 w 682417"/>
              <a:gd name="connsiteY619" fmla="*/ 542436 h 798267"/>
              <a:gd name="connsiteX620" fmla="*/ 119263 w 682417"/>
              <a:gd name="connsiteY620" fmla="*/ 553151 h 798267"/>
              <a:gd name="connsiteX621" fmla="*/ 114376 w 682417"/>
              <a:gd name="connsiteY621" fmla="*/ 554637 h 798267"/>
              <a:gd name="connsiteX622" fmla="*/ 114548 w 682417"/>
              <a:gd name="connsiteY622" fmla="*/ 560467 h 798267"/>
              <a:gd name="connsiteX623" fmla="*/ 110785 w 682417"/>
              <a:gd name="connsiteY623" fmla="*/ 562152 h 798267"/>
              <a:gd name="connsiteX624" fmla="*/ 108147 w 682417"/>
              <a:gd name="connsiteY624" fmla="*/ 564057 h 798267"/>
              <a:gd name="connsiteX625" fmla="*/ 104565 w 682417"/>
              <a:gd name="connsiteY625" fmla="*/ 564610 h 798267"/>
              <a:gd name="connsiteX626" fmla="*/ 98936 w 682417"/>
              <a:gd name="connsiteY626" fmla="*/ 563657 h 798267"/>
              <a:gd name="connsiteX627" fmla="*/ 98936 w 682417"/>
              <a:gd name="connsiteY627" fmla="*/ 570611 h 798267"/>
              <a:gd name="connsiteX628" fmla="*/ 101956 w 682417"/>
              <a:gd name="connsiteY628" fmla="*/ 566486 h 798267"/>
              <a:gd name="connsiteX629" fmla="*/ 109652 w 682417"/>
              <a:gd name="connsiteY629" fmla="*/ 568944 h 798267"/>
              <a:gd name="connsiteX630" fmla="*/ 106994 w 682417"/>
              <a:gd name="connsiteY630" fmla="*/ 577773 h 798267"/>
              <a:gd name="connsiteX631" fmla="*/ 105089 w 682417"/>
              <a:gd name="connsiteY631" fmla="*/ 575135 h 798267"/>
              <a:gd name="connsiteX632" fmla="*/ 100927 w 682417"/>
              <a:gd name="connsiteY632" fmla="*/ 586022 h 798267"/>
              <a:gd name="connsiteX633" fmla="*/ 101689 w 682417"/>
              <a:gd name="connsiteY633" fmla="*/ 581507 h 798267"/>
              <a:gd name="connsiteX634" fmla="*/ 95126 w 682417"/>
              <a:gd name="connsiteY634" fmla="*/ 579240 h 798267"/>
              <a:gd name="connsiteX635" fmla="*/ 99422 w 682417"/>
              <a:gd name="connsiteY635" fmla="*/ 588089 h 798267"/>
              <a:gd name="connsiteX636" fmla="*/ 95660 w 682417"/>
              <a:gd name="connsiteY636" fmla="*/ 589765 h 798267"/>
              <a:gd name="connsiteX637" fmla="*/ 93574 w 682417"/>
              <a:gd name="connsiteY637" fmla="*/ 595204 h 798267"/>
              <a:gd name="connsiteX638" fmla="*/ 90011 w 682417"/>
              <a:gd name="connsiteY638" fmla="*/ 595766 h 798267"/>
              <a:gd name="connsiteX639" fmla="*/ 86439 w 682417"/>
              <a:gd name="connsiteY639" fmla="*/ 596319 h 798267"/>
              <a:gd name="connsiteX640" fmla="*/ 84734 w 682417"/>
              <a:gd name="connsiteY640" fmla="*/ 599500 h 798267"/>
              <a:gd name="connsiteX641" fmla="*/ 77591 w 682417"/>
              <a:gd name="connsiteY641" fmla="*/ 600614 h 798267"/>
              <a:gd name="connsiteX642" fmla="*/ 80010 w 682417"/>
              <a:gd name="connsiteY642" fmla="*/ 606815 h 798267"/>
              <a:gd name="connsiteX643" fmla="*/ 84773 w 682417"/>
              <a:gd name="connsiteY643" fmla="*/ 599500 h 798267"/>
              <a:gd name="connsiteX644" fmla="*/ 89449 w 682417"/>
              <a:gd name="connsiteY644" fmla="*/ 606091 h 798267"/>
              <a:gd name="connsiteX645" fmla="*/ 83239 w 682417"/>
              <a:gd name="connsiteY645" fmla="*/ 608520 h 798267"/>
              <a:gd name="connsiteX646" fmla="*/ 86420 w 682417"/>
              <a:gd name="connsiteY646" fmla="*/ 610216 h 798267"/>
              <a:gd name="connsiteX647" fmla="*/ 87916 w 682417"/>
              <a:gd name="connsiteY647" fmla="*/ 615111 h 798267"/>
              <a:gd name="connsiteX648" fmla="*/ 85058 w 682417"/>
              <a:gd name="connsiteY648" fmla="*/ 618102 h 798267"/>
              <a:gd name="connsiteX649" fmla="*/ 84106 w 682417"/>
              <a:gd name="connsiteY649" fmla="*/ 616797 h 798267"/>
              <a:gd name="connsiteX650" fmla="*/ 82782 w 682417"/>
              <a:gd name="connsiteY650" fmla="*/ 617750 h 798267"/>
              <a:gd name="connsiteX651" fmla="*/ 84687 w 682417"/>
              <a:gd name="connsiteY651" fmla="*/ 620388 h 798267"/>
              <a:gd name="connsiteX652" fmla="*/ 82248 w 682417"/>
              <a:gd name="connsiteY652" fmla="*/ 621141 h 798267"/>
              <a:gd name="connsiteX653" fmla="*/ 81867 w 682417"/>
              <a:gd name="connsiteY653" fmla="*/ 623389 h 798267"/>
              <a:gd name="connsiteX654" fmla="*/ 79419 w 682417"/>
              <a:gd name="connsiteY654" fmla="*/ 624132 h 798267"/>
              <a:gd name="connsiteX655" fmla="*/ 79038 w 682417"/>
              <a:gd name="connsiteY655" fmla="*/ 626389 h 798267"/>
              <a:gd name="connsiteX656" fmla="*/ 73571 w 682417"/>
              <a:gd name="connsiteY656" fmla="*/ 631256 h 798267"/>
              <a:gd name="connsiteX657" fmla="*/ 66237 w 682417"/>
              <a:gd name="connsiteY657" fmla="*/ 633485 h 798267"/>
              <a:gd name="connsiteX658" fmla="*/ 67189 w 682417"/>
              <a:gd name="connsiteY658" fmla="*/ 634809 h 798267"/>
              <a:gd name="connsiteX659" fmla="*/ 67932 w 682417"/>
              <a:gd name="connsiteY659" fmla="*/ 637257 h 798267"/>
              <a:gd name="connsiteX660" fmla="*/ 65656 w 682417"/>
              <a:gd name="connsiteY660" fmla="*/ 643820 h 798267"/>
              <a:gd name="connsiteX661" fmla="*/ 69980 w 682417"/>
              <a:gd name="connsiteY661" fmla="*/ 645725 h 798267"/>
              <a:gd name="connsiteX662" fmla="*/ 69390 w 682417"/>
              <a:gd name="connsiteY662" fmla="*/ 656059 h 798267"/>
              <a:gd name="connsiteX663" fmla="*/ 67485 w 682417"/>
              <a:gd name="connsiteY663" fmla="*/ 660374 h 798267"/>
              <a:gd name="connsiteX664" fmla="*/ 62970 w 682417"/>
              <a:gd name="connsiteY664" fmla="*/ 659612 h 798267"/>
              <a:gd name="connsiteX665" fmla="*/ 59379 w 682417"/>
              <a:gd name="connsiteY665" fmla="*/ 667118 h 798267"/>
              <a:gd name="connsiteX666" fmla="*/ 62941 w 682417"/>
              <a:gd name="connsiteY666" fmla="*/ 673519 h 798267"/>
              <a:gd name="connsiteX667" fmla="*/ 62360 w 682417"/>
              <a:gd name="connsiteY667" fmla="*/ 676900 h 798267"/>
              <a:gd name="connsiteX668" fmla="*/ 58598 w 682417"/>
              <a:gd name="connsiteY668" fmla="*/ 678577 h 798267"/>
              <a:gd name="connsiteX669" fmla="*/ 57083 w 682417"/>
              <a:gd name="connsiteY669" fmla="*/ 680634 h 798267"/>
              <a:gd name="connsiteX670" fmla="*/ 56874 w 682417"/>
              <a:gd name="connsiteY670" fmla="*/ 688721 h 798267"/>
              <a:gd name="connsiteX671" fmla="*/ 53311 w 682417"/>
              <a:gd name="connsiteY671" fmla="*/ 689273 h 798267"/>
              <a:gd name="connsiteX672" fmla="*/ 51606 w 682417"/>
              <a:gd name="connsiteY672" fmla="*/ 692464 h 798267"/>
              <a:gd name="connsiteX673" fmla="*/ 49349 w 682417"/>
              <a:gd name="connsiteY673" fmla="*/ 692083 h 798267"/>
              <a:gd name="connsiteX674" fmla="*/ 47654 w 682417"/>
              <a:gd name="connsiteY674" fmla="*/ 695274 h 798267"/>
              <a:gd name="connsiteX675" fmla="*/ 53664 w 682417"/>
              <a:gd name="connsiteY675" fmla="*/ 693969 h 798267"/>
              <a:gd name="connsiteX676" fmla="*/ 55150 w 682417"/>
              <a:gd name="connsiteY676" fmla="*/ 698865 h 798267"/>
              <a:gd name="connsiteX677" fmla="*/ 49330 w 682417"/>
              <a:gd name="connsiteY677" fmla="*/ 699027 h 798267"/>
              <a:gd name="connsiteX678" fmla="*/ 46101 w 682417"/>
              <a:gd name="connsiteY678" fmla="*/ 711238 h 798267"/>
              <a:gd name="connsiteX679" fmla="*/ 50797 w 682417"/>
              <a:gd name="connsiteY679" fmla="*/ 710876 h 798267"/>
              <a:gd name="connsiteX680" fmla="*/ 45530 w 682417"/>
              <a:gd name="connsiteY680" fmla="*/ 714619 h 798267"/>
              <a:gd name="connsiteX681" fmla="*/ 41567 w 682417"/>
              <a:gd name="connsiteY681" fmla="*/ 717420 h 798267"/>
              <a:gd name="connsiteX682" fmla="*/ 42320 w 682417"/>
              <a:gd name="connsiteY682" fmla="*/ 719867 h 798267"/>
              <a:gd name="connsiteX683" fmla="*/ 43825 w 682417"/>
              <a:gd name="connsiteY683" fmla="*/ 717810 h 798267"/>
              <a:gd name="connsiteX684" fmla="*/ 48339 w 682417"/>
              <a:gd name="connsiteY684" fmla="*/ 718572 h 798267"/>
              <a:gd name="connsiteX685" fmla="*/ 47958 w 682417"/>
              <a:gd name="connsiteY685" fmla="*/ 720829 h 798267"/>
              <a:gd name="connsiteX686" fmla="*/ 48120 w 682417"/>
              <a:gd name="connsiteY686" fmla="*/ 726649 h 798267"/>
              <a:gd name="connsiteX687" fmla="*/ 48863 w 682417"/>
              <a:gd name="connsiteY687" fmla="*/ 729097 h 798267"/>
              <a:gd name="connsiteX688" fmla="*/ 46425 w 682417"/>
              <a:gd name="connsiteY688" fmla="*/ 729840 h 798267"/>
              <a:gd name="connsiteX689" fmla="*/ 42243 w 682417"/>
              <a:gd name="connsiteY689" fmla="*/ 747680 h 798267"/>
              <a:gd name="connsiteX690" fmla="*/ 39986 w 682417"/>
              <a:gd name="connsiteY690" fmla="*/ 747299 h 798267"/>
              <a:gd name="connsiteX691" fmla="*/ 35395 w 682417"/>
              <a:gd name="connsiteY691" fmla="*/ 774341 h 798267"/>
              <a:gd name="connsiteX692" fmla="*/ 36138 w 682417"/>
              <a:gd name="connsiteY692" fmla="*/ 776789 h 798267"/>
              <a:gd name="connsiteX693" fmla="*/ 26746 w 682417"/>
              <a:gd name="connsiteY693" fmla="*/ 777513 h 798267"/>
              <a:gd name="connsiteX694" fmla="*/ 27889 w 682417"/>
              <a:gd name="connsiteY694" fmla="*/ 770750 h 798267"/>
              <a:gd name="connsiteX695" fmla="*/ 25822 w 682417"/>
              <a:gd name="connsiteY695" fmla="*/ 769245 h 798267"/>
              <a:gd name="connsiteX696" fmla="*/ 20765 w 682417"/>
              <a:gd name="connsiteY696" fmla="*/ 764911 h 798267"/>
              <a:gd name="connsiteX697" fmla="*/ 22250 w 682417"/>
              <a:gd name="connsiteY697" fmla="*/ 769797 h 798267"/>
              <a:gd name="connsiteX698" fmla="*/ 25108 w 682417"/>
              <a:gd name="connsiteY698" fmla="*/ 773750 h 798267"/>
              <a:gd name="connsiteX699" fmla="*/ 20984 w 682417"/>
              <a:gd name="connsiteY699" fmla="*/ 770731 h 798267"/>
              <a:gd name="connsiteX700" fmla="*/ 17602 w 682417"/>
              <a:gd name="connsiteY700" fmla="*/ 770159 h 798267"/>
              <a:gd name="connsiteX701" fmla="*/ 15154 w 682417"/>
              <a:gd name="connsiteY701" fmla="*/ 770902 h 798267"/>
              <a:gd name="connsiteX702" fmla="*/ 20222 w 682417"/>
              <a:gd name="connsiteY702" fmla="*/ 775246 h 798267"/>
              <a:gd name="connsiteX703" fmla="*/ 15326 w 682417"/>
              <a:gd name="connsiteY703" fmla="*/ 776732 h 798267"/>
              <a:gd name="connsiteX704" fmla="*/ 14945 w 682417"/>
              <a:gd name="connsiteY704" fmla="*/ 778980 h 798267"/>
              <a:gd name="connsiteX705" fmla="*/ 12878 w 682417"/>
              <a:gd name="connsiteY705" fmla="*/ 777475 h 798267"/>
              <a:gd name="connsiteX706" fmla="*/ 11182 w 682417"/>
              <a:gd name="connsiteY706" fmla="*/ 780656 h 798267"/>
              <a:gd name="connsiteX707" fmla="*/ 8744 w 682417"/>
              <a:gd name="connsiteY707" fmla="*/ 781408 h 798267"/>
              <a:gd name="connsiteX708" fmla="*/ 13649 w 682417"/>
              <a:gd name="connsiteY708" fmla="*/ 772969 h 798267"/>
              <a:gd name="connsiteX709" fmla="*/ 11744 w 682417"/>
              <a:gd name="connsiteY709" fmla="*/ 770331 h 798267"/>
              <a:gd name="connsiteX710" fmla="*/ 14602 w 682417"/>
              <a:gd name="connsiteY710" fmla="*/ 767331 h 798267"/>
              <a:gd name="connsiteX711" fmla="*/ 10287 w 682417"/>
              <a:gd name="connsiteY711" fmla="*/ 765425 h 798267"/>
              <a:gd name="connsiteX712" fmla="*/ 10868 w 682417"/>
              <a:gd name="connsiteY712" fmla="*/ 762044 h 798267"/>
              <a:gd name="connsiteX713" fmla="*/ 2038 w 682417"/>
              <a:gd name="connsiteY713" fmla="*/ 759387 h 798267"/>
              <a:gd name="connsiteX714" fmla="*/ 5448 w 682417"/>
              <a:gd name="connsiteY714" fmla="*/ 753014 h 798267"/>
              <a:gd name="connsiteX715" fmla="*/ 0 w 682417"/>
              <a:gd name="connsiteY715" fmla="*/ 750928 h 798267"/>
              <a:gd name="connsiteX716" fmla="*/ 5648 w 682417"/>
              <a:gd name="connsiteY716" fmla="*/ 744928 h 798267"/>
              <a:gd name="connsiteX717" fmla="*/ 7906 w 682417"/>
              <a:gd name="connsiteY717" fmla="*/ 745309 h 798267"/>
              <a:gd name="connsiteX718" fmla="*/ 7734 w 682417"/>
              <a:gd name="connsiteY718" fmla="*/ 739489 h 798267"/>
              <a:gd name="connsiteX719" fmla="*/ 11154 w 682417"/>
              <a:gd name="connsiteY719" fmla="*/ 726154 h 798267"/>
              <a:gd name="connsiteX720" fmla="*/ 12849 w 682417"/>
              <a:gd name="connsiteY720" fmla="*/ 722963 h 798267"/>
              <a:gd name="connsiteX721" fmla="*/ 13059 w 682417"/>
              <a:gd name="connsiteY721" fmla="*/ 714886 h 798267"/>
              <a:gd name="connsiteX722" fmla="*/ 22479 w 682417"/>
              <a:gd name="connsiteY722" fmla="*/ 707209 h 798267"/>
              <a:gd name="connsiteX723" fmla="*/ 21936 w 682417"/>
              <a:gd name="connsiteY723" fmla="*/ 703637 h 798267"/>
              <a:gd name="connsiteX724" fmla="*/ 20031 w 682417"/>
              <a:gd name="connsiteY724" fmla="*/ 701008 h 798267"/>
              <a:gd name="connsiteX725" fmla="*/ 18126 w 682417"/>
              <a:gd name="connsiteY725" fmla="*/ 698370 h 798267"/>
              <a:gd name="connsiteX726" fmla="*/ 15135 w 682417"/>
              <a:gd name="connsiteY726" fmla="*/ 695512 h 798267"/>
              <a:gd name="connsiteX727" fmla="*/ 17193 w 682417"/>
              <a:gd name="connsiteY727" fmla="*/ 697026 h 798267"/>
              <a:gd name="connsiteX728" fmla="*/ 22469 w 682417"/>
              <a:gd name="connsiteY728" fmla="*/ 693283 h 798267"/>
              <a:gd name="connsiteX729" fmla="*/ 23041 w 682417"/>
              <a:gd name="connsiteY729" fmla="*/ 689892 h 798267"/>
              <a:gd name="connsiteX730" fmla="*/ 19850 w 682417"/>
              <a:gd name="connsiteY730" fmla="*/ 688197 h 798267"/>
              <a:gd name="connsiteX731" fmla="*/ 17050 w 682417"/>
              <a:gd name="connsiteY731" fmla="*/ 684244 h 798267"/>
              <a:gd name="connsiteX732" fmla="*/ 19488 w 682417"/>
              <a:gd name="connsiteY732" fmla="*/ 683491 h 798267"/>
              <a:gd name="connsiteX733" fmla="*/ 19126 w 682417"/>
              <a:gd name="connsiteY733" fmla="*/ 678805 h 798267"/>
              <a:gd name="connsiteX734" fmla="*/ 15745 w 682417"/>
              <a:gd name="connsiteY734" fmla="*/ 678234 h 798267"/>
              <a:gd name="connsiteX735" fmla="*/ 14792 w 682417"/>
              <a:gd name="connsiteY735" fmla="*/ 669956 h 798267"/>
              <a:gd name="connsiteX736" fmla="*/ 20612 w 682417"/>
              <a:gd name="connsiteY736" fmla="*/ 669785 h 798267"/>
              <a:gd name="connsiteX737" fmla="*/ 18707 w 682417"/>
              <a:gd name="connsiteY737" fmla="*/ 667147 h 798267"/>
              <a:gd name="connsiteX738" fmla="*/ 25851 w 682417"/>
              <a:gd name="connsiteY738" fmla="*/ 666042 h 798267"/>
              <a:gd name="connsiteX739" fmla="*/ 24746 w 682417"/>
              <a:gd name="connsiteY739" fmla="*/ 658898 h 798267"/>
              <a:gd name="connsiteX740" fmla="*/ 29642 w 682417"/>
              <a:gd name="connsiteY740" fmla="*/ 657412 h 798267"/>
              <a:gd name="connsiteX741" fmla="*/ 31137 w 682417"/>
              <a:gd name="connsiteY741" fmla="*/ 655345 h 798267"/>
              <a:gd name="connsiteX742" fmla="*/ 33395 w 682417"/>
              <a:gd name="connsiteY742" fmla="*/ 655726 h 798267"/>
              <a:gd name="connsiteX743" fmla="*/ 33966 w 682417"/>
              <a:gd name="connsiteY743" fmla="*/ 652354 h 798267"/>
              <a:gd name="connsiteX744" fmla="*/ 34719 w 682417"/>
              <a:gd name="connsiteY744" fmla="*/ 654793 h 798267"/>
              <a:gd name="connsiteX745" fmla="*/ 35671 w 682417"/>
              <a:gd name="connsiteY745" fmla="*/ 649154 h 798267"/>
              <a:gd name="connsiteX746" fmla="*/ 33033 w 682417"/>
              <a:gd name="connsiteY746" fmla="*/ 651059 h 798267"/>
              <a:gd name="connsiteX747" fmla="*/ 34185 w 682417"/>
              <a:gd name="connsiteY747" fmla="*/ 644296 h 798267"/>
              <a:gd name="connsiteX748" fmla="*/ 32699 w 682417"/>
              <a:gd name="connsiteY748" fmla="*/ 639410 h 798267"/>
              <a:gd name="connsiteX749" fmla="*/ 31375 w 682417"/>
              <a:gd name="connsiteY749" fmla="*/ 640362 h 798267"/>
              <a:gd name="connsiteX750" fmla="*/ 29699 w 682417"/>
              <a:gd name="connsiteY750" fmla="*/ 636600 h 798267"/>
              <a:gd name="connsiteX751" fmla="*/ 36671 w 682417"/>
              <a:gd name="connsiteY751" fmla="*/ 629666 h 798267"/>
              <a:gd name="connsiteX752" fmla="*/ 29908 w 682417"/>
              <a:gd name="connsiteY752" fmla="*/ 628523 h 798267"/>
              <a:gd name="connsiteX753" fmla="*/ 33309 w 682417"/>
              <a:gd name="connsiteY753" fmla="*/ 622141 h 798267"/>
              <a:gd name="connsiteX754" fmla="*/ 28223 w 682417"/>
              <a:gd name="connsiteY754" fmla="*/ 624760 h 798267"/>
              <a:gd name="connsiteX755" fmla="*/ 32033 w 682417"/>
              <a:gd name="connsiteY755" fmla="*/ 616121 h 798267"/>
              <a:gd name="connsiteX756" fmla="*/ 35033 w 682417"/>
              <a:gd name="connsiteY756" fmla="*/ 618979 h 798267"/>
              <a:gd name="connsiteX757" fmla="*/ 36728 w 682417"/>
              <a:gd name="connsiteY757" fmla="*/ 615788 h 798267"/>
              <a:gd name="connsiteX758" fmla="*/ 39729 w 682417"/>
              <a:gd name="connsiteY758" fmla="*/ 618645 h 798267"/>
              <a:gd name="connsiteX759" fmla="*/ 41805 w 682417"/>
              <a:gd name="connsiteY759" fmla="*/ 613206 h 798267"/>
              <a:gd name="connsiteX760" fmla="*/ 43710 w 682417"/>
              <a:gd name="connsiteY760" fmla="*/ 615835 h 798267"/>
              <a:gd name="connsiteX761" fmla="*/ 52959 w 682417"/>
              <a:gd name="connsiteY761" fmla="*/ 602329 h 798267"/>
              <a:gd name="connsiteX762" fmla="*/ 48263 w 682417"/>
              <a:gd name="connsiteY762" fmla="*/ 602700 h 798267"/>
              <a:gd name="connsiteX763" fmla="*/ 45406 w 682417"/>
              <a:gd name="connsiteY763" fmla="*/ 605701 h 798267"/>
              <a:gd name="connsiteX764" fmla="*/ 42958 w 682417"/>
              <a:gd name="connsiteY764" fmla="*/ 606444 h 798267"/>
              <a:gd name="connsiteX765" fmla="*/ 39767 w 682417"/>
              <a:gd name="connsiteY765" fmla="*/ 604739 h 798267"/>
              <a:gd name="connsiteX766" fmla="*/ 38090 w 682417"/>
              <a:gd name="connsiteY766" fmla="*/ 600929 h 798267"/>
              <a:gd name="connsiteX767" fmla="*/ 44291 w 682417"/>
              <a:gd name="connsiteY767" fmla="*/ 598509 h 798267"/>
              <a:gd name="connsiteX768" fmla="*/ 40719 w 682417"/>
              <a:gd name="connsiteY768" fmla="*/ 599062 h 798267"/>
              <a:gd name="connsiteX769" fmla="*/ 43739 w 682417"/>
              <a:gd name="connsiteY769" fmla="*/ 594938 h 798267"/>
              <a:gd name="connsiteX770" fmla="*/ 45444 w 682417"/>
              <a:gd name="connsiteY770" fmla="*/ 591747 h 798267"/>
              <a:gd name="connsiteX771" fmla="*/ 43377 w 682417"/>
              <a:gd name="connsiteY771" fmla="*/ 590232 h 798267"/>
              <a:gd name="connsiteX772" fmla="*/ 49206 w 682417"/>
              <a:gd name="connsiteY772" fmla="*/ 590061 h 798267"/>
              <a:gd name="connsiteX773" fmla="*/ 50721 w 682417"/>
              <a:gd name="connsiteY773" fmla="*/ 588003 h 798267"/>
              <a:gd name="connsiteX774" fmla="*/ 56540 w 682417"/>
              <a:gd name="connsiteY774" fmla="*/ 587832 h 798267"/>
              <a:gd name="connsiteX775" fmla="*/ 53350 w 682417"/>
              <a:gd name="connsiteY775" fmla="*/ 586127 h 798267"/>
              <a:gd name="connsiteX776" fmla="*/ 54493 w 682417"/>
              <a:gd name="connsiteY776" fmla="*/ 579364 h 798267"/>
              <a:gd name="connsiteX777" fmla="*/ 57683 w 682417"/>
              <a:gd name="connsiteY777" fmla="*/ 581069 h 798267"/>
              <a:gd name="connsiteX778" fmla="*/ 58436 w 682417"/>
              <a:gd name="connsiteY778" fmla="*/ 583517 h 798267"/>
              <a:gd name="connsiteX779" fmla="*/ 59750 w 682417"/>
              <a:gd name="connsiteY779" fmla="*/ 582565 h 798267"/>
              <a:gd name="connsiteX780" fmla="*/ 61427 w 682417"/>
              <a:gd name="connsiteY780" fmla="*/ 586317 h 798267"/>
              <a:gd name="connsiteX781" fmla="*/ 62189 w 682417"/>
              <a:gd name="connsiteY781" fmla="*/ 581812 h 798267"/>
              <a:gd name="connsiteX782" fmla="*/ 65208 w 682417"/>
              <a:gd name="connsiteY782" fmla="*/ 577688 h 798267"/>
              <a:gd name="connsiteX783" fmla="*/ 59769 w 682417"/>
              <a:gd name="connsiteY783" fmla="*/ 575602 h 798267"/>
              <a:gd name="connsiteX784" fmla="*/ 65237 w 682417"/>
              <a:gd name="connsiteY784" fmla="*/ 570744 h 798267"/>
              <a:gd name="connsiteX785" fmla="*/ 62236 w 682417"/>
              <a:gd name="connsiteY785" fmla="*/ 567887 h 798267"/>
              <a:gd name="connsiteX786" fmla="*/ 61493 w 682417"/>
              <a:gd name="connsiteY786" fmla="*/ 565448 h 798267"/>
              <a:gd name="connsiteX787" fmla="*/ 63579 w 682417"/>
              <a:gd name="connsiteY787" fmla="*/ 560000 h 798267"/>
              <a:gd name="connsiteX788" fmla="*/ 67532 w 682417"/>
              <a:gd name="connsiteY788" fmla="*/ 557142 h 798267"/>
              <a:gd name="connsiteX789" fmla="*/ 64341 w 682417"/>
              <a:gd name="connsiteY789" fmla="*/ 555447 h 798267"/>
              <a:gd name="connsiteX790" fmla="*/ 65103 w 682417"/>
              <a:gd name="connsiteY790" fmla="*/ 550942 h 798267"/>
              <a:gd name="connsiteX791" fmla="*/ 67161 w 682417"/>
              <a:gd name="connsiteY791" fmla="*/ 552446 h 798267"/>
              <a:gd name="connsiteX792" fmla="*/ 75267 w 682417"/>
              <a:gd name="connsiteY792" fmla="*/ 545712 h 798267"/>
              <a:gd name="connsiteX793" fmla="*/ 75817 w 682417"/>
              <a:gd name="connsiteY793" fmla="*/ 541097 h 798267"/>
              <a:gd name="connsiteX794" fmla="*/ 78476 w 682417"/>
              <a:gd name="connsiteY794" fmla="*/ 540455 h 798267"/>
              <a:gd name="connsiteX795" fmla="*/ 78476 w 682417"/>
              <a:gd name="connsiteY795" fmla="*/ 533501 h 798267"/>
              <a:gd name="connsiteX796" fmla="*/ 82620 w 682417"/>
              <a:gd name="connsiteY796" fmla="*/ 529567 h 798267"/>
              <a:gd name="connsiteX797" fmla="*/ 77391 w 682417"/>
              <a:gd name="connsiteY797" fmla="*/ 519404 h 798267"/>
              <a:gd name="connsiteX798" fmla="*/ 82667 w 682417"/>
              <a:gd name="connsiteY798" fmla="*/ 515670 h 798267"/>
              <a:gd name="connsiteX799" fmla="*/ 84363 w 682417"/>
              <a:gd name="connsiteY799" fmla="*/ 512470 h 798267"/>
              <a:gd name="connsiteX800" fmla="*/ 87363 w 682417"/>
              <a:gd name="connsiteY800" fmla="*/ 515328 h 798267"/>
              <a:gd name="connsiteX801" fmla="*/ 84344 w 682417"/>
              <a:gd name="connsiteY801" fmla="*/ 519452 h 798267"/>
              <a:gd name="connsiteX802" fmla="*/ 88868 w 682417"/>
              <a:gd name="connsiteY802" fmla="*/ 513270 h 798267"/>
              <a:gd name="connsiteX803" fmla="*/ 90773 w 682417"/>
              <a:gd name="connsiteY803" fmla="*/ 515909 h 798267"/>
              <a:gd name="connsiteX804" fmla="*/ 92859 w 682417"/>
              <a:gd name="connsiteY804" fmla="*/ 510460 h 798267"/>
              <a:gd name="connsiteX805" fmla="*/ 96422 w 682417"/>
              <a:gd name="connsiteY805" fmla="*/ 509908 h 798267"/>
              <a:gd name="connsiteX806" fmla="*/ 91916 w 682417"/>
              <a:gd name="connsiteY806" fmla="*/ 509146 h 798267"/>
              <a:gd name="connsiteX807" fmla="*/ 90430 w 682417"/>
              <a:gd name="connsiteY807" fmla="*/ 504250 h 798267"/>
              <a:gd name="connsiteX808" fmla="*/ 89275 w 682417"/>
              <a:gd name="connsiteY808" fmla="*/ 505419 h 798267"/>
              <a:gd name="connsiteX809" fmla="*/ 90049 w 682417"/>
              <a:gd name="connsiteY809" fmla="*/ 506507 h 798267"/>
              <a:gd name="connsiteX810" fmla="*/ 85725 w 682417"/>
              <a:gd name="connsiteY810" fmla="*/ 504602 h 798267"/>
              <a:gd name="connsiteX811" fmla="*/ 88363 w 682417"/>
              <a:gd name="connsiteY811" fmla="*/ 502697 h 798267"/>
              <a:gd name="connsiteX812" fmla="*/ 92173 w 682417"/>
              <a:gd name="connsiteY812" fmla="*/ 494058 h 798267"/>
              <a:gd name="connsiteX813" fmla="*/ 90268 w 682417"/>
              <a:gd name="connsiteY813" fmla="*/ 498373 h 798267"/>
              <a:gd name="connsiteX814" fmla="*/ 98346 w 682417"/>
              <a:gd name="connsiteY814" fmla="*/ 498592 h 798267"/>
              <a:gd name="connsiteX815" fmla="*/ 98155 w 682417"/>
              <a:gd name="connsiteY815" fmla="*/ 499716 h 798267"/>
              <a:gd name="connsiteX816" fmla="*/ 108918 w 682417"/>
              <a:gd name="connsiteY816" fmla="*/ 484152 h 798267"/>
              <a:gd name="connsiteX817" fmla="*/ 108737 w 682417"/>
              <a:gd name="connsiteY817" fmla="*/ 478323 h 798267"/>
              <a:gd name="connsiteX818" fmla="*/ 109490 w 682417"/>
              <a:gd name="connsiteY818" fmla="*/ 480771 h 798267"/>
              <a:gd name="connsiteX819" fmla="*/ 113252 w 682417"/>
              <a:gd name="connsiteY819" fmla="*/ 479094 h 798267"/>
              <a:gd name="connsiteX820" fmla="*/ 110633 w 682417"/>
              <a:gd name="connsiteY820" fmla="*/ 474008 h 798267"/>
              <a:gd name="connsiteX821" fmla="*/ 113652 w 682417"/>
              <a:gd name="connsiteY821" fmla="*/ 469884 h 798267"/>
              <a:gd name="connsiteX822" fmla="*/ 120987 w 682417"/>
              <a:gd name="connsiteY822" fmla="*/ 467655 h 798267"/>
              <a:gd name="connsiteX823" fmla="*/ 122158 w 682417"/>
              <a:gd name="connsiteY823" fmla="*/ 453939 h 798267"/>
              <a:gd name="connsiteX824" fmla="*/ 129892 w 682417"/>
              <a:gd name="connsiteY824" fmla="*/ 442509 h 798267"/>
              <a:gd name="connsiteX825" fmla="*/ 133274 w 682417"/>
              <a:gd name="connsiteY825" fmla="*/ 443080 h 798267"/>
              <a:gd name="connsiteX826" fmla="*/ 130845 w 682417"/>
              <a:gd name="connsiteY826" fmla="*/ 436880 h 798267"/>
              <a:gd name="connsiteX827" fmla="*/ 134655 w 682417"/>
              <a:gd name="connsiteY827" fmla="*/ 435194 h 798267"/>
              <a:gd name="connsiteX828" fmla="*/ 134864 w 682417"/>
              <a:gd name="connsiteY828" fmla="*/ 427117 h 798267"/>
              <a:gd name="connsiteX829" fmla="*/ 137122 w 682417"/>
              <a:gd name="connsiteY829" fmla="*/ 427498 h 798267"/>
              <a:gd name="connsiteX830" fmla="*/ 135626 w 682417"/>
              <a:gd name="connsiteY830" fmla="*/ 422611 h 798267"/>
              <a:gd name="connsiteX831" fmla="*/ 139189 w 682417"/>
              <a:gd name="connsiteY831" fmla="*/ 422049 h 798267"/>
              <a:gd name="connsiteX832" fmla="*/ 142046 w 682417"/>
              <a:gd name="connsiteY832" fmla="*/ 426002 h 798267"/>
              <a:gd name="connsiteX833" fmla="*/ 145618 w 682417"/>
              <a:gd name="connsiteY833" fmla="*/ 425450 h 798267"/>
              <a:gd name="connsiteX834" fmla="*/ 140360 w 682417"/>
              <a:gd name="connsiteY834" fmla="*/ 422240 h 798267"/>
              <a:gd name="connsiteX835" fmla="*/ 138322 w 682417"/>
              <a:gd name="connsiteY835" fmla="*/ 413782 h 798267"/>
              <a:gd name="connsiteX836" fmla="*/ 143208 w 682417"/>
              <a:gd name="connsiteY836" fmla="*/ 412296 h 798267"/>
              <a:gd name="connsiteX837" fmla="*/ 143608 w 682417"/>
              <a:gd name="connsiteY837" fmla="*/ 403085 h 798267"/>
              <a:gd name="connsiteX838" fmla="*/ 146056 w 682417"/>
              <a:gd name="connsiteY838" fmla="*/ 402342 h 798267"/>
              <a:gd name="connsiteX839" fmla="*/ 145485 w 682417"/>
              <a:gd name="connsiteY839" fmla="*/ 405723 h 798267"/>
              <a:gd name="connsiteX840" fmla="*/ 147171 w 682417"/>
              <a:gd name="connsiteY840" fmla="*/ 409486 h 798267"/>
              <a:gd name="connsiteX841" fmla="*/ 152629 w 682417"/>
              <a:gd name="connsiteY841" fmla="*/ 404618 h 798267"/>
              <a:gd name="connsiteX842" fmla="*/ 151469 w 682417"/>
              <a:gd name="connsiteY842" fmla="*/ 403454 h 798267"/>
              <a:gd name="connsiteX843" fmla="*/ 150371 w 682417"/>
              <a:gd name="connsiteY843" fmla="*/ 404228 h 798267"/>
              <a:gd name="connsiteX844" fmla="*/ 154181 w 682417"/>
              <a:gd name="connsiteY844" fmla="*/ 395598 h 798267"/>
              <a:gd name="connsiteX845" fmla="*/ 159268 w 682417"/>
              <a:gd name="connsiteY845" fmla="*/ 392988 h 798267"/>
              <a:gd name="connsiteX846" fmla="*/ 162258 w 682417"/>
              <a:gd name="connsiteY846" fmla="*/ 395846 h 798267"/>
              <a:gd name="connsiteX847" fmla="*/ 169050 w 682417"/>
              <a:gd name="connsiteY847" fmla="*/ 390045 h 798267"/>
              <a:gd name="connsiteX848" fmla="*/ 167402 w 682417"/>
              <a:gd name="connsiteY848" fmla="*/ 372376 h 798267"/>
              <a:gd name="connsiteX849" fmla="*/ 172107 w 682417"/>
              <a:gd name="connsiteY849" fmla="*/ 372014 h 798267"/>
              <a:gd name="connsiteX850" fmla="*/ 173460 w 682417"/>
              <a:gd name="connsiteY850" fmla="*/ 357174 h 798267"/>
              <a:gd name="connsiteX851" fmla="*/ 175717 w 682417"/>
              <a:gd name="connsiteY851" fmla="*/ 357555 h 798267"/>
              <a:gd name="connsiteX852" fmla="*/ 175355 w 682417"/>
              <a:gd name="connsiteY852" fmla="*/ 352860 h 798267"/>
              <a:gd name="connsiteX853" fmla="*/ 182309 w 682417"/>
              <a:gd name="connsiteY853" fmla="*/ 352860 h 798267"/>
              <a:gd name="connsiteX854" fmla="*/ 183261 w 682417"/>
              <a:gd name="connsiteY854" fmla="*/ 347221 h 798267"/>
              <a:gd name="connsiteX855" fmla="*/ 188157 w 682417"/>
              <a:gd name="connsiteY855" fmla="*/ 345735 h 798267"/>
              <a:gd name="connsiteX856" fmla="*/ 193234 w 682417"/>
              <a:gd name="connsiteY856" fmla="*/ 343116 h 798267"/>
              <a:gd name="connsiteX857" fmla="*/ 196634 w 682417"/>
              <a:gd name="connsiteY857" fmla="*/ 336743 h 798267"/>
              <a:gd name="connsiteX858" fmla="*/ 201330 w 682417"/>
              <a:gd name="connsiteY858" fmla="*/ 336381 h 798267"/>
              <a:gd name="connsiteX859" fmla="*/ 199654 w 682417"/>
              <a:gd name="connsiteY859" fmla="*/ 332619 h 798267"/>
              <a:gd name="connsiteX860" fmla="*/ 202282 w 682417"/>
              <a:gd name="connsiteY860" fmla="*/ 330714 h 798267"/>
              <a:gd name="connsiteX861" fmla="*/ 198168 w 682417"/>
              <a:gd name="connsiteY861" fmla="*/ 327695 h 798267"/>
              <a:gd name="connsiteX862" fmla="*/ 199863 w 682417"/>
              <a:gd name="connsiteY862" fmla="*/ 324504 h 798267"/>
              <a:gd name="connsiteX863" fmla="*/ 198911 w 682417"/>
              <a:gd name="connsiteY863" fmla="*/ 323189 h 798267"/>
              <a:gd name="connsiteX864" fmla="*/ 200997 w 682417"/>
              <a:gd name="connsiteY864" fmla="*/ 317750 h 798267"/>
              <a:gd name="connsiteX865" fmla="*/ 201739 w 682417"/>
              <a:gd name="connsiteY865" fmla="*/ 320189 h 798267"/>
              <a:gd name="connsiteX866" fmla="*/ 209645 w 682417"/>
              <a:gd name="connsiteY866" fmla="*/ 314579 h 798267"/>
              <a:gd name="connsiteX867" fmla="*/ 214160 w 682417"/>
              <a:gd name="connsiteY867" fmla="*/ 315341 h 798267"/>
              <a:gd name="connsiteX868" fmla="*/ 215856 w 682417"/>
              <a:gd name="connsiteY868" fmla="*/ 312150 h 798267"/>
              <a:gd name="connsiteX869" fmla="*/ 218103 w 682417"/>
              <a:gd name="connsiteY869" fmla="*/ 312531 h 798267"/>
              <a:gd name="connsiteX870" fmla="*/ 219808 w 682417"/>
              <a:gd name="connsiteY870" fmla="*/ 309340 h 798267"/>
              <a:gd name="connsiteX871" fmla="*/ 223771 w 682417"/>
              <a:gd name="connsiteY871" fmla="*/ 306540 h 798267"/>
              <a:gd name="connsiteX872" fmla="*/ 229210 w 682417"/>
              <a:gd name="connsiteY872" fmla="*/ 308626 h 798267"/>
              <a:gd name="connsiteX873" fmla="*/ 234096 w 682417"/>
              <a:gd name="connsiteY873" fmla="*/ 307130 h 798267"/>
              <a:gd name="connsiteX874" fmla="*/ 237306 w 682417"/>
              <a:gd name="connsiteY874" fmla="*/ 301882 h 798267"/>
              <a:gd name="connsiteX875" fmla="*/ 234315 w 682417"/>
              <a:gd name="connsiteY875" fmla="*/ 299024 h 798267"/>
              <a:gd name="connsiteX876" fmla="*/ 235629 w 682417"/>
              <a:gd name="connsiteY876" fmla="*/ 298072 h 798267"/>
              <a:gd name="connsiteX877" fmla="*/ 233724 w 682417"/>
              <a:gd name="connsiteY877" fmla="*/ 295433 h 798267"/>
              <a:gd name="connsiteX878" fmla="*/ 234305 w 682417"/>
              <a:gd name="connsiteY878" fmla="*/ 292052 h 798267"/>
              <a:gd name="connsiteX879" fmla="*/ 233934 w 682417"/>
              <a:gd name="connsiteY879" fmla="*/ 287356 h 798267"/>
              <a:gd name="connsiteX880" fmla="*/ 235258 w 682417"/>
              <a:gd name="connsiteY880" fmla="*/ 286404 h 798267"/>
              <a:gd name="connsiteX881" fmla="*/ 238115 w 682417"/>
              <a:gd name="connsiteY881" fmla="*/ 283413 h 798267"/>
              <a:gd name="connsiteX882" fmla="*/ 237754 w 682417"/>
              <a:gd name="connsiteY882" fmla="*/ 278708 h 798267"/>
              <a:gd name="connsiteX883" fmla="*/ 242449 w 682417"/>
              <a:gd name="connsiteY883" fmla="*/ 278346 h 798267"/>
              <a:gd name="connsiteX884" fmla="*/ 243783 w 682417"/>
              <a:gd name="connsiteY884" fmla="*/ 270459 h 798267"/>
              <a:gd name="connsiteX885" fmla="*/ 250003 w 682417"/>
              <a:gd name="connsiteY885" fmla="*/ 268039 h 798267"/>
              <a:gd name="connsiteX886" fmla="*/ 252994 w 682417"/>
              <a:gd name="connsiteY886" fmla="*/ 270897 h 798267"/>
              <a:gd name="connsiteX887" fmla="*/ 255270 w 682417"/>
              <a:gd name="connsiteY887" fmla="*/ 264334 h 798267"/>
              <a:gd name="connsiteX888" fmla="*/ 263328 w 682417"/>
              <a:gd name="connsiteY888" fmla="*/ 271488 h 798267"/>
              <a:gd name="connsiteX889" fmla="*/ 265967 w 682417"/>
              <a:gd name="connsiteY889" fmla="*/ 269583 h 798267"/>
              <a:gd name="connsiteX890" fmla="*/ 261842 w 682417"/>
              <a:gd name="connsiteY890" fmla="*/ 266563 h 798267"/>
              <a:gd name="connsiteX891" fmla="*/ 262614 w 682417"/>
              <a:gd name="connsiteY891" fmla="*/ 255133 h 798267"/>
              <a:gd name="connsiteX892" fmla="*/ 266195 w 682417"/>
              <a:gd name="connsiteY892" fmla="*/ 254581 h 798267"/>
              <a:gd name="connsiteX893" fmla="*/ 271853 w 682417"/>
              <a:gd name="connsiteY893" fmla="*/ 248580 h 798267"/>
              <a:gd name="connsiteX894" fmla="*/ 271301 w 682417"/>
              <a:gd name="connsiteY894" fmla="*/ 245008 h 798267"/>
              <a:gd name="connsiteX895" fmla="*/ 278054 w 682417"/>
              <a:gd name="connsiteY895" fmla="*/ 246161 h 798267"/>
              <a:gd name="connsiteX896" fmla="*/ 275196 w 682417"/>
              <a:gd name="connsiteY896" fmla="*/ 242208 h 798267"/>
              <a:gd name="connsiteX897" fmla="*/ 283855 w 682417"/>
              <a:gd name="connsiteY897" fmla="*/ 239036 h 798267"/>
              <a:gd name="connsiteX898" fmla="*/ 283683 w 682417"/>
              <a:gd name="connsiteY898" fmla="*/ 233207 h 798267"/>
              <a:gd name="connsiteX899" fmla="*/ 288379 w 682417"/>
              <a:gd name="connsiteY899" fmla="*/ 232845 h 798267"/>
              <a:gd name="connsiteX900" fmla="*/ 291589 w 682417"/>
              <a:gd name="connsiteY900" fmla="*/ 227596 h 798267"/>
              <a:gd name="connsiteX901" fmla="*/ 293656 w 682417"/>
              <a:gd name="connsiteY901" fmla="*/ 229101 h 798267"/>
              <a:gd name="connsiteX902" fmla="*/ 302504 w 682417"/>
              <a:gd name="connsiteY902" fmla="*/ 224806 h 798267"/>
              <a:gd name="connsiteX903" fmla="*/ 303457 w 682417"/>
              <a:gd name="connsiteY903" fmla="*/ 219176 h 798267"/>
              <a:gd name="connsiteX904" fmla="*/ 305714 w 682417"/>
              <a:gd name="connsiteY904" fmla="*/ 219557 h 798267"/>
              <a:gd name="connsiteX905" fmla="*/ 306095 w 682417"/>
              <a:gd name="connsiteY905" fmla="*/ 217300 h 798267"/>
              <a:gd name="connsiteX906" fmla="*/ 308343 w 682417"/>
              <a:gd name="connsiteY906" fmla="*/ 217681 h 798267"/>
              <a:gd name="connsiteX907" fmla="*/ 311363 w 682417"/>
              <a:gd name="connsiteY907" fmla="*/ 213556 h 798267"/>
              <a:gd name="connsiteX908" fmla="*/ 312677 w 682417"/>
              <a:gd name="connsiteY908" fmla="*/ 212604 h 798267"/>
              <a:gd name="connsiteX909" fmla="*/ 316240 w 682417"/>
              <a:gd name="connsiteY909" fmla="*/ 219005 h 798267"/>
              <a:gd name="connsiteX910" fmla="*/ 319421 w 682417"/>
              <a:gd name="connsiteY910" fmla="*/ 220710 h 798267"/>
              <a:gd name="connsiteX911" fmla="*/ 319040 w 682417"/>
              <a:gd name="connsiteY911" fmla="*/ 222958 h 798267"/>
              <a:gd name="connsiteX912" fmla="*/ 326174 w 682417"/>
              <a:gd name="connsiteY912" fmla="*/ 228806 h 798267"/>
              <a:gd name="connsiteX913" fmla="*/ 324107 w 682417"/>
              <a:gd name="connsiteY913" fmla="*/ 227301 h 798267"/>
              <a:gd name="connsiteX914" fmla="*/ 323364 w 682417"/>
              <a:gd name="connsiteY914" fmla="*/ 224853 h 798267"/>
              <a:gd name="connsiteX915" fmla="*/ 323574 w 682417"/>
              <a:gd name="connsiteY915" fmla="*/ 216776 h 798267"/>
              <a:gd name="connsiteX916" fmla="*/ 329584 w 682417"/>
              <a:gd name="connsiteY916" fmla="*/ 215471 h 798267"/>
              <a:gd name="connsiteX917" fmla="*/ 326231 w 682417"/>
              <a:gd name="connsiteY917" fmla="*/ 207946 h 798267"/>
              <a:gd name="connsiteX918" fmla="*/ 331670 w 682417"/>
              <a:gd name="connsiteY918" fmla="*/ 210032 h 798267"/>
              <a:gd name="connsiteX919" fmla="*/ 332813 w 682417"/>
              <a:gd name="connsiteY919" fmla="*/ 203269 h 798267"/>
              <a:gd name="connsiteX920" fmla="*/ 338452 w 682417"/>
              <a:gd name="connsiteY920" fmla="*/ 204222 h 798267"/>
              <a:gd name="connsiteX921" fmla="*/ 343529 w 682417"/>
              <a:gd name="connsiteY921" fmla="*/ 201612 h 798267"/>
              <a:gd name="connsiteX922" fmla="*/ 344481 w 682417"/>
              <a:gd name="connsiteY922" fmla="*/ 195973 h 798267"/>
              <a:gd name="connsiteX923" fmla="*/ 350691 w 682417"/>
              <a:gd name="connsiteY923" fmla="*/ 193554 h 798267"/>
              <a:gd name="connsiteX924" fmla="*/ 352368 w 682417"/>
              <a:gd name="connsiteY924" fmla="*/ 197316 h 798267"/>
              <a:gd name="connsiteX925" fmla="*/ 355368 w 682417"/>
              <a:gd name="connsiteY925" fmla="*/ 200174 h 798267"/>
              <a:gd name="connsiteX926" fmla="*/ 358578 w 682417"/>
              <a:gd name="connsiteY926" fmla="*/ 194926 h 798267"/>
              <a:gd name="connsiteX927" fmla="*/ 356511 w 682417"/>
              <a:gd name="connsiteY927" fmla="*/ 193421 h 798267"/>
              <a:gd name="connsiteX928" fmla="*/ 358416 w 682417"/>
              <a:gd name="connsiteY928" fmla="*/ 189106 h 798267"/>
              <a:gd name="connsiteX929" fmla="*/ 361036 w 682417"/>
              <a:gd name="connsiteY929" fmla="*/ 194183 h 798267"/>
              <a:gd name="connsiteX930" fmla="*/ 365169 w 682417"/>
              <a:gd name="connsiteY930" fmla="*/ 190249 h 798267"/>
              <a:gd name="connsiteX931" fmla="*/ 367979 w 682417"/>
              <a:gd name="connsiteY931" fmla="*/ 194202 h 798267"/>
              <a:gd name="connsiteX932" fmla="*/ 369494 w 682417"/>
              <a:gd name="connsiteY932" fmla="*/ 192144 h 798267"/>
              <a:gd name="connsiteX933" fmla="*/ 374571 w 682417"/>
              <a:gd name="connsiteY933" fmla="*/ 189525 h 798267"/>
              <a:gd name="connsiteX934" fmla="*/ 375314 w 682417"/>
              <a:gd name="connsiteY934" fmla="*/ 191973 h 798267"/>
              <a:gd name="connsiteX935" fmla="*/ 377571 w 682417"/>
              <a:gd name="connsiteY935" fmla="*/ 192354 h 798267"/>
              <a:gd name="connsiteX936" fmla="*/ 381743 w 682417"/>
              <a:gd name="connsiteY936" fmla="*/ 181467 h 798267"/>
              <a:gd name="connsiteX937" fmla="*/ 390363 w 682417"/>
              <a:gd name="connsiteY937" fmla="*/ 185277 h 798267"/>
              <a:gd name="connsiteX938" fmla="*/ 386972 w 682417"/>
              <a:gd name="connsiteY938" fmla="*/ 191659 h 798267"/>
              <a:gd name="connsiteX939" fmla="*/ 392811 w 682417"/>
              <a:gd name="connsiteY939" fmla="*/ 184534 h 798267"/>
              <a:gd name="connsiteX940" fmla="*/ 399936 w 682417"/>
              <a:gd name="connsiteY940" fmla="*/ 190373 h 798267"/>
              <a:gd name="connsiteX941" fmla="*/ 408061 w 682417"/>
              <a:gd name="connsiteY941" fmla="*/ 176685 h 798267"/>
              <a:gd name="connsiteX942" fmla="*/ 405203 w 682417"/>
              <a:gd name="connsiteY942" fmla="*/ 179676 h 798267"/>
              <a:gd name="connsiteX943" fmla="*/ 402346 w 682417"/>
              <a:gd name="connsiteY943" fmla="*/ 175723 h 798267"/>
              <a:gd name="connsiteX944" fmla="*/ 398412 w 682417"/>
              <a:gd name="connsiteY944" fmla="*/ 171580 h 798267"/>
              <a:gd name="connsiteX945" fmla="*/ 404232 w 682417"/>
              <a:gd name="connsiteY945" fmla="*/ 171408 h 798267"/>
              <a:gd name="connsiteX946" fmla="*/ 403679 w 682417"/>
              <a:gd name="connsiteY946" fmla="*/ 167836 h 798267"/>
              <a:gd name="connsiteX947" fmla="*/ 407641 w 682417"/>
              <a:gd name="connsiteY947" fmla="*/ 165036 h 798267"/>
              <a:gd name="connsiteX948" fmla="*/ 411785 w 682417"/>
              <a:gd name="connsiteY948" fmla="*/ 161093 h 798267"/>
              <a:gd name="connsiteX949" fmla="*/ 420253 w 682417"/>
              <a:gd name="connsiteY949" fmla="*/ 159054 h 798267"/>
              <a:gd name="connsiteX950" fmla="*/ 421015 w 682417"/>
              <a:gd name="connsiteY950" fmla="*/ 154549 h 798267"/>
              <a:gd name="connsiteX951" fmla="*/ 431349 w 682417"/>
              <a:gd name="connsiteY951" fmla="*/ 155140 h 798267"/>
              <a:gd name="connsiteX952" fmla="*/ 433626 w 682417"/>
              <a:gd name="connsiteY952" fmla="*/ 148577 h 798267"/>
              <a:gd name="connsiteX953" fmla="*/ 436483 w 682417"/>
              <a:gd name="connsiteY953" fmla="*/ 145577 h 798267"/>
              <a:gd name="connsiteX954" fmla="*/ 439865 w 682417"/>
              <a:gd name="connsiteY954" fmla="*/ 146148 h 798267"/>
              <a:gd name="connsiteX955" fmla="*/ 449837 w 682417"/>
              <a:gd name="connsiteY955" fmla="*/ 142043 h 798267"/>
              <a:gd name="connsiteX956" fmla="*/ 449066 w 682417"/>
              <a:gd name="connsiteY956" fmla="*/ 146548 h 798267"/>
              <a:gd name="connsiteX957" fmla="*/ 450771 w 682417"/>
              <a:gd name="connsiteY957" fmla="*/ 143367 h 798267"/>
              <a:gd name="connsiteX958" fmla="*/ 455466 w 682417"/>
              <a:gd name="connsiteY958" fmla="*/ 142995 h 798267"/>
              <a:gd name="connsiteX959" fmla="*/ 459810 w 682417"/>
              <a:gd name="connsiteY959" fmla="*/ 137938 h 798267"/>
              <a:gd name="connsiteX960" fmla="*/ 459810 w 682417"/>
              <a:gd name="connsiteY960" fmla="*/ 130984 h 798267"/>
              <a:gd name="connsiteX961" fmla="*/ 466573 w 682417"/>
              <a:gd name="connsiteY961" fmla="*/ 132127 h 798267"/>
              <a:gd name="connsiteX962" fmla="*/ 468649 w 682417"/>
              <a:gd name="connsiteY962" fmla="*/ 126688 h 798267"/>
              <a:gd name="connsiteX963" fmla="*/ 473907 w 682417"/>
              <a:gd name="connsiteY963" fmla="*/ 129898 h 798267"/>
              <a:gd name="connsiteX964" fmla="*/ 472602 w 682417"/>
              <a:gd name="connsiteY964" fmla="*/ 123879 h 798267"/>
              <a:gd name="connsiteX965" fmla="*/ 474669 w 682417"/>
              <a:gd name="connsiteY965" fmla="*/ 125393 h 798267"/>
              <a:gd name="connsiteX966" fmla="*/ 481641 w 682417"/>
              <a:gd name="connsiteY966" fmla="*/ 118459 h 798267"/>
              <a:gd name="connsiteX967" fmla="*/ 484832 w 682417"/>
              <a:gd name="connsiteY967" fmla="*/ 120164 h 798267"/>
              <a:gd name="connsiteX968" fmla="*/ 486537 w 682417"/>
              <a:gd name="connsiteY968" fmla="*/ 116973 h 798267"/>
              <a:gd name="connsiteX969" fmla="*/ 492928 w 682417"/>
              <a:gd name="connsiteY969" fmla="*/ 113420 h 798267"/>
              <a:gd name="connsiteX970" fmla="*/ 496119 w 682417"/>
              <a:gd name="connsiteY970" fmla="*/ 115116 h 798267"/>
              <a:gd name="connsiteX971" fmla="*/ 499339 w 682417"/>
              <a:gd name="connsiteY971" fmla="*/ 109867 h 798267"/>
              <a:gd name="connsiteX972" fmla="*/ 503091 w 682417"/>
              <a:gd name="connsiteY972" fmla="*/ 108191 h 798267"/>
              <a:gd name="connsiteX973" fmla="*/ 505730 w 682417"/>
              <a:gd name="connsiteY973" fmla="*/ 106286 h 798267"/>
              <a:gd name="connsiteX974" fmla="*/ 508587 w 682417"/>
              <a:gd name="connsiteY974" fmla="*/ 110239 h 798267"/>
              <a:gd name="connsiteX975" fmla="*/ 514979 w 682417"/>
              <a:gd name="connsiteY975" fmla="*/ 106686 h 798267"/>
              <a:gd name="connsiteX976" fmla="*/ 525313 w 682417"/>
              <a:gd name="connsiteY976" fmla="*/ 107286 h 798267"/>
              <a:gd name="connsiteX977" fmla="*/ 519293 w 682417"/>
              <a:gd name="connsiteY977" fmla="*/ 108581 h 798267"/>
              <a:gd name="connsiteX978" fmla="*/ 527552 w 682417"/>
              <a:gd name="connsiteY978" fmla="*/ 114620 h 798267"/>
              <a:gd name="connsiteX979" fmla="*/ 531505 w 682417"/>
              <a:gd name="connsiteY979" fmla="*/ 111810 h 798267"/>
              <a:gd name="connsiteX980" fmla="*/ 536572 w 682417"/>
              <a:gd name="connsiteY980" fmla="*/ 116144 h 798267"/>
              <a:gd name="connsiteX981" fmla="*/ 542963 w 682417"/>
              <a:gd name="connsiteY981" fmla="*/ 112591 h 798267"/>
              <a:gd name="connsiteX982" fmla="*/ 540182 w 682417"/>
              <a:gd name="connsiteY982" fmla="*/ 101685 h 798267"/>
              <a:gd name="connsiteX983" fmla="*/ 544306 w 682417"/>
              <a:gd name="connsiteY983" fmla="*/ 104705 h 798267"/>
              <a:gd name="connsiteX984" fmla="*/ 547164 w 682417"/>
              <a:gd name="connsiteY984" fmla="*/ 101714 h 798267"/>
              <a:gd name="connsiteX985" fmla="*/ 544925 w 682417"/>
              <a:gd name="connsiteY985" fmla="*/ 94370 h 798267"/>
              <a:gd name="connsiteX986" fmla="*/ 553002 w 682417"/>
              <a:gd name="connsiteY986" fmla="*/ 94580 h 798267"/>
              <a:gd name="connsiteX987" fmla="*/ 556965 w 682417"/>
              <a:gd name="connsiteY987" fmla="*/ 91779 h 798267"/>
              <a:gd name="connsiteX988" fmla="*/ 548878 w 682417"/>
              <a:gd name="connsiteY988" fmla="*/ 91570 h 798267"/>
              <a:gd name="connsiteX989" fmla="*/ 542696 w 682417"/>
              <a:gd name="connsiteY989" fmla="*/ 87036 h 798267"/>
              <a:gd name="connsiteX990" fmla="*/ 541182 w 682417"/>
              <a:gd name="connsiteY990" fmla="*/ 89103 h 798267"/>
              <a:gd name="connsiteX991" fmla="*/ 535543 w 682417"/>
              <a:gd name="connsiteY991" fmla="*/ 88150 h 798267"/>
              <a:gd name="connsiteX992" fmla="*/ 529361 w 682417"/>
              <a:gd name="connsiteY992" fmla="*/ 83616 h 798267"/>
              <a:gd name="connsiteX993" fmla="*/ 519770 w 682417"/>
              <a:gd name="connsiteY993" fmla="*/ 85521 h 798267"/>
              <a:gd name="connsiteX994" fmla="*/ 514521 w 682417"/>
              <a:gd name="connsiteY994" fmla="*/ 82302 h 798267"/>
              <a:gd name="connsiteX995" fmla="*/ 499491 w 682417"/>
              <a:gd name="connsiteY995" fmla="*/ 82073 h 798267"/>
              <a:gd name="connsiteX996" fmla="*/ 498929 w 682417"/>
              <a:gd name="connsiteY996" fmla="*/ 78502 h 798267"/>
              <a:gd name="connsiteX997" fmla="*/ 494976 w 682417"/>
              <a:gd name="connsiteY997" fmla="*/ 81359 h 798267"/>
              <a:gd name="connsiteX998" fmla="*/ 490852 w 682417"/>
              <a:gd name="connsiteY998" fmla="*/ 78340 h 798267"/>
              <a:gd name="connsiteX999" fmla="*/ 478469 w 682417"/>
              <a:gd name="connsiteY999" fmla="*/ 83188 h 798267"/>
              <a:gd name="connsiteX1000" fmla="*/ 474155 w 682417"/>
              <a:gd name="connsiteY1000" fmla="*/ 81283 h 798267"/>
              <a:gd name="connsiteX1001" fmla="*/ 475298 w 682417"/>
              <a:gd name="connsiteY1001" fmla="*/ 74530 h 798267"/>
              <a:gd name="connsiteX1002" fmla="*/ 469087 w 682417"/>
              <a:gd name="connsiteY1002" fmla="*/ 76949 h 798267"/>
              <a:gd name="connsiteX1003" fmla="*/ 464772 w 682417"/>
              <a:gd name="connsiteY1003" fmla="*/ 75044 h 798267"/>
              <a:gd name="connsiteX1004" fmla="*/ 459877 w 682417"/>
              <a:gd name="connsiteY1004" fmla="*/ 76530 h 798267"/>
              <a:gd name="connsiteX1005" fmla="*/ 460648 w 682417"/>
              <a:gd name="connsiteY1005" fmla="*/ 72025 h 798267"/>
              <a:gd name="connsiteX1006" fmla="*/ 456695 w 682417"/>
              <a:gd name="connsiteY1006" fmla="*/ 74834 h 798267"/>
              <a:gd name="connsiteX1007" fmla="*/ 440369 w 682417"/>
              <a:gd name="connsiteY1007" fmla="*/ 68586 h 798267"/>
              <a:gd name="connsiteX1008" fmla="*/ 426463 w 682417"/>
              <a:gd name="connsiteY1008" fmla="*/ 68538 h 798267"/>
              <a:gd name="connsiteX1009" fmla="*/ 421586 w 682417"/>
              <a:gd name="connsiteY1009" fmla="*/ 63081 h 798267"/>
              <a:gd name="connsiteX1010" fmla="*/ 415385 w 682417"/>
              <a:gd name="connsiteY1010" fmla="*/ 65500 h 798267"/>
              <a:gd name="connsiteX1011" fmla="*/ 410518 w 682417"/>
              <a:gd name="connsiteY1011" fmla="*/ 60033 h 798267"/>
              <a:gd name="connsiteX1012" fmla="*/ 410870 w 682417"/>
              <a:gd name="connsiteY1012" fmla="*/ 64738 h 798267"/>
              <a:gd name="connsiteX1013" fmla="*/ 408242 w 682417"/>
              <a:gd name="connsiteY1013" fmla="*/ 66643 h 798267"/>
              <a:gd name="connsiteX1014" fmla="*/ 400545 w 682417"/>
              <a:gd name="connsiteY1014" fmla="*/ 64185 h 798267"/>
              <a:gd name="connsiteX1015" fmla="*/ 396221 w 682417"/>
              <a:gd name="connsiteY1015" fmla="*/ 62280 h 798267"/>
              <a:gd name="connsiteX1016" fmla="*/ 398288 w 682417"/>
              <a:gd name="connsiteY1016" fmla="*/ 63785 h 798267"/>
              <a:gd name="connsiteX1017" fmla="*/ 393202 w 682417"/>
              <a:gd name="connsiteY1017" fmla="*/ 66405 h 798267"/>
              <a:gd name="connsiteX1018" fmla="*/ 386448 w 682417"/>
              <a:gd name="connsiteY1018" fmla="*/ 65252 h 798267"/>
              <a:gd name="connsiteX1019" fmla="*/ 387020 w 682417"/>
              <a:gd name="connsiteY1019" fmla="*/ 61880 h 798267"/>
              <a:gd name="connsiteX1020" fmla="*/ 379495 w 682417"/>
              <a:gd name="connsiteY1020" fmla="*/ 65233 h 798267"/>
              <a:gd name="connsiteX1021" fmla="*/ 371608 w 682417"/>
              <a:gd name="connsiteY1021" fmla="*/ 63900 h 798267"/>
              <a:gd name="connsiteX1022" fmla="*/ 368437 w 682417"/>
              <a:gd name="connsiteY1022" fmla="*/ 55251 h 798267"/>
              <a:gd name="connsiteX1023" fmla="*/ 365970 w 682417"/>
              <a:gd name="connsiteY1023" fmla="*/ 62938 h 798267"/>
              <a:gd name="connsiteX1024" fmla="*/ 360150 w 682417"/>
              <a:gd name="connsiteY1024" fmla="*/ 63119 h 798267"/>
              <a:gd name="connsiteX1025" fmla="*/ 361464 w 682417"/>
              <a:gd name="connsiteY1025" fmla="*/ 62166 h 798267"/>
              <a:gd name="connsiteX1026" fmla="*/ 359969 w 682417"/>
              <a:gd name="connsiteY1026" fmla="*/ 57280 h 798267"/>
              <a:gd name="connsiteX1027" fmla="*/ 353568 w 682417"/>
              <a:gd name="connsiteY1027" fmla="*/ 60833 h 798267"/>
              <a:gd name="connsiteX1028" fmla="*/ 348129 w 682417"/>
              <a:gd name="connsiteY1028" fmla="*/ 58747 h 798267"/>
              <a:gd name="connsiteX1029" fmla="*/ 344919 w 682417"/>
              <a:gd name="connsiteY1029" fmla="*/ 63995 h 798267"/>
              <a:gd name="connsiteX1030" fmla="*/ 344176 w 682417"/>
              <a:gd name="connsiteY1030" fmla="*/ 61557 h 798267"/>
              <a:gd name="connsiteX1031" fmla="*/ 339290 w 682417"/>
              <a:gd name="connsiteY1031" fmla="*/ 63042 h 798267"/>
              <a:gd name="connsiteX1032" fmla="*/ 339671 w 682417"/>
              <a:gd name="connsiteY1032" fmla="*/ 60795 h 798267"/>
              <a:gd name="connsiteX1033" fmla="*/ 331394 w 682417"/>
              <a:gd name="connsiteY1033" fmla="*/ 61747 h 798267"/>
              <a:gd name="connsiteX1034" fmla="*/ 332908 w 682417"/>
              <a:gd name="connsiteY1034" fmla="*/ 59680 h 798267"/>
              <a:gd name="connsiteX1035" fmla="*/ 329336 w 682417"/>
              <a:gd name="connsiteY1035" fmla="*/ 60233 h 798267"/>
              <a:gd name="connsiteX1036" fmla="*/ 328032 w 682417"/>
              <a:gd name="connsiteY1036" fmla="*/ 54222 h 798267"/>
              <a:gd name="connsiteX1037" fmla="*/ 327079 w 682417"/>
              <a:gd name="connsiteY1037" fmla="*/ 52898 h 798267"/>
              <a:gd name="connsiteX1038" fmla="*/ 328574 w 682417"/>
              <a:gd name="connsiteY1038" fmla="*/ 50831 h 798267"/>
              <a:gd name="connsiteX1039" fmla="*/ 327841 w 682417"/>
              <a:gd name="connsiteY1039" fmla="*/ 48393 h 798267"/>
              <a:gd name="connsiteX1040" fmla="*/ 330279 w 682417"/>
              <a:gd name="connsiteY1040" fmla="*/ 47650 h 798267"/>
              <a:gd name="connsiteX1041" fmla="*/ 327660 w 682417"/>
              <a:gd name="connsiteY1041" fmla="*/ 42564 h 798267"/>
              <a:gd name="connsiteX1042" fmla="*/ 324288 w 682417"/>
              <a:gd name="connsiteY1042" fmla="*/ 41992 h 798267"/>
              <a:gd name="connsiteX1043" fmla="*/ 321821 w 682417"/>
              <a:gd name="connsiteY1043" fmla="*/ 49688 h 798267"/>
              <a:gd name="connsiteX1044" fmla="*/ 318821 w 682417"/>
              <a:gd name="connsiteY1044" fmla="*/ 46831 h 798267"/>
              <a:gd name="connsiteX1045" fmla="*/ 319183 w 682417"/>
              <a:gd name="connsiteY1045" fmla="*/ 51536 h 798267"/>
              <a:gd name="connsiteX1046" fmla="*/ 313382 w 682417"/>
              <a:gd name="connsiteY1046" fmla="*/ 44754 h 798267"/>
              <a:gd name="connsiteX1047" fmla="*/ 315830 w 682417"/>
              <a:gd name="connsiteY1047" fmla="*/ 44002 h 798267"/>
              <a:gd name="connsiteX1048" fmla="*/ 312630 w 682417"/>
              <a:gd name="connsiteY1048" fmla="*/ 42307 h 798267"/>
              <a:gd name="connsiteX1049" fmla="*/ 310953 w 682417"/>
              <a:gd name="connsiteY1049" fmla="*/ 38544 h 798267"/>
              <a:gd name="connsiteX1050" fmla="*/ 313420 w 682417"/>
              <a:gd name="connsiteY1050" fmla="*/ 30848 h 798267"/>
              <a:gd name="connsiteX1051" fmla="*/ 320183 w 682417"/>
              <a:gd name="connsiteY1051" fmla="*/ 31991 h 798267"/>
              <a:gd name="connsiteX1052" fmla="*/ 320535 w 682417"/>
              <a:gd name="connsiteY1052" fmla="*/ 36687 h 798267"/>
              <a:gd name="connsiteX1053" fmla="*/ 328070 w 682417"/>
              <a:gd name="connsiteY1053" fmla="*/ 33334 h 798267"/>
              <a:gd name="connsiteX1054" fmla="*/ 328841 w 682417"/>
              <a:gd name="connsiteY1054" fmla="*/ 28829 h 798267"/>
              <a:gd name="connsiteX1055" fmla="*/ 336166 w 682417"/>
              <a:gd name="connsiteY1055" fmla="*/ 26590 h 798267"/>
              <a:gd name="connsiteX1056" fmla="*/ 328089 w 682417"/>
              <a:gd name="connsiteY1056" fmla="*/ 26381 h 798267"/>
              <a:gd name="connsiteX1057" fmla="*/ 329603 w 682417"/>
              <a:gd name="connsiteY1057" fmla="*/ 24314 h 798267"/>
              <a:gd name="connsiteX1058" fmla="*/ 332623 w 682417"/>
              <a:gd name="connsiteY1058" fmla="*/ 20189 h 798267"/>
              <a:gd name="connsiteX1059" fmla="*/ 331870 w 682417"/>
              <a:gd name="connsiteY1059" fmla="*/ 17742 h 798267"/>
              <a:gd name="connsiteX1060" fmla="*/ 334509 w 682417"/>
              <a:gd name="connsiteY1060" fmla="*/ 15837 h 798267"/>
              <a:gd name="connsiteX1061" fmla="*/ 331327 w 682417"/>
              <a:gd name="connsiteY1061" fmla="*/ 14141 h 798267"/>
              <a:gd name="connsiteX1062" fmla="*/ 337147 w 682417"/>
              <a:gd name="connsiteY1062" fmla="*/ 13960 h 798267"/>
              <a:gd name="connsiteX1063" fmla="*/ 340004 w 682417"/>
              <a:gd name="connsiteY1063" fmla="*/ 10969 h 798267"/>
              <a:gd name="connsiteX1064" fmla="*/ 351844 w 682417"/>
              <a:gd name="connsiteY1064" fmla="*/ 9502 h 798267"/>
              <a:gd name="connsiteX1065" fmla="*/ 350891 w 682417"/>
              <a:gd name="connsiteY1065" fmla="*/ 15132 h 798267"/>
              <a:gd name="connsiteX1066" fmla="*/ 359159 w 682417"/>
              <a:gd name="connsiteY1066" fmla="*/ 14179 h 798267"/>
              <a:gd name="connsiteX1067" fmla="*/ 367808 w 682417"/>
              <a:gd name="connsiteY1067" fmla="*/ 11007 h 798267"/>
              <a:gd name="connsiteX1068" fmla="*/ 370427 w 682417"/>
              <a:gd name="connsiteY1068" fmla="*/ 16094 h 798267"/>
              <a:gd name="connsiteX1069" fmla="*/ 372866 w 682417"/>
              <a:gd name="connsiteY1069" fmla="*/ 15341 h 798267"/>
              <a:gd name="connsiteX1070" fmla="*/ 373075 w 682417"/>
              <a:gd name="connsiteY1070" fmla="*/ 7264 h 798267"/>
              <a:gd name="connsiteX1071" fmla="*/ 375933 w 682417"/>
              <a:gd name="connsiteY1071" fmla="*/ 11217 h 798267"/>
              <a:gd name="connsiteX1072" fmla="*/ 379895 w 682417"/>
              <a:gd name="connsiteY1072" fmla="*/ 8417 h 798267"/>
              <a:gd name="connsiteX1073" fmla="*/ 378762 w 682417"/>
              <a:gd name="connsiteY1073" fmla="*/ 8226 h 798267"/>
              <a:gd name="connsiteX1074" fmla="*/ 378601 w 682417"/>
              <a:gd name="connsiteY1074" fmla="*/ 509 h 798267"/>
              <a:gd name="connsiteX1075" fmla="*/ 378981 w 682417"/>
              <a:gd name="connsiteY1075" fmla="*/ 149 h 798267"/>
              <a:gd name="connsiteX1076" fmla="*/ 379343 w 682417"/>
              <a:gd name="connsiteY1076" fmla="*/ 4845 h 798267"/>
              <a:gd name="connsiteX1077" fmla="*/ 385353 w 682417"/>
              <a:gd name="connsiteY1077" fmla="*/ 3540 h 798267"/>
              <a:gd name="connsiteX1078" fmla="*/ 387420 w 682417"/>
              <a:gd name="connsiteY1078" fmla="*/ 5054 h 798267"/>
              <a:gd name="connsiteX1079" fmla="*/ 387591 w 682417"/>
              <a:gd name="connsiteY1079" fmla="*/ 10884 h 798267"/>
              <a:gd name="connsiteX1080" fmla="*/ 399793 w 682417"/>
              <a:gd name="connsiteY1080" fmla="*/ 14113 h 798267"/>
              <a:gd name="connsiteX1081" fmla="*/ 401869 w 682417"/>
              <a:gd name="connsiteY1081" fmla="*/ 8664 h 798267"/>
              <a:gd name="connsiteX1082" fmla="*/ 409575 w 682417"/>
              <a:gd name="connsiteY1082" fmla="*/ 11131 h 798267"/>
              <a:gd name="connsiteX1083" fmla="*/ 417652 w 682417"/>
              <a:gd name="connsiteY1083" fmla="*/ 11341 h 798267"/>
              <a:gd name="connsiteX1084" fmla="*/ 418605 w 682417"/>
              <a:gd name="connsiteY1084" fmla="*/ 12655 h 798267"/>
              <a:gd name="connsiteX1085" fmla="*/ 415966 w 682417"/>
              <a:gd name="connsiteY1085" fmla="*/ 14560 h 798267"/>
              <a:gd name="connsiteX1086" fmla="*/ 417262 w 682417"/>
              <a:gd name="connsiteY1086" fmla="*/ 20580 h 798267"/>
              <a:gd name="connsiteX1087" fmla="*/ 421630 w 682417"/>
              <a:gd name="connsiteY1087" fmla="*/ 21149 h 798267"/>
              <a:gd name="connsiteX1088" fmla="*/ 421767 w 682417"/>
              <a:gd name="connsiteY1088" fmla="*/ 21342 h 798267"/>
              <a:gd name="connsiteX1089" fmla="*/ 422922 w 682417"/>
              <a:gd name="connsiteY1089" fmla="*/ 20173 h 798267"/>
              <a:gd name="connsiteX1090" fmla="*/ 422148 w 682417"/>
              <a:gd name="connsiteY1090" fmla="*/ 19085 h 798267"/>
              <a:gd name="connsiteX1091" fmla="*/ 430416 w 682417"/>
              <a:gd name="connsiteY1091" fmla="*/ 18132 h 798267"/>
              <a:gd name="connsiteX1092" fmla="*/ 428911 w 682417"/>
              <a:gd name="connsiteY1092" fmla="*/ 20199 h 798267"/>
              <a:gd name="connsiteX1093" fmla="*/ 427215 w 682417"/>
              <a:gd name="connsiteY1093" fmla="*/ 23390 h 798267"/>
              <a:gd name="connsiteX1094" fmla="*/ 425891 w 682417"/>
              <a:gd name="connsiteY1094" fmla="*/ 24342 h 798267"/>
              <a:gd name="connsiteX1095" fmla="*/ 423624 w 682417"/>
              <a:gd name="connsiteY1095" fmla="*/ 30915 h 798267"/>
              <a:gd name="connsiteX1096" fmla="*/ 425853 w 682417"/>
              <a:gd name="connsiteY1096" fmla="*/ 38249 h 798267"/>
              <a:gd name="connsiteX1097" fmla="*/ 433378 w 682417"/>
              <a:gd name="connsiteY1097" fmla="*/ 34887 h 798267"/>
              <a:gd name="connsiteX1098" fmla="*/ 438817 w 682417"/>
              <a:gd name="connsiteY1098" fmla="*/ 36973 h 798267"/>
              <a:gd name="connsiteX1099" fmla="*/ 438417 w 682417"/>
              <a:gd name="connsiteY1099" fmla="*/ 46174 h 798267"/>
              <a:gd name="connsiteX1100" fmla="*/ 440322 w 682417"/>
              <a:gd name="connsiteY1100" fmla="*/ 41859 h 798267"/>
              <a:gd name="connsiteX1101" fmla="*/ 440512 w 682417"/>
              <a:gd name="connsiteY1101" fmla="*/ 40735 h 798267"/>
              <a:gd name="connsiteX1102" fmla="*/ 441855 w 682417"/>
              <a:gd name="connsiteY1102" fmla="*/ 32848 h 798267"/>
              <a:gd name="connsiteX1103" fmla="*/ 442598 w 682417"/>
              <a:gd name="connsiteY1103" fmla="*/ 35287 h 798267"/>
              <a:gd name="connsiteX1104" fmla="*/ 446913 w 682417"/>
              <a:gd name="connsiteY1104" fmla="*/ 37192 h 798267"/>
              <a:gd name="connsiteX1105" fmla="*/ 451247 w 682417"/>
              <a:gd name="connsiteY1105" fmla="*/ 32134 h 798267"/>
              <a:gd name="connsiteX1106" fmla="*/ 459515 w 682417"/>
              <a:gd name="connsiteY1106" fmla="*/ 31181 h 798267"/>
              <a:gd name="connsiteX1107" fmla="*/ 460077 w 682417"/>
              <a:gd name="connsiteY1107" fmla="*/ 34753 h 798267"/>
              <a:gd name="connsiteX1108" fmla="*/ 467773 w 682417"/>
              <a:gd name="connsiteY1108" fmla="*/ 37220 h 798267"/>
              <a:gd name="connsiteX1109" fmla="*/ 471707 w 682417"/>
              <a:gd name="connsiteY1109" fmla="*/ 41364 h 798267"/>
              <a:gd name="connsiteX1110" fmla="*/ 474155 w 682417"/>
              <a:gd name="connsiteY1110" fmla="*/ 40630 h 798267"/>
              <a:gd name="connsiteX1111" fmla="*/ 473974 w 682417"/>
              <a:gd name="connsiteY1111" fmla="*/ 34801 h 798267"/>
              <a:gd name="connsiteX1112" fmla="*/ 476974 w 682417"/>
              <a:gd name="connsiteY1112" fmla="*/ 37658 h 798267"/>
              <a:gd name="connsiteX1113" fmla="*/ 478660 w 682417"/>
              <a:gd name="connsiteY1113" fmla="*/ 41468 h 798267"/>
              <a:gd name="connsiteX1114" fmla="*/ 475078 w 682417"/>
              <a:gd name="connsiteY1114" fmla="*/ 42011 h 798267"/>
              <a:gd name="connsiteX1115" fmla="*/ 475440 w 682417"/>
              <a:gd name="connsiteY1115" fmla="*/ 46717 h 798267"/>
              <a:gd name="connsiteX1116" fmla="*/ 476955 w 682417"/>
              <a:gd name="connsiteY1116" fmla="*/ 44659 h 798267"/>
              <a:gd name="connsiteX1117" fmla="*/ 483718 w 682417"/>
              <a:gd name="connsiteY1117" fmla="*/ 45802 h 798267"/>
              <a:gd name="connsiteX1118" fmla="*/ 479593 w 682417"/>
              <a:gd name="connsiteY1118" fmla="*/ 42783 h 798267"/>
              <a:gd name="connsiteX1119" fmla="*/ 482060 w 682417"/>
              <a:gd name="connsiteY1119" fmla="*/ 35087 h 798267"/>
              <a:gd name="connsiteX1120" fmla="*/ 483737 w 682417"/>
              <a:gd name="connsiteY1120" fmla="*/ 38849 h 798267"/>
              <a:gd name="connsiteX1121" fmla="*/ 484689 w 682417"/>
              <a:gd name="connsiteY1121" fmla="*/ 33220 h 798267"/>
              <a:gd name="connsiteX1122" fmla="*/ 491842 w 682417"/>
              <a:gd name="connsiteY1122" fmla="*/ 32105 h 798267"/>
              <a:gd name="connsiteX1123" fmla="*/ 490890 w 682417"/>
              <a:gd name="connsiteY1123" fmla="*/ 37744 h 798267"/>
              <a:gd name="connsiteX1124" fmla="*/ 487128 w 682417"/>
              <a:gd name="connsiteY1124" fmla="*/ 39420 h 798267"/>
              <a:gd name="connsiteX1125" fmla="*/ 491642 w 682417"/>
              <a:gd name="connsiteY1125" fmla="*/ 40182 h 798267"/>
              <a:gd name="connsiteX1126" fmla="*/ 492595 w 682417"/>
              <a:gd name="connsiteY1126" fmla="*/ 41506 h 798267"/>
              <a:gd name="connsiteX1127" fmla="*/ 498986 w 682417"/>
              <a:gd name="connsiteY1127" fmla="*/ 37954 h 798267"/>
              <a:gd name="connsiteX1128" fmla="*/ 504615 w 682417"/>
              <a:gd name="connsiteY1128" fmla="*/ 38906 h 798267"/>
              <a:gd name="connsiteX1129" fmla="*/ 505177 w 682417"/>
              <a:gd name="connsiteY1129" fmla="*/ 42478 h 798267"/>
              <a:gd name="connsiteX1130" fmla="*/ 504806 w 682417"/>
              <a:gd name="connsiteY1130" fmla="*/ 37782 h 798267"/>
              <a:gd name="connsiteX1131" fmla="*/ 508387 w 682417"/>
              <a:gd name="connsiteY1131" fmla="*/ 37230 h 798267"/>
              <a:gd name="connsiteX1132" fmla="*/ 510292 w 682417"/>
              <a:gd name="connsiteY1132" fmla="*/ 32915 h 798267"/>
              <a:gd name="connsiteX1133" fmla="*/ 511969 w 682417"/>
              <a:gd name="connsiteY1133" fmla="*/ 36677 h 798267"/>
              <a:gd name="connsiteX1134" fmla="*/ 514045 w 682417"/>
              <a:gd name="connsiteY1134" fmla="*/ 31229 h 798267"/>
              <a:gd name="connsiteX1135" fmla="*/ 519684 w 682417"/>
              <a:gd name="connsiteY1135" fmla="*/ 32181 h 798267"/>
              <a:gd name="connsiteX1136" fmla="*/ 522303 w 682417"/>
              <a:gd name="connsiteY1136" fmla="*/ 37258 h 798267"/>
              <a:gd name="connsiteX1137" fmla="*/ 521541 w 682417"/>
              <a:gd name="connsiteY1137" fmla="*/ 41764 h 798267"/>
              <a:gd name="connsiteX1138" fmla="*/ 525656 w 682417"/>
              <a:gd name="connsiteY1138" fmla="*/ 44783 h 798267"/>
              <a:gd name="connsiteX1139" fmla="*/ 525275 w 682417"/>
              <a:gd name="connsiteY1139" fmla="*/ 47040 h 798267"/>
              <a:gd name="connsiteX1140" fmla="*/ 526599 w 682417"/>
              <a:gd name="connsiteY1140" fmla="*/ 46088 h 798267"/>
              <a:gd name="connsiteX1141" fmla="*/ 529971 w 682417"/>
              <a:gd name="connsiteY1141" fmla="*/ 46659 h 798267"/>
              <a:gd name="connsiteX1142" fmla="*/ 540858 w 682417"/>
              <a:gd name="connsiteY1142" fmla="*/ 50822 h 798267"/>
              <a:gd name="connsiteX1143" fmla="*/ 540858 w 682417"/>
              <a:gd name="connsiteY1143" fmla="*/ 43869 h 798267"/>
              <a:gd name="connsiteX1144" fmla="*/ 547078 w 682417"/>
              <a:gd name="connsiteY1144" fmla="*/ 41449 h 798267"/>
              <a:gd name="connsiteX1145" fmla="*/ 551193 w 682417"/>
              <a:gd name="connsiteY1145" fmla="*/ 44469 h 798267"/>
              <a:gd name="connsiteX1146" fmla="*/ 554212 w 682417"/>
              <a:gd name="connsiteY1146" fmla="*/ 40335 h 798267"/>
              <a:gd name="connsiteX1147" fmla="*/ 556470 w 682417"/>
              <a:gd name="connsiteY1147" fmla="*/ 40725 h 798267"/>
              <a:gd name="connsiteX1148" fmla="*/ 562127 w 682417"/>
              <a:gd name="connsiteY1148" fmla="*/ 34725 h 798267"/>
              <a:gd name="connsiteX1149" fmla="*/ 563080 w 682417"/>
              <a:gd name="connsiteY1149" fmla="*/ 42992 h 798267"/>
              <a:gd name="connsiteX1150" fmla="*/ 564985 w 682417"/>
              <a:gd name="connsiteY1150" fmla="*/ 38677 h 798267"/>
              <a:gd name="connsiteX1151" fmla="*/ 568376 w 682417"/>
              <a:gd name="connsiteY1151" fmla="*/ 39249 h 798267"/>
              <a:gd name="connsiteX1152" fmla="*/ 573624 w 682417"/>
              <a:gd name="connsiteY1152" fmla="*/ 42468 h 798267"/>
              <a:gd name="connsiteX1153" fmla="*/ 571538 w 682417"/>
              <a:gd name="connsiteY1153" fmla="*/ 47907 h 798267"/>
              <a:gd name="connsiteX1154" fmla="*/ 574920 w 682417"/>
              <a:gd name="connsiteY1154" fmla="*/ 48479 h 798267"/>
              <a:gd name="connsiteX1155" fmla="*/ 577920 w 682417"/>
              <a:gd name="connsiteY1155" fmla="*/ 51336 h 798267"/>
              <a:gd name="connsiteX1156" fmla="*/ 576967 w 682417"/>
              <a:gd name="connsiteY1156" fmla="*/ 56975 h 798267"/>
              <a:gd name="connsiteX1157" fmla="*/ 579977 w 682417"/>
              <a:gd name="connsiteY1157" fmla="*/ 52851 h 798267"/>
              <a:gd name="connsiteX1158" fmla="*/ 580530 w 682417"/>
              <a:gd name="connsiteY1158" fmla="*/ 56413 h 798267"/>
              <a:gd name="connsiteX1159" fmla="*/ 584492 w 682417"/>
              <a:gd name="connsiteY1159" fmla="*/ 53613 h 798267"/>
              <a:gd name="connsiteX1160" fmla="*/ 587121 w 682417"/>
              <a:gd name="connsiteY1160" fmla="*/ 51708 h 798267"/>
              <a:gd name="connsiteX1161" fmla="*/ 589931 w 682417"/>
              <a:gd name="connsiteY1161" fmla="*/ 55670 h 798267"/>
              <a:gd name="connsiteX1162" fmla="*/ 599523 w 682417"/>
              <a:gd name="connsiteY1162" fmla="*/ 53765 h 798267"/>
              <a:gd name="connsiteX1163" fmla="*/ 604771 w 682417"/>
              <a:gd name="connsiteY1163" fmla="*/ 56975 h 798267"/>
              <a:gd name="connsiteX1164" fmla="*/ 599670 w 682417"/>
              <a:gd name="connsiteY1164" fmla="*/ 57833 h 798267"/>
              <a:gd name="connsiteX1165" fmla="*/ 598942 w 682417"/>
              <a:gd name="connsiteY1165" fmla="*/ 57146 h 798267"/>
              <a:gd name="connsiteX1166" fmla="*/ 600627 w 682417"/>
              <a:gd name="connsiteY1166" fmla="*/ 60909 h 798267"/>
              <a:gd name="connsiteX1167" fmla="*/ 605333 w 682417"/>
              <a:gd name="connsiteY1167" fmla="*/ 60547 h 798267"/>
              <a:gd name="connsiteX1168" fmla="*/ 608190 w 682417"/>
              <a:gd name="connsiteY1168" fmla="*/ 57547 h 798267"/>
              <a:gd name="connsiteX1169" fmla="*/ 616058 w 682417"/>
              <a:gd name="connsiteY1169" fmla="*/ 65833 h 798267"/>
              <a:gd name="connsiteX1170" fmla="*/ 615515 w 682417"/>
              <a:gd name="connsiteY1170" fmla="*/ 62271 h 798267"/>
              <a:gd name="connsiteX1171" fmla="*/ 621887 w 682417"/>
              <a:gd name="connsiteY1171" fmla="*/ 65671 h 798267"/>
              <a:gd name="connsiteX1172" fmla="*/ 619839 w 682417"/>
              <a:gd name="connsiteY1172" fmla="*/ 57204 h 798267"/>
              <a:gd name="connsiteX1173" fmla="*/ 625278 w 682417"/>
              <a:gd name="connsiteY1173" fmla="*/ 59290 h 798267"/>
              <a:gd name="connsiteX1174" fmla="*/ 630927 w 682417"/>
              <a:gd name="connsiteY1174" fmla="*/ 60242 h 798267"/>
              <a:gd name="connsiteX1175" fmla="*/ 636365 w 682417"/>
              <a:gd name="connsiteY1175" fmla="*/ 62328 h 798267"/>
              <a:gd name="connsiteX1176" fmla="*/ 635803 w 682417"/>
              <a:gd name="connsiteY1176" fmla="*/ 58756 h 798267"/>
              <a:gd name="connsiteX1177" fmla="*/ 638813 w 682417"/>
              <a:gd name="connsiteY1177" fmla="*/ 61614 h 798267"/>
              <a:gd name="connsiteX1178" fmla="*/ 644643 w 682417"/>
              <a:gd name="connsiteY1178" fmla="*/ 61442 h 798267"/>
              <a:gd name="connsiteX1179" fmla="*/ 645214 w 682417"/>
              <a:gd name="connsiteY1179" fmla="*/ 58061 h 798267"/>
              <a:gd name="connsiteX1180" fmla="*/ 649719 w 682417"/>
              <a:gd name="connsiteY1180" fmla="*/ 58823 h 798267"/>
              <a:gd name="connsiteX1181" fmla="*/ 654606 w 682417"/>
              <a:gd name="connsiteY1181" fmla="*/ 57337 h 798267"/>
              <a:gd name="connsiteX1182" fmla="*/ 654968 w 682417"/>
              <a:gd name="connsiteY1182" fmla="*/ 62042 h 798267"/>
              <a:gd name="connsiteX1183" fmla="*/ 659730 w 682417"/>
              <a:gd name="connsiteY1183" fmla="*/ 54718 h 798267"/>
              <a:gd name="connsiteX1184" fmla="*/ 661787 w 682417"/>
              <a:gd name="connsiteY1184" fmla="*/ 56232 h 798267"/>
              <a:gd name="connsiteX1185" fmla="*/ 660283 w 682417"/>
              <a:gd name="connsiteY1185" fmla="*/ 58289 h 798267"/>
              <a:gd name="connsiteX1186" fmla="*/ 658197 w 682417"/>
              <a:gd name="connsiteY1186" fmla="*/ 63738 h 798267"/>
              <a:gd name="connsiteX1187" fmla="*/ 660264 w 682417"/>
              <a:gd name="connsiteY1187" fmla="*/ 65243 h 798267"/>
              <a:gd name="connsiteX1188" fmla="*/ 657625 w 682417"/>
              <a:gd name="connsiteY1188" fmla="*/ 67148 h 798267"/>
              <a:gd name="connsiteX1189" fmla="*/ 657987 w 682417"/>
              <a:gd name="connsiteY1189" fmla="*/ 71844 h 798267"/>
              <a:gd name="connsiteX1190" fmla="*/ 653663 w 682417"/>
              <a:gd name="connsiteY1190" fmla="*/ 69939 h 798267"/>
              <a:gd name="connsiteX1191" fmla="*/ 651605 w 682417"/>
              <a:gd name="connsiteY1191" fmla="*/ 68424 h 798267"/>
              <a:gd name="connsiteX1192" fmla="*/ 650462 w 682417"/>
              <a:gd name="connsiteY1192" fmla="*/ 75187 h 798267"/>
              <a:gd name="connsiteX1193" fmla="*/ 648014 w 682417"/>
              <a:gd name="connsiteY1193" fmla="*/ 75930 h 798267"/>
              <a:gd name="connsiteX1194" fmla="*/ 652329 w 682417"/>
              <a:gd name="connsiteY1194" fmla="*/ 77835 h 798267"/>
              <a:gd name="connsiteX1195" fmla="*/ 651948 w 682417"/>
              <a:gd name="connsiteY1195" fmla="*/ 80092 h 798267"/>
              <a:gd name="connsiteX1196" fmla="*/ 655501 w 682417"/>
              <a:gd name="connsiteY1196" fmla="*/ 86493 h 798267"/>
              <a:gd name="connsiteX1197" fmla="*/ 656073 w 682417"/>
              <a:gd name="connsiteY1197" fmla="*/ 83112 h 798267"/>
              <a:gd name="connsiteX1198" fmla="*/ 657025 w 682417"/>
              <a:gd name="connsiteY1198" fmla="*/ 84436 h 798267"/>
              <a:gd name="connsiteX1199" fmla="*/ 660778 w 682417"/>
              <a:gd name="connsiteY1199" fmla="*/ 82750 h 798267"/>
              <a:gd name="connsiteX1200" fmla="*/ 661330 w 682417"/>
              <a:gd name="connsiteY1200" fmla="*/ 86322 h 798267"/>
              <a:gd name="connsiteX1201" fmla="*/ 662845 w 682417"/>
              <a:gd name="connsiteY1201" fmla="*/ 84255 h 798267"/>
              <a:gd name="connsiteX1202" fmla="*/ 670379 w 682417"/>
              <a:gd name="connsiteY1202" fmla="*/ 80902 h 798267"/>
              <a:gd name="connsiteX1203" fmla="*/ 676008 w 682417"/>
              <a:gd name="connsiteY1203" fmla="*/ 81854 h 798267"/>
              <a:gd name="connsiteX1204" fmla="*/ 669798 w 682417"/>
              <a:gd name="connsiteY1204" fmla="*/ 84283 h 798267"/>
              <a:gd name="connsiteX1205" fmla="*/ 672598 w 682417"/>
              <a:gd name="connsiteY1205" fmla="*/ 88236 h 798267"/>
              <a:gd name="connsiteX1206" fmla="*/ 674284 w 682417"/>
              <a:gd name="connsiteY1206" fmla="*/ 91998 h 798267"/>
              <a:gd name="connsiteX1207" fmla="*/ 676370 w 682417"/>
              <a:gd name="connsiteY1207" fmla="*/ 86550 h 798267"/>
              <a:gd name="connsiteX1208" fmla="*/ 672951 w 682417"/>
              <a:gd name="connsiteY1208" fmla="*/ 99885 h 798267"/>
              <a:gd name="connsiteX1209" fmla="*/ 674408 w 682417"/>
              <a:gd name="connsiteY1209" fmla="*/ 111725 h 798267"/>
              <a:gd name="connsiteX1210" fmla="*/ 678218 w 682417"/>
              <a:gd name="connsiteY1210" fmla="*/ 110048 h 798267"/>
              <a:gd name="connsiteX1211" fmla="*/ 676513 w 682417"/>
              <a:gd name="connsiteY1211" fmla="*/ 113239 h 798267"/>
              <a:gd name="connsiteX1212" fmla="*/ 677847 w 682417"/>
              <a:gd name="connsiteY1212" fmla="*/ 116887 h 798267"/>
              <a:gd name="connsiteX1213" fmla="*/ 321974 w 682417"/>
              <a:gd name="connsiteY1213" fmla="*/ 41440 h 798267"/>
              <a:gd name="connsiteX1214" fmla="*/ 321974 w 682417"/>
              <a:gd name="connsiteY1214" fmla="*/ 41440 h 798267"/>
              <a:gd name="connsiteX1215" fmla="*/ 343881 w 682417"/>
              <a:gd name="connsiteY1215" fmla="*/ 15008 h 798267"/>
              <a:gd name="connsiteX1216" fmla="*/ 342567 w 682417"/>
              <a:gd name="connsiteY1216" fmla="*/ 15960 h 798267"/>
              <a:gd name="connsiteX1217" fmla="*/ 342186 w 682417"/>
              <a:gd name="connsiteY1217" fmla="*/ 18218 h 798267"/>
              <a:gd name="connsiteX1218" fmla="*/ 343843 w 682417"/>
              <a:gd name="connsiteY1218" fmla="*/ 15008 h 798267"/>
              <a:gd name="connsiteX1219" fmla="*/ 360588 w 682417"/>
              <a:gd name="connsiteY1219" fmla="*/ 25962 h 798267"/>
              <a:gd name="connsiteX1220" fmla="*/ 360207 w 682417"/>
              <a:gd name="connsiteY1220" fmla="*/ 28210 h 798267"/>
              <a:gd name="connsiteX1221" fmla="*/ 352482 w 682417"/>
              <a:gd name="connsiteY1221" fmla="*/ 32696 h 798267"/>
              <a:gd name="connsiteX1222" fmla="*/ 349625 w 682417"/>
              <a:gd name="connsiteY1222" fmla="*/ 28743 h 798267"/>
              <a:gd name="connsiteX1223" fmla="*/ 345119 w 682417"/>
              <a:gd name="connsiteY1223" fmla="*/ 27981 h 798267"/>
              <a:gd name="connsiteX1224" fmla="*/ 351111 w 682417"/>
              <a:gd name="connsiteY1224" fmla="*/ 33629 h 798267"/>
              <a:gd name="connsiteX1225" fmla="*/ 361083 w 682417"/>
              <a:gd name="connsiteY1225" fmla="*/ 29524 h 798267"/>
              <a:gd name="connsiteX1226" fmla="*/ 360550 w 682417"/>
              <a:gd name="connsiteY1226" fmla="*/ 25962 h 798267"/>
              <a:gd name="connsiteX1227" fmla="*/ 403060 w 682417"/>
              <a:gd name="connsiteY1227" fmla="*/ 21571 h 798267"/>
              <a:gd name="connsiteX1228" fmla="*/ 404012 w 682417"/>
              <a:gd name="connsiteY1228" fmla="*/ 22885 h 798267"/>
              <a:gd name="connsiteX1229" fmla="*/ 400460 w 682417"/>
              <a:gd name="connsiteY1229" fmla="*/ 16484 h 798267"/>
              <a:gd name="connsiteX1230" fmla="*/ 403022 w 682417"/>
              <a:gd name="connsiteY1230" fmla="*/ 21571 h 798267"/>
              <a:gd name="connsiteX1231" fmla="*/ 395745 w 682417"/>
              <a:gd name="connsiteY1231" fmla="*/ 16808 h 798267"/>
              <a:gd name="connsiteX1232" fmla="*/ 398002 w 682417"/>
              <a:gd name="connsiteY1232" fmla="*/ 17199 h 798267"/>
              <a:gd name="connsiteX1233" fmla="*/ 398383 w 682417"/>
              <a:gd name="connsiteY1233" fmla="*/ 14941 h 798267"/>
              <a:gd name="connsiteX1234" fmla="*/ 396126 w 682417"/>
              <a:gd name="connsiteY1234" fmla="*/ 14560 h 798267"/>
              <a:gd name="connsiteX1235" fmla="*/ 394983 w 682417"/>
              <a:gd name="connsiteY1235" fmla="*/ 21323 h 798267"/>
              <a:gd name="connsiteX1236" fmla="*/ 390858 w 682417"/>
              <a:gd name="connsiteY1236" fmla="*/ 18304 h 798267"/>
              <a:gd name="connsiteX1237" fmla="*/ 389534 w 682417"/>
              <a:gd name="connsiteY1237" fmla="*/ 19256 h 798267"/>
              <a:gd name="connsiteX1238" fmla="*/ 394945 w 682417"/>
              <a:gd name="connsiteY1238" fmla="*/ 21361 h 798267"/>
              <a:gd name="connsiteX1239" fmla="*/ 383553 w 682417"/>
              <a:gd name="connsiteY1239" fmla="*/ 20532 h 798267"/>
              <a:gd name="connsiteX1240" fmla="*/ 385239 w 682417"/>
              <a:gd name="connsiteY1240" fmla="*/ 24295 h 798267"/>
              <a:gd name="connsiteX1241" fmla="*/ 383477 w 682417"/>
              <a:gd name="connsiteY1241" fmla="*/ 20570 h 798267"/>
              <a:gd name="connsiteX1242" fmla="*/ 378495 w 682417"/>
              <a:gd name="connsiteY1242" fmla="*/ 16198 h 798267"/>
              <a:gd name="connsiteX1243" fmla="*/ 381495 w 682417"/>
              <a:gd name="connsiteY1243" fmla="*/ 19056 h 798267"/>
              <a:gd name="connsiteX1244" fmla="*/ 378419 w 682417"/>
              <a:gd name="connsiteY1244" fmla="*/ 16237 h 798267"/>
              <a:gd name="connsiteX1245" fmla="*/ 379800 w 682417"/>
              <a:gd name="connsiteY1245" fmla="*/ 22218 h 798267"/>
              <a:gd name="connsiteX1246" fmla="*/ 379228 w 682417"/>
              <a:gd name="connsiteY1246" fmla="*/ 25590 h 798267"/>
              <a:gd name="connsiteX1247" fmla="*/ 382086 w 682417"/>
              <a:gd name="connsiteY1247" fmla="*/ 22599 h 798267"/>
              <a:gd name="connsiteX1248" fmla="*/ 381248 w 682417"/>
              <a:gd name="connsiteY1248" fmla="*/ 41011 h 798267"/>
              <a:gd name="connsiteX1249" fmla="*/ 378990 w 682417"/>
              <a:gd name="connsiteY1249" fmla="*/ 40630 h 798267"/>
              <a:gd name="connsiteX1250" fmla="*/ 378600 w 682417"/>
              <a:gd name="connsiteY1250" fmla="*/ 42878 h 798267"/>
              <a:gd name="connsiteX1251" fmla="*/ 380857 w 682417"/>
              <a:gd name="connsiteY1251" fmla="*/ 43269 h 798267"/>
              <a:gd name="connsiteX1252" fmla="*/ 400574 w 682417"/>
              <a:gd name="connsiteY1252" fmla="*/ 50088 h 798267"/>
              <a:gd name="connsiteX1253" fmla="*/ 396764 w 682417"/>
              <a:gd name="connsiteY1253" fmla="*/ 51765 h 798267"/>
              <a:gd name="connsiteX1254" fmla="*/ 400507 w 682417"/>
              <a:gd name="connsiteY1254" fmla="*/ 50127 h 798267"/>
              <a:gd name="connsiteX1255" fmla="*/ 407156 w 682417"/>
              <a:gd name="connsiteY1255" fmla="*/ 45402 h 798267"/>
              <a:gd name="connsiteX1256" fmla="*/ 401888 w 682417"/>
              <a:gd name="connsiteY1256" fmla="*/ 49145 h 798267"/>
              <a:gd name="connsiteX1257" fmla="*/ 406394 w 682417"/>
              <a:gd name="connsiteY1257" fmla="*/ 49917 h 798267"/>
              <a:gd name="connsiteX1258" fmla="*/ 407079 w 682417"/>
              <a:gd name="connsiteY1258" fmla="*/ 45440 h 798267"/>
              <a:gd name="connsiteX1259" fmla="*/ 406270 w 682417"/>
              <a:gd name="connsiteY1259" fmla="*/ 30162 h 798267"/>
              <a:gd name="connsiteX1260" fmla="*/ 407775 w 682417"/>
              <a:gd name="connsiteY1260" fmla="*/ 28105 h 798267"/>
              <a:gd name="connsiteX1261" fmla="*/ 405717 w 682417"/>
              <a:gd name="connsiteY1261" fmla="*/ 26590 h 798267"/>
              <a:gd name="connsiteX1262" fmla="*/ 400822 w 682417"/>
              <a:gd name="connsiteY1262" fmla="*/ 28086 h 798267"/>
              <a:gd name="connsiteX1263" fmla="*/ 399307 w 682417"/>
              <a:gd name="connsiteY1263" fmla="*/ 30143 h 798267"/>
              <a:gd name="connsiteX1264" fmla="*/ 392001 w 682417"/>
              <a:gd name="connsiteY1264" fmla="*/ 25428 h 798267"/>
              <a:gd name="connsiteX1265" fmla="*/ 387658 w 682417"/>
              <a:gd name="connsiteY1265" fmla="*/ 30486 h 798267"/>
              <a:gd name="connsiteX1266" fmla="*/ 377523 w 682417"/>
              <a:gd name="connsiteY1266" fmla="*/ 28771 h 798267"/>
              <a:gd name="connsiteX1267" fmla="*/ 372056 w 682417"/>
              <a:gd name="connsiteY1267" fmla="*/ 33629 h 798267"/>
              <a:gd name="connsiteX1268" fmla="*/ 367741 w 682417"/>
              <a:gd name="connsiteY1268" fmla="*/ 31724 h 798267"/>
              <a:gd name="connsiteX1269" fmla="*/ 371675 w 682417"/>
              <a:gd name="connsiteY1269" fmla="*/ 35868 h 798267"/>
              <a:gd name="connsiteX1270" fmla="*/ 373351 w 682417"/>
              <a:gd name="connsiteY1270" fmla="*/ 39630 h 798267"/>
              <a:gd name="connsiteX1271" fmla="*/ 378628 w 682417"/>
              <a:gd name="connsiteY1271" fmla="*/ 35887 h 798267"/>
              <a:gd name="connsiteX1272" fmla="*/ 380686 w 682417"/>
              <a:gd name="connsiteY1272" fmla="*/ 37401 h 798267"/>
              <a:gd name="connsiteX1273" fmla="*/ 382200 w 682417"/>
              <a:gd name="connsiteY1273" fmla="*/ 35334 h 798267"/>
              <a:gd name="connsiteX1274" fmla="*/ 385582 w 682417"/>
              <a:gd name="connsiteY1274" fmla="*/ 35906 h 798267"/>
              <a:gd name="connsiteX1275" fmla="*/ 391382 w 682417"/>
              <a:gd name="connsiteY1275" fmla="*/ 42688 h 798267"/>
              <a:gd name="connsiteX1276" fmla="*/ 401164 w 682417"/>
              <a:gd name="connsiteY1276" fmla="*/ 39716 h 798267"/>
              <a:gd name="connsiteX1277" fmla="*/ 402307 w 682417"/>
              <a:gd name="connsiteY1277" fmla="*/ 32953 h 798267"/>
              <a:gd name="connsiteX1278" fmla="*/ 407175 w 682417"/>
              <a:gd name="connsiteY1278" fmla="*/ 38420 h 798267"/>
              <a:gd name="connsiteX1279" fmla="*/ 406222 w 682417"/>
              <a:gd name="connsiteY1279" fmla="*/ 30219 h 798267"/>
              <a:gd name="connsiteX1280" fmla="*/ 416404 w 682417"/>
              <a:gd name="connsiteY1280" fmla="*/ 31886 h 798267"/>
              <a:gd name="connsiteX1281" fmla="*/ 422043 w 682417"/>
              <a:gd name="connsiteY1281" fmla="*/ 32839 h 798267"/>
              <a:gd name="connsiteX1282" fmla="*/ 423948 w 682417"/>
              <a:gd name="connsiteY1282" fmla="*/ 28524 h 798267"/>
              <a:gd name="connsiteX1283" fmla="*/ 418128 w 682417"/>
              <a:gd name="connsiteY1283" fmla="*/ 28695 h 798267"/>
              <a:gd name="connsiteX1284" fmla="*/ 418836 w 682417"/>
              <a:gd name="connsiteY1284" fmla="*/ 30178 h 798267"/>
              <a:gd name="connsiteX1285" fmla="*/ 417738 w 682417"/>
              <a:gd name="connsiteY1285" fmla="*/ 30953 h 798267"/>
              <a:gd name="connsiteX1286" fmla="*/ 412290 w 682417"/>
              <a:gd name="connsiteY1286" fmla="*/ 28867 h 798267"/>
              <a:gd name="connsiteX1287" fmla="*/ 409289 w 682417"/>
              <a:gd name="connsiteY1287" fmla="*/ 26009 h 798267"/>
              <a:gd name="connsiteX1288" fmla="*/ 409842 w 682417"/>
              <a:gd name="connsiteY1288" fmla="*/ 29581 h 798267"/>
              <a:gd name="connsiteX1289" fmla="*/ 414528 w 682417"/>
              <a:gd name="connsiteY1289" fmla="*/ 36172 h 798267"/>
              <a:gd name="connsiteX1290" fmla="*/ 416328 w 682417"/>
              <a:gd name="connsiteY1290" fmla="*/ 31943 h 798267"/>
              <a:gd name="connsiteX1291" fmla="*/ 425587 w 682417"/>
              <a:gd name="connsiteY1291" fmla="*/ 39239 h 798267"/>
              <a:gd name="connsiteX1292" fmla="*/ 417700 w 682417"/>
              <a:gd name="connsiteY1292" fmla="*/ 37896 h 798267"/>
              <a:gd name="connsiteX1293" fmla="*/ 416747 w 682417"/>
              <a:gd name="connsiteY1293" fmla="*/ 43535 h 798267"/>
              <a:gd name="connsiteX1294" fmla="*/ 425015 w 682417"/>
              <a:gd name="connsiteY1294" fmla="*/ 42583 h 798267"/>
              <a:gd name="connsiteX1295" fmla="*/ 429720 w 682417"/>
              <a:gd name="connsiteY1295" fmla="*/ 42259 h 798267"/>
              <a:gd name="connsiteX1296" fmla="*/ 431425 w 682417"/>
              <a:gd name="connsiteY1296" fmla="*/ 39068 h 798267"/>
              <a:gd name="connsiteX1297" fmla="*/ 429644 w 682417"/>
              <a:gd name="connsiteY1297" fmla="*/ 42316 h 798267"/>
              <a:gd name="connsiteX1298" fmla="*/ 434045 w 682417"/>
              <a:gd name="connsiteY1298" fmla="*/ 44164 h 798267"/>
              <a:gd name="connsiteX1299" fmla="*/ 431787 w 682417"/>
              <a:gd name="connsiteY1299" fmla="*/ 43773 h 798267"/>
              <a:gd name="connsiteX1300" fmla="*/ 431406 w 682417"/>
              <a:gd name="connsiteY1300" fmla="*/ 46031 h 798267"/>
              <a:gd name="connsiteX1301" fmla="*/ 433664 w 682417"/>
              <a:gd name="connsiteY1301" fmla="*/ 46412 h 798267"/>
              <a:gd name="connsiteX1302" fmla="*/ 451685 w 682417"/>
              <a:gd name="connsiteY1302" fmla="*/ 49469 h 798267"/>
              <a:gd name="connsiteX1303" fmla="*/ 448304 w 682417"/>
              <a:gd name="connsiteY1303" fmla="*/ 48898 h 798267"/>
              <a:gd name="connsiteX1304" fmla="*/ 449799 w 682417"/>
              <a:gd name="connsiteY1304" fmla="*/ 53794 h 798267"/>
              <a:gd name="connsiteX1305" fmla="*/ 451609 w 682417"/>
              <a:gd name="connsiteY1305" fmla="*/ 49517 h 798267"/>
              <a:gd name="connsiteX1306" fmla="*/ 455105 w 682417"/>
              <a:gd name="connsiteY1306" fmla="*/ 36134 h 798267"/>
              <a:gd name="connsiteX1307" fmla="*/ 452476 w 682417"/>
              <a:gd name="connsiteY1307" fmla="*/ 38039 h 798267"/>
              <a:gd name="connsiteX1308" fmla="*/ 455028 w 682417"/>
              <a:gd name="connsiteY1308" fmla="*/ 36191 h 798267"/>
              <a:gd name="connsiteX1309" fmla="*/ 465582 w 682417"/>
              <a:gd name="connsiteY1309" fmla="*/ 49469 h 798267"/>
              <a:gd name="connsiteX1310" fmla="*/ 468601 w 682417"/>
              <a:gd name="connsiteY1310" fmla="*/ 45345 h 798267"/>
              <a:gd name="connsiteX1311" fmla="*/ 464658 w 682417"/>
              <a:gd name="connsiteY1311" fmla="*/ 41202 h 798267"/>
              <a:gd name="connsiteX1312" fmla="*/ 462391 w 682417"/>
              <a:gd name="connsiteY1312" fmla="*/ 47774 h 798267"/>
              <a:gd name="connsiteX1313" fmla="*/ 465515 w 682417"/>
              <a:gd name="connsiteY1313" fmla="*/ 49555 h 798267"/>
              <a:gd name="connsiteX1314" fmla="*/ 468944 w 682417"/>
              <a:gd name="connsiteY1314" fmla="*/ 57004 h 798267"/>
              <a:gd name="connsiteX1315" fmla="*/ 466687 w 682417"/>
              <a:gd name="connsiteY1315" fmla="*/ 56623 h 798267"/>
              <a:gd name="connsiteX1316" fmla="*/ 466306 w 682417"/>
              <a:gd name="connsiteY1316" fmla="*/ 58880 h 798267"/>
              <a:gd name="connsiteX1317" fmla="*/ 468563 w 682417"/>
              <a:gd name="connsiteY1317" fmla="*/ 59261 h 798267"/>
              <a:gd name="connsiteX1318" fmla="*/ 503301 w 682417"/>
              <a:gd name="connsiteY1318" fmla="*/ 66310 h 798267"/>
              <a:gd name="connsiteX1319" fmla="*/ 500282 w 682417"/>
              <a:gd name="connsiteY1319" fmla="*/ 70434 h 798267"/>
              <a:gd name="connsiteX1320" fmla="*/ 503234 w 682417"/>
              <a:gd name="connsiteY1320" fmla="*/ 66395 h 798267"/>
              <a:gd name="connsiteX1321" fmla="*/ 512778 w 682417"/>
              <a:gd name="connsiteY1321" fmla="*/ 37735 h 798267"/>
              <a:gd name="connsiteX1322" fmla="*/ 513731 w 682417"/>
              <a:gd name="connsiteY1322" fmla="*/ 46012 h 798267"/>
              <a:gd name="connsiteX1323" fmla="*/ 512712 w 682417"/>
              <a:gd name="connsiteY1323" fmla="*/ 37858 h 798267"/>
              <a:gd name="connsiteX1324" fmla="*/ 543906 w 682417"/>
              <a:gd name="connsiteY1324" fmla="*/ 59251 h 798267"/>
              <a:gd name="connsiteX1325" fmla="*/ 539210 w 682417"/>
              <a:gd name="connsiteY1325" fmla="*/ 59613 h 798267"/>
              <a:gd name="connsiteX1326" fmla="*/ 537305 w 682417"/>
              <a:gd name="connsiteY1326" fmla="*/ 63928 h 798267"/>
              <a:gd name="connsiteX1327" fmla="*/ 532419 w 682417"/>
              <a:gd name="connsiteY1327" fmla="*/ 65414 h 798267"/>
              <a:gd name="connsiteX1328" fmla="*/ 535772 w 682417"/>
              <a:gd name="connsiteY1328" fmla="*/ 72939 h 798267"/>
              <a:gd name="connsiteX1329" fmla="*/ 534486 w 682417"/>
              <a:gd name="connsiteY1329" fmla="*/ 66929 h 798267"/>
              <a:gd name="connsiteX1330" fmla="*/ 539563 w 682417"/>
              <a:gd name="connsiteY1330" fmla="*/ 64309 h 798267"/>
              <a:gd name="connsiteX1331" fmla="*/ 545011 w 682417"/>
              <a:gd name="connsiteY1331" fmla="*/ 66395 h 798267"/>
              <a:gd name="connsiteX1332" fmla="*/ 544409 w 682417"/>
              <a:gd name="connsiteY1332" fmla="*/ 59782 h 798267"/>
              <a:gd name="connsiteX1333" fmla="*/ 543839 w 682417"/>
              <a:gd name="connsiteY1333" fmla="*/ 59375 h 798267"/>
              <a:gd name="connsiteX1334" fmla="*/ 547888 w 682417"/>
              <a:gd name="connsiteY1334" fmla="*/ 49488 h 798267"/>
              <a:gd name="connsiteX1335" fmla="*/ 542801 w 682417"/>
              <a:gd name="connsiteY1335" fmla="*/ 52108 h 798267"/>
              <a:gd name="connsiteX1336" fmla="*/ 545992 w 682417"/>
              <a:gd name="connsiteY1336" fmla="*/ 53803 h 798267"/>
              <a:gd name="connsiteX1337" fmla="*/ 547821 w 682417"/>
              <a:gd name="connsiteY1337" fmla="*/ 49612 h 798267"/>
              <a:gd name="connsiteX1338" fmla="*/ 51454 w 682417"/>
              <a:gd name="connsiteY1338" fmla="*/ 597243 h 798267"/>
              <a:gd name="connsiteX1339" fmla="*/ 50502 w 682417"/>
              <a:gd name="connsiteY1339" fmla="*/ 595919 h 798267"/>
              <a:gd name="connsiteX1340" fmla="*/ 48244 w 682417"/>
              <a:gd name="connsiteY1340" fmla="*/ 595538 h 798267"/>
              <a:gd name="connsiteX1341" fmla="*/ 51454 w 682417"/>
              <a:gd name="connsiteY1341" fmla="*/ 597243 h 798267"/>
              <a:gd name="connsiteX1342" fmla="*/ 9658 w 682417"/>
              <a:gd name="connsiteY1342" fmla="*/ 754767 h 798267"/>
              <a:gd name="connsiteX1343" fmla="*/ 11154 w 682417"/>
              <a:gd name="connsiteY1343" fmla="*/ 759663 h 798267"/>
              <a:gd name="connsiteX1344" fmla="*/ 9658 w 682417"/>
              <a:gd name="connsiteY1344" fmla="*/ 754767 h 798267"/>
              <a:gd name="connsiteX1345" fmla="*/ 20355 w 682417"/>
              <a:gd name="connsiteY1345" fmla="*/ 760063 h 798267"/>
              <a:gd name="connsiteX1346" fmla="*/ 16783 w 682417"/>
              <a:gd name="connsiteY1346" fmla="*/ 760615 h 798267"/>
              <a:gd name="connsiteX1347" fmla="*/ 14145 w 682417"/>
              <a:gd name="connsiteY1347" fmla="*/ 762520 h 798267"/>
              <a:gd name="connsiteX1348" fmla="*/ 20355 w 682417"/>
              <a:gd name="connsiteY1348" fmla="*/ 760063 h 798267"/>
              <a:gd name="connsiteX1349" fmla="*/ 26813 w 682417"/>
              <a:gd name="connsiteY1349" fmla="*/ 674214 h 798267"/>
              <a:gd name="connsiteX1350" fmla="*/ 24908 w 682417"/>
              <a:gd name="connsiteY1350" fmla="*/ 671566 h 798267"/>
              <a:gd name="connsiteX1351" fmla="*/ 21888 w 682417"/>
              <a:gd name="connsiteY1351" fmla="*/ 675700 h 798267"/>
              <a:gd name="connsiteX1352" fmla="*/ 26813 w 682417"/>
              <a:gd name="connsiteY1352" fmla="*/ 674224 h 798267"/>
              <a:gd name="connsiteX1353" fmla="*/ 26175 w 682417"/>
              <a:gd name="connsiteY1353" fmla="*/ 691492 h 798267"/>
              <a:gd name="connsiteX1354" fmla="*/ 24470 w 682417"/>
              <a:gd name="connsiteY1354" fmla="*/ 694683 h 798267"/>
              <a:gd name="connsiteX1355" fmla="*/ 26175 w 682417"/>
              <a:gd name="connsiteY1355" fmla="*/ 691492 h 798267"/>
              <a:gd name="connsiteX1356" fmla="*/ 27889 w 682417"/>
              <a:gd name="connsiteY1356" fmla="*/ 681348 h 798267"/>
              <a:gd name="connsiteX1357" fmla="*/ 29575 w 682417"/>
              <a:gd name="connsiteY1357" fmla="*/ 685111 h 798267"/>
              <a:gd name="connsiteX1358" fmla="*/ 27908 w 682417"/>
              <a:gd name="connsiteY1358" fmla="*/ 681348 h 798267"/>
              <a:gd name="connsiteX1359" fmla="*/ 40072 w 682417"/>
              <a:gd name="connsiteY1359" fmla="*/ 637076 h 798267"/>
              <a:gd name="connsiteX1360" fmla="*/ 35728 w 682417"/>
              <a:gd name="connsiteY1360" fmla="*/ 642143 h 798267"/>
              <a:gd name="connsiteX1361" fmla="*/ 40072 w 682417"/>
              <a:gd name="connsiteY1361" fmla="*/ 637076 h 798267"/>
              <a:gd name="connsiteX1362" fmla="*/ 44929 w 682417"/>
              <a:gd name="connsiteY1362" fmla="*/ 710943 h 798267"/>
              <a:gd name="connsiteX1363" fmla="*/ 41167 w 682417"/>
              <a:gd name="connsiteY1363" fmla="*/ 712619 h 798267"/>
              <a:gd name="connsiteX1364" fmla="*/ 44929 w 682417"/>
              <a:gd name="connsiteY1364" fmla="*/ 710904 h 798267"/>
              <a:gd name="connsiteX1365" fmla="*/ 57998 w 682417"/>
              <a:gd name="connsiteY1365" fmla="*/ 674900 h 798267"/>
              <a:gd name="connsiteX1366" fmla="*/ 52730 w 682417"/>
              <a:gd name="connsiteY1366" fmla="*/ 678643 h 798267"/>
              <a:gd name="connsiteX1367" fmla="*/ 57998 w 682417"/>
              <a:gd name="connsiteY1367" fmla="*/ 674862 h 798267"/>
              <a:gd name="connsiteX1368" fmla="*/ 58579 w 682417"/>
              <a:gd name="connsiteY1368" fmla="*/ 603120 h 798267"/>
              <a:gd name="connsiteX1369" fmla="*/ 53883 w 682417"/>
              <a:gd name="connsiteY1369" fmla="*/ 603481 h 798267"/>
              <a:gd name="connsiteX1370" fmla="*/ 58560 w 682417"/>
              <a:gd name="connsiteY1370" fmla="*/ 603081 h 798267"/>
              <a:gd name="connsiteX1371" fmla="*/ 65780 w 682417"/>
              <a:gd name="connsiteY1371" fmla="*/ 649554 h 798267"/>
              <a:gd name="connsiteX1372" fmla="*/ 68399 w 682417"/>
              <a:gd name="connsiteY1372" fmla="*/ 654640 h 798267"/>
              <a:gd name="connsiteX1373" fmla="*/ 65780 w 682417"/>
              <a:gd name="connsiteY1373" fmla="*/ 649516 h 798267"/>
              <a:gd name="connsiteX1374" fmla="*/ 96965 w 682417"/>
              <a:gd name="connsiteY1374" fmla="*/ 520366 h 798267"/>
              <a:gd name="connsiteX1375" fmla="*/ 93774 w 682417"/>
              <a:gd name="connsiteY1375" fmla="*/ 518661 h 798267"/>
              <a:gd name="connsiteX1376" fmla="*/ 91869 w 682417"/>
              <a:gd name="connsiteY1376" fmla="*/ 522976 h 798267"/>
              <a:gd name="connsiteX1377" fmla="*/ 96965 w 682417"/>
              <a:gd name="connsiteY1377" fmla="*/ 520328 h 798267"/>
              <a:gd name="connsiteX1378" fmla="*/ 124587 w 682417"/>
              <a:gd name="connsiteY1378" fmla="*/ 514651 h 798267"/>
              <a:gd name="connsiteX1379" fmla="*/ 121958 w 682417"/>
              <a:gd name="connsiteY1379" fmla="*/ 516556 h 798267"/>
              <a:gd name="connsiteX1380" fmla="*/ 124606 w 682417"/>
              <a:gd name="connsiteY1380" fmla="*/ 514585 h 798267"/>
              <a:gd name="connsiteX1381" fmla="*/ 136827 w 682417"/>
              <a:gd name="connsiteY1381" fmla="*/ 442528 h 798267"/>
              <a:gd name="connsiteX1382" fmla="*/ 134579 w 682417"/>
              <a:gd name="connsiteY1382" fmla="*/ 442147 h 798267"/>
              <a:gd name="connsiteX1383" fmla="*/ 134198 w 682417"/>
              <a:gd name="connsiteY1383" fmla="*/ 444404 h 798267"/>
              <a:gd name="connsiteX1384" fmla="*/ 136436 w 682417"/>
              <a:gd name="connsiteY1384" fmla="*/ 444785 h 798267"/>
              <a:gd name="connsiteX1385" fmla="*/ 141170 w 682417"/>
              <a:gd name="connsiteY1385" fmla="*/ 498916 h 798267"/>
              <a:gd name="connsiteX1386" fmla="*/ 140218 w 682417"/>
              <a:gd name="connsiteY1386" fmla="*/ 497592 h 798267"/>
              <a:gd name="connsiteX1387" fmla="*/ 137960 w 682417"/>
              <a:gd name="connsiteY1387" fmla="*/ 497211 h 798267"/>
              <a:gd name="connsiteX1388" fmla="*/ 141189 w 682417"/>
              <a:gd name="connsiteY1388" fmla="*/ 498849 h 798267"/>
              <a:gd name="connsiteX1389" fmla="*/ 144370 w 682417"/>
              <a:gd name="connsiteY1389" fmla="*/ 432241 h 798267"/>
              <a:gd name="connsiteX1390" fmla="*/ 141732 w 682417"/>
              <a:gd name="connsiteY1390" fmla="*/ 434146 h 798267"/>
              <a:gd name="connsiteX1391" fmla="*/ 139284 w 682417"/>
              <a:gd name="connsiteY1391" fmla="*/ 434898 h 798267"/>
              <a:gd name="connsiteX1392" fmla="*/ 142484 w 682417"/>
              <a:gd name="connsiteY1392" fmla="*/ 436594 h 798267"/>
              <a:gd name="connsiteX1393" fmla="*/ 144389 w 682417"/>
              <a:gd name="connsiteY1393" fmla="*/ 432146 h 798267"/>
              <a:gd name="connsiteX1394" fmla="*/ 178146 w 682417"/>
              <a:gd name="connsiteY1394" fmla="*/ 383483 h 798267"/>
              <a:gd name="connsiteX1395" fmla="*/ 176451 w 682417"/>
              <a:gd name="connsiteY1395" fmla="*/ 386673 h 798267"/>
              <a:gd name="connsiteX1396" fmla="*/ 178165 w 682417"/>
              <a:gd name="connsiteY1396" fmla="*/ 383387 h 798267"/>
              <a:gd name="connsiteX1397" fmla="*/ 190414 w 682417"/>
              <a:gd name="connsiteY1397" fmla="*/ 365852 h 798267"/>
              <a:gd name="connsiteX1398" fmla="*/ 187614 w 682417"/>
              <a:gd name="connsiteY1398" fmla="*/ 361908 h 798267"/>
              <a:gd name="connsiteX1399" fmla="*/ 185890 w 682417"/>
              <a:gd name="connsiteY1399" fmla="*/ 372043 h 798267"/>
              <a:gd name="connsiteX1400" fmla="*/ 190033 w 682417"/>
              <a:gd name="connsiteY1400" fmla="*/ 368109 h 798267"/>
              <a:gd name="connsiteX1401" fmla="*/ 191938 w 682417"/>
              <a:gd name="connsiteY1401" fmla="*/ 370748 h 798267"/>
              <a:gd name="connsiteX1402" fmla="*/ 190433 w 682417"/>
              <a:gd name="connsiteY1402" fmla="*/ 365756 h 798267"/>
              <a:gd name="connsiteX1403" fmla="*/ 195177 w 682417"/>
              <a:gd name="connsiteY1403" fmla="*/ 399132 h 798267"/>
              <a:gd name="connsiteX1404" fmla="*/ 193110 w 682417"/>
              <a:gd name="connsiteY1404" fmla="*/ 397627 h 798267"/>
              <a:gd name="connsiteX1405" fmla="*/ 194796 w 682417"/>
              <a:gd name="connsiteY1405" fmla="*/ 401389 h 798267"/>
              <a:gd name="connsiteX1406" fmla="*/ 195224 w 682417"/>
              <a:gd name="connsiteY1406" fmla="*/ 399037 h 798267"/>
              <a:gd name="connsiteX1407" fmla="*/ 198844 w 682417"/>
              <a:gd name="connsiteY1407" fmla="*/ 363813 h 798267"/>
              <a:gd name="connsiteX1408" fmla="*/ 201292 w 682417"/>
              <a:gd name="connsiteY1408" fmla="*/ 363070 h 798267"/>
              <a:gd name="connsiteX1409" fmla="*/ 201673 w 682417"/>
              <a:gd name="connsiteY1409" fmla="*/ 360823 h 798267"/>
              <a:gd name="connsiteX1410" fmla="*/ 198482 w 682417"/>
              <a:gd name="connsiteY1410" fmla="*/ 359118 h 798267"/>
              <a:gd name="connsiteX1411" fmla="*/ 198892 w 682417"/>
              <a:gd name="connsiteY1411" fmla="*/ 363709 h 798267"/>
              <a:gd name="connsiteX1412" fmla="*/ 203359 w 682417"/>
              <a:gd name="connsiteY1412" fmla="*/ 364585 h 798267"/>
              <a:gd name="connsiteX1413" fmla="*/ 199549 w 682417"/>
              <a:gd name="connsiteY1413" fmla="*/ 366261 h 798267"/>
              <a:gd name="connsiteX1414" fmla="*/ 198977 w 682417"/>
              <a:gd name="connsiteY1414" fmla="*/ 369643 h 798267"/>
              <a:gd name="connsiteX1415" fmla="*/ 202940 w 682417"/>
              <a:gd name="connsiteY1415" fmla="*/ 366833 h 798267"/>
              <a:gd name="connsiteX1416" fmla="*/ 206121 w 682417"/>
              <a:gd name="connsiteY1416" fmla="*/ 368528 h 798267"/>
              <a:gd name="connsiteX1417" fmla="*/ 203406 w 682417"/>
              <a:gd name="connsiteY1417" fmla="*/ 364490 h 798267"/>
              <a:gd name="connsiteX1418" fmla="*/ 209074 w 682417"/>
              <a:gd name="connsiteY1418" fmla="*/ 344678 h 798267"/>
              <a:gd name="connsiteX1419" fmla="*/ 207007 w 682417"/>
              <a:gd name="connsiteY1419" fmla="*/ 343173 h 798267"/>
              <a:gd name="connsiteX1420" fmla="*/ 208693 w 682417"/>
              <a:gd name="connsiteY1420" fmla="*/ 346935 h 798267"/>
              <a:gd name="connsiteX1421" fmla="*/ 210645 w 682417"/>
              <a:gd name="connsiteY1421" fmla="*/ 321760 h 798267"/>
              <a:gd name="connsiteX1422" fmla="*/ 211198 w 682417"/>
              <a:gd name="connsiteY1422" fmla="*/ 325332 h 798267"/>
              <a:gd name="connsiteX1423" fmla="*/ 210674 w 682417"/>
              <a:gd name="connsiteY1423" fmla="*/ 321665 h 798267"/>
              <a:gd name="connsiteX1424" fmla="*/ 225266 w 682417"/>
              <a:gd name="connsiteY1424" fmla="*/ 331200 h 798267"/>
              <a:gd name="connsiteX1425" fmla="*/ 218323 w 682417"/>
              <a:gd name="connsiteY1425" fmla="*/ 331200 h 798267"/>
              <a:gd name="connsiteX1426" fmla="*/ 219065 w 682417"/>
              <a:gd name="connsiteY1426" fmla="*/ 333648 h 798267"/>
              <a:gd name="connsiteX1427" fmla="*/ 217741 w 682417"/>
              <a:gd name="connsiteY1427" fmla="*/ 334600 h 798267"/>
              <a:gd name="connsiteX1428" fmla="*/ 216789 w 682417"/>
              <a:gd name="connsiteY1428" fmla="*/ 333276 h 798267"/>
              <a:gd name="connsiteX1429" fmla="*/ 217225 w 682417"/>
              <a:gd name="connsiteY1429" fmla="*/ 338742 h 798267"/>
              <a:gd name="connsiteX1430" fmla="*/ 218084 w 682417"/>
              <a:gd name="connsiteY1430" fmla="*/ 339296 h 798267"/>
              <a:gd name="connsiteX1431" fmla="*/ 224295 w 682417"/>
              <a:gd name="connsiteY1431" fmla="*/ 336867 h 798267"/>
              <a:gd name="connsiteX1432" fmla="*/ 225295 w 682417"/>
              <a:gd name="connsiteY1432" fmla="*/ 331105 h 798267"/>
              <a:gd name="connsiteX1433" fmla="*/ 239535 w 682417"/>
              <a:gd name="connsiteY1433" fmla="*/ 295252 h 798267"/>
              <a:gd name="connsiteX1434" fmla="*/ 235982 w 682417"/>
              <a:gd name="connsiteY1434" fmla="*/ 288852 h 798267"/>
              <a:gd name="connsiteX1435" fmla="*/ 235220 w 682417"/>
              <a:gd name="connsiteY1435" fmla="*/ 293357 h 798267"/>
              <a:gd name="connsiteX1436" fmla="*/ 239535 w 682417"/>
              <a:gd name="connsiteY1436" fmla="*/ 295252 h 798267"/>
              <a:gd name="connsiteX1437" fmla="*/ 244040 w 682417"/>
              <a:gd name="connsiteY1437" fmla="*/ 296014 h 798267"/>
              <a:gd name="connsiteX1438" fmla="*/ 238763 w 682417"/>
              <a:gd name="connsiteY1438" fmla="*/ 299758 h 798267"/>
              <a:gd name="connsiteX1439" fmla="*/ 244002 w 682417"/>
              <a:gd name="connsiteY1439" fmla="*/ 296014 h 798267"/>
              <a:gd name="connsiteX1440" fmla="*/ 253565 w 682417"/>
              <a:gd name="connsiteY1440" fmla="*/ 315064 h 798267"/>
              <a:gd name="connsiteX1441" fmla="*/ 255241 w 682417"/>
              <a:gd name="connsiteY1441" fmla="*/ 318827 h 798267"/>
              <a:gd name="connsiteX1442" fmla="*/ 253536 w 682417"/>
              <a:gd name="connsiteY1442" fmla="*/ 315026 h 798267"/>
              <a:gd name="connsiteX1443" fmla="*/ 257585 w 682417"/>
              <a:gd name="connsiteY1443" fmla="*/ 291395 h 798267"/>
              <a:gd name="connsiteX1444" fmla="*/ 251555 w 682417"/>
              <a:gd name="connsiteY1444" fmla="*/ 292700 h 798267"/>
              <a:gd name="connsiteX1445" fmla="*/ 257556 w 682417"/>
              <a:gd name="connsiteY1445" fmla="*/ 291319 h 798267"/>
              <a:gd name="connsiteX1446" fmla="*/ 290570 w 682417"/>
              <a:gd name="connsiteY1446" fmla="*/ 254095 h 798267"/>
              <a:gd name="connsiteX1447" fmla="*/ 290922 w 682417"/>
              <a:gd name="connsiteY1447" fmla="*/ 258800 h 798267"/>
              <a:gd name="connsiteX1448" fmla="*/ 296199 w 682417"/>
              <a:gd name="connsiteY1448" fmla="*/ 255057 h 798267"/>
              <a:gd name="connsiteX1449" fmla="*/ 292646 w 682417"/>
              <a:gd name="connsiteY1449" fmla="*/ 248656 h 798267"/>
              <a:gd name="connsiteX1450" fmla="*/ 294351 w 682417"/>
              <a:gd name="connsiteY1450" fmla="*/ 245465 h 798267"/>
              <a:gd name="connsiteX1451" fmla="*/ 292618 w 682417"/>
              <a:gd name="connsiteY1451" fmla="*/ 248618 h 798267"/>
              <a:gd name="connsiteX1452" fmla="*/ 293599 w 682417"/>
              <a:gd name="connsiteY1452" fmla="*/ 236074 h 798267"/>
              <a:gd name="connsiteX1453" fmla="*/ 295504 w 682417"/>
              <a:gd name="connsiteY1453" fmla="*/ 231749 h 798267"/>
              <a:gd name="connsiteX1454" fmla="*/ 289874 w 682417"/>
              <a:gd name="connsiteY1454" fmla="*/ 230797 h 798267"/>
              <a:gd name="connsiteX1455" fmla="*/ 293599 w 682417"/>
              <a:gd name="connsiteY1455" fmla="*/ 236074 h 798267"/>
              <a:gd name="connsiteX1456" fmla="*/ 286045 w 682417"/>
              <a:gd name="connsiteY1456" fmla="*/ 246380 h 798267"/>
              <a:gd name="connsiteX1457" fmla="*/ 288112 w 682417"/>
              <a:gd name="connsiteY1457" fmla="*/ 247885 h 798267"/>
              <a:gd name="connsiteX1458" fmla="*/ 289627 w 682417"/>
              <a:gd name="connsiteY1458" fmla="*/ 245827 h 798267"/>
              <a:gd name="connsiteX1459" fmla="*/ 287560 w 682417"/>
              <a:gd name="connsiteY1459" fmla="*/ 244322 h 798267"/>
              <a:gd name="connsiteX1460" fmla="*/ 286045 w 682417"/>
              <a:gd name="connsiteY1460" fmla="*/ 246342 h 798267"/>
              <a:gd name="connsiteX1461" fmla="*/ 272272 w 682417"/>
              <a:gd name="connsiteY1461" fmla="*/ 266068 h 798267"/>
              <a:gd name="connsiteX1462" fmla="*/ 273958 w 682417"/>
              <a:gd name="connsiteY1462" fmla="*/ 269830 h 798267"/>
              <a:gd name="connsiteX1463" fmla="*/ 272272 w 682417"/>
              <a:gd name="connsiteY1463" fmla="*/ 266030 h 798267"/>
              <a:gd name="connsiteX1464" fmla="*/ 292751 w 682417"/>
              <a:gd name="connsiteY1464" fmla="*/ 268382 h 798267"/>
              <a:gd name="connsiteX1465" fmla="*/ 284178 w 682417"/>
              <a:gd name="connsiteY1465" fmla="*/ 257648 h 798267"/>
              <a:gd name="connsiteX1466" fmla="*/ 278930 w 682417"/>
              <a:gd name="connsiteY1466" fmla="*/ 254438 h 798267"/>
              <a:gd name="connsiteX1467" fmla="*/ 277435 w 682417"/>
              <a:gd name="connsiteY1467" fmla="*/ 249551 h 798267"/>
              <a:gd name="connsiteX1468" fmla="*/ 273844 w 682417"/>
              <a:gd name="connsiteY1468" fmla="*/ 257057 h 798267"/>
              <a:gd name="connsiteX1469" fmla="*/ 267633 w 682417"/>
              <a:gd name="connsiteY1469" fmla="*/ 259477 h 798267"/>
              <a:gd name="connsiteX1470" fmla="*/ 267062 w 682417"/>
              <a:gd name="connsiteY1470" fmla="*/ 262858 h 798267"/>
              <a:gd name="connsiteX1471" fmla="*/ 263490 w 682417"/>
              <a:gd name="connsiteY1471" fmla="*/ 263410 h 798267"/>
              <a:gd name="connsiteX1472" fmla="*/ 268938 w 682417"/>
              <a:gd name="connsiteY1472" fmla="*/ 265496 h 798267"/>
              <a:gd name="connsiteX1473" fmla="*/ 271948 w 682417"/>
              <a:gd name="connsiteY1473" fmla="*/ 261372 h 798267"/>
              <a:gd name="connsiteX1474" fmla="*/ 279463 w 682417"/>
              <a:gd name="connsiteY1474" fmla="*/ 264963 h 798267"/>
              <a:gd name="connsiteX1475" fmla="*/ 283007 w 682417"/>
              <a:gd name="connsiteY1475" fmla="*/ 271364 h 798267"/>
              <a:gd name="connsiteX1476" fmla="*/ 287350 w 682417"/>
              <a:gd name="connsiteY1476" fmla="*/ 266306 h 798267"/>
              <a:gd name="connsiteX1477" fmla="*/ 292751 w 682417"/>
              <a:gd name="connsiteY1477" fmla="*/ 268344 h 798267"/>
              <a:gd name="connsiteX1478" fmla="*/ 295408 w 682417"/>
              <a:gd name="connsiteY1478" fmla="*/ 259562 h 798267"/>
              <a:gd name="connsiteX1479" fmla="*/ 291598 w 682417"/>
              <a:gd name="connsiteY1479" fmla="*/ 261248 h 798267"/>
              <a:gd name="connsiteX1480" fmla="*/ 295723 w 682417"/>
              <a:gd name="connsiteY1480" fmla="*/ 264258 h 798267"/>
              <a:gd name="connsiteX1481" fmla="*/ 295408 w 682417"/>
              <a:gd name="connsiteY1481" fmla="*/ 259524 h 798267"/>
              <a:gd name="connsiteX1482" fmla="*/ 297933 w 682417"/>
              <a:gd name="connsiteY1482" fmla="*/ 230987 h 798267"/>
              <a:gd name="connsiteX1483" fmla="*/ 301695 w 682417"/>
              <a:gd name="connsiteY1483" fmla="*/ 229301 h 798267"/>
              <a:gd name="connsiteX1484" fmla="*/ 299447 w 682417"/>
              <a:gd name="connsiteY1484" fmla="*/ 228920 h 798267"/>
              <a:gd name="connsiteX1485" fmla="*/ 297933 w 682417"/>
              <a:gd name="connsiteY1485" fmla="*/ 230968 h 798267"/>
              <a:gd name="connsiteX1486" fmla="*/ 297704 w 682417"/>
              <a:gd name="connsiteY1486" fmla="*/ 246018 h 798267"/>
              <a:gd name="connsiteX1487" fmla="*/ 299380 w 682417"/>
              <a:gd name="connsiteY1487" fmla="*/ 249780 h 798267"/>
              <a:gd name="connsiteX1488" fmla="*/ 297704 w 682417"/>
              <a:gd name="connsiteY1488" fmla="*/ 245999 h 798267"/>
              <a:gd name="connsiteX1489" fmla="*/ 302171 w 682417"/>
              <a:gd name="connsiteY1489" fmla="*/ 260686 h 798267"/>
              <a:gd name="connsiteX1490" fmla="*/ 303124 w 682417"/>
              <a:gd name="connsiteY1490" fmla="*/ 255057 h 798267"/>
              <a:gd name="connsiteX1491" fmla="*/ 305029 w 682417"/>
              <a:gd name="connsiteY1491" fmla="*/ 257695 h 798267"/>
              <a:gd name="connsiteX1492" fmla="*/ 302409 w 682417"/>
              <a:gd name="connsiteY1492" fmla="*/ 252609 h 798267"/>
              <a:gd name="connsiteX1493" fmla="*/ 299971 w 682417"/>
              <a:gd name="connsiteY1493" fmla="*/ 253352 h 798267"/>
              <a:gd name="connsiteX1494" fmla="*/ 302171 w 682417"/>
              <a:gd name="connsiteY1494" fmla="*/ 260667 h 798267"/>
              <a:gd name="connsiteX1495" fmla="*/ 307210 w 682417"/>
              <a:gd name="connsiteY1495" fmla="*/ 271983 h 798267"/>
              <a:gd name="connsiteX1496" fmla="*/ 302324 w 682417"/>
              <a:gd name="connsiteY1496" fmla="*/ 273469 h 798267"/>
              <a:gd name="connsiteX1497" fmla="*/ 307210 w 682417"/>
              <a:gd name="connsiteY1497" fmla="*/ 271964 h 798267"/>
              <a:gd name="connsiteX1498" fmla="*/ 307210 w 682417"/>
              <a:gd name="connsiteY1498" fmla="*/ 278927 h 798267"/>
              <a:gd name="connsiteX1499" fmla="*/ 308696 w 682417"/>
              <a:gd name="connsiteY1499" fmla="*/ 283822 h 798267"/>
              <a:gd name="connsiteX1500" fmla="*/ 307162 w 682417"/>
              <a:gd name="connsiteY1500" fmla="*/ 278936 h 798267"/>
              <a:gd name="connsiteX1501" fmla="*/ 316392 w 682417"/>
              <a:gd name="connsiteY1501" fmla="*/ 224844 h 798267"/>
              <a:gd name="connsiteX1502" fmla="*/ 315839 w 682417"/>
              <a:gd name="connsiteY1502" fmla="*/ 221272 h 798267"/>
              <a:gd name="connsiteX1503" fmla="*/ 314516 w 682417"/>
              <a:gd name="connsiteY1503" fmla="*/ 222224 h 798267"/>
              <a:gd name="connsiteX1504" fmla="*/ 313392 w 682417"/>
              <a:gd name="connsiteY1504" fmla="*/ 222034 h 798267"/>
              <a:gd name="connsiteX1505" fmla="*/ 316373 w 682417"/>
              <a:gd name="connsiteY1505" fmla="*/ 224825 h 798267"/>
              <a:gd name="connsiteX1506" fmla="*/ 318735 w 682417"/>
              <a:gd name="connsiteY1506" fmla="*/ 258857 h 798267"/>
              <a:gd name="connsiteX1507" fmla="*/ 317240 w 682417"/>
              <a:gd name="connsiteY1507" fmla="*/ 253971 h 798267"/>
              <a:gd name="connsiteX1508" fmla="*/ 316659 w 682417"/>
              <a:gd name="connsiteY1508" fmla="*/ 257738 h 798267"/>
              <a:gd name="connsiteX1509" fmla="*/ 318716 w 682417"/>
              <a:gd name="connsiteY1509" fmla="*/ 258838 h 798267"/>
              <a:gd name="connsiteX1510" fmla="*/ 334080 w 682417"/>
              <a:gd name="connsiteY1510" fmla="*/ 216252 h 798267"/>
              <a:gd name="connsiteX1511" fmla="*/ 332175 w 682417"/>
              <a:gd name="connsiteY1511" fmla="*/ 220567 h 798267"/>
              <a:gd name="connsiteX1512" fmla="*/ 333489 w 682417"/>
              <a:gd name="connsiteY1512" fmla="*/ 219614 h 798267"/>
              <a:gd name="connsiteX1513" fmla="*/ 337995 w 682417"/>
              <a:gd name="connsiteY1513" fmla="*/ 220376 h 798267"/>
              <a:gd name="connsiteX1514" fmla="*/ 340424 w 682417"/>
              <a:gd name="connsiteY1514" fmla="*/ 226577 h 798267"/>
              <a:gd name="connsiteX1515" fmla="*/ 339059 w 682417"/>
              <a:gd name="connsiteY1515" fmla="*/ 217425 h 798267"/>
              <a:gd name="connsiteX1516" fmla="*/ 334061 w 682417"/>
              <a:gd name="connsiteY1516" fmla="*/ 216233 h 798267"/>
              <a:gd name="connsiteX1517" fmla="*/ 352282 w 682417"/>
              <a:gd name="connsiteY1517" fmla="*/ 225129 h 798267"/>
              <a:gd name="connsiteX1518" fmla="*/ 352882 w 682417"/>
              <a:gd name="connsiteY1518" fmla="*/ 221786 h 798267"/>
              <a:gd name="connsiteX1519" fmla="*/ 354940 w 682417"/>
              <a:gd name="connsiteY1519" fmla="*/ 223291 h 798267"/>
              <a:gd name="connsiteX1520" fmla="*/ 357959 w 682417"/>
              <a:gd name="connsiteY1520" fmla="*/ 219167 h 798267"/>
              <a:gd name="connsiteX1521" fmla="*/ 359254 w 682417"/>
              <a:gd name="connsiteY1521" fmla="*/ 225177 h 798267"/>
              <a:gd name="connsiteX1522" fmla="*/ 360597 w 682417"/>
              <a:gd name="connsiteY1522" fmla="*/ 217290 h 798267"/>
              <a:gd name="connsiteX1523" fmla="*/ 362293 w 682417"/>
              <a:gd name="connsiteY1523" fmla="*/ 214109 h 798267"/>
              <a:gd name="connsiteX1524" fmla="*/ 355349 w 682417"/>
              <a:gd name="connsiteY1524" fmla="*/ 214109 h 798267"/>
              <a:gd name="connsiteX1525" fmla="*/ 352263 w 682417"/>
              <a:gd name="connsiteY1525" fmla="*/ 225110 h 798267"/>
              <a:gd name="connsiteX1526" fmla="*/ 346853 w 682417"/>
              <a:gd name="connsiteY1526" fmla="*/ 216100 h 798267"/>
              <a:gd name="connsiteX1527" fmla="*/ 351930 w 682417"/>
              <a:gd name="connsiteY1527" fmla="*/ 213480 h 798267"/>
              <a:gd name="connsiteX1528" fmla="*/ 348929 w 682417"/>
              <a:gd name="connsiteY1528" fmla="*/ 210623 h 798267"/>
              <a:gd name="connsiteX1529" fmla="*/ 346834 w 682417"/>
              <a:gd name="connsiteY1529" fmla="*/ 216071 h 798267"/>
              <a:gd name="connsiteX1530" fmla="*/ 350177 w 682417"/>
              <a:gd name="connsiteY1530" fmla="*/ 237531 h 798267"/>
              <a:gd name="connsiteX1531" fmla="*/ 347177 w 682417"/>
              <a:gd name="connsiteY1531" fmla="*/ 234673 h 798267"/>
              <a:gd name="connsiteX1532" fmla="*/ 350158 w 682417"/>
              <a:gd name="connsiteY1532" fmla="*/ 237512 h 798267"/>
              <a:gd name="connsiteX1533" fmla="*/ 358750 w 682417"/>
              <a:gd name="connsiteY1533" fmla="*/ 248266 h 798267"/>
              <a:gd name="connsiteX1534" fmla="*/ 351425 w 682417"/>
              <a:gd name="connsiteY1534" fmla="*/ 243503 h 798267"/>
              <a:gd name="connsiteX1535" fmla="*/ 347433 w 682417"/>
              <a:gd name="connsiteY1535" fmla="*/ 246898 h 798267"/>
              <a:gd name="connsiteX1536" fmla="*/ 345224 w 682417"/>
              <a:gd name="connsiteY1536" fmla="*/ 245932 h 798267"/>
              <a:gd name="connsiteX1537" fmla="*/ 348967 w 682417"/>
              <a:gd name="connsiteY1537" fmla="*/ 251209 h 798267"/>
              <a:gd name="connsiteX1538" fmla="*/ 351987 w 682417"/>
              <a:gd name="connsiteY1538" fmla="*/ 247084 h 798267"/>
              <a:gd name="connsiteX1539" fmla="*/ 355178 w 682417"/>
              <a:gd name="connsiteY1539" fmla="*/ 248780 h 798267"/>
              <a:gd name="connsiteX1540" fmla="*/ 353273 w 682417"/>
              <a:gd name="connsiteY1540" fmla="*/ 246142 h 798267"/>
              <a:gd name="connsiteX1541" fmla="*/ 358769 w 682417"/>
              <a:gd name="connsiteY1541" fmla="*/ 248247 h 798267"/>
              <a:gd name="connsiteX1542" fmla="*/ 366522 w 682417"/>
              <a:gd name="connsiteY1542" fmla="*/ 222920 h 798267"/>
              <a:gd name="connsiteX1543" fmla="*/ 362712 w 682417"/>
              <a:gd name="connsiteY1543" fmla="*/ 231549 h 798267"/>
              <a:gd name="connsiteX1544" fmla="*/ 361036 w 682417"/>
              <a:gd name="connsiteY1544" fmla="*/ 227739 h 798267"/>
              <a:gd name="connsiteX1545" fmla="*/ 356692 w 682417"/>
              <a:gd name="connsiteY1545" fmla="*/ 232807 h 798267"/>
              <a:gd name="connsiteX1546" fmla="*/ 364198 w 682417"/>
              <a:gd name="connsiteY1546" fmla="*/ 236397 h 798267"/>
              <a:gd name="connsiteX1547" fmla="*/ 363836 w 682417"/>
              <a:gd name="connsiteY1547" fmla="*/ 231692 h 798267"/>
              <a:gd name="connsiteX1548" fmla="*/ 366112 w 682417"/>
              <a:gd name="connsiteY1548" fmla="*/ 225129 h 798267"/>
              <a:gd name="connsiteX1549" fmla="*/ 367243 w 682417"/>
              <a:gd name="connsiteY1549" fmla="*/ 223937 h 798267"/>
              <a:gd name="connsiteX1550" fmla="*/ 366541 w 682417"/>
              <a:gd name="connsiteY1550" fmla="*/ 222901 h 798267"/>
              <a:gd name="connsiteX1551" fmla="*/ 380810 w 682417"/>
              <a:gd name="connsiteY1551" fmla="*/ 227682 h 798267"/>
              <a:gd name="connsiteX1552" fmla="*/ 383086 w 682417"/>
              <a:gd name="connsiteY1552" fmla="*/ 221110 h 798267"/>
              <a:gd name="connsiteX1553" fmla="*/ 380810 w 682417"/>
              <a:gd name="connsiteY1553" fmla="*/ 227644 h 798267"/>
              <a:gd name="connsiteX1554" fmla="*/ 383591 w 682417"/>
              <a:gd name="connsiteY1554" fmla="*/ 238579 h 798267"/>
              <a:gd name="connsiteX1555" fmla="*/ 374771 w 682417"/>
              <a:gd name="connsiteY1555" fmla="*/ 235931 h 798267"/>
              <a:gd name="connsiteX1556" fmla="*/ 378905 w 682417"/>
              <a:gd name="connsiteY1556" fmla="*/ 238950 h 798267"/>
              <a:gd name="connsiteX1557" fmla="*/ 383591 w 682417"/>
              <a:gd name="connsiteY1557" fmla="*/ 238541 h 798267"/>
              <a:gd name="connsiteX1558" fmla="*/ 385801 w 682417"/>
              <a:gd name="connsiteY1558" fmla="*/ 191430 h 798267"/>
              <a:gd name="connsiteX1559" fmla="*/ 386182 w 682417"/>
              <a:gd name="connsiteY1559" fmla="*/ 189172 h 798267"/>
              <a:gd name="connsiteX1560" fmla="*/ 383934 w 682417"/>
              <a:gd name="connsiteY1560" fmla="*/ 188791 h 798267"/>
              <a:gd name="connsiteX1561" fmla="*/ 383543 w 682417"/>
              <a:gd name="connsiteY1561" fmla="*/ 191039 h 798267"/>
              <a:gd name="connsiteX1562" fmla="*/ 386258 w 682417"/>
              <a:gd name="connsiteY1562" fmla="*/ 229759 h 798267"/>
              <a:gd name="connsiteX1563" fmla="*/ 386429 w 682417"/>
              <a:gd name="connsiteY1563" fmla="*/ 235588 h 798267"/>
              <a:gd name="connsiteX1564" fmla="*/ 386220 w 682417"/>
              <a:gd name="connsiteY1564" fmla="*/ 229720 h 798267"/>
              <a:gd name="connsiteX1565" fmla="*/ 391354 w 682417"/>
              <a:gd name="connsiteY1565" fmla="*/ 220234 h 798267"/>
              <a:gd name="connsiteX1566" fmla="*/ 387401 w 682417"/>
              <a:gd name="connsiteY1566" fmla="*/ 223034 h 798267"/>
              <a:gd name="connsiteX1567" fmla="*/ 391354 w 682417"/>
              <a:gd name="connsiteY1567" fmla="*/ 220157 h 798267"/>
              <a:gd name="connsiteX1568" fmla="*/ 391897 w 682417"/>
              <a:gd name="connsiteY1568" fmla="*/ 230711 h 798267"/>
              <a:gd name="connsiteX1569" fmla="*/ 397145 w 682417"/>
              <a:gd name="connsiteY1569" fmla="*/ 233930 h 798267"/>
              <a:gd name="connsiteX1570" fmla="*/ 398097 w 682417"/>
              <a:gd name="connsiteY1570" fmla="*/ 228292 h 798267"/>
              <a:gd name="connsiteX1571" fmla="*/ 391935 w 682417"/>
              <a:gd name="connsiteY1571" fmla="*/ 230673 h 798267"/>
              <a:gd name="connsiteX1572" fmla="*/ 395859 w 682417"/>
              <a:gd name="connsiteY1572" fmla="*/ 220957 h 798267"/>
              <a:gd name="connsiteX1573" fmla="*/ 395097 w 682417"/>
              <a:gd name="connsiteY1573" fmla="*/ 225463 h 798267"/>
              <a:gd name="connsiteX1574" fmla="*/ 395859 w 682417"/>
              <a:gd name="connsiteY1574" fmla="*/ 220919 h 798267"/>
              <a:gd name="connsiteX1575" fmla="*/ 404365 w 682417"/>
              <a:gd name="connsiteY1575" fmla="*/ 205013 h 798267"/>
              <a:gd name="connsiteX1576" fmla="*/ 398536 w 682417"/>
              <a:gd name="connsiteY1576" fmla="*/ 205184 h 798267"/>
              <a:gd name="connsiteX1577" fmla="*/ 398707 w 682417"/>
              <a:gd name="connsiteY1577" fmla="*/ 211004 h 798267"/>
              <a:gd name="connsiteX1578" fmla="*/ 401726 w 682417"/>
              <a:gd name="connsiteY1578" fmla="*/ 206879 h 798267"/>
              <a:gd name="connsiteX1579" fmla="*/ 404365 w 682417"/>
              <a:gd name="connsiteY1579" fmla="*/ 204974 h 798267"/>
              <a:gd name="connsiteX1580" fmla="*/ 410385 w 682417"/>
              <a:gd name="connsiteY1580" fmla="*/ 203717 h 798267"/>
              <a:gd name="connsiteX1581" fmla="*/ 408480 w 682417"/>
              <a:gd name="connsiteY1581" fmla="*/ 201079 h 798267"/>
              <a:gd name="connsiteX1582" fmla="*/ 406575 w 682417"/>
              <a:gd name="connsiteY1582" fmla="*/ 205394 h 798267"/>
              <a:gd name="connsiteX1583" fmla="*/ 408823 w 682417"/>
              <a:gd name="connsiteY1583" fmla="*/ 205775 h 798267"/>
              <a:gd name="connsiteX1584" fmla="*/ 410385 w 682417"/>
              <a:gd name="connsiteY1584" fmla="*/ 203689 h 798267"/>
              <a:gd name="connsiteX1585" fmla="*/ 410385 w 682417"/>
              <a:gd name="connsiteY1585" fmla="*/ 217624 h 798267"/>
              <a:gd name="connsiteX1586" fmla="*/ 413375 w 682417"/>
              <a:gd name="connsiteY1586" fmla="*/ 220481 h 798267"/>
              <a:gd name="connsiteX1587" fmla="*/ 410347 w 682417"/>
              <a:gd name="connsiteY1587" fmla="*/ 217586 h 798267"/>
              <a:gd name="connsiteX1588" fmla="*/ 416614 w 682417"/>
              <a:gd name="connsiteY1588" fmla="*/ 208242 h 798267"/>
              <a:gd name="connsiteX1589" fmla="*/ 413423 w 682417"/>
              <a:gd name="connsiteY1589" fmla="*/ 206537 h 798267"/>
              <a:gd name="connsiteX1590" fmla="*/ 414709 w 682417"/>
              <a:gd name="connsiteY1590" fmla="*/ 212556 h 798267"/>
              <a:gd name="connsiteX1591" fmla="*/ 416966 w 682417"/>
              <a:gd name="connsiteY1591" fmla="*/ 212937 h 798267"/>
              <a:gd name="connsiteX1592" fmla="*/ 416576 w 682417"/>
              <a:gd name="connsiteY1592" fmla="*/ 208203 h 798267"/>
              <a:gd name="connsiteX1593" fmla="*/ 415890 w 682417"/>
              <a:gd name="connsiteY1593" fmla="*/ 198840 h 798267"/>
              <a:gd name="connsiteX1594" fmla="*/ 417195 w 682417"/>
              <a:gd name="connsiteY1594" fmla="*/ 197888 h 798267"/>
              <a:gd name="connsiteX1595" fmla="*/ 415119 w 682417"/>
              <a:gd name="connsiteY1595" fmla="*/ 203336 h 798267"/>
              <a:gd name="connsiteX1596" fmla="*/ 418500 w 682417"/>
              <a:gd name="connsiteY1596" fmla="*/ 203908 h 798267"/>
              <a:gd name="connsiteX1597" fmla="*/ 415852 w 682417"/>
              <a:gd name="connsiteY1597" fmla="*/ 198802 h 798267"/>
              <a:gd name="connsiteX1598" fmla="*/ 489737 w 682417"/>
              <a:gd name="connsiteY1598" fmla="*/ 132537 h 798267"/>
              <a:gd name="connsiteX1599" fmla="*/ 496862 w 682417"/>
              <a:gd name="connsiteY1599" fmla="*/ 138385 h 798267"/>
              <a:gd name="connsiteX1600" fmla="*/ 501005 w 682417"/>
              <a:gd name="connsiteY1600" fmla="*/ 134451 h 798267"/>
              <a:gd name="connsiteX1601" fmla="*/ 500263 w 682417"/>
              <a:gd name="connsiteY1601" fmla="*/ 132003 h 798267"/>
              <a:gd name="connsiteX1602" fmla="*/ 503263 w 682417"/>
              <a:gd name="connsiteY1602" fmla="*/ 134861 h 798267"/>
              <a:gd name="connsiteX1603" fmla="*/ 503091 w 682417"/>
              <a:gd name="connsiteY1603" fmla="*/ 129032 h 798267"/>
              <a:gd name="connsiteX1604" fmla="*/ 498386 w 682417"/>
              <a:gd name="connsiteY1604" fmla="*/ 129394 h 798267"/>
              <a:gd name="connsiteX1605" fmla="*/ 496881 w 682417"/>
              <a:gd name="connsiteY1605" fmla="*/ 131461 h 798267"/>
              <a:gd name="connsiteX1606" fmla="*/ 493881 w 682417"/>
              <a:gd name="connsiteY1606" fmla="*/ 128603 h 798267"/>
              <a:gd name="connsiteX1607" fmla="*/ 491242 w 682417"/>
              <a:gd name="connsiteY1607" fmla="*/ 130508 h 798267"/>
              <a:gd name="connsiteX1608" fmla="*/ 489699 w 682417"/>
              <a:gd name="connsiteY1608" fmla="*/ 132499 h 798267"/>
              <a:gd name="connsiteX1609" fmla="*/ 457086 w 682417"/>
              <a:gd name="connsiteY1609" fmla="*/ 181486 h 798267"/>
              <a:gd name="connsiteX1610" fmla="*/ 455028 w 682417"/>
              <a:gd name="connsiteY1610" fmla="*/ 179981 h 798267"/>
              <a:gd name="connsiteX1611" fmla="*/ 454276 w 682417"/>
              <a:gd name="connsiteY1611" fmla="*/ 177533 h 798267"/>
              <a:gd name="connsiteX1612" fmla="*/ 449189 w 682417"/>
              <a:gd name="connsiteY1612" fmla="*/ 187058 h 798267"/>
              <a:gd name="connsiteX1613" fmla="*/ 446180 w 682417"/>
              <a:gd name="connsiteY1613" fmla="*/ 184200 h 798267"/>
              <a:gd name="connsiteX1614" fmla="*/ 456133 w 682417"/>
              <a:gd name="connsiteY1614" fmla="*/ 187058 h 798267"/>
              <a:gd name="connsiteX1615" fmla="*/ 457048 w 682417"/>
              <a:gd name="connsiteY1615" fmla="*/ 181448 h 798267"/>
              <a:gd name="connsiteX1616" fmla="*/ 473278 w 682417"/>
              <a:gd name="connsiteY1616" fmla="*/ 181905 h 798267"/>
              <a:gd name="connsiteX1617" fmla="*/ 468220 w 682417"/>
              <a:gd name="connsiteY1617" fmla="*/ 177571 h 798267"/>
              <a:gd name="connsiteX1618" fmla="*/ 462210 w 682417"/>
              <a:gd name="connsiteY1618" fmla="*/ 171913 h 798267"/>
              <a:gd name="connsiteX1619" fmla="*/ 462210 w 682417"/>
              <a:gd name="connsiteY1619" fmla="*/ 178876 h 798267"/>
              <a:gd name="connsiteX1620" fmla="*/ 466725 w 682417"/>
              <a:gd name="connsiteY1620" fmla="*/ 179638 h 798267"/>
              <a:gd name="connsiteX1621" fmla="*/ 468982 w 682417"/>
              <a:gd name="connsiteY1621" fmla="*/ 180019 h 798267"/>
              <a:gd name="connsiteX1622" fmla="*/ 467468 w 682417"/>
              <a:gd name="connsiteY1622" fmla="*/ 182076 h 798267"/>
              <a:gd name="connsiteX1623" fmla="*/ 462020 w 682417"/>
              <a:gd name="connsiteY1623" fmla="*/ 180000 h 798267"/>
              <a:gd name="connsiteX1624" fmla="*/ 473212 w 682417"/>
              <a:gd name="connsiteY1624" fmla="*/ 181867 h 798267"/>
              <a:gd name="connsiteX1625" fmla="*/ 485089 w 682417"/>
              <a:gd name="connsiteY1625" fmla="*/ 166541 h 798267"/>
              <a:gd name="connsiteX1626" fmla="*/ 484137 w 682417"/>
              <a:gd name="connsiteY1626" fmla="*/ 172180 h 798267"/>
              <a:gd name="connsiteX1627" fmla="*/ 485089 w 682417"/>
              <a:gd name="connsiteY1627" fmla="*/ 166541 h 798267"/>
              <a:gd name="connsiteX1628" fmla="*/ 493900 w 682417"/>
              <a:gd name="connsiteY1628" fmla="*/ 176152 h 798267"/>
              <a:gd name="connsiteX1629" fmla="*/ 493900 w 682417"/>
              <a:gd name="connsiteY1629" fmla="*/ 176152 h 798267"/>
              <a:gd name="connsiteX1630" fmla="*/ 495100 w 682417"/>
              <a:gd name="connsiteY1630" fmla="*/ 148529 h 798267"/>
              <a:gd name="connsiteX1631" fmla="*/ 490976 w 682417"/>
              <a:gd name="connsiteY1631" fmla="*/ 145500 h 798267"/>
              <a:gd name="connsiteX1632" fmla="*/ 489280 w 682417"/>
              <a:gd name="connsiteY1632" fmla="*/ 148701 h 798267"/>
              <a:gd name="connsiteX1633" fmla="*/ 487042 w 682417"/>
              <a:gd name="connsiteY1633" fmla="*/ 141357 h 798267"/>
              <a:gd name="connsiteX1634" fmla="*/ 482155 w 682417"/>
              <a:gd name="connsiteY1634" fmla="*/ 142852 h 798267"/>
              <a:gd name="connsiteX1635" fmla="*/ 476326 w 682417"/>
              <a:gd name="connsiteY1635" fmla="*/ 143024 h 798267"/>
              <a:gd name="connsiteX1636" fmla="*/ 475374 w 682417"/>
              <a:gd name="connsiteY1636" fmla="*/ 141709 h 798267"/>
              <a:gd name="connsiteX1637" fmla="*/ 470868 w 682417"/>
              <a:gd name="connsiteY1637" fmla="*/ 140938 h 798267"/>
              <a:gd name="connsiteX1638" fmla="*/ 472373 w 682417"/>
              <a:gd name="connsiteY1638" fmla="*/ 138871 h 798267"/>
              <a:gd name="connsiteX1639" fmla="*/ 466906 w 682417"/>
              <a:gd name="connsiteY1639" fmla="*/ 143748 h 798267"/>
              <a:gd name="connsiteX1640" fmla="*/ 465782 w 682417"/>
              <a:gd name="connsiteY1640" fmla="*/ 143557 h 798267"/>
              <a:gd name="connsiteX1641" fmla="*/ 466525 w 682417"/>
              <a:gd name="connsiteY1641" fmla="*/ 146005 h 798267"/>
              <a:gd name="connsiteX1642" fmla="*/ 459381 w 682417"/>
              <a:gd name="connsiteY1642" fmla="*/ 147110 h 798267"/>
              <a:gd name="connsiteX1643" fmla="*/ 455819 w 682417"/>
              <a:gd name="connsiteY1643" fmla="*/ 147663 h 798267"/>
              <a:gd name="connsiteX1644" fmla="*/ 457876 w 682417"/>
              <a:gd name="connsiteY1644" fmla="*/ 149167 h 798267"/>
              <a:gd name="connsiteX1645" fmla="*/ 456362 w 682417"/>
              <a:gd name="connsiteY1645" fmla="*/ 151234 h 798267"/>
              <a:gd name="connsiteX1646" fmla="*/ 461258 w 682417"/>
              <a:gd name="connsiteY1646" fmla="*/ 149749 h 798267"/>
              <a:gd name="connsiteX1647" fmla="*/ 467830 w 682417"/>
              <a:gd name="connsiteY1647" fmla="*/ 152015 h 798267"/>
              <a:gd name="connsiteX1648" fmla="*/ 469525 w 682417"/>
              <a:gd name="connsiteY1648" fmla="*/ 148825 h 798267"/>
              <a:gd name="connsiteX1649" fmla="*/ 473659 w 682417"/>
              <a:gd name="connsiteY1649" fmla="*/ 151844 h 798267"/>
              <a:gd name="connsiteX1650" fmla="*/ 471021 w 682417"/>
              <a:gd name="connsiteY1650" fmla="*/ 153749 h 798267"/>
              <a:gd name="connsiteX1651" fmla="*/ 468954 w 682417"/>
              <a:gd name="connsiteY1651" fmla="*/ 152235 h 798267"/>
              <a:gd name="connsiteX1652" fmla="*/ 465744 w 682417"/>
              <a:gd name="connsiteY1652" fmla="*/ 157483 h 798267"/>
              <a:gd name="connsiteX1653" fmla="*/ 471764 w 682417"/>
              <a:gd name="connsiteY1653" fmla="*/ 156197 h 798267"/>
              <a:gd name="connsiteX1654" fmla="*/ 477012 w 682417"/>
              <a:gd name="connsiteY1654" fmla="*/ 159397 h 798267"/>
              <a:gd name="connsiteX1655" fmla="*/ 478698 w 682417"/>
              <a:gd name="connsiteY1655" fmla="*/ 163160 h 798267"/>
              <a:gd name="connsiteX1656" fmla="*/ 480603 w 682417"/>
              <a:gd name="connsiteY1656" fmla="*/ 158845 h 798267"/>
              <a:gd name="connsiteX1657" fmla="*/ 484908 w 682417"/>
              <a:gd name="connsiteY1657" fmla="*/ 160750 h 798267"/>
              <a:gd name="connsiteX1658" fmla="*/ 488671 w 682417"/>
              <a:gd name="connsiteY1658" fmla="*/ 159073 h 798267"/>
              <a:gd name="connsiteX1659" fmla="*/ 490376 w 682417"/>
              <a:gd name="connsiteY1659" fmla="*/ 155883 h 798267"/>
              <a:gd name="connsiteX1660" fmla="*/ 496195 w 682417"/>
              <a:gd name="connsiteY1660" fmla="*/ 155711 h 798267"/>
              <a:gd name="connsiteX1661" fmla="*/ 495100 w 682417"/>
              <a:gd name="connsiteY1661" fmla="*/ 148491 h 798267"/>
              <a:gd name="connsiteX1662" fmla="*/ 501634 w 682417"/>
              <a:gd name="connsiteY1662" fmla="*/ 164722 h 798267"/>
              <a:gd name="connsiteX1663" fmla="*/ 504263 w 682417"/>
              <a:gd name="connsiteY1663" fmla="*/ 162817 h 798267"/>
              <a:gd name="connsiteX1664" fmla="*/ 497491 w 682417"/>
              <a:gd name="connsiteY1664" fmla="*/ 168618 h 798267"/>
              <a:gd name="connsiteX1665" fmla="*/ 504244 w 682417"/>
              <a:gd name="connsiteY1665" fmla="*/ 169770 h 798267"/>
              <a:gd name="connsiteX1666" fmla="*/ 501634 w 682417"/>
              <a:gd name="connsiteY1666" fmla="*/ 164636 h 798267"/>
              <a:gd name="connsiteX1667" fmla="*/ 505625 w 682417"/>
              <a:gd name="connsiteY1667" fmla="*/ 148005 h 798267"/>
              <a:gd name="connsiteX1668" fmla="*/ 496414 w 682417"/>
              <a:gd name="connsiteY1668" fmla="*/ 147605 h 798267"/>
              <a:gd name="connsiteX1669" fmla="*/ 505987 w 682417"/>
              <a:gd name="connsiteY1669" fmla="*/ 152711 h 798267"/>
              <a:gd name="connsiteX1670" fmla="*/ 505625 w 682417"/>
              <a:gd name="connsiteY1670" fmla="*/ 147948 h 798267"/>
              <a:gd name="connsiteX1671" fmla="*/ 509435 w 682417"/>
              <a:gd name="connsiteY1671" fmla="*/ 125469 h 798267"/>
              <a:gd name="connsiteX1672" fmla="*/ 504577 w 682417"/>
              <a:gd name="connsiteY1672" fmla="*/ 120011 h 798267"/>
              <a:gd name="connsiteX1673" fmla="*/ 503806 w 682417"/>
              <a:gd name="connsiteY1673" fmla="*/ 124517 h 798267"/>
              <a:gd name="connsiteX1674" fmla="*/ 509445 w 682417"/>
              <a:gd name="connsiteY1674" fmla="*/ 125412 h 798267"/>
              <a:gd name="connsiteX1675" fmla="*/ 514055 w 682417"/>
              <a:gd name="connsiteY1675" fmla="*/ 152920 h 798267"/>
              <a:gd name="connsiteX1676" fmla="*/ 509921 w 682417"/>
              <a:gd name="connsiteY1676" fmla="*/ 156854 h 798267"/>
              <a:gd name="connsiteX1677" fmla="*/ 514064 w 682417"/>
              <a:gd name="connsiteY1677" fmla="*/ 152863 h 798267"/>
              <a:gd name="connsiteX1678" fmla="*/ 517417 w 682417"/>
              <a:gd name="connsiteY1678" fmla="*/ 160445 h 798267"/>
              <a:gd name="connsiteX1679" fmla="*/ 517617 w 682417"/>
              <a:gd name="connsiteY1679" fmla="*/ 159321 h 798267"/>
              <a:gd name="connsiteX1680" fmla="*/ 518360 w 682417"/>
              <a:gd name="connsiteY1680" fmla="*/ 161769 h 798267"/>
              <a:gd name="connsiteX1681" fmla="*/ 517427 w 682417"/>
              <a:gd name="connsiteY1681" fmla="*/ 160388 h 798267"/>
              <a:gd name="connsiteX1682" fmla="*/ 526152 w 682417"/>
              <a:gd name="connsiteY1682" fmla="*/ 129470 h 798267"/>
              <a:gd name="connsiteX1683" fmla="*/ 520903 w 682417"/>
              <a:gd name="connsiteY1683" fmla="*/ 126260 h 798267"/>
              <a:gd name="connsiteX1684" fmla="*/ 517141 w 682417"/>
              <a:gd name="connsiteY1684" fmla="*/ 127936 h 798267"/>
              <a:gd name="connsiteX1685" fmla="*/ 510950 w 682417"/>
              <a:gd name="connsiteY1685" fmla="*/ 123412 h 798267"/>
              <a:gd name="connsiteX1686" fmla="*/ 519198 w 682417"/>
              <a:gd name="connsiteY1686" fmla="*/ 129451 h 798267"/>
              <a:gd name="connsiteX1687" fmla="*/ 520884 w 682417"/>
              <a:gd name="connsiteY1687" fmla="*/ 133213 h 798267"/>
              <a:gd name="connsiteX1688" fmla="*/ 526161 w 682417"/>
              <a:gd name="connsiteY1688" fmla="*/ 129394 h 798267"/>
              <a:gd name="connsiteX1689" fmla="*/ 544592 w 682417"/>
              <a:gd name="connsiteY1689" fmla="*/ 123317 h 798267"/>
              <a:gd name="connsiteX1690" fmla="*/ 546668 w 682417"/>
              <a:gd name="connsiteY1690" fmla="*/ 117878 h 798267"/>
              <a:gd name="connsiteX1691" fmla="*/ 544601 w 682417"/>
              <a:gd name="connsiteY1691" fmla="*/ 123259 h 798267"/>
              <a:gd name="connsiteX1692" fmla="*/ 541934 w 682417"/>
              <a:gd name="connsiteY1692" fmla="*/ 132146 h 798267"/>
              <a:gd name="connsiteX1693" fmla="*/ 543992 w 682417"/>
              <a:gd name="connsiteY1693" fmla="*/ 133651 h 798267"/>
              <a:gd name="connsiteX1694" fmla="*/ 546430 w 682417"/>
              <a:gd name="connsiteY1694" fmla="*/ 132908 h 798267"/>
              <a:gd name="connsiteX1695" fmla="*/ 545325 w 682417"/>
              <a:gd name="connsiteY1695" fmla="*/ 125765 h 798267"/>
              <a:gd name="connsiteX1696" fmla="*/ 541953 w 682417"/>
              <a:gd name="connsiteY1696" fmla="*/ 125193 h 798267"/>
              <a:gd name="connsiteX1697" fmla="*/ 536296 w 682417"/>
              <a:gd name="connsiteY1697" fmla="*/ 131184 h 798267"/>
              <a:gd name="connsiteX1698" fmla="*/ 532171 w 682417"/>
              <a:gd name="connsiteY1698" fmla="*/ 128174 h 798267"/>
              <a:gd name="connsiteX1699" fmla="*/ 528771 w 682417"/>
              <a:gd name="connsiteY1699" fmla="*/ 134547 h 798267"/>
              <a:gd name="connsiteX1700" fmla="*/ 532324 w 682417"/>
              <a:gd name="connsiteY1700" fmla="*/ 140947 h 798267"/>
              <a:gd name="connsiteX1701" fmla="*/ 534981 w 682417"/>
              <a:gd name="connsiteY1701" fmla="*/ 132127 h 798267"/>
              <a:gd name="connsiteX1702" fmla="*/ 537972 w 682417"/>
              <a:gd name="connsiteY1702" fmla="*/ 134985 h 798267"/>
              <a:gd name="connsiteX1703" fmla="*/ 541944 w 682417"/>
              <a:gd name="connsiteY1703" fmla="*/ 132089 h 798267"/>
              <a:gd name="connsiteX1704" fmla="*/ 546240 w 682417"/>
              <a:gd name="connsiteY1704" fmla="*/ 134051 h 798267"/>
              <a:gd name="connsiteX1705" fmla="*/ 542677 w 682417"/>
              <a:gd name="connsiteY1705" fmla="*/ 134613 h 798267"/>
              <a:gd name="connsiteX1706" fmla="*/ 541725 w 682417"/>
              <a:gd name="connsiteY1706" fmla="*/ 140243 h 798267"/>
              <a:gd name="connsiteX1707" fmla="*/ 546240 w 682417"/>
              <a:gd name="connsiteY1707" fmla="*/ 133975 h 798267"/>
              <a:gd name="connsiteX1708" fmla="*/ 552326 w 682417"/>
              <a:gd name="connsiteY1708" fmla="*/ 111906 h 798267"/>
              <a:gd name="connsiteX1709" fmla="*/ 550240 w 682417"/>
              <a:gd name="connsiteY1709" fmla="*/ 117344 h 798267"/>
              <a:gd name="connsiteX1710" fmla="*/ 553812 w 682417"/>
              <a:gd name="connsiteY1710" fmla="*/ 116792 h 798267"/>
              <a:gd name="connsiteX1711" fmla="*/ 552336 w 682417"/>
              <a:gd name="connsiteY1711" fmla="*/ 111829 h 798267"/>
              <a:gd name="connsiteX1712" fmla="*/ 559460 w 682417"/>
              <a:gd name="connsiteY1712" fmla="*/ 49345 h 798267"/>
              <a:gd name="connsiteX1713" fmla="*/ 557555 w 682417"/>
              <a:gd name="connsiteY1713" fmla="*/ 46707 h 798267"/>
              <a:gd name="connsiteX1714" fmla="*/ 555108 w 682417"/>
              <a:gd name="connsiteY1714" fmla="*/ 47460 h 798267"/>
              <a:gd name="connsiteX1715" fmla="*/ 559470 w 682417"/>
              <a:gd name="connsiteY1715" fmla="*/ 49269 h 798267"/>
              <a:gd name="connsiteX1716" fmla="*/ 558270 w 682417"/>
              <a:gd name="connsiteY1716" fmla="*/ 70015 h 798267"/>
              <a:gd name="connsiteX1717" fmla="*/ 561480 w 682417"/>
              <a:gd name="connsiteY1717" fmla="*/ 64766 h 798267"/>
              <a:gd name="connsiteX1718" fmla="*/ 553593 w 682417"/>
              <a:gd name="connsiteY1718" fmla="*/ 63423 h 798267"/>
              <a:gd name="connsiteX1719" fmla="*/ 551898 w 682417"/>
              <a:gd name="connsiteY1719" fmla="*/ 66614 h 798267"/>
              <a:gd name="connsiteX1720" fmla="*/ 552431 w 682417"/>
              <a:gd name="connsiteY1720" fmla="*/ 77139 h 798267"/>
              <a:gd name="connsiteX1721" fmla="*/ 558279 w 682417"/>
              <a:gd name="connsiteY1721" fmla="*/ 69939 h 798267"/>
              <a:gd name="connsiteX1722" fmla="*/ 563385 w 682417"/>
              <a:gd name="connsiteY1722" fmla="*/ 121897 h 798267"/>
              <a:gd name="connsiteX1723" fmla="*/ 559441 w 682417"/>
              <a:gd name="connsiteY1723" fmla="*/ 117745 h 798267"/>
              <a:gd name="connsiteX1724" fmla="*/ 557536 w 682417"/>
              <a:gd name="connsiteY1724" fmla="*/ 115106 h 798267"/>
              <a:gd name="connsiteX1725" fmla="*/ 556193 w 682417"/>
              <a:gd name="connsiteY1725" fmla="*/ 122993 h 798267"/>
              <a:gd name="connsiteX1726" fmla="*/ 563385 w 682417"/>
              <a:gd name="connsiteY1726" fmla="*/ 121821 h 798267"/>
              <a:gd name="connsiteX1727" fmla="*/ 571129 w 682417"/>
              <a:gd name="connsiteY1727" fmla="*/ 42049 h 798267"/>
              <a:gd name="connsiteX1728" fmla="*/ 569224 w 682417"/>
              <a:gd name="connsiteY1728" fmla="*/ 46374 h 798267"/>
              <a:gd name="connsiteX1729" fmla="*/ 571138 w 682417"/>
              <a:gd name="connsiteY1729" fmla="*/ 41973 h 798267"/>
              <a:gd name="connsiteX1730" fmla="*/ 592274 w 682417"/>
              <a:gd name="connsiteY1730" fmla="*/ 74625 h 798267"/>
              <a:gd name="connsiteX1731" fmla="*/ 596027 w 682417"/>
              <a:gd name="connsiteY1731" fmla="*/ 72939 h 798267"/>
              <a:gd name="connsiteX1732" fmla="*/ 593779 w 682417"/>
              <a:gd name="connsiteY1732" fmla="*/ 72558 h 798267"/>
              <a:gd name="connsiteX1733" fmla="*/ 592284 w 682417"/>
              <a:gd name="connsiteY1733" fmla="*/ 74549 h 798267"/>
              <a:gd name="connsiteX1734" fmla="*/ 584873 w 682417"/>
              <a:gd name="connsiteY1734" fmla="*/ 97713 h 798267"/>
              <a:gd name="connsiteX1735" fmla="*/ 583387 w 682417"/>
              <a:gd name="connsiteY1735" fmla="*/ 92827 h 798267"/>
              <a:gd name="connsiteX1736" fmla="*/ 584883 w 682417"/>
              <a:gd name="connsiteY1736" fmla="*/ 97637 h 798267"/>
              <a:gd name="connsiteX1737" fmla="*/ 572767 w 682417"/>
              <a:gd name="connsiteY1737" fmla="*/ 128117 h 798267"/>
              <a:gd name="connsiteX1738" fmla="*/ 575015 w 682417"/>
              <a:gd name="connsiteY1738" fmla="*/ 128498 h 798267"/>
              <a:gd name="connsiteX1739" fmla="*/ 575405 w 682417"/>
              <a:gd name="connsiteY1739" fmla="*/ 126250 h 798267"/>
              <a:gd name="connsiteX1740" fmla="*/ 573148 w 682417"/>
              <a:gd name="connsiteY1740" fmla="*/ 125869 h 798267"/>
              <a:gd name="connsiteX1741" fmla="*/ 572776 w 682417"/>
              <a:gd name="connsiteY1741" fmla="*/ 128041 h 798267"/>
              <a:gd name="connsiteX1742" fmla="*/ 574224 w 682417"/>
              <a:gd name="connsiteY1742" fmla="*/ 139966 h 798267"/>
              <a:gd name="connsiteX1743" fmla="*/ 574224 w 682417"/>
              <a:gd name="connsiteY1743" fmla="*/ 139966 h 798267"/>
              <a:gd name="connsiteX1744" fmla="*/ 578034 w 682417"/>
              <a:gd name="connsiteY1744" fmla="*/ 131327 h 798267"/>
              <a:gd name="connsiteX1745" fmla="*/ 574815 w 682417"/>
              <a:gd name="connsiteY1745" fmla="*/ 136585 h 798267"/>
              <a:gd name="connsiteX1746" fmla="*/ 578025 w 682417"/>
              <a:gd name="connsiteY1746" fmla="*/ 131299 h 798267"/>
              <a:gd name="connsiteX1747" fmla="*/ 594455 w 682417"/>
              <a:gd name="connsiteY1747" fmla="*/ 102724 h 798267"/>
              <a:gd name="connsiteX1748" fmla="*/ 589198 w 682417"/>
              <a:gd name="connsiteY1748" fmla="*/ 99504 h 798267"/>
              <a:gd name="connsiteX1749" fmla="*/ 585435 w 682417"/>
              <a:gd name="connsiteY1749" fmla="*/ 101190 h 798267"/>
              <a:gd name="connsiteX1750" fmla="*/ 584673 w 682417"/>
              <a:gd name="connsiteY1750" fmla="*/ 105695 h 798267"/>
              <a:gd name="connsiteX1751" fmla="*/ 577548 w 682417"/>
              <a:gd name="connsiteY1751" fmla="*/ 99857 h 798267"/>
              <a:gd name="connsiteX1752" fmla="*/ 577901 w 682417"/>
              <a:gd name="connsiteY1752" fmla="*/ 104552 h 798267"/>
              <a:gd name="connsiteX1753" fmla="*/ 582225 w 682417"/>
              <a:gd name="connsiteY1753" fmla="*/ 106457 h 798267"/>
              <a:gd name="connsiteX1754" fmla="*/ 577320 w 682417"/>
              <a:gd name="connsiteY1754" fmla="*/ 114897 h 798267"/>
              <a:gd name="connsiteX1755" fmla="*/ 585759 w 682417"/>
              <a:gd name="connsiteY1755" fmla="*/ 119802 h 798267"/>
              <a:gd name="connsiteX1756" fmla="*/ 587264 w 682417"/>
              <a:gd name="connsiteY1756" fmla="*/ 117745 h 798267"/>
              <a:gd name="connsiteX1757" fmla="*/ 585035 w 682417"/>
              <a:gd name="connsiteY1757" fmla="*/ 110410 h 798267"/>
              <a:gd name="connsiteX1758" fmla="*/ 582016 w 682417"/>
              <a:gd name="connsiteY1758" fmla="*/ 114535 h 798267"/>
              <a:gd name="connsiteX1759" fmla="*/ 581273 w 682417"/>
              <a:gd name="connsiteY1759" fmla="*/ 112087 h 798267"/>
              <a:gd name="connsiteX1760" fmla="*/ 585607 w 682417"/>
              <a:gd name="connsiteY1760" fmla="*/ 107029 h 798267"/>
              <a:gd name="connsiteX1761" fmla="*/ 587664 w 682417"/>
              <a:gd name="connsiteY1761" fmla="*/ 108534 h 798267"/>
              <a:gd name="connsiteX1762" fmla="*/ 589369 w 682417"/>
              <a:gd name="connsiteY1762" fmla="*/ 105343 h 798267"/>
              <a:gd name="connsiteX1763" fmla="*/ 592369 w 682417"/>
              <a:gd name="connsiteY1763" fmla="*/ 108200 h 798267"/>
              <a:gd name="connsiteX1764" fmla="*/ 594455 w 682417"/>
              <a:gd name="connsiteY1764" fmla="*/ 102724 h 798267"/>
              <a:gd name="connsiteX1765" fmla="*/ 606838 w 682417"/>
              <a:gd name="connsiteY1765" fmla="*/ 97866 h 798267"/>
              <a:gd name="connsiteX1766" fmla="*/ 592922 w 682417"/>
              <a:gd name="connsiteY1766" fmla="*/ 97866 h 798267"/>
              <a:gd name="connsiteX1767" fmla="*/ 596732 w 682417"/>
              <a:gd name="connsiteY1767" fmla="*/ 96189 h 798267"/>
              <a:gd name="connsiteX1768" fmla="*/ 598408 w 682417"/>
              <a:gd name="connsiteY1768" fmla="*/ 99952 h 798267"/>
              <a:gd name="connsiteX1769" fmla="*/ 598989 w 682417"/>
              <a:gd name="connsiteY1769" fmla="*/ 96570 h 798267"/>
              <a:gd name="connsiteX1770" fmla="*/ 602151 w 682417"/>
              <a:gd name="connsiteY1770" fmla="*/ 105229 h 798267"/>
              <a:gd name="connsiteX1771" fmla="*/ 603104 w 682417"/>
              <a:gd name="connsiteY1771" fmla="*/ 99590 h 798267"/>
              <a:gd name="connsiteX1772" fmla="*/ 606876 w 682417"/>
              <a:gd name="connsiteY1772" fmla="*/ 97885 h 798267"/>
              <a:gd name="connsiteX1773" fmla="*/ 487289 w 682417"/>
              <a:gd name="connsiteY1773" fmla="*/ 379025 h 798267"/>
              <a:gd name="connsiteX1774" fmla="*/ 485975 w 682417"/>
              <a:gd name="connsiteY1774" fmla="*/ 379977 h 798267"/>
              <a:gd name="connsiteX1775" fmla="*/ 487651 w 682417"/>
              <a:gd name="connsiteY1775" fmla="*/ 383787 h 798267"/>
              <a:gd name="connsiteX1776" fmla="*/ 487289 w 682417"/>
              <a:gd name="connsiteY1776" fmla="*/ 379025 h 798267"/>
              <a:gd name="connsiteX1777" fmla="*/ 491185 w 682417"/>
              <a:gd name="connsiteY1777" fmla="*/ 397046 h 798267"/>
              <a:gd name="connsiteX1778" fmla="*/ 491738 w 682417"/>
              <a:gd name="connsiteY1778" fmla="*/ 400628 h 798267"/>
              <a:gd name="connsiteX1779" fmla="*/ 491185 w 682417"/>
              <a:gd name="connsiteY1779" fmla="*/ 397046 h 798267"/>
              <a:gd name="connsiteX1780" fmla="*/ 511121 w 682417"/>
              <a:gd name="connsiteY1780" fmla="*/ 388845 h 798267"/>
              <a:gd name="connsiteX1781" fmla="*/ 509807 w 682417"/>
              <a:gd name="connsiteY1781" fmla="*/ 389798 h 798267"/>
              <a:gd name="connsiteX1782" fmla="*/ 509426 w 682417"/>
              <a:gd name="connsiteY1782" fmla="*/ 392045 h 798267"/>
              <a:gd name="connsiteX1783" fmla="*/ 514121 w 682417"/>
              <a:gd name="connsiteY1783" fmla="*/ 391684 h 798267"/>
              <a:gd name="connsiteX1784" fmla="*/ 511121 w 682417"/>
              <a:gd name="connsiteY1784" fmla="*/ 388874 h 798267"/>
              <a:gd name="connsiteX1785" fmla="*/ 520303 w 682417"/>
              <a:gd name="connsiteY1785" fmla="*/ 334753 h 798267"/>
              <a:gd name="connsiteX1786" fmla="*/ 512026 w 682417"/>
              <a:gd name="connsiteY1786" fmla="*/ 335705 h 798267"/>
              <a:gd name="connsiteX1787" fmla="*/ 510721 w 682417"/>
              <a:gd name="connsiteY1787" fmla="*/ 336658 h 798267"/>
              <a:gd name="connsiteX1788" fmla="*/ 512626 w 682417"/>
              <a:gd name="connsiteY1788" fmla="*/ 339296 h 798267"/>
              <a:gd name="connsiteX1789" fmla="*/ 520303 w 682417"/>
              <a:gd name="connsiteY1789" fmla="*/ 334781 h 798267"/>
              <a:gd name="connsiteX1790" fmla="*/ 535486 w 682417"/>
              <a:gd name="connsiteY1790" fmla="*/ 347764 h 798267"/>
              <a:gd name="connsiteX1791" fmla="*/ 536258 w 682417"/>
              <a:gd name="connsiteY1791" fmla="*/ 343249 h 798267"/>
              <a:gd name="connsiteX1792" fmla="*/ 535486 w 682417"/>
              <a:gd name="connsiteY1792" fmla="*/ 347792 h 798267"/>
              <a:gd name="connsiteX1793" fmla="*/ 530247 w 682417"/>
              <a:gd name="connsiteY1793" fmla="*/ 337601 h 798267"/>
              <a:gd name="connsiteX1794" fmla="*/ 529866 w 682417"/>
              <a:gd name="connsiteY1794" fmla="*/ 339848 h 798267"/>
              <a:gd name="connsiteX1795" fmla="*/ 521408 w 682417"/>
              <a:gd name="connsiteY1795" fmla="*/ 341896 h 798267"/>
              <a:gd name="connsiteX1796" fmla="*/ 524789 w 682417"/>
              <a:gd name="connsiteY1796" fmla="*/ 342468 h 798267"/>
              <a:gd name="connsiteX1797" fmla="*/ 527790 w 682417"/>
              <a:gd name="connsiteY1797" fmla="*/ 345325 h 798267"/>
              <a:gd name="connsiteX1798" fmla="*/ 530247 w 682417"/>
              <a:gd name="connsiteY1798" fmla="*/ 337629 h 798267"/>
              <a:gd name="connsiteX1799" fmla="*/ 553964 w 682417"/>
              <a:gd name="connsiteY1799" fmla="*/ 259305 h 798267"/>
              <a:gd name="connsiteX1800" fmla="*/ 550231 w 682417"/>
              <a:gd name="connsiteY1800" fmla="*/ 254038 h 798267"/>
              <a:gd name="connsiteX1801" fmla="*/ 550755 w 682417"/>
              <a:gd name="connsiteY1801" fmla="*/ 264515 h 798267"/>
              <a:gd name="connsiteX1802" fmla="*/ 553964 w 682417"/>
              <a:gd name="connsiteY1802" fmla="*/ 259334 h 798267"/>
              <a:gd name="connsiteX1803" fmla="*/ 561480 w 682417"/>
              <a:gd name="connsiteY1803" fmla="*/ 255981 h 798267"/>
              <a:gd name="connsiteX1804" fmla="*/ 559575 w 682417"/>
              <a:gd name="connsiteY1804" fmla="*/ 260296 h 798267"/>
              <a:gd name="connsiteX1805" fmla="*/ 561480 w 682417"/>
              <a:gd name="connsiteY1805" fmla="*/ 255981 h 798267"/>
              <a:gd name="connsiteX1806" fmla="*/ 567509 w 682417"/>
              <a:gd name="connsiteY1806" fmla="*/ 247723 h 798267"/>
              <a:gd name="connsiteX1807" fmla="*/ 565261 w 682417"/>
              <a:gd name="connsiteY1807" fmla="*/ 247342 h 798267"/>
              <a:gd name="connsiteX1808" fmla="*/ 564880 w 682417"/>
              <a:gd name="connsiteY1808" fmla="*/ 249599 h 798267"/>
              <a:gd name="connsiteX1809" fmla="*/ 567128 w 682417"/>
              <a:gd name="connsiteY1809" fmla="*/ 249980 h 798267"/>
              <a:gd name="connsiteX1810" fmla="*/ 581882 w 682417"/>
              <a:gd name="connsiteY1810" fmla="*/ 224644 h 798267"/>
              <a:gd name="connsiteX1811" fmla="*/ 576805 w 682417"/>
              <a:gd name="connsiteY1811" fmla="*/ 227263 h 798267"/>
              <a:gd name="connsiteX1812" fmla="*/ 575853 w 682417"/>
              <a:gd name="connsiteY1812" fmla="*/ 225949 h 798267"/>
              <a:gd name="connsiteX1813" fmla="*/ 576215 w 682417"/>
              <a:gd name="connsiteY1813" fmla="*/ 230644 h 798267"/>
              <a:gd name="connsiteX1814" fmla="*/ 581882 w 682417"/>
              <a:gd name="connsiteY1814" fmla="*/ 224644 h 798267"/>
              <a:gd name="connsiteX1815" fmla="*/ 609905 w 682417"/>
              <a:gd name="connsiteY1815" fmla="*/ 216652 h 798267"/>
              <a:gd name="connsiteX1816" fmla="*/ 607657 w 682417"/>
              <a:gd name="connsiteY1816" fmla="*/ 216271 h 798267"/>
              <a:gd name="connsiteX1817" fmla="*/ 606523 w 682417"/>
              <a:gd name="connsiteY1817" fmla="*/ 216071 h 798267"/>
              <a:gd name="connsiteX1818" fmla="*/ 608428 w 682417"/>
              <a:gd name="connsiteY1818" fmla="*/ 218710 h 798267"/>
              <a:gd name="connsiteX1819" fmla="*/ 609905 w 682417"/>
              <a:gd name="connsiteY1819" fmla="*/ 216662 h 798267"/>
              <a:gd name="connsiteX1820" fmla="*/ 660387 w 682417"/>
              <a:gd name="connsiteY1820" fmla="*/ 103486 h 798267"/>
              <a:gd name="connsiteX1821" fmla="*/ 667169 w 682417"/>
              <a:gd name="connsiteY1821" fmla="*/ 97685 h 798267"/>
              <a:gd name="connsiteX1822" fmla="*/ 660406 w 682417"/>
              <a:gd name="connsiteY1822" fmla="*/ 103495 h 798267"/>
              <a:gd name="connsiteX1823" fmla="*/ 662292 w 682417"/>
              <a:gd name="connsiteY1823" fmla="*/ 92218 h 798267"/>
              <a:gd name="connsiteX1824" fmla="*/ 657787 w 682417"/>
              <a:gd name="connsiteY1824" fmla="*/ 91456 h 798267"/>
              <a:gd name="connsiteX1825" fmla="*/ 662321 w 682417"/>
              <a:gd name="connsiteY1825" fmla="*/ 92246 h 798267"/>
              <a:gd name="connsiteX1826" fmla="*/ 650862 w 682417"/>
              <a:gd name="connsiteY1826" fmla="*/ 91427 h 798267"/>
              <a:gd name="connsiteX1827" fmla="*/ 653120 w 682417"/>
              <a:gd name="connsiteY1827" fmla="*/ 91817 h 798267"/>
              <a:gd name="connsiteX1828" fmla="*/ 654825 w 682417"/>
              <a:gd name="connsiteY1828" fmla="*/ 88627 h 798267"/>
              <a:gd name="connsiteX1829" fmla="*/ 651434 w 682417"/>
              <a:gd name="connsiteY1829" fmla="*/ 88055 h 798267"/>
              <a:gd name="connsiteX1830" fmla="*/ 650653 w 682417"/>
              <a:gd name="connsiteY1830" fmla="*/ 99514 h 798267"/>
              <a:gd name="connsiteX1831" fmla="*/ 654463 w 682417"/>
              <a:gd name="connsiteY1831" fmla="*/ 97828 h 798267"/>
              <a:gd name="connsiteX1832" fmla="*/ 656539 w 682417"/>
              <a:gd name="connsiteY1832" fmla="*/ 92389 h 798267"/>
              <a:gd name="connsiteX1833" fmla="*/ 654291 w 682417"/>
              <a:gd name="connsiteY1833" fmla="*/ 92008 h 798267"/>
              <a:gd name="connsiteX1834" fmla="*/ 652777 w 682417"/>
              <a:gd name="connsiteY1834" fmla="*/ 94065 h 798267"/>
              <a:gd name="connsiteX1835" fmla="*/ 652586 w 682417"/>
              <a:gd name="connsiteY1835" fmla="*/ 95199 h 798267"/>
              <a:gd name="connsiteX1836" fmla="*/ 649948 w 682417"/>
              <a:gd name="connsiteY1836" fmla="*/ 97104 h 798267"/>
              <a:gd name="connsiteX1837" fmla="*/ 650643 w 682417"/>
              <a:gd name="connsiteY1837" fmla="*/ 99523 h 798267"/>
              <a:gd name="connsiteX1838" fmla="*/ 648157 w 682417"/>
              <a:gd name="connsiteY1838" fmla="*/ 66624 h 798267"/>
              <a:gd name="connsiteX1839" fmla="*/ 648157 w 682417"/>
              <a:gd name="connsiteY1839" fmla="*/ 66624 h 798267"/>
              <a:gd name="connsiteX1840" fmla="*/ 647481 w 682417"/>
              <a:gd name="connsiteY1840" fmla="*/ 104724 h 798267"/>
              <a:gd name="connsiteX1841" fmla="*/ 645776 w 682417"/>
              <a:gd name="connsiteY1841" fmla="*/ 107915 h 798267"/>
              <a:gd name="connsiteX1842" fmla="*/ 651996 w 682417"/>
              <a:gd name="connsiteY1842" fmla="*/ 105486 h 798267"/>
              <a:gd name="connsiteX1843" fmla="*/ 645614 w 682417"/>
              <a:gd name="connsiteY1843" fmla="*/ 102085 h 798267"/>
              <a:gd name="connsiteX1844" fmla="*/ 647433 w 682417"/>
              <a:gd name="connsiteY1844" fmla="*/ 104771 h 798267"/>
              <a:gd name="connsiteX1845" fmla="*/ 645204 w 682417"/>
              <a:gd name="connsiteY1845" fmla="*/ 111296 h 798267"/>
              <a:gd name="connsiteX1846" fmla="*/ 648395 w 682417"/>
              <a:gd name="connsiteY1846" fmla="*/ 113001 h 798267"/>
              <a:gd name="connsiteX1847" fmla="*/ 647081 w 682417"/>
              <a:gd name="connsiteY1847" fmla="*/ 113954 h 798267"/>
              <a:gd name="connsiteX1848" fmla="*/ 650291 w 682417"/>
              <a:gd name="connsiteY1848" fmla="*/ 108705 h 798267"/>
              <a:gd name="connsiteX1849" fmla="*/ 645157 w 682417"/>
              <a:gd name="connsiteY1849" fmla="*/ 111344 h 798267"/>
              <a:gd name="connsiteX1850" fmla="*/ 631384 w 682417"/>
              <a:gd name="connsiteY1850" fmla="*/ 83445 h 798267"/>
              <a:gd name="connsiteX1851" fmla="*/ 635508 w 682417"/>
              <a:gd name="connsiteY1851" fmla="*/ 86464 h 798267"/>
              <a:gd name="connsiteX1852" fmla="*/ 633832 w 682417"/>
              <a:gd name="connsiteY1852" fmla="*/ 82702 h 798267"/>
              <a:gd name="connsiteX1853" fmla="*/ 633660 w 682417"/>
              <a:gd name="connsiteY1853" fmla="*/ 76873 h 798267"/>
              <a:gd name="connsiteX1854" fmla="*/ 631336 w 682417"/>
              <a:gd name="connsiteY1854" fmla="*/ 83493 h 798267"/>
              <a:gd name="connsiteX1855" fmla="*/ 617392 w 682417"/>
              <a:gd name="connsiteY1855" fmla="*/ 97361 h 798267"/>
              <a:gd name="connsiteX1856" fmla="*/ 617782 w 682417"/>
              <a:gd name="connsiteY1856" fmla="*/ 95104 h 798267"/>
              <a:gd name="connsiteX1857" fmla="*/ 617030 w 682417"/>
              <a:gd name="connsiteY1857" fmla="*/ 92656 h 798267"/>
              <a:gd name="connsiteX1858" fmla="*/ 617392 w 682417"/>
              <a:gd name="connsiteY1858" fmla="*/ 97361 h 798267"/>
              <a:gd name="connsiteX1859" fmla="*/ 613248 w 682417"/>
              <a:gd name="connsiteY1859" fmla="*/ 101295 h 798267"/>
              <a:gd name="connsiteX1860" fmla="*/ 615677 w 682417"/>
              <a:gd name="connsiteY1860" fmla="*/ 107505 h 798267"/>
              <a:gd name="connsiteX1861" fmla="*/ 616439 w 682417"/>
              <a:gd name="connsiteY1861" fmla="*/ 102990 h 798267"/>
              <a:gd name="connsiteX1862" fmla="*/ 613248 w 682417"/>
              <a:gd name="connsiteY1862" fmla="*/ 101295 h 798267"/>
              <a:gd name="connsiteX1863" fmla="*/ 611343 w 682417"/>
              <a:gd name="connsiteY1863" fmla="*/ 119516 h 798267"/>
              <a:gd name="connsiteX1864" fmla="*/ 607028 w 682417"/>
              <a:gd name="connsiteY1864" fmla="*/ 117611 h 798267"/>
              <a:gd name="connsiteX1865" fmla="*/ 608933 w 682417"/>
              <a:gd name="connsiteY1865" fmla="*/ 120250 h 798267"/>
              <a:gd name="connsiteX1866" fmla="*/ 610838 w 682417"/>
              <a:gd name="connsiteY1866" fmla="*/ 122878 h 798267"/>
              <a:gd name="connsiteX1867" fmla="*/ 612800 w 682417"/>
              <a:gd name="connsiteY1867" fmla="*/ 199755 h 798267"/>
              <a:gd name="connsiteX1868" fmla="*/ 613181 w 682417"/>
              <a:gd name="connsiteY1868" fmla="*/ 197497 h 798267"/>
              <a:gd name="connsiteX1869" fmla="*/ 612772 w 682417"/>
              <a:gd name="connsiteY1869" fmla="*/ 199755 h 798267"/>
              <a:gd name="connsiteX1870" fmla="*/ 613572 w 682417"/>
              <a:gd name="connsiteY1870" fmla="*/ 126850 h 798267"/>
              <a:gd name="connsiteX1871" fmla="*/ 612429 w 682417"/>
              <a:gd name="connsiteY1871" fmla="*/ 133604 h 798267"/>
              <a:gd name="connsiteX1872" fmla="*/ 614342 w 682417"/>
              <a:gd name="connsiteY1872" fmla="*/ 127966 h 798267"/>
              <a:gd name="connsiteX1873" fmla="*/ 613543 w 682417"/>
              <a:gd name="connsiteY1873" fmla="*/ 126850 h 798267"/>
              <a:gd name="connsiteX1874" fmla="*/ 615867 w 682417"/>
              <a:gd name="connsiteY1874" fmla="*/ 113325 h 798267"/>
              <a:gd name="connsiteX1875" fmla="*/ 617372 w 682417"/>
              <a:gd name="connsiteY1875" fmla="*/ 111258 h 798267"/>
              <a:gd name="connsiteX1876" fmla="*/ 616058 w 682417"/>
              <a:gd name="connsiteY1876" fmla="*/ 112210 h 798267"/>
              <a:gd name="connsiteX1877" fmla="*/ 614382 w 682417"/>
              <a:gd name="connsiteY1877" fmla="*/ 108400 h 798267"/>
              <a:gd name="connsiteX1878" fmla="*/ 609857 w 682417"/>
              <a:gd name="connsiteY1878" fmla="*/ 114592 h 798267"/>
              <a:gd name="connsiteX1879" fmla="*/ 615296 w 682417"/>
              <a:gd name="connsiteY1879" fmla="*/ 116678 h 798267"/>
              <a:gd name="connsiteX1880" fmla="*/ 615839 w 682417"/>
              <a:gd name="connsiteY1880" fmla="*/ 113325 h 798267"/>
              <a:gd name="connsiteX1881" fmla="*/ 621468 w 682417"/>
              <a:gd name="connsiteY1881" fmla="*/ 189630 h 798267"/>
              <a:gd name="connsiteX1882" fmla="*/ 622802 w 682417"/>
              <a:gd name="connsiteY1882" fmla="*/ 188677 h 798267"/>
              <a:gd name="connsiteX1883" fmla="*/ 621087 w 682417"/>
              <a:gd name="connsiteY1883" fmla="*/ 191868 h 798267"/>
              <a:gd name="connsiteX1884" fmla="*/ 627469 w 682417"/>
              <a:gd name="connsiteY1884" fmla="*/ 195268 h 798267"/>
              <a:gd name="connsiteX1885" fmla="*/ 629374 w 682417"/>
              <a:gd name="connsiteY1885" fmla="*/ 190954 h 798267"/>
              <a:gd name="connsiteX1886" fmla="*/ 625802 w 682417"/>
              <a:gd name="connsiteY1886" fmla="*/ 191506 h 798267"/>
              <a:gd name="connsiteX1887" fmla="*/ 625250 w 682417"/>
              <a:gd name="connsiteY1887" fmla="*/ 187934 h 798267"/>
              <a:gd name="connsiteX1888" fmla="*/ 621487 w 682417"/>
              <a:gd name="connsiteY1888" fmla="*/ 189630 h 798267"/>
              <a:gd name="connsiteX1889" fmla="*/ 632584 w 682417"/>
              <a:gd name="connsiteY1889" fmla="*/ 117316 h 798267"/>
              <a:gd name="connsiteX1890" fmla="*/ 633355 w 682417"/>
              <a:gd name="connsiteY1890" fmla="*/ 112811 h 798267"/>
              <a:gd name="connsiteX1891" fmla="*/ 631288 w 682417"/>
              <a:gd name="connsiteY1891" fmla="*/ 111296 h 798267"/>
              <a:gd name="connsiteX1892" fmla="*/ 632241 w 682417"/>
              <a:gd name="connsiteY1892" fmla="*/ 105667 h 798267"/>
              <a:gd name="connsiteX1893" fmla="*/ 627536 w 682417"/>
              <a:gd name="connsiteY1893" fmla="*/ 106029 h 798267"/>
              <a:gd name="connsiteX1894" fmla="*/ 629031 w 682417"/>
              <a:gd name="connsiteY1894" fmla="*/ 110915 h 798267"/>
              <a:gd name="connsiteX1895" fmla="*/ 620954 w 682417"/>
              <a:gd name="connsiteY1895" fmla="*/ 110706 h 798267"/>
              <a:gd name="connsiteX1896" fmla="*/ 626040 w 682417"/>
              <a:gd name="connsiteY1896" fmla="*/ 108096 h 798267"/>
              <a:gd name="connsiteX1897" fmla="*/ 623040 w 682417"/>
              <a:gd name="connsiteY1897" fmla="*/ 105238 h 798267"/>
              <a:gd name="connsiteX1898" fmla="*/ 621135 w 682417"/>
              <a:gd name="connsiteY1898" fmla="*/ 102600 h 798267"/>
              <a:gd name="connsiteX1899" fmla="*/ 619230 w 682417"/>
              <a:gd name="connsiteY1899" fmla="*/ 106915 h 798267"/>
              <a:gd name="connsiteX1900" fmla="*/ 620535 w 682417"/>
              <a:gd name="connsiteY1900" fmla="*/ 112934 h 798267"/>
              <a:gd name="connsiteX1901" fmla="*/ 618049 w 682417"/>
              <a:gd name="connsiteY1901" fmla="*/ 127584 h 798267"/>
              <a:gd name="connsiteX1902" fmla="*/ 621259 w 682417"/>
              <a:gd name="connsiteY1902" fmla="*/ 122336 h 798267"/>
              <a:gd name="connsiteX1903" fmla="*/ 623516 w 682417"/>
              <a:gd name="connsiteY1903" fmla="*/ 122717 h 798267"/>
              <a:gd name="connsiteX1904" fmla="*/ 621811 w 682417"/>
              <a:gd name="connsiteY1904" fmla="*/ 125907 h 798267"/>
              <a:gd name="connsiteX1905" fmla="*/ 629888 w 682417"/>
              <a:gd name="connsiteY1905" fmla="*/ 126117 h 798267"/>
              <a:gd name="connsiteX1906" fmla="*/ 631793 w 682417"/>
              <a:gd name="connsiteY1906" fmla="*/ 121793 h 798267"/>
              <a:gd name="connsiteX1907" fmla="*/ 632555 w 682417"/>
              <a:gd name="connsiteY1907" fmla="*/ 117316 h 798267"/>
              <a:gd name="connsiteX1908" fmla="*/ 641633 w 682417"/>
              <a:gd name="connsiteY1908" fmla="*/ 97961 h 798267"/>
              <a:gd name="connsiteX1909" fmla="*/ 636927 w 682417"/>
              <a:gd name="connsiteY1909" fmla="*/ 98323 h 798267"/>
              <a:gd name="connsiteX1910" fmla="*/ 636194 w 682417"/>
              <a:gd name="connsiteY1910" fmla="*/ 95885 h 798267"/>
              <a:gd name="connsiteX1911" fmla="*/ 633336 w 682417"/>
              <a:gd name="connsiteY1911" fmla="*/ 98875 h 798267"/>
              <a:gd name="connsiteX1912" fmla="*/ 641633 w 682417"/>
              <a:gd name="connsiteY1912" fmla="*/ 97961 h 798267"/>
              <a:gd name="connsiteX1913" fmla="*/ 646843 w 682417"/>
              <a:gd name="connsiteY1913" fmla="*/ 115106 h 798267"/>
              <a:gd name="connsiteX1914" fmla="*/ 641785 w 682417"/>
              <a:gd name="connsiteY1914" fmla="*/ 110772 h 798267"/>
              <a:gd name="connsiteX1915" fmla="*/ 646843 w 682417"/>
              <a:gd name="connsiteY1915" fmla="*/ 115106 h 798267"/>
              <a:gd name="connsiteX1916" fmla="*/ 653691 w 682417"/>
              <a:gd name="connsiteY1916" fmla="*/ 149891 h 798267"/>
              <a:gd name="connsiteX1917" fmla="*/ 649186 w 682417"/>
              <a:gd name="connsiteY1917" fmla="*/ 149120 h 798267"/>
              <a:gd name="connsiteX1918" fmla="*/ 649357 w 682417"/>
              <a:gd name="connsiteY1918" fmla="*/ 154949 h 798267"/>
              <a:gd name="connsiteX1919" fmla="*/ 653691 w 682417"/>
              <a:gd name="connsiteY1919" fmla="*/ 149891 h 798267"/>
              <a:gd name="connsiteX1920" fmla="*/ 651634 w 682417"/>
              <a:gd name="connsiteY1920" fmla="*/ 148386 h 798267"/>
              <a:gd name="connsiteX1921" fmla="*/ 651634 w 682417"/>
              <a:gd name="connsiteY1921" fmla="*/ 148386 h 798267"/>
              <a:gd name="connsiteX1922" fmla="*/ 654863 w 682417"/>
              <a:gd name="connsiteY1922" fmla="*/ 136175 h 798267"/>
              <a:gd name="connsiteX1923" fmla="*/ 650167 w 682417"/>
              <a:gd name="connsiteY1923" fmla="*/ 136537 h 798267"/>
              <a:gd name="connsiteX1924" fmla="*/ 645290 w 682417"/>
              <a:gd name="connsiteY1924" fmla="*/ 131070 h 798267"/>
              <a:gd name="connsiteX1925" fmla="*/ 648843 w 682417"/>
              <a:gd name="connsiteY1925" fmla="*/ 137471 h 798267"/>
              <a:gd name="connsiteX1926" fmla="*/ 654825 w 682417"/>
              <a:gd name="connsiteY1926" fmla="*/ 136175 h 798267"/>
              <a:gd name="connsiteX1927" fmla="*/ 655434 w 682417"/>
              <a:gd name="connsiteY1927" fmla="*/ 132794 h 798267"/>
              <a:gd name="connsiteX1928" fmla="*/ 650739 w 682417"/>
              <a:gd name="connsiteY1928" fmla="*/ 133156 h 798267"/>
              <a:gd name="connsiteX1929" fmla="*/ 655434 w 682417"/>
              <a:gd name="connsiteY1929" fmla="*/ 132794 h 798267"/>
              <a:gd name="connsiteX1930" fmla="*/ 662607 w 682417"/>
              <a:gd name="connsiteY1930" fmla="*/ 124736 h 798267"/>
              <a:gd name="connsiteX1931" fmla="*/ 657901 w 682417"/>
              <a:gd name="connsiteY1931" fmla="*/ 125098 h 798267"/>
              <a:gd name="connsiteX1932" fmla="*/ 655644 w 682417"/>
              <a:gd name="connsiteY1932" fmla="*/ 124717 h 798267"/>
              <a:gd name="connsiteX1933" fmla="*/ 656387 w 682417"/>
              <a:gd name="connsiteY1933" fmla="*/ 127155 h 798267"/>
              <a:gd name="connsiteX1934" fmla="*/ 662607 w 682417"/>
              <a:gd name="connsiteY1934" fmla="*/ 124736 h 798267"/>
              <a:gd name="connsiteX1935" fmla="*/ 667703 w 682417"/>
              <a:gd name="connsiteY1935" fmla="*/ 115211 h 798267"/>
              <a:gd name="connsiteX1936" fmla="*/ 663188 w 682417"/>
              <a:gd name="connsiteY1936" fmla="*/ 114449 h 798267"/>
              <a:gd name="connsiteX1937" fmla="*/ 663750 w 682417"/>
              <a:gd name="connsiteY1937" fmla="*/ 118021 h 798267"/>
              <a:gd name="connsiteX1938" fmla="*/ 667703 w 682417"/>
              <a:gd name="connsiteY1938" fmla="*/ 115163 h 798267"/>
              <a:gd name="connsiteX1939" fmla="*/ 670560 w 682417"/>
              <a:gd name="connsiteY1939" fmla="*/ 91398 h 798267"/>
              <a:gd name="connsiteX1940" fmla="*/ 666055 w 682417"/>
              <a:gd name="connsiteY1940" fmla="*/ 90627 h 798267"/>
              <a:gd name="connsiteX1941" fmla="*/ 670922 w 682417"/>
              <a:gd name="connsiteY1941" fmla="*/ 96094 h 798267"/>
              <a:gd name="connsiteX1942" fmla="*/ 670589 w 682417"/>
              <a:gd name="connsiteY1942" fmla="*/ 91294 h 798267"/>
              <a:gd name="connsiteX1943" fmla="*/ 660816 w 682417"/>
              <a:gd name="connsiteY1943" fmla="*/ 80473 h 798267"/>
              <a:gd name="connsiteX1944" fmla="*/ 660435 w 682417"/>
              <a:gd name="connsiteY1944" fmla="*/ 82721 h 798267"/>
              <a:gd name="connsiteX1945" fmla="*/ 661807 w 682417"/>
              <a:gd name="connsiteY1945" fmla="*/ 81759 h 798267"/>
              <a:gd name="connsiteX1946" fmla="*/ 660845 w 682417"/>
              <a:gd name="connsiteY1946" fmla="*/ 80387 h 798267"/>
              <a:gd name="connsiteX1947" fmla="*/ 50940 w 682417"/>
              <a:gd name="connsiteY1947" fmla="*/ 586717 h 798267"/>
              <a:gd name="connsiteX1948" fmla="*/ 52083 w 682417"/>
              <a:gd name="connsiteY1948" fmla="*/ 579955 h 798267"/>
              <a:gd name="connsiteX1949" fmla="*/ 50178 w 682417"/>
              <a:gd name="connsiteY1949" fmla="*/ 584270 h 798267"/>
              <a:gd name="connsiteX1950" fmla="*/ 46977 w 682417"/>
              <a:gd name="connsiteY1950" fmla="*/ 582565 h 798267"/>
              <a:gd name="connsiteX1951" fmla="*/ 50940 w 682417"/>
              <a:gd name="connsiteY1951" fmla="*/ 586717 h 798267"/>
              <a:gd name="connsiteX1952" fmla="*/ 676008 w 682417"/>
              <a:gd name="connsiteY1952" fmla="*/ 100342 h 798267"/>
              <a:gd name="connsiteX1953" fmla="*/ 674313 w 682417"/>
              <a:gd name="connsiteY1953" fmla="*/ 103533 h 798267"/>
              <a:gd name="connsiteX1954" fmla="*/ 680333 w 682417"/>
              <a:gd name="connsiteY1954" fmla="*/ 102238 h 798267"/>
              <a:gd name="connsiteX1955" fmla="*/ 681457 w 682417"/>
              <a:gd name="connsiteY1955" fmla="*/ 102428 h 798267"/>
              <a:gd name="connsiteX1956" fmla="*/ 681838 w 682417"/>
              <a:gd name="connsiteY1956" fmla="*/ 100180 h 798267"/>
              <a:gd name="connsiteX1957" fmla="*/ 676008 w 682417"/>
              <a:gd name="connsiteY1957" fmla="*/ 100342 h 798267"/>
              <a:gd name="connsiteX1958" fmla="*/ 637280 w 682417"/>
              <a:gd name="connsiteY1958" fmla="*/ 171446 h 798267"/>
              <a:gd name="connsiteX1959" fmla="*/ 636518 w 682417"/>
              <a:gd name="connsiteY1959" fmla="*/ 175961 h 798267"/>
              <a:gd name="connsiteX1960" fmla="*/ 637832 w 682417"/>
              <a:gd name="connsiteY1960" fmla="*/ 175009 h 798267"/>
              <a:gd name="connsiteX1961" fmla="*/ 638194 w 682417"/>
              <a:gd name="connsiteY1961" fmla="*/ 179705 h 798267"/>
              <a:gd name="connsiteX1962" fmla="*/ 640842 w 682417"/>
              <a:gd name="connsiteY1962" fmla="*/ 177800 h 798267"/>
              <a:gd name="connsiteX1963" fmla="*/ 637280 w 682417"/>
              <a:gd name="connsiteY1963" fmla="*/ 171446 h 798267"/>
              <a:gd name="connsiteX1964" fmla="*/ 654082 w 682417"/>
              <a:gd name="connsiteY1964" fmla="*/ 79235 h 798267"/>
              <a:gd name="connsiteX1965" fmla="*/ 655787 w 682417"/>
              <a:gd name="connsiteY1965" fmla="*/ 76044 h 798267"/>
              <a:gd name="connsiteX1966" fmla="*/ 654082 w 682417"/>
              <a:gd name="connsiteY1966" fmla="*/ 79235 h 798267"/>
              <a:gd name="connsiteX1967" fmla="*/ 469363 w 682417"/>
              <a:gd name="connsiteY1967" fmla="*/ 402647 h 798267"/>
              <a:gd name="connsiteX1968" fmla="*/ 472926 w 682417"/>
              <a:gd name="connsiteY1968" fmla="*/ 409048 h 798267"/>
              <a:gd name="connsiteX1969" fmla="*/ 470991 w 682417"/>
              <a:gd name="connsiteY1969" fmla="*/ 414707 h 798267"/>
              <a:gd name="connsiteX1970" fmla="*/ 471773 w 682417"/>
              <a:gd name="connsiteY1970" fmla="*/ 415810 h 798267"/>
              <a:gd name="connsiteX1971" fmla="*/ 474031 w 682417"/>
              <a:gd name="connsiteY1971" fmla="*/ 416201 h 798267"/>
              <a:gd name="connsiteX1972" fmla="*/ 469363 w 682417"/>
              <a:gd name="connsiteY1972" fmla="*/ 402647 h 798267"/>
              <a:gd name="connsiteX1973" fmla="*/ 483251 w 682417"/>
              <a:gd name="connsiteY1973" fmla="*/ 149958 h 798267"/>
              <a:gd name="connsiteX1974" fmla="*/ 479879 w 682417"/>
              <a:gd name="connsiteY1974" fmla="*/ 149377 h 798267"/>
              <a:gd name="connsiteX1975" fmla="*/ 476582 w 682417"/>
              <a:gd name="connsiteY1975" fmla="*/ 148926 h 798267"/>
              <a:gd name="connsiteX1976" fmla="*/ 476498 w 682417"/>
              <a:gd name="connsiteY1976" fmla="*/ 148806 h 798267"/>
              <a:gd name="connsiteX1977" fmla="*/ 475736 w 682417"/>
              <a:gd name="connsiteY1977" fmla="*/ 153311 h 798267"/>
              <a:gd name="connsiteX1978" fmla="*/ 480431 w 682417"/>
              <a:gd name="connsiteY1978" fmla="*/ 152958 h 798267"/>
              <a:gd name="connsiteX1979" fmla="*/ 481755 w 682417"/>
              <a:gd name="connsiteY1979" fmla="*/ 152006 h 798267"/>
              <a:gd name="connsiteX1980" fmla="*/ 485127 w 682417"/>
              <a:gd name="connsiteY1980" fmla="*/ 152587 h 798267"/>
              <a:gd name="connsiteX1981" fmla="*/ 483251 w 682417"/>
              <a:gd name="connsiteY1981" fmla="*/ 149958 h 798267"/>
              <a:gd name="connsiteX1982" fmla="*/ 470992 w 682417"/>
              <a:gd name="connsiteY1982" fmla="*/ 30791 h 798267"/>
              <a:gd name="connsiteX1983" fmla="*/ 475498 w 682417"/>
              <a:gd name="connsiteY1983" fmla="*/ 31553 h 798267"/>
              <a:gd name="connsiteX1984" fmla="*/ 476241 w 682417"/>
              <a:gd name="connsiteY1984" fmla="*/ 33991 h 798267"/>
              <a:gd name="connsiteX1985" fmla="*/ 481898 w 682417"/>
              <a:gd name="connsiteY1985" fmla="*/ 28000 h 798267"/>
              <a:gd name="connsiteX1986" fmla="*/ 486042 w 682417"/>
              <a:gd name="connsiteY1986" fmla="*/ 24066 h 798267"/>
              <a:gd name="connsiteX1987" fmla="*/ 484137 w 682417"/>
              <a:gd name="connsiteY1987" fmla="*/ 21428 h 798267"/>
              <a:gd name="connsiteX1988" fmla="*/ 479050 w 682417"/>
              <a:gd name="connsiteY1988" fmla="*/ 24047 h 798267"/>
              <a:gd name="connsiteX1989" fmla="*/ 482070 w 682417"/>
              <a:gd name="connsiteY1989" fmla="*/ 19923 h 798267"/>
              <a:gd name="connsiteX1990" fmla="*/ 475498 w 682417"/>
              <a:gd name="connsiteY1990" fmla="*/ 17646 h 798267"/>
              <a:gd name="connsiteX1991" fmla="*/ 469649 w 682417"/>
              <a:gd name="connsiteY1991" fmla="*/ 24771 h 798267"/>
              <a:gd name="connsiteX1992" fmla="*/ 470992 w 682417"/>
              <a:gd name="connsiteY1992" fmla="*/ 30791 h 798267"/>
              <a:gd name="connsiteX1993" fmla="*/ 467839 w 682417"/>
              <a:gd name="connsiteY1993" fmla="*/ 15179 h 798267"/>
              <a:gd name="connsiteX1994" fmla="*/ 466335 w 682417"/>
              <a:gd name="connsiteY1994" fmla="*/ 17246 h 798267"/>
              <a:gd name="connsiteX1995" fmla="*/ 466506 w 682417"/>
              <a:gd name="connsiteY1995" fmla="*/ 23066 h 798267"/>
              <a:gd name="connsiteX1996" fmla="*/ 469706 w 682417"/>
              <a:gd name="connsiteY1996" fmla="*/ 17818 h 798267"/>
              <a:gd name="connsiteX1997" fmla="*/ 473288 w 682417"/>
              <a:gd name="connsiteY1997" fmla="*/ 17265 h 798267"/>
              <a:gd name="connsiteX1998" fmla="*/ 469535 w 682417"/>
              <a:gd name="connsiteY1998" fmla="*/ 11988 h 798267"/>
              <a:gd name="connsiteX1999" fmla="*/ 469725 w 682417"/>
              <a:gd name="connsiteY1999" fmla="*/ 10864 h 798267"/>
              <a:gd name="connsiteX2000" fmla="*/ 464649 w 682417"/>
              <a:gd name="connsiteY2000" fmla="*/ 13484 h 798267"/>
              <a:gd name="connsiteX2001" fmla="*/ 467868 w 682417"/>
              <a:gd name="connsiteY2001" fmla="*/ 15179 h 798267"/>
              <a:gd name="connsiteX2002" fmla="*/ 462124 w 682417"/>
              <a:gd name="connsiteY2002" fmla="*/ 35077 h 798267"/>
              <a:gd name="connsiteX2003" fmla="*/ 462896 w 682417"/>
              <a:gd name="connsiteY2003" fmla="*/ 30572 h 798267"/>
              <a:gd name="connsiteX2004" fmla="*/ 462172 w 682417"/>
              <a:gd name="connsiteY2004" fmla="*/ 35096 h 798267"/>
              <a:gd name="connsiteX2005" fmla="*/ 449847 w 682417"/>
              <a:gd name="connsiteY2005" fmla="*/ 12122 h 798267"/>
              <a:gd name="connsiteX2006" fmla="*/ 450009 w 682417"/>
              <a:gd name="connsiteY2006" fmla="*/ 17942 h 798267"/>
              <a:gd name="connsiteX2007" fmla="*/ 451533 w 682417"/>
              <a:gd name="connsiteY2007" fmla="*/ 8931 h 798267"/>
              <a:gd name="connsiteX2008" fmla="*/ 447037 w 682417"/>
              <a:gd name="connsiteY2008" fmla="*/ 8169 h 798267"/>
              <a:gd name="connsiteX2009" fmla="*/ 449847 w 682417"/>
              <a:gd name="connsiteY2009" fmla="*/ 12122 h 798267"/>
              <a:gd name="connsiteX2010" fmla="*/ 444570 w 682417"/>
              <a:gd name="connsiteY2010" fmla="*/ 15865 h 798267"/>
              <a:gd name="connsiteX2011" fmla="*/ 442665 w 682417"/>
              <a:gd name="connsiteY2011" fmla="*/ 20180 h 798267"/>
              <a:gd name="connsiteX2012" fmla="*/ 447361 w 682417"/>
              <a:gd name="connsiteY2012" fmla="*/ 19818 h 798267"/>
              <a:gd name="connsiteX2013" fmla="*/ 447008 w 682417"/>
              <a:gd name="connsiteY2013" fmla="*/ 15122 h 798267"/>
              <a:gd name="connsiteX2014" fmla="*/ 441750 w 682417"/>
              <a:gd name="connsiteY2014" fmla="*/ 11912 h 798267"/>
              <a:gd name="connsiteX2015" fmla="*/ 444570 w 682417"/>
              <a:gd name="connsiteY2015" fmla="*/ 15865 h 798267"/>
              <a:gd name="connsiteX2016" fmla="*/ 335985 w 682417"/>
              <a:gd name="connsiteY2016" fmla="*/ 266373 h 798267"/>
              <a:gd name="connsiteX2017" fmla="*/ 333346 w 682417"/>
              <a:gd name="connsiteY2017" fmla="*/ 268278 h 798267"/>
              <a:gd name="connsiteX2018" fmla="*/ 327689 w 682417"/>
              <a:gd name="connsiteY2018" fmla="*/ 274269 h 798267"/>
              <a:gd name="connsiteX2019" fmla="*/ 332775 w 682417"/>
              <a:gd name="connsiteY2019" fmla="*/ 271659 h 798267"/>
              <a:gd name="connsiteX2020" fmla="*/ 334289 w 682417"/>
              <a:gd name="connsiteY2020" fmla="*/ 269592 h 798267"/>
              <a:gd name="connsiteX2021" fmla="*/ 336547 w 682417"/>
              <a:gd name="connsiteY2021" fmla="*/ 269983 h 798267"/>
              <a:gd name="connsiteX2022" fmla="*/ 335975 w 682417"/>
              <a:gd name="connsiteY2022" fmla="*/ 266411 h 798267"/>
              <a:gd name="connsiteX2023" fmla="*/ 358750 w 682417"/>
              <a:gd name="connsiteY2023" fmla="*/ 63871 h 798267"/>
              <a:gd name="connsiteX2024" fmla="*/ 354625 w 682417"/>
              <a:gd name="connsiteY2024" fmla="*/ 60852 h 798267"/>
              <a:gd name="connsiteX2025" fmla="*/ 358740 w 682417"/>
              <a:gd name="connsiteY2025" fmla="*/ 63909 h 798267"/>
              <a:gd name="connsiteX2026" fmla="*/ 363436 w 682417"/>
              <a:gd name="connsiteY2026" fmla="*/ 2063 h 798267"/>
              <a:gd name="connsiteX2027" fmla="*/ 365884 w 682417"/>
              <a:gd name="connsiteY2027" fmla="*/ 1320 h 798267"/>
              <a:gd name="connsiteX2028" fmla="*/ 367789 w 682417"/>
              <a:gd name="connsiteY2028" fmla="*/ 3949 h 798267"/>
              <a:gd name="connsiteX2029" fmla="*/ 368370 w 682417"/>
              <a:gd name="connsiteY2029" fmla="*/ 568 h 798267"/>
              <a:gd name="connsiteX2030" fmla="*/ 363426 w 682417"/>
              <a:gd name="connsiteY2030" fmla="*/ 2101 h 798267"/>
              <a:gd name="connsiteX2031" fmla="*/ 337118 w 682417"/>
              <a:gd name="connsiteY2031" fmla="*/ 6874 h 798267"/>
              <a:gd name="connsiteX2032" fmla="*/ 339023 w 682417"/>
              <a:gd name="connsiteY2032" fmla="*/ 9502 h 798267"/>
              <a:gd name="connsiteX2033" fmla="*/ 337537 w 682417"/>
              <a:gd name="connsiteY2033" fmla="*/ 4616 h 798267"/>
              <a:gd name="connsiteX2034" fmla="*/ 333575 w 682417"/>
              <a:gd name="connsiteY2034" fmla="*/ 7426 h 798267"/>
              <a:gd name="connsiteX2035" fmla="*/ 337109 w 682417"/>
              <a:gd name="connsiteY2035" fmla="*/ 6912 h 798267"/>
              <a:gd name="connsiteX2036" fmla="*/ 180280 w 682417"/>
              <a:gd name="connsiteY2036" fmla="*/ 432441 h 798267"/>
              <a:gd name="connsiteX2037" fmla="*/ 182918 w 682417"/>
              <a:gd name="connsiteY2037" fmla="*/ 430536 h 798267"/>
              <a:gd name="connsiteX2038" fmla="*/ 185166 w 682417"/>
              <a:gd name="connsiteY2038" fmla="*/ 430917 h 798267"/>
              <a:gd name="connsiteX2039" fmla="*/ 185737 w 682417"/>
              <a:gd name="connsiteY2039" fmla="*/ 427526 h 798267"/>
              <a:gd name="connsiteX2040" fmla="*/ 180280 w 682417"/>
              <a:gd name="connsiteY2040" fmla="*/ 432441 h 798267"/>
              <a:gd name="connsiteX2041" fmla="*/ 439360 w 682417"/>
              <a:gd name="connsiteY2041" fmla="*/ 12655 h 798267"/>
              <a:gd name="connsiteX2042" fmla="*/ 441265 w 682417"/>
              <a:gd name="connsiteY2042" fmla="*/ 15294 h 798267"/>
              <a:gd name="connsiteX2043" fmla="*/ 441865 w 682417"/>
              <a:gd name="connsiteY2043" fmla="*/ 4959 h 798267"/>
              <a:gd name="connsiteX2044" fmla="*/ 437912 w 682417"/>
              <a:gd name="connsiteY2044" fmla="*/ 7769 h 798267"/>
              <a:gd name="connsiteX2045" fmla="*/ 435845 w 682417"/>
              <a:gd name="connsiteY2045" fmla="*/ 6254 h 798267"/>
              <a:gd name="connsiteX2046" fmla="*/ 433769 w 682417"/>
              <a:gd name="connsiteY2046" fmla="*/ 11693 h 798267"/>
              <a:gd name="connsiteX2047" fmla="*/ 439322 w 682417"/>
              <a:gd name="connsiteY2047" fmla="*/ 12655 h 79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682417" h="798267">
                <a:moveTo>
                  <a:pt x="681704" y="80445"/>
                </a:moveTo>
                <a:cubicBezTo>
                  <a:pt x="680133" y="79578"/>
                  <a:pt x="679142" y="78292"/>
                  <a:pt x="677580" y="77425"/>
                </a:cubicBezTo>
                <a:cubicBezTo>
                  <a:pt x="678456" y="75015"/>
                  <a:pt x="684448" y="77006"/>
                  <a:pt x="681704" y="80445"/>
                </a:cubicBezTo>
                <a:close/>
                <a:moveTo>
                  <a:pt x="630488" y="184210"/>
                </a:moveTo>
                <a:cubicBezTo>
                  <a:pt x="631231" y="181076"/>
                  <a:pt x="634689" y="181753"/>
                  <a:pt x="635946" y="179343"/>
                </a:cubicBezTo>
                <a:cubicBezTo>
                  <a:pt x="631222" y="177019"/>
                  <a:pt x="625974" y="181933"/>
                  <a:pt x="630488" y="184210"/>
                </a:cubicBezTo>
                <a:close/>
                <a:moveTo>
                  <a:pt x="627859" y="117678"/>
                </a:moveTo>
                <a:cubicBezTo>
                  <a:pt x="625488" y="118840"/>
                  <a:pt x="627650" y="122783"/>
                  <a:pt x="628221" y="122383"/>
                </a:cubicBezTo>
                <a:cubicBezTo>
                  <a:pt x="629107" y="121774"/>
                  <a:pt x="628745" y="117459"/>
                  <a:pt x="627859" y="117678"/>
                </a:cubicBezTo>
                <a:close/>
                <a:moveTo>
                  <a:pt x="577253" y="265601"/>
                </a:moveTo>
                <a:cubicBezTo>
                  <a:pt x="577872" y="269411"/>
                  <a:pt x="575653" y="271221"/>
                  <a:pt x="579301" y="274059"/>
                </a:cubicBezTo>
                <a:cubicBezTo>
                  <a:pt x="578796" y="271116"/>
                  <a:pt x="580911" y="266315"/>
                  <a:pt x="577253" y="265601"/>
                </a:cubicBezTo>
                <a:close/>
                <a:moveTo>
                  <a:pt x="610753" y="54489"/>
                </a:moveTo>
                <a:cubicBezTo>
                  <a:pt x="609886" y="53278"/>
                  <a:pt x="608203" y="52999"/>
                  <a:pt x="606992" y="53866"/>
                </a:cubicBezTo>
                <a:cubicBezTo>
                  <a:pt x="606308" y="54355"/>
                  <a:pt x="605892" y="55135"/>
                  <a:pt x="605866" y="55975"/>
                </a:cubicBezTo>
                <a:cubicBezTo>
                  <a:pt x="608381" y="56737"/>
                  <a:pt x="610152" y="56432"/>
                  <a:pt x="610753" y="54499"/>
                </a:cubicBezTo>
                <a:close/>
                <a:moveTo>
                  <a:pt x="564032" y="288871"/>
                </a:moveTo>
                <a:cubicBezTo>
                  <a:pt x="565337" y="289261"/>
                  <a:pt x="566242" y="291309"/>
                  <a:pt x="567414" y="289442"/>
                </a:cubicBezTo>
                <a:cubicBezTo>
                  <a:pt x="566109" y="289052"/>
                  <a:pt x="565204" y="287004"/>
                  <a:pt x="564032" y="288871"/>
                </a:cubicBezTo>
                <a:close/>
                <a:moveTo>
                  <a:pt x="561956" y="294309"/>
                </a:moveTo>
                <a:cubicBezTo>
                  <a:pt x="560289" y="295405"/>
                  <a:pt x="560756" y="298481"/>
                  <a:pt x="562127" y="300139"/>
                </a:cubicBezTo>
                <a:cubicBezTo>
                  <a:pt x="562661" y="298577"/>
                  <a:pt x="564299" y="298548"/>
                  <a:pt x="564985" y="297138"/>
                </a:cubicBezTo>
                <a:cubicBezTo>
                  <a:pt x="563385" y="296595"/>
                  <a:pt x="563385" y="294957"/>
                  <a:pt x="561956" y="294309"/>
                </a:cubicBezTo>
                <a:close/>
                <a:moveTo>
                  <a:pt x="538144" y="352869"/>
                </a:moveTo>
                <a:cubicBezTo>
                  <a:pt x="537696" y="353507"/>
                  <a:pt x="534619" y="356727"/>
                  <a:pt x="537381" y="357374"/>
                </a:cubicBezTo>
                <a:cubicBezTo>
                  <a:pt x="536619" y="355136"/>
                  <a:pt x="541344" y="354184"/>
                  <a:pt x="538096" y="352869"/>
                </a:cubicBezTo>
                <a:close/>
                <a:moveTo>
                  <a:pt x="514179" y="323294"/>
                </a:moveTo>
                <a:cubicBezTo>
                  <a:pt x="512953" y="323116"/>
                  <a:pt x="511828" y="322517"/>
                  <a:pt x="510997" y="321599"/>
                </a:cubicBezTo>
                <a:lnTo>
                  <a:pt x="510616" y="323846"/>
                </a:lnTo>
                <a:cubicBezTo>
                  <a:pt x="511950" y="325390"/>
                  <a:pt x="513112" y="325532"/>
                  <a:pt x="514131" y="323294"/>
                </a:cubicBezTo>
                <a:close/>
                <a:moveTo>
                  <a:pt x="539267" y="100323"/>
                </a:moveTo>
                <a:cubicBezTo>
                  <a:pt x="540934" y="97675"/>
                  <a:pt x="536305" y="94684"/>
                  <a:pt x="535134" y="97304"/>
                </a:cubicBezTo>
                <a:cubicBezTo>
                  <a:pt x="537324" y="97694"/>
                  <a:pt x="536000" y="100628"/>
                  <a:pt x="539220" y="100323"/>
                </a:cubicBezTo>
                <a:close/>
                <a:moveTo>
                  <a:pt x="532286" y="107257"/>
                </a:moveTo>
                <a:cubicBezTo>
                  <a:pt x="533798" y="107730"/>
                  <a:pt x="535428" y="107009"/>
                  <a:pt x="536096" y="105572"/>
                </a:cubicBezTo>
                <a:cubicBezTo>
                  <a:pt x="534865" y="105393"/>
                  <a:pt x="533733" y="104794"/>
                  <a:pt x="532895" y="103876"/>
                </a:cubicBezTo>
                <a:close/>
                <a:moveTo>
                  <a:pt x="489423" y="366633"/>
                </a:moveTo>
                <a:lnTo>
                  <a:pt x="487166" y="366252"/>
                </a:lnTo>
                <a:lnTo>
                  <a:pt x="486785" y="368500"/>
                </a:lnTo>
                <a:lnTo>
                  <a:pt x="489042" y="368881"/>
                </a:lnTo>
                <a:close/>
                <a:moveTo>
                  <a:pt x="501082" y="31286"/>
                </a:moveTo>
                <a:cubicBezTo>
                  <a:pt x="502463" y="29133"/>
                  <a:pt x="499015" y="25733"/>
                  <a:pt x="498081" y="28429"/>
                </a:cubicBezTo>
                <a:cubicBezTo>
                  <a:pt x="499843" y="28829"/>
                  <a:pt x="498472" y="31448"/>
                  <a:pt x="501082" y="31286"/>
                </a:cubicBezTo>
                <a:close/>
                <a:moveTo>
                  <a:pt x="494348" y="23190"/>
                </a:moveTo>
                <a:cubicBezTo>
                  <a:pt x="495138" y="23618"/>
                  <a:pt x="494976" y="26543"/>
                  <a:pt x="497338" y="26047"/>
                </a:cubicBezTo>
                <a:cubicBezTo>
                  <a:pt x="497443" y="22342"/>
                  <a:pt x="496729" y="19218"/>
                  <a:pt x="491528" y="19275"/>
                </a:cubicBezTo>
                <a:cubicBezTo>
                  <a:pt x="491154" y="21052"/>
                  <a:pt x="491719" y="22897"/>
                  <a:pt x="493024" y="24161"/>
                </a:cubicBezTo>
                <a:cubicBezTo>
                  <a:pt x="492662" y="23666"/>
                  <a:pt x="493709" y="22809"/>
                  <a:pt x="494348" y="23152"/>
                </a:cubicBezTo>
                <a:close/>
                <a:moveTo>
                  <a:pt x="485851" y="32181"/>
                </a:moveTo>
                <a:cubicBezTo>
                  <a:pt x="485137" y="29905"/>
                  <a:pt x="489871" y="28991"/>
                  <a:pt x="486623" y="27676"/>
                </a:cubicBezTo>
                <a:cubicBezTo>
                  <a:pt x="486175" y="28276"/>
                  <a:pt x="483089" y="31505"/>
                  <a:pt x="485851" y="32143"/>
                </a:cubicBezTo>
                <a:close/>
                <a:moveTo>
                  <a:pt x="430263" y="216328"/>
                </a:moveTo>
                <a:cubicBezTo>
                  <a:pt x="431893" y="216384"/>
                  <a:pt x="433439" y="217066"/>
                  <a:pt x="434578" y="218233"/>
                </a:cubicBezTo>
                <a:lnTo>
                  <a:pt x="435150" y="214852"/>
                </a:lnTo>
                <a:cubicBezTo>
                  <a:pt x="432635" y="214080"/>
                  <a:pt x="430873" y="214385"/>
                  <a:pt x="430263" y="216328"/>
                </a:cubicBezTo>
                <a:close/>
                <a:moveTo>
                  <a:pt x="430092" y="210499"/>
                </a:moveTo>
                <a:cubicBezTo>
                  <a:pt x="426025" y="213709"/>
                  <a:pt x="433673" y="214623"/>
                  <a:pt x="430092" y="210499"/>
                </a:cubicBezTo>
                <a:close/>
                <a:moveTo>
                  <a:pt x="456705" y="26047"/>
                </a:moveTo>
                <a:cubicBezTo>
                  <a:pt x="460277" y="25485"/>
                  <a:pt x="460086" y="19637"/>
                  <a:pt x="461810" y="16522"/>
                </a:cubicBezTo>
                <a:cubicBezTo>
                  <a:pt x="459457" y="17056"/>
                  <a:pt x="459905" y="13874"/>
                  <a:pt x="458810" y="13665"/>
                </a:cubicBezTo>
                <a:cubicBezTo>
                  <a:pt x="458333" y="13589"/>
                  <a:pt x="456810" y="16789"/>
                  <a:pt x="455057" y="15341"/>
                </a:cubicBezTo>
                <a:cubicBezTo>
                  <a:pt x="455247" y="13551"/>
                  <a:pt x="455867" y="11455"/>
                  <a:pt x="453371" y="11579"/>
                </a:cubicBezTo>
                <a:cubicBezTo>
                  <a:pt x="454524" y="16399"/>
                  <a:pt x="451456" y="24190"/>
                  <a:pt x="456705" y="26047"/>
                </a:cubicBezTo>
                <a:close/>
                <a:moveTo>
                  <a:pt x="426882" y="215747"/>
                </a:moveTo>
                <a:cubicBezTo>
                  <a:pt x="426977" y="213595"/>
                  <a:pt x="424920" y="216071"/>
                  <a:pt x="424815" y="214242"/>
                </a:cubicBezTo>
                <a:cubicBezTo>
                  <a:pt x="423158" y="213099"/>
                  <a:pt x="426006" y="208765"/>
                  <a:pt x="422205" y="209156"/>
                </a:cubicBezTo>
                <a:cubicBezTo>
                  <a:pt x="420386" y="208661"/>
                  <a:pt x="419176" y="215823"/>
                  <a:pt x="421062" y="215919"/>
                </a:cubicBezTo>
                <a:cubicBezTo>
                  <a:pt x="423196" y="213204"/>
                  <a:pt x="422872" y="220481"/>
                  <a:pt x="427434" y="219319"/>
                </a:cubicBezTo>
                <a:cubicBezTo>
                  <a:pt x="427482" y="217976"/>
                  <a:pt x="428130" y="216157"/>
                  <a:pt x="426882" y="215747"/>
                </a:cubicBezTo>
                <a:close/>
                <a:moveTo>
                  <a:pt x="445837" y="28829"/>
                </a:moveTo>
                <a:cubicBezTo>
                  <a:pt x="446141" y="27400"/>
                  <a:pt x="447551" y="27524"/>
                  <a:pt x="447551" y="25647"/>
                </a:cubicBezTo>
                <a:cubicBezTo>
                  <a:pt x="445065" y="23418"/>
                  <a:pt x="443579" y="28905"/>
                  <a:pt x="445837" y="28829"/>
                </a:cubicBezTo>
                <a:close/>
                <a:moveTo>
                  <a:pt x="404812" y="181857"/>
                </a:moveTo>
                <a:cubicBezTo>
                  <a:pt x="400698" y="180724"/>
                  <a:pt x="397193" y="180381"/>
                  <a:pt x="396345" y="183905"/>
                </a:cubicBezTo>
                <a:cubicBezTo>
                  <a:pt x="399707" y="183286"/>
                  <a:pt x="401364" y="183438"/>
                  <a:pt x="400279" y="188049"/>
                </a:cubicBezTo>
                <a:cubicBezTo>
                  <a:pt x="403746" y="188744"/>
                  <a:pt x="404222" y="185210"/>
                  <a:pt x="404812" y="181857"/>
                </a:cubicBezTo>
                <a:close/>
                <a:moveTo>
                  <a:pt x="420910" y="11855"/>
                </a:moveTo>
                <a:cubicBezTo>
                  <a:pt x="422024" y="8407"/>
                  <a:pt x="418605" y="8188"/>
                  <a:pt x="417157" y="6578"/>
                </a:cubicBezTo>
                <a:cubicBezTo>
                  <a:pt x="416023" y="10017"/>
                  <a:pt x="419452" y="10236"/>
                  <a:pt x="420910" y="11855"/>
                </a:cubicBezTo>
                <a:close/>
                <a:moveTo>
                  <a:pt x="388125" y="34144"/>
                </a:moveTo>
                <a:cubicBezTo>
                  <a:pt x="387669" y="35640"/>
                  <a:pt x="388384" y="37244"/>
                  <a:pt x="389801" y="37906"/>
                </a:cubicBezTo>
                <a:cubicBezTo>
                  <a:pt x="390252" y="36410"/>
                  <a:pt x="389539" y="34809"/>
                  <a:pt x="388125" y="34144"/>
                </a:cubicBezTo>
                <a:close/>
                <a:moveTo>
                  <a:pt x="337833" y="269078"/>
                </a:moveTo>
                <a:cubicBezTo>
                  <a:pt x="340690" y="270364"/>
                  <a:pt x="340404" y="267116"/>
                  <a:pt x="341786" y="266220"/>
                </a:cubicBezTo>
                <a:cubicBezTo>
                  <a:pt x="338909" y="264944"/>
                  <a:pt x="339223" y="268192"/>
                  <a:pt x="337852" y="269049"/>
                </a:cubicBezTo>
                <a:close/>
                <a:moveTo>
                  <a:pt x="334289" y="9902"/>
                </a:moveTo>
                <a:lnTo>
                  <a:pt x="332032" y="9521"/>
                </a:lnTo>
                <a:cubicBezTo>
                  <a:pt x="331899" y="10274"/>
                  <a:pt x="331775" y="11026"/>
                  <a:pt x="331651" y="11779"/>
                </a:cubicBezTo>
                <a:lnTo>
                  <a:pt x="333899" y="12160"/>
                </a:lnTo>
                <a:cubicBezTo>
                  <a:pt x="334032" y="11407"/>
                  <a:pt x="334156" y="10655"/>
                  <a:pt x="334289" y="9902"/>
                </a:cubicBezTo>
                <a:close/>
                <a:moveTo>
                  <a:pt x="322945" y="28857"/>
                </a:moveTo>
                <a:cubicBezTo>
                  <a:pt x="324850" y="31505"/>
                  <a:pt x="325241" y="28724"/>
                  <a:pt x="327650" y="28486"/>
                </a:cubicBezTo>
                <a:cubicBezTo>
                  <a:pt x="328270" y="25428"/>
                  <a:pt x="326155" y="25904"/>
                  <a:pt x="328412" y="23980"/>
                </a:cubicBezTo>
                <a:cubicBezTo>
                  <a:pt x="324305" y="24125"/>
                  <a:pt x="320679" y="26703"/>
                  <a:pt x="319192" y="30534"/>
                </a:cubicBezTo>
                <a:cubicBezTo>
                  <a:pt x="321345" y="31286"/>
                  <a:pt x="321678" y="29381"/>
                  <a:pt x="322945" y="28857"/>
                </a:cubicBezTo>
                <a:close/>
                <a:moveTo>
                  <a:pt x="318364" y="55899"/>
                </a:moveTo>
                <a:cubicBezTo>
                  <a:pt x="316802" y="55356"/>
                  <a:pt x="316773" y="53717"/>
                  <a:pt x="315363" y="53041"/>
                </a:cubicBezTo>
                <a:cubicBezTo>
                  <a:pt x="313982" y="55222"/>
                  <a:pt x="317421" y="58623"/>
                  <a:pt x="318364" y="55899"/>
                </a:cubicBezTo>
                <a:close/>
                <a:moveTo>
                  <a:pt x="278120" y="258934"/>
                </a:moveTo>
                <a:cubicBezTo>
                  <a:pt x="277454" y="261715"/>
                  <a:pt x="279254" y="262744"/>
                  <a:pt x="280740" y="264010"/>
                </a:cubicBezTo>
                <a:cubicBezTo>
                  <a:pt x="281559" y="261096"/>
                  <a:pt x="281149" y="259076"/>
                  <a:pt x="278120" y="258934"/>
                </a:cubicBezTo>
                <a:close/>
                <a:moveTo>
                  <a:pt x="316382" y="26600"/>
                </a:moveTo>
                <a:cubicBezTo>
                  <a:pt x="316287" y="28314"/>
                  <a:pt x="315268" y="30686"/>
                  <a:pt x="316744" y="31296"/>
                </a:cubicBezTo>
                <a:cubicBezTo>
                  <a:pt x="318459" y="30029"/>
                  <a:pt x="318945" y="27333"/>
                  <a:pt x="316382" y="26581"/>
                </a:cubicBezTo>
                <a:close/>
                <a:moveTo>
                  <a:pt x="312572" y="49136"/>
                </a:moveTo>
                <a:cubicBezTo>
                  <a:pt x="311201" y="47231"/>
                  <a:pt x="308496" y="46736"/>
                  <a:pt x="308762" y="50812"/>
                </a:cubicBezTo>
                <a:cubicBezTo>
                  <a:pt x="310272" y="51277"/>
                  <a:pt x="311893" y="50552"/>
                  <a:pt x="312553" y="49117"/>
                </a:cubicBezTo>
                <a:close/>
                <a:moveTo>
                  <a:pt x="243288" y="348069"/>
                </a:moveTo>
                <a:lnTo>
                  <a:pt x="242907" y="350316"/>
                </a:lnTo>
                <a:cubicBezTo>
                  <a:pt x="242849" y="351012"/>
                  <a:pt x="242849" y="351679"/>
                  <a:pt x="243859" y="351640"/>
                </a:cubicBezTo>
                <a:cubicBezTo>
                  <a:pt x="244040" y="350964"/>
                  <a:pt x="244250" y="350326"/>
                  <a:pt x="245183" y="350688"/>
                </a:cubicBezTo>
                <a:cubicBezTo>
                  <a:pt x="245278" y="351640"/>
                  <a:pt x="244831" y="352917"/>
                  <a:pt x="245916" y="353136"/>
                </a:cubicBezTo>
                <a:cubicBezTo>
                  <a:pt x="246717" y="350250"/>
                  <a:pt x="246316" y="348230"/>
                  <a:pt x="243288" y="348069"/>
                </a:cubicBezTo>
                <a:close/>
                <a:moveTo>
                  <a:pt x="230476" y="293719"/>
                </a:moveTo>
                <a:cubicBezTo>
                  <a:pt x="224142" y="291423"/>
                  <a:pt x="229181" y="298529"/>
                  <a:pt x="230476" y="293719"/>
                </a:cubicBezTo>
                <a:close/>
                <a:moveTo>
                  <a:pt x="153857" y="472008"/>
                </a:moveTo>
                <a:cubicBezTo>
                  <a:pt x="158086" y="472627"/>
                  <a:pt x="157286" y="471293"/>
                  <a:pt x="160620" y="473160"/>
                </a:cubicBezTo>
                <a:cubicBezTo>
                  <a:pt x="161903" y="471577"/>
                  <a:pt x="162264" y="469438"/>
                  <a:pt x="161573" y="467522"/>
                </a:cubicBezTo>
                <a:cubicBezTo>
                  <a:pt x="158334" y="468084"/>
                  <a:pt x="153724" y="466702"/>
                  <a:pt x="153857" y="472008"/>
                </a:cubicBezTo>
                <a:close/>
                <a:moveTo>
                  <a:pt x="154010" y="484790"/>
                </a:moveTo>
                <a:cubicBezTo>
                  <a:pt x="156867" y="485152"/>
                  <a:pt x="159839" y="485562"/>
                  <a:pt x="160220" y="482362"/>
                </a:cubicBezTo>
                <a:cubicBezTo>
                  <a:pt x="157833" y="481403"/>
                  <a:pt x="155113" y="482467"/>
                  <a:pt x="154010" y="484790"/>
                </a:cubicBezTo>
                <a:close/>
                <a:moveTo>
                  <a:pt x="163335" y="388978"/>
                </a:moveTo>
                <a:cubicBezTo>
                  <a:pt x="166249" y="389836"/>
                  <a:pt x="166640" y="387073"/>
                  <a:pt x="167478" y="385054"/>
                </a:cubicBezTo>
                <a:cubicBezTo>
                  <a:pt x="164535" y="384206"/>
                  <a:pt x="164144" y="386911"/>
                  <a:pt x="163335" y="388978"/>
                </a:cubicBezTo>
                <a:close/>
                <a:moveTo>
                  <a:pt x="163935" y="378653"/>
                </a:moveTo>
                <a:cubicBezTo>
                  <a:pt x="168002" y="375434"/>
                  <a:pt x="160344" y="374529"/>
                  <a:pt x="163935" y="378653"/>
                </a:cubicBezTo>
                <a:close/>
                <a:moveTo>
                  <a:pt x="128521" y="525681"/>
                </a:moveTo>
                <a:cubicBezTo>
                  <a:pt x="127140" y="527834"/>
                  <a:pt x="130578" y="531234"/>
                  <a:pt x="131521" y="528539"/>
                </a:cubicBezTo>
                <a:cubicBezTo>
                  <a:pt x="129997" y="527967"/>
                  <a:pt x="129931" y="526329"/>
                  <a:pt x="128521" y="525681"/>
                </a:cubicBezTo>
                <a:close/>
                <a:moveTo>
                  <a:pt x="135607" y="415582"/>
                </a:moveTo>
                <a:cubicBezTo>
                  <a:pt x="135484" y="418649"/>
                  <a:pt x="137922" y="419897"/>
                  <a:pt x="140475" y="421049"/>
                </a:cubicBezTo>
                <a:cubicBezTo>
                  <a:pt x="140799" y="417849"/>
                  <a:pt x="139332" y="415915"/>
                  <a:pt x="135607" y="415582"/>
                </a:cubicBezTo>
                <a:close/>
                <a:moveTo>
                  <a:pt x="125378" y="441671"/>
                </a:moveTo>
                <a:cubicBezTo>
                  <a:pt x="125711" y="439766"/>
                  <a:pt x="128616" y="441575"/>
                  <a:pt x="129188" y="439994"/>
                </a:cubicBezTo>
                <a:cubicBezTo>
                  <a:pt x="128349" y="439604"/>
                  <a:pt x="128035" y="438832"/>
                  <a:pt x="128435" y="437546"/>
                </a:cubicBezTo>
                <a:cubicBezTo>
                  <a:pt x="125759" y="435880"/>
                  <a:pt x="122768" y="440509"/>
                  <a:pt x="125378" y="441671"/>
                </a:cubicBezTo>
                <a:close/>
                <a:moveTo>
                  <a:pt x="105156" y="485771"/>
                </a:moveTo>
                <a:cubicBezTo>
                  <a:pt x="105823" y="482990"/>
                  <a:pt x="104013" y="481961"/>
                  <a:pt x="102537" y="480695"/>
                </a:cubicBezTo>
                <a:cubicBezTo>
                  <a:pt x="101717" y="483590"/>
                  <a:pt x="102118" y="485629"/>
                  <a:pt x="105156" y="485771"/>
                </a:cubicBezTo>
                <a:close/>
                <a:moveTo>
                  <a:pt x="103070" y="491220"/>
                </a:moveTo>
                <a:cubicBezTo>
                  <a:pt x="104023" y="488581"/>
                  <a:pt x="101432" y="488419"/>
                  <a:pt x="102899" y="485390"/>
                </a:cubicBezTo>
                <a:cubicBezTo>
                  <a:pt x="101670" y="485214"/>
                  <a:pt x="100541" y="484615"/>
                  <a:pt x="99708" y="483695"/>
                </a:cubicBezTo>
                <a:cubicBezTo>
                  <a:pt x="98689" y="484752"/>
                  <a:pt x="94431" y="488134"/>
                  <a:pt x="97431" y="490267"/>
                </a:cubicBezTo>
                <a:cubicBezTo>
                  <a:pt x="98031" y="485276"/>
                  <a:pt x="101479" y="490820"/>
                  <a:pt x="103070" y="491220"/>
                </a:cubicBezTo>
                <a:close/>
                <a:moveTo>
                  <a:pt x="37014" y="784914"/>
                </a:moveTo>
                <a:cubicBezTo>
                  <a:pt x="33557" y="783780"/>
                  <a:pt x="33518" y="787447"/>
                  <a:pt x="30794" y="787343"/>
                </a:cubicBezTo>
                <a:cubicBezTo>
                  <a:pt x="28708" y="787657"/>
                  <a:pt x="24413" y="784856"/>
                  <a:pt x="23851" y="787343"/>
                </a:cubicBezTo>
                <a:cubicBezTo>
                  <a:pt x="26118" y="788038"/>
                  <a:pt x="23270" y="792372"/>
                  <a:pt x="26460" y="792419"/>
                </a:cubicBezTo>
                <a:cubicBezTo>
                  <a:pt x="27138" y="791189"/>
                  <a:pt x="28122" y="790155"/>
                  <a:pt x="29318" y="789419"/>
                </a:cubicBezTo>
                <a:cubicBezTo>
                  <a:pt x="31375" y="791924"/>
                  <a:pt x="30166" y="796744"/>
                  <a:pt x="33614" y="798268"/>
                </a:cubicBezTo>
                <a:cubicBezTo>
                  <a:pt x="35081" y="795239"/>
                  <a:pt x="32528" y="795077"/>
                  <a:pt x="33442" y="792438"/>
                </a:cubicBezTo>
                <a:cubicBezTo>
                  <a:pt x="34871" y="792962"/>
                  <a:pt x="34271" y="790943"/>
                  <a:pt x="34957" y="790381"/>
                </a:cubicBezTo>
                <a:cubicBezTo>
                  <a:pt x="35643" y="789819"/>
                  <a:pt x="38148" y="791067"/>
                  <a:pt x="37586" y="788476"/>
                </a:cubicBezTo>
                <a:cubicBezTo>
                  <a:pt x="36281" y="788076"/>
                  <a:pt x="36652" y="786495"/>
                  <a:pt x="37014" y="784914"/>
                </a:cubicBezTo>
                <a:close/>
                <a:moveTo>
                  <a:pt x="29127" y="783580"/>
                </a:moveTo>
                <a:cubicBezTo>
                  <a:pt x="33004" y="784866"/>
                  <a:pt x="32566" y="780056"/>
                  <a:pt x="36452" y="781342"/>
                </a:cubicBezTo>
                <a:cubicBezTo>
                  <a:pt x="36319" y="782542"/>
                  <a:pt x="37748" y="782475"/>
                  <a:pt x="37776" y="780389"/>
                </a:cubicBezTo>
                <a:cubicBezTo>
                  <a:pt x="33271" y="779189"/>
                  <a:pt x="29851" y="779494"/>
                  <a:pt x="29127" y="783580"/>
                </a:cubicBezTo>
                <a:close/>
                <a:moveTo>
                  <a:pt x="27061" y="782066"/>
                </a:moveTo>
                <a:cubicBezTo>
                  <a:pt x="24965" y="780389"/>
                  <a:pt x="21346" y="782923"/>
                  <a:pt x="24422" y="783971"/>
                </a:cubicBezTo>
                <a:cubicBezTo>
                  <a:pt x="24679" y="782456"/>
                  <a:pt x="26565" y="783247"/>
                  <a:pt x="27061" y="782066"/>
                </a:cubicBezTo>
                <a:close/>
                <a:moveTo>
                  <a:pt x="678799" y="111296"/>
                </a:moveTo>
                <a:cubicBezTo>
                  <a:pt x="679475" y="111477"/>
                  <a:pt x="680104" y="111696"/>
                  <a:pt x="679752" y="112620"/>
                </a:cubicBezTo>
                <a:cubicBezTo>
                  <a:pt x="679133" y="112506"/>
                  <a:pt x="678313" y="113315"/>
                  <a:pt x="679561" y="113744"/>
                </a:cubicBezTo>
                <a:cubicBezTo>
                  <a:pt x="681971" y="113087"/>
                  <a:pt x="680809" y="108019"/>
                  <a:pt x="678799" y="111296"/>
                </a:cubicBezTo>
                <a:close/>
                <a:moveTo>
                  <a:pt x="677847" y="116935"/>
                </a:moveTo>
                <a:cubicBezTo>
                  <a:pt x="674703" y="114011"/>
                  <a:pt x="676246" y="117459"/>
                  <a:pt x="676142" y="120126"/>
                </a:cubicBezTo>
                <a:cubicBezTo>
                  <a:pt x="673745" y="120204"/>
                  <a:pt x="671404" y="119393"/>
                  <a:pt x="669569" y="117849"/>
                </a:cubicBezTo>
                <a:cubicBezTo>
                  <a:pt x="666112" y="116687"/>
                  <a:pt x="668198" y="123374"/>
                  <a:pt x="664293" y="121593"/>
                </a:cubicBezTo>
                <a:cubicBezTo>
                  <a:pt x="664045" y="123098"/>
                  <a:pt x="663788" y="124603"/>
                  <a:pt x="663531" y="126098"/>
                </a:cubicBezTo>
                <a:cubicBezTo>
                  <a:pt x="663312" y="129051"/>
                  <a:pt x="665740" y="124879"/>
                  <a:pt x="668045" y="126869"/>
                </a:cubicBezTo>
                <a:cubicBezTo>
                  <a:pt x="665369" y="129289"/>
                  <a:pt x="661978" y="132375"/>
                  <a:pt x="666702" y="134756"/>
                </a:cubicBezTo>
                <a:cubicBezTo>
                  <a:pt x="663673" y="138185"/>
                  <a:pt x="663359" y="134623"/>
                  <a:pt x="659940" y="133604"/>
                </a:cubicBezTo>
                <a:cubicBezTo>
                  <a:pt x="659206" y="136775"/>
                  <a:pt x="663378" y="136461"/>
                  <a:pt x="661045" y="140747"/>
                </a:cubicBezTo>
                <a:cubicBezTo>
                  <a:pt x="662140" y="140424"/>
                  <a:pt x="663235" y="140100"/>
                  <a:pt x="663683" y="138842"/>
                </a:cubicBezTo>
                <a:cubicBezTo>
                  <a:pt x="666255" y="140747"/>
                  <a:pt x="661568" y="144100"/>
                  <a:pt x="658406" y="142586"/>
                </a:cubicBezTo>
                <a:cubicBezTo>
                  <a:pt x="658406" y="144253"/>
                  <a:pt x="661702" y="143538"/>
                  <a:pt x="661406" y="145443"/>
                </a:cubicBezTo>
                <a:cubicBezTo>
                  <a:pt x="661492" y="147434"/>
                  <a:pt x="660168" y="147424"/>
                  <a:pt x="658778" y="147348"/>
                </a:cubicBezTo>
                <a:cubicBezTo>
                  <a:pt x="657501" y="147424"/>
                  <a:pt x="657625" y="149463"/>
                  <a:pt x="656139" y="149253"/>
                </a:cubicBezTo>
                <a:cubicBezTo>
                  <a:pt x="656139" y="150606"/>
                  <a:pt x="658044" y="150549"/>
                  <a:pt x="659321" y="150949"/>
                </a:cubicBezTo>
                <a:cubicBezTo>
                  <a:pt x="658921" y="152225"/>
                  <a:pt x="659235" y="152997"/>
                  <a:pt x="660073" y="153397"/>
                </a:cubicBezTo>
                <a:cubicBezTo>
                  <a:pt x="659263" y="155978"/>
                  <a:pt x="656158" y="155302"/>
                  <a:pt x="654806" y="157140"/>
                </a:cubicBezTo>
                <a:cubicBezTo>
                  <a:pt x="653434" y="157473"/>
                  <a:pt x="654501" y="154911"/>
                  <a:pt x="654053" y="154692"/>
                </a:cubicBezTo>
                <a:cubicBezTo>
                  <a:pt x="651424" y="153387"/>
                  <a:pt x="649205" y="157940"/>
                  <a:pt x="645595" y="156740"/>
                </a:cubicBezTo>
                <a:cubicBezTo>
                  <a:pt x="645043" y="161502"/>
                  <a:pt x="642861" y="161740"/>
                  <a:pt x="644071" y="165751"/>
                </a:cubicBezTo>
                <a:cubicBezTo>
                  <a:pt x="642605" y="166462"/>
                  <a:pt x="640923" y="166592"/>
                  <a:pt x="639366" y="166112"/>
                </a:cubicBezTo>
                <a:cubicBezTo>
                  <a:pt x="640073" y="167576"/>
                  <a:pt x="640202" y="169253"/>
                  <a:pt x="639728" y="170808"/>
                </a:cubicBezTo>
                <a:cubicBezTo>
                  <a:pt x="635422" y="170894"/>
                  <a:pt x="637594" y="166389"/>
                  <a:pt x="636175" y="164417"/>
                </a:cubicBezTo>
                <a:cubicBezTo>
                  <a:pt x="632917" y="164084"/>
                  <a:pt x="630003" y="163465"/>
                  <a:pt x="631117" y="160074"/>
                </a:cubicBezTo>
                <a:cubicBezTo>
                  <a:pt x="634460" y="159683"/>
                  <a:pt x="633765" y="162160"/>
                  <a:pt x="636556" y="162160"/>
                </a:cubicBezTo>
                <a:cubicBezTo>
                  <a:pt x="637651" y="161826"/>
                  <a:pt x="638737" y="161512"/>
                  <a:pt x="639194" y="160255"/>
                </a:cubicBezTo>
                <a:cubicBezTo>
                  <a:pt x="639194" y="158216"/>
                  <a:pt x="637404" y="160836"/>
                  <a:pt x="635813" y="159683"/>
                </a:cubicBezTo>
                <a:cubicBezTo>
                  <a:pt x="635422" y="159407"/>
                  <a:pt x="635727" y="156559"/>
                  <a:pt x="635260" y="156111"/>
                </a:cubicBezTo>
                <a:cubicBezTo>
                  <a:pt x="634308" y="155225"/>
                  <a:pt x="634136" y="157064"/>
                  <a:pt x="633946" y="157064"/>
                </a:cubicBezTo>
                <a:cubicBezTo>
                  <a:pt x="632270" y="157121"/>
                  <a:pt x="632946" y="155159"/>
                  <a:pt x="629431" y="156302"/>
                </a:cubicBezTo>
                <a:cubicBezTo>
                  <a:pt x="628917" y="161359"/>
                  <a:pt x="630688" y="167732"/>
                  <a:pt x="624145" y="166998"/>
                </a:cubicBezTo>
                <a:cubicBezTo>
                  <a:pt x="623830" y="168903"/>
                  <a:pt x="623507" y="170751"/>
                  <a:pt x="623192" y="172637"/>
                </a:cubicBezTo>
                <a:cubicBezTo>
                  <a:pt x="625097" y="175114"/>
                  <a:pt x="627355" y="171094"/>
                  <a:pt x="628079" y="171142"/>
                </a:cubicBezTo>
                <a:cubicBezTo>
                  <a:pt x="629603" y="171246"/>
                  <a:pt x="628155" y="173047"/>
                  <a:pt x="628821" y="173590"/>
                </a:cubicBezTo>
                <a:cubicBezTo>
                  <a:pt x="630479" y="175056"/>
                  <a:pt x="631860" y="172866"/>
                  <a:pt x="634641" y="173418"/>
                </a:cubicBezTo>
                <a:cubicBezTo>
                  <a:pt x="634898" y="176057"/>
                  <a:pt x="631203" y="173961"/>
                  <a:pt x="630698" y="176276"/>
                </a:cubicBezTo>
                <a:cubicBezTo>
                  <a:pt x="630346" y="177800"/>
                  <a:pt x="627507" y="176685"/>
                  <a:pt x="625993" y="176638"/>
                </a:cubicBezTo>
                <a:cubicBezTo>
                  <a:pt x="624792" y="178447"/>
                  <a:pt x="626354" y="179495"/>
                  <a:pt x="626545" y="180209"/>
                </a:cubicBezTo>
                <a:cubicBezTo>
                  <a:pt x="626627" y="181411"/>
                  <a:pt x="626812" y="182602"/>
                  <a:pt x="627097" y="183772"/>
                </a:cubicBezTo>
                <a:cubicBezTo>
                  <a:pt x="627840" y="184867"/>
                  <a:pt x="630793" y="184496"/>
                  <a:pt x="630098" y="186629"/>
                </a:cubicBezTo>
                <a:cubicBezTo>
                  <a:pt x="631717" y="186801"/>
                  <a:pt x="633327" y="186982"/>
                  <a:pt x="633289" y="188325"/>
                </a:cubicBezTo>
                <a:cubicBezTo>
                  <a:pt x="637813" y="188734"/>
                  <a:pt x="632689" y="184200"/>
                  <a:pt x="637242" y="185515"/>
                </a:cubicBezTo>
                <a:cubicBezTo>
                  <a:pt x="637051" y="187563"/>
                  <a:pt x="635460" y="187668"/>
                  <a:pt x="635337" y="189830"/>
                </a:cubicBezTo>
                <a:cubicBezTo>
                  <a:pt x="631631" y="189887"/>
                  <a:pt x="632212" y="187125"/>
                  <a:pt x="629707" y="188877"/>
                </a:cubicBezTo>
                <a:cubicBezTo>
                  <a:pt x="628202" y="192582"/>
                  <a:pt x="634041" y="191087"/>
                  <a:pt x="632127" y="195088"/>
                </a:cubicBezTo>
                <a:cubicBezTo>
                  <a:pt x="630584" y="193383"/>
                  <a:pt x="630803" y="194135"/>
                  <a:pt x="628564" y="195640"/>
                </a:cubicBezTo>
                <a:cubicBezTo>
                  <a:pt x="626659" y="196897"/>
                  <a:pt x="623611" y="198231"/>
                  <a:pt x="623097" y="200507"/>
                </a:cubicBezTo>
                <a:cubicBezTo>
                  <a:pt x="621192" y="200507"/>
                  <a:pt x="621344" y="199117"/>
                  <a:pt x="619906" y="198812"/>
                </a:cubicBezTo>
                <a:cubicBezTo>
                  <a:pt x="621935" y="202393"/>
                  <a:pt x="617830" y="204184"/>
                  <a:pt x="619506" y="208013"/>
                </a:cubicBezTo>
                <a:cubicBezTo>
                  <a:pt x="616306" y="208013"/>
                  <a:pt x="619154" y="203631"/>
                  <a:pt x="616887" y="202936"/>
                </a:cubicBezTo>
                <a:cubicBezTo>
                  <a:pt x="612467" y="204279"/>
                  <a:pt x="618354" y="206384"/>
                  <a:pt x="617058" y="208765"/>
                </a:cubicBezTo>
                <a:lnTo>
                  <a:pt x="613677" y="208184"/>
                </a:lnTo>
                <a:cubicBezTo>
                  <a:pt x="612724" y="210499"/>
                  <a:pt x="614925" y="210604"/>
                  <a:pt x="616677" y="211042"/>
                </a:cubicBezTo>
                <a:cubicBezTo>
                  <a:pt x="616468" y="213537"/>
                  <a:pt x="615144" y="214471"/>
                  <a:pt x="612724" y="213852"/>
                </a:cubicBezTo>
                <a:cubicBezTo>
                  <a:pt x="614848" y="216709"/>
                  <a:pt x="611134" y="217538"/>
                  <a:pt x="611381" y="221738"/>
                </a:cubicBezTo>
                <a:cubicBezTo>
                  <a:pt x="609752" y="222091"/>
                  <a:pt x="607304" y="220214"/>
                  <a:pt x="605752" y="220786"/>
                </a:cubicBezTo>
                <a:cubicBezTo>
                  <a:pt x="603714" y="221529"/>
                  <a:pt x="602742" y="230159"/>
                  <a:pt x="603114" y="222691"/>
                </a:cubicBezTo>
                <a:cubicBezTo>
                  <a:pt x="599256" y="224710"/>
                  <a:pt x="594817" y="225891"/>
                  <a:pt x="593503" y="231492"/>
                </a:cubicBezTo>
                <a:cubicBezTo>
                  <a:pt x="591776" y="229616"/>
                  <a:pt x="588997" y="229145"/>
                  <a:pt x="586750" y="230349"/>
                </a:cubicBezTo>
                <a:cubicBezTo>
                  <a:pt x="586483" y="232540"/>
                  <a:pt x="591512" y="229139"/>
                  <a:pt x="590864" y="233368"/>
                </a:cubicBezTo>
                <a:cubicBezTo>
                  <a:pt x="591817" y="231921"/>
                  <a:pt x="595236" y="233930"/>
                  <a:pt x="595751" y="231873"/>
                </a:cubicBezTo>
                <a:cubicBezTo>
                  <a:pt x="598608" y="232473"/>
                  <a:pt x="597713" y="236531"/>
                  <a:pt x="595922" y="237702"/>
                </a:cubicBezTo>
                <a:cubicBezTo>
                  <a:pt x="594617" y="238112"/>
                  <a:pt x="595560" y="235388"/>
                  <a:pt x="595179" y="235254"/>
                </a:cubicBezTo>
                <a:cubicBezTo>
                  <a:pt x="593827" y="234788"/>
                  <a:pt x="594389" y="236931"/>
                  <a:pt x="593674" y="237321"/>
                </a:cubicBezTo>
                <a:cubicBezTo>
                  <a:pt x="592160" y="238150"/>
                  <a:pt x="588912" y="236636"/>
                  <a:pt x="587845" y="237493"/>
                </a:cubicBezTo>
                <a:cubicBezTo>
                  <a:pt x="588438" y="238583"/>
                  <a:pt x="588637" y="239845"/>
                  <a:pt x="588407" y="241065"/>
                </a:cubicBezTo>
                <a:cubicBezTo>
                  <a:pt x="591055" y="241541"/>
                  <a:pt x="592055" y="239684"/>
                  <a:pt x="595351" y="241065"/>
                </a:cubicBezTo>
                <a:cubicBezTo>
                  <a:pt x="595284" y="242617"/>
                  <a:pt x="588588" y="241417"/>
                  <a:pt x="592493" y="244065"/>
                </a:cubicBezTo>
                <a:cubicBezTo>
                  <a:pt x="591779" y="246322"/>
                  <a:pt x="589093" y="245799"/>
                  <a:pt x="587407" y="246675"/>
                </a:cubicBezTo>
                <a:cubicBezTo>
                  <a:pt x="587131" y="248351"/>
                  <a:pt x="588769" y="247046"/>
                  <a:pt x="588540" y="246865"/>
                </a:cubicBezTo>
                <a:cubicBezTo>
                  <a:pt x="591693" y="249256"/>
                  <a:pt x="586969" y="248389"/>
                  <a:pt x="587588" y="252504"/>
                </a:cubicBezTo>
                <a:cubicBezTo>
                  <a:pt x="580920" y="250418"/>
                  <a:pt x="581997" y="257219"/>
                  <a:pt x="580615" y="259438"/>
                </a:cubicBezTo>
                <a:cubicBezTo>
                  <a:pt x="578996" y="259257"/>
                  <a:pt x="577386" y="259086"/>
                  <a:pt x="577425" y="257733"/>
                </a:cubicBezTo>
                <a:cubicBezTo>
                  <a:pt x="574805" y="256781"/>
                  <a:pt x="577177" y="262972"/>
                  <a:pt x="573472" y="260543"/>
                </a:cubicBezTo>
                <a:cubicBezTo>
                  <a:pt x="572129" y="263477"/>
                  <a:pt x="575329" y="263191"/>
                  <a:pt x="574958" y="265439"/>
                </a:cubicBezTo>
                <a:cubicBezTo>
                  <a:pt x="574519" y="268061"/>
                  <a:pt x="574075" y="270687"/>
                  <a:pt x="573624" y="273316"/>
                </a:cubicBezTo>
                <a:cubicBezTo>
                  <a:pt x="573834" y="275078"/>
                  <a:pt x="575139" y="273116"/>
                  <a:pt x="577005" y="273897"/>
                </a:cubicBezTo>
                <a:cubicBezTo>
                  <a:pt x="576663" y="276755"/>
                  <a:pt x="578558" y="277784"/>
                  <a:pt x="575100" y="278212"/>
                </a:cubicBezTo>
                <a:cubicBezTo>
                  <a:pt x="576891" y="281194"/>
                  <a:pt x="574596" y="279412"/>
                  <a:pt x="573396" y="281403"/>
                </a:cubicBezTo>
                <a:cubicBezTo>
                  <a:pt x="571214" y="280936"/>
                  <a:pt x="576586" y="276983"/>
                  <a:pt x="570538" y="277450"/>
                </a:cubicBezTo>
                <a:cubicBezTo>
                  <a:pt x="568947" y="277536"/>
                  <a:pt x="569119" y="280108"/>
                  <a:pt x="568633" y="281765"/>
                </a:cubicBezTo>
                <a:cubicBezTo>
                  <a:pt x="569374" y="282957"/>
                  <a:pt x="570407" y="283941"/>
                  <a:pt x="571633" y="284623"/>
                </a:cubicBezTo>
                <a:cubicBezTo>
                  <a:pt x="568690" y="287785"/>
                  <a:pt x="565918" y="283079"/>
                  <a:pt x="564299" y="286851"/>
                </a:cubicBezTo>
                <a:cubicBezTo>
                  <a:pt x="562242" y="286328"/>
                  <a:pt x="564252" y="282918"/>
                  <a:pt x="562813" y="281965"/>
                </a:cubicBezTo>
                <a:lnTo>
                  <a:pt x="558298" y="281194"/>
                </a:lnTo>
                <a:cubicBezTo>
                  <a:pt x="556546" y="281403"/>
                  <a:pt x="558498" y="282718"/>
                  <a:pt x="557727" y="284575"/>
                </a:cubicBezTo>
                <a:cubicBezTo>
                  <a:pt x="556022" y="285680"/>
                  <a:pt x="555879" y="284718"/>
                  <a:pt x="554355" y="284003"/>
                </a:cubicBezTo>
                <a:cubicBezTo>
                  <a:pt x="554412" y="284956"/>
                  <a:pt x="555308" y="285318"/>
                  <a:pt x="555098" y="286451"/>
                </a:cubicBezTo>
                <a:cubicBezTo>
                  <a:pt x="558251" y="287185"/>
                  <a:pt x="557955" y="283013"/>
                  <a:pt x="562242" y="285346"/>
                </a:cubicBezTo>
                <a:cubicBezTo>
                  <a:pt x="562242" y="287375"/>
                  <a:pt x="561623" y="288023"/>
                  <a:pt x="560537" y="288528"/>
                </a:cubicBezTo>
                <a:cubicBezTo>
                  <a:pt x="560727" y="288433"/>
                  <a:pt x="557136" y="289099"/>
                  <a:pt x="558089" y="289280"/>
                </a:cubicBezTo>
                <a:cubicBezTo>
                  <a:pt x="557136" y="289099"/>
                  <a:pt x="557194" y="287804"/>
                  <a:pt x="556031" y="287766"/>
                </a:cubicBezTo>
                <a:cubicBezTo>
                  <a:pt x="553745" y="287699"/>
                  <a:pt x="552355" y="289318"/>
                  <a:pt x="550202" y="287937"/>
                </a:cubicBezTo>
                <a:cubicBezTo>
                  <a:pt x="549916" y="291747"/>
                  <a:pt x="554774" y="291966"/>
                  <a:pt x="558641" y="292843"/>
                </a:cubicBezTo>
                <a:cubicBezTo>
                  <a:pt x="560213" y="293795"/>
                  <a:pt x="558289" y="295310"/>
                  <a:pt x="558260" y="295100"/>
                </a:cubicBezTo>
                <a:cubicBezTo>
                  <a:pt x="558384" y="295891"/>
                  <a:pt x="560165" y="297529"/>
                  <a:pt x="560165" y="297738"/>
                </a:cubicBezTo>
                <a:cubicBezTo>
                  <a:pt x="560165" y="299234"/>
                  <a:pt x="557127" y="300872"/>
                  <a:pt x="559403" y="302244"/>
                </a:cubicBezTo>
                <a:cubicBezTo>
                  <a:pt x="559127" y="304758"/>
                  <a:pt x="554746" y="301510"/>
                  <a:pt x="553383" y="303549"/>
                </a:cubicBezTo>
                <a:cubicBezTo>
                  <a:pt x="551278" y="306673"/>
                  <a:pt x="553964" y="305044"/>
                  <a:pt x="549812" y="304101"/>
                </a:cubicBezTo>
                <a:cubicBezTo>
                  <a:pt x="548650" y="306320"/>
                  <a:pt x="550450" y="307283"/>
                  <a:pt x="550174" y="308797"/>
                </a:cubicBezTo>
                <a:cubicBezTo>
                  <a:pt x="549697" y="311388"/>
                  <a:pt x="547592" y="311007"/>
                  <a:pt x="546964" y="314055"/>
                </a:cubicBezTo>
                <a:cubicBezTo>
                  <a:pt x="550955" y="315960"/>
                  <a:pt x="549459" y="310121"/>
                  <a:pt x="553164" y="311626"/>
                </a:cubicBezTo>
                <a:cubicBezTo>
                  <a:pt x="553224" y="314826"/>
                  <a:pt x="550715" y="317489"/>
                  <a:pt x="547516" y="317617"/>
                </a:cubicBezTo>
                <a:cubicBezTo>
                  <a:pt x="546116" y="320922"/>
                  <a:pt x="547973" y="321922"/>
                  <a:pt x="547516" y="324570"/>
                </a:cubicBezTo>
                <a:cubicBezTo>
                  <a:pt x="545192" y="327428"/>
                  <a:pt x="541915" y="320999"/>
                  <a:pt x="539439" y="324361"/>
                </a:cubicBezTo>
                <a:cubicBezTo>
                  <a:pt x="539829" y="325856"/>
                  <a:pt x="543935" y="324266"/>
                  <a:pt x="542049" y="329438"/>
                </a:cubicBezTo>
                <a:cubicBezTo>
                  <a:pt x="543889" y="328598"/>
                  <a:pt x="545991" y="328536"/>
                  <a:pt x="547878" y="329266"/>
                </a:cubicBezTo>
                <a:cubicBezTo>
                  <a:pt x="547440" y="332124"/>
                  <a:pt x="546811" y="330504"/>
                  <a:pt x="545430" y="330019"/>
                </a:cubicBezTo>
                <a:cubicBezTo>
                  <a:pt x="543401" y="329952"/>
                  <a:pt x="542573" y="331524"/>
                  <a:pt x="542411" y="334143"/>
                </a:cubicBezTo>
                <a:cubicBezTo>
                  <a:pt x="539810" y="334334"/>
                  <a:pt x="541172" y="331714"/>
                  <a:pt x="539410" y="331285"/>
                </a:cubicBezTo>
                <a:cubicBezTo>
                  <a:pt x="533819" y="328980"/>
                  <a:pt x="536905" y="338906"/>
                  <a:pt x="532438" y="338220"/>
                </a:cubicBezTo>
                <a:cubicBezTo>
                  <a:pt x="532981" y="339487"/>
                  <a:pt x="534838" y="339820"/>
                  <a:pt x="534124" y="342030"/>
                </a:cubicBezTo>
                <a:cubicBezTo>
                  <a:pt x="535162" y="343125"/>
                  <a:pt x="536458" y="341249"/>
                  <a:pt x="536572" y="341287"/>
                </a:cubicBezTo>
                <a:cubicBezTo>
                  <a:pt x="537934" y="341744"/>
                  <a:pt x="537658" y="343401"/>
                  <a:pt x="538477" y="343925"/>
                </a:cubicBezTo>
                <a:cubicBezTo>
                  <a:pt x="539610" y="344678"/>
                  <a:pt x="539429" y="342973"/>
                  <a:pt x="539782" y="342973"/>
                </a:cubicBezTo>
                <a:cubicBezTo>
                  <a:pt x="540534" y="342973"/>
                  <a:pt x="542639" y="345983"/>
                  <a:pt x="543163" y="343544"/>
                </a:cubicBezTo>
                <a:cubicBezTo>
                  <a:pt x="546821" y="344497"/>
                  <a:pt x="540239" y="349192"/>
                  <a:pt x="540525" y="345449"/>
                </a:cubicBezTo>
                <a:cubicBezTo>
                  <a:pt x="539258" y="345992"/>
                  <a:pt x="538925" y="347840"/>
                  <a:pt x="536762" y="347126"/>
                </a:cubicBezTo>
                <a:cubicBezTo>
                  <a:pt x="536543" y="347535"/>
                  <a:pt x="539191" y="352183"/>
                  <a:pt x="536000" y="351631"/>
                </a:cubicBezTo>
                <a:cubicBezTo>
                  <a:pt x="532981" y="351126"/>
                  <a:pt x="536115" y="353850"/>
                  <a:pt x="535229" y="356146"/>
                </a:cubicBezTo>
                <a:cubicBezTo>
                  <a:pt x="531333" y="354365"/>
                  <a:pt x="533429" y="361051"/>
                  <a:pt x="529962" y="359889"/>
                </a:cubicBezTo>
                <a:cubicBezTo>
                  <a:pt x="529742" y="364223"/>
                  <a:pt x="526847" y="364794"/>
                  <a:pt x="525199" y="367204"/>
                </a:cubicBezTo>
                <a:cubicBezTo>
                  <a:pt x="521989" y="367500"/>
                  <a:pt x="523294" y="364575"/>
                  <a:pt x="521084" y="364185"/>
                </a:cubicBezTo>
                <a:cubicBezTo>
                  <a:pt x="522199" y="366471"/>
                  <a:pt x="519103" y="369700"/>
                  <a:pt x="520684" y="373386"/>
                </a:cubicBezTo>
                <a:cubicBezTo>
                  <a:pt x="517827" y="373034"/>
                  <a:pt x="516826" y="374910"/>
                  <a:pt x="515045" y="372434"/>
                </a:cubicBezTo>
                <a:cubicBezTo>
                  <a:pt x="515150" y="374662"/>
                  <a:pt x="514636" y="377348"/>
                  <a:pt x="517665" y="377510"/>
                </a:cubicBezTo>
                <a:cubicBezTo>
                  <a:pt x="517446" y="380006"/>
                  <a:pt x="516141" y="380939"/>
                  <a:pt x="513702" y="380368"/>
                </a:cubicBezTo>
                <a:cubicBezTo>
                  <a:pt x="513407" y="382016"/>
                  <a:pt x="517855" y="384749"/>
                  <a:pt x="513131" y="383749"/>
                </a:cubicBezTo>
                <a:cubicBezTo>
                  <a:pt x="513645" y="386997"/>
                  <a:pt x="516941" y="382797"/>
                  <a:pt x="519894" y="384902"/>
                </a:cubicBezTo>
                <a:cubicBezTo>
                  <a:pt x="520446" y="388474"/>
                  <a:pt x="517036" y="386464"/>
                  <a:pt x="515007" y="386388"/>
                </a:cubicBezTo>
                <a:cubicBezTo>
                  <a:pt x="515625" y="388203"/>
                  <a:pt x="516507" y="389917"/>
                  <a:pt x="517627" y="391474"/>
                </a:cubicBezTo>
                <a:cubicBezTo>
                  <a:pt x="517731" y="394512"/>
                  <a:pt x="515617" y="393265"/>
                  <a:pt x="514598" y="395598"/>
                </a:cubicBezTo>
                <a:cubicBezTo>
                  <a:pt x="514436" y="395979"/>
                  <a:pt x="514598" y="397646"/>
                  <a:pt x="514217" y="397846"/>
                </a:cubicBezTo>
                <a:cubicBezTo>
                  <a:pt x="513836" y="398046"/>
                  <a:pt x="508997" y="393789"/>
                  <a:pt x="510645" y="398399"/>
                </a:cubicBezTo>
                <a:cubicBezTo>
                  <a:pt x="509064" y="398037"/>
                  <a:pt x="507483" y="397675"/>
                  <a:pt x="507082" y="398951"/>
                </a:cubicBezTo>
                <a:cubicBezTo>
                  <a:pt x="505787" y="398551"/>
                  <a:pt x="506473" y="396732"/>
                  <a:pt x="506520" y="395379"/>
                </a:cubicBezTo>
                <a:cubicBezTo>
                  <a:pt x="506759" y="393227"/>
                  <a:pt x="502930" y="393970"/>
                  <a:pt x="503663" y="391426"/>
                </a:cubicBezTo>
                <a:cubicBezTo>
                  <a:pt x="502577" y="391426"/>
                  <a:pt x="501606" y="394160"/>
                  <a:pt x="501758" y="395741"/>
                </a:cubicBezTo>
                <a:cubicBezTo>
                  <a:pt x="501758" y="396189"/>
                  <a:pt x="503663" y="398170"/>
                  <a:pt x="503663" y="398380"/>
                </a:cubicBezTo>
                <a:cubicBezTo>
                  <a:pt x="503663" y="398999"/>
                  <a:pt x="502244" y="400285"/>
                  <a:pt x="501968" y="401570"/>
                </a:cubicBezTo>
                <a:cubicBezTo>
                  <a:pt x="501529" y="403571"/>
                  <a:pt x="503168" y="405380"/>
                  <a:pt x="502139" y="407400"/>
                </a:cubicBezTo>
                <a:cubicBezTo>
                  <a:pt x="496643" y="407990"/>
                  <a:pt x="499005" y="403018"/>
                  <a:pt x="493509" y="403590"/>
                </a:cubicBezTo>
                <a:cubicBezTo>
                  <a:pt x="494605" y="405495"/>
                  <a:pt x="497519" y="406028"/>
                  <a:pt x="498567" y="407924"/>
                </a:cubicBezTo>
                <a:lnTo>
                  <a:pt x="496853" y="418068"/>
                </a:lnTo>
                <a:cubicBezTo>
                  <a:pt x="493509" y="418496"/>
                  <a:pt x="491604" y="420925"/>
                  <a:pt x="487251" y="419973"/>
                </a:cubicBezTo>
                <a:cubicBezTo>
                  <a:pt x="487737" y="416458"/>
                  <a:pt x="491347" y="417353"/>
                  <a:pt x="490842" y="412467"/>
                </a:cubicBezTo>
                <a:lnTo>
                  <a:pt x="488594" y="412077"/>
                </a:lnTo>
                <a:cubicBezTo>
                  <a:pt x="487280" y="412077"/>
                  <a:pt x="487775" y="413105"/>
                  <a:pt x="488404" y="413210"/>
                </a:cubicBezTo>
                <a:cubicBezTo>
                  <a:pt x="487099" y="414163"/>
                  <a:pt x="485794" y="415115"/>
                  <a:pt x="484451" y="416010"/>
                </a:cubicBezTo>
                <a:cubicBezTo>
                  <a:pt x="483786" y="417451"/>
                  <a:pt x="482155" y="418173"/>
                  <a:pt x="480641" y="417696"/>
                </a:cubicBezTo>
                <a:cubicBezTo>
                  <a:pt x="482070" y="414372"/>
                  <a:pt x="477917" y="415010"/>
                  <a:pt x="479336" y="411677"/>
                </a:cubicBezTo>
                <a:cubicBezTo>
                  <a:pt x="481784" y="411391"/>
                  <a:pt x="483908" y="410657"/>
                  <a:pt x="483680" y="406619"/>
                </a:cubicBezTo>
                <a:cubicBezTo>
                  <a:pt x="482489" y="404818"/>
                  <a:pt x="478917" y="402371"/>
                  <a:pt x="478050" y="405666"/>
                </a:cubicBezTo>
                <a:cubicBezTo>
                  <a:pt x="477641" y="404809"/>
                  <a:pt x="476002" y="403123"/>
                  <a:pt x="476364" y="401856"/>
                </a:cubicBezTo>
                <a:cubicBezTo>
                  <a:pt x="476926" y="399894"/>
                  <a:pt x="478126" y="400599"/>
                  <a:pt x="479384" y="397741"/>
                </a:cubicBezTo>
                <a:cubicBezTo>
                  <a:pt x="479584" y="397275"/>
                  <a:pt x="480755" y="396522"/>
                  <a:pt x="480698" y="396789"/>
                </a:cubicBezTo>
                <a:cubicBezTo>
                  <a:pt x="480870" y="395894"/>
                  <a:pt x="479374" y="394684"/>
                  <a:pt x="480146" y="393217"/>
                </a:cubicBezTo>
                <a:cubicBezTo>
                  <a:pt x="480498" y="392550"/>
                  <a:pt x="483851" y="392865"/>
                  <a:pt x="483156" y="389093"/>
                </a:cubicBezTo>
                <a:cubicBezTo>
                  <a:pt x="480851" y="388140"/>
                  <a:pt x="480755" y="390340"/>
                  <a:pt x="480298" y="392093"/>
                </a:cubicBezTo>
                <a:cubicBezTo>
                  <a:pt x="477831" y="393046"/>
                  <a:pt x="478946" y="389750"/>
                  <a:pt x="478393" y="389455"/>
                </a:cubicBezTo>
                <a:cubicBezTo>
                  <a:pt x="476669" y="388502"/>
                  <a:pt x="475536" y="390807"/>
                  <a:pt x="473688" y="389817"/>
                </a:cubicBezTo>
                <a:cubicBezTo>
                  <a:pt x="472945" y="387264"/>
                  <a:pt x="475783" y="388578"/>
                  <a:pt x="476326" y="387912"/>
                </a:cubicBezTo>
                <a:cubicBezTo>
                  <a:pt x="478288" y="385645"/>
                  <a:pt x="477145" y="383854"/>
                  <a:pt x="477469" y="381149"/>
                </a:cubicBezTo>
                <a:cubicBezTo>
                  <a:pt x="479689" y="382101"/>
                  <a:pt x="484137" y="381949"/>
                  <a:pt x="484803" y="378910"/>
                </a:cubicBezTo>
                <a:cubicBezTo>
                  <a:pt x="485146" y="377377"/>
                  <a:pt x="486499" y="378910"/>
                  <a:pt x="487251" y="378168"/>
                </a:cubicBezTo>
                <a:cubicBezTo>
                  <a:pt x="488004" y="377425"/>
                  <a:pt x="486404" y="376701"/>
                  <a:pt x="486299" y="376844"/>
                </a:cubicBezTo>
                <a:cubicBezTo>
                  <a:pt x="488204" y="373824"/>
                  <a:pt x="492290" y="373243"/>
                  <a:pt x="493271" y="369919"/>
                </a:cubicBezTo>
                <a:cubicBezTo>
                  <a:pt x="493284" y="369283"/>
                  <a:pt x="492779" y="368756"/>
                  <a:pt x="492142" y="368744"/>
                </a:cubicBezTo>
                <a:cubicBezTo>
                  <a:pt x="491635" y="368733"/>
                  <a:pt x="491180" y="369056"/>
                  <a:pt x="491023" y="369538"/>
                </a:cubicBezTo>
                <a:cubicBezTo>
                  <a:pt x="489595" y="368785"/>
                  <a:pt x="491128" y="368528"/>
                  <a:pt x="491404" y="367280"/>
                </a:cubicBezTo>
                <a:cubicBezTo>
                  <a:pt x="491328" y="367604"/>
                  <a:pt x="489680" y="366395"/>
                  <a:pt x="490452" y="365966"/>
                </a:cubicBezTo>
                <a:cubicBezTo>
                  <a:pt x="492890" y="364613"/>
                  <a:pt x="491052" y="361585"/>
                  <a:pt x="493862" y="359584"/>
                </a:cubicBezTo>
                <a:cubicBezTo>
                  <a:pt x="496862" y="357451"/>
                  <a:pt x="491500" y="358756"/>
                  <a:pt x="493690" y="353764"/>
                </a:cubicBezTo>
                <a:cubicBezTo>
                  <a:pt x="494186" y="352265"/>
                  <a:pt x="494824" y="350817"/>
                  <a:pt x="495595" y="349440"/>
                </a:cubicBezTo>
                <a:cubicBezTo>
                  <a:pt x="497215" y="347535"/>
                  <a:pt x="500596" y="348831"/>
                  <a:pt x="498805" y="344192"/>
                </a:cubicBezTo>
                <a:cubicBezTo>
                  <a:pt x="501853" y="348326"/>
                  <a:pt x="500710" y="338639"/>
                  <a:pt x="506139" y="341954"/>
                </a:cubicBezTo>
                <a:cubicBezTo>
                  <a:pt x="506775" y="339534"/>
                  <a:pt x="505822" y="338217"/>
                  <a:pt x="503282" y="338001"/>
                </a:cubicBezTo>
                <a:cubicBezTo>
                  <a:pt x="503053" y="334419"/>
                  <a:pt x="505787" y="335019"/>
                  <a:pt x="505558" y="331438"/>
                </a:cubicBezTo>
                <a:cubicBezTo>
                  <a:pt x="506816" y="333038"/>
                  <a:pt x="507254" y="332171"/>
                  <a:pt x="508940" y="332009"/>
                </a:cubicBezTo>
                <a:lnTo>
                  <a:pt x="509711" y="327504"/>
                </a:lnTo>
                <a:cubicBezTo>
                  <a:pt x="512474" y="328142"/>
                  <a:pt x="513521" y="326323"/>
                  <a:pt x="515722" y="326199"/>
                </a:cubicBezTo>
                <a:cubicBezTo>
                  <a:pt x="516045" y="324294"/>
                  <a:pt x="516363" y="322418"/>
                  <a:pt x="516674" y="320570"/>
                </a:cubicBezTo>
                <a:cubicBezTo>
                  <a:pt x="518350" y="320243"/>
                  <a:pt x="519797" y="319199"/>
                  <a:pt x="520636" y="317712"/>
                </a:cubicBezTo>
                <a:cubicBezTo>
                  <a:pt x="524218" y="318112"/>
                  <a:pt x="527495" y="318055"/>
                  <a:pt x="528161" y="314350"/>
                </a:cubicBezTo>
                <a:cubicBezTo>
                  <a:pt x="526313" y="313617"/>
                  <a:pt x="525885" y="314874"/>
                  <a:pt x="525523" y="316255"/>
                </a:cubicBezTo>
                <a:cubicBezTo>
                  <a:pt x="523183" y="314770"/>
                  <a:pt x="521146" y="312853"/>
                  <a:pt x="519522" y="310607"/>
                </a:cubicBezTo>
                <a:cubicBezTo>
                  <a:pt x="516969" y="312188"/>
                  <a:pt x="517322" y="309378"/>
                  <a:pt x="515407" y="307587"/>
                </a:cubicBezTo>
                <a:cubicBezTo>
                  <a:pt x="513502" y="306978"/>
                  <a:pt x="513159" y="305216"/>
                  <a:pt x="513912" y="302701"/>
                </a:cubicBezTo>
                <a:cubicBezTo>
                  <a:pt x="517284" y="302320"/>
                  <a:pt x="520665" y="301977"/>
                  <a:pt x="520694" y="296891"/>
                </a:cubicBezTo>
                <a:cubicBezTo>
                  <a:pt x="524504" y="294567"/>
                  <a:pt x="527361" y="298205"/>
                  <a:pt x="529152" y="294852"/>
                </a:cubicBezTo>
                <a:cubicBezTo>
                  <a:pt x="526628" y="290795"/>
                  <a:pt x="522599" y="293690"/>
                  <a:pt x="520713" y="289937"/>
                </a:cubicBezTo>
                <a:cubicBezTo>
                  <a:pt x="523325" y="288854"/>
                  <a:pt x="526190" y="288525"/>
                  <a:pt x="528980" y="288985"/>
                </a:cubicBezTo>
                <a:cubicBezTo>
                  <a:pt x="529723" y="287775"/>
                  <a:pt x="527018" y="288032"/>
                  <a:pt x="526923" y="287470"/>
                </a:cubicBezTo>
                <a:cubicBezTo>
                  <a:pt x="526590" y="285718"/>
                  <a:pt x="528457" y="285565"/>
                  <a:pt x="528619" y="284289"/>
                </a:cubicBezTo>
                <a:cubicBezTo>
                  <a:pt x="528780" y="283013"/>
                  <a:pt x="526885" y="282460"/>
                  <a:pt x="526713" y="281651"/>
                </a:cubicBezTo>
                <a:cubicBezTo>
                  <a:pt x="526609" y="281051"/>
                  <a:pt x="529781" y="278736"/>
                  <a:pt x="527285" y="278269"/>
                </a:cubicBezTo>
                <a:cubicBezTo>
                  <a:pt x="529552" y="277317"/>
                  <a:pt x="528523" y="275831"/>
                  <a:pt x="530495" y="273021"/>
                </a:cubicBezTo>
                <a:cubicBezTo>
                  <a:pt x="531295" y="272732"/>
                  <a:pt x="532108" y="272485"/>
                  <a:pt x="532933" y="272278"/>
                </a:cubicBezTo>
                <a:cubicBezTo>
                  <a:pt x="533200" y="271507"/>
                  <a:pt x="531533" y="270059"/>
                  <a:pt x="532381" y="268697"/>
                </a:cubicBezTo>
                <a:cubicBezTo>
                  <a:pt x="536143" y="272259"/>
                  <a:pt x="538220" y="263534"/>
                  <a:pt x="539744" y="259515"/>
                </a:cubicBezTo>
                <a:cubicBezTo>
                  <a:pt x="541782" y="259715"/>
                  <a:pt x="541887" y="261296"/>
                  <a:pt x="544058" y="261420"/>
                </a:cubicBezTo>
                <a:cubicBezTo>
                  <a:pt x="545011" y="259115"/>
                  <a:pt x="542811" y="259010"/>
                  <a:pt x="541068" y="258562"/>
                </a:cubicBezTo>
                <a:cubicBezTo>
                  <a:pt x="541230" y="256419"/>
                  <a:pt x="541687" y="254162"/>
                  <a:pt x="544078" y="254438"/>
                </a:cubicBezTo>
                <a:cubicBezTo>
                  <a:pt x="545744" y="254628"/>
                  <a:pt x="545392" y="251895"/>
                  <a:pt x="547097" y="250313"/>
                </a:cubicBezTo>
                <a:cubicBezTo>
                  <a:pt x="548758" y="251403"/>
                  <a:pt x="550799" y="251748"/>
                  <a:pt x="552726" y="251266"/>
                </a:cubicBezTo>
                <a:cubicBezTo>
                  <a:pt x="553585" y="249028"/>
                  <a:pt x="553585" y="246551"/>
                  <a:pt x="552726" y="244313"/>
                </a:cubicBezTo>
                <a:cubicBezTo>
                  <a:pt x="550612" y="244132"/>
                  <a:pt x="551383" y="248008"/>
                  <a:pt x="549707" y="248437"/>
                </a:cubicBezTo>
                <a:cubicBezTo>
                  <a:pt x="548611" y="248228"/>
                  <a:pt x="549059" y="246913"/>
                  <a:pt x="548964" y="245999"/>
                </a:cubicBezTo>
                <a:cubicBezTo>
                  <a:pt x="547500" y="246706"/>
                  <a:pt x="545823" y="246835"/>
                  <a:pt x="544268" y="246361"/>
                </a:cubicBezTo>
                <a:cubicBezTo>
                  <a:pt x="545649" y="243656"/>
                  <a:pt x="549383" y="244275"/>
                  <a:pt x="551793" y="242998"/>
                </a:cubicBezTo>
                <a:cubicBezTo>
                  <a:pt x="550040" y="240655"/>
                  <a:pt x="552669" y="239560"/>
                  <a:pt x="554803" y="238864"/>
                </a:cubicBezTo>
                <a:cubicBezTo>
                  <a:pt x="554269" y="237598"/>
                  <a:pt x="552412" y="237264"/>
                  <a:pt x="553126" y="235112"/>
                </a:cubicBezTo>
                <a:cubicBezTo>
                  <a:pt x="557546" y="239960"/>
                  <a:pt x="560270" y="232787"/>
                  <a:pt x="562166" y="229682"/>
                </a:cubicBezTo>
                <a:cubicBezTo>
                  <a:pt x="568566" y="229111"/>
                  <a:pt x="567033" y="234150"/>
                  <a:pt x="571691" y="234788"/>
                </a:cubicBezTo>
                <a:cubicBezTo>
                  <a:pt x="572815" y="231340"/>
                  <a:pt x="569395" y="231130"/>
                  <a:pt x="567947" y="229511"/>
                </a:cubicBezTo>
                <a:cubicBezTo>
                  <a:pt x="567528" y="228492"/>
                  <a:pt x="569338" y="225882"/>
                  <a:pt x="568709" y="225006"/>
                </a:cubicBezTo>
                <a:cubicBezTo>
                  <a:pt x="568709" y="224948"/>
                  <a:pt x="567576" y="224853"/>
                  <a:pt x="567585" y="224815"/>
                </a:cubicBezTo>
                <a:cubicBezTo>
                  <a:pt x="567747" y="223863"/>
                  <a:pt x="571195" y="220376"/>
                  <a:pt x="566099" y="219929"/>
                </a:cubicBezTo>
                <a:cubicBezTo>
                  <a:pt x="568185" y="213090"/>
                  <a:pt x="573719" y="211080"/>
                  <a:pt x="578539" y="208127"/>
                </a:cubicBezTo>
                <a:cubicBezTo>
                  <a:pt x="577139" y="203927"/>
                  <a:pt x="579606" y="202736"/>
                  <a:pt x="580254" y="197983"/>
                </a:cubicBezTo>
                <a:cubicBezTo>
                  <a:pt x="583044" y="198650"/>
                  <a:pt x="584064" y="196850"/>
                  <a:pt x="585330" y="195364"/>
                </a:cubicBezTo>
                <a:cubicBezTo>
                  <a:pt x="585156" y="191900"/>
                  <a:pt x="585745" y="188440"/>
                  <a:pt x="587054" y="185229"/>
                </a:cubicBezTo>
                <a:cubicBezTo>
                  <a:pt x="586016" y="183648"/>
                  <a:pt x="584197" y="182629"/>
                  <a:pt x="585759" y="179209"/>
                </a:cubicBezTo>
                <a:cubicBezTo>
                  <a:pt x="587035" y="179609"/>
                  <a:pt x="587807" y="179295"/>
                  <a:pt x="588207" y="178457"/>
                </a:cubicBezTo>
                <a:cubicBezTo>
                  <a:pt x="591293" y="178876"/>
                  <a:pt x="590160" y="180724"/>
                  <a:pt x="592712" y="179228"/>
                </a:cubicBezTo>
                <a:cubicBezTo>
                  <a:pt x="594779" y="179971"/>
                  <a:pt x="594484" y="176857"/>
                  <a:pt x="595570" y="176228"/>
                </a:cubicBezTo>
                <a:cubicBezTo>
                  <a:pt x="596017" y="175961"/>
                  <a:pt x="597475" y="176933"/>
                  <a:pt x="597818" y="176609"/>
                </a:cubicBezTo>
                <a:cubicBezTo>
                  <a:pt x="598160" y="176285"/>
                  <a:pt x="597818" y="174599"/>
                  <a:pt x="598199" y="174352"/>
                </a:cubicBezTo>
                <a:cubicBezTo>
                  <a:pt x="599904" y="173399"/>
                  <a:pt x="599008" y="171713"/>
                  <a:pt x="600475" y="167789"/>
                </a:cubicBezTo>
                <a:cubicBezTo>
                  <a:pt x="600608" y="167436"/>
                  <a:pt x="602856" y="167227"/>
                  <a:pt x="602923" y="167046"/>
                </a:cubicBezTo>
                <a:cubicBezTo>
                  <a:pt x="604066" y="163893"/>
                  <a:pt x="603590" y="160483"/>
                  <a:pt x="604647" y="156902"/>
                </a:cubicBezTo>
                <a:cubicBezTo>
                  <a:pt x="606743" y="157530"/>
                  <a:pt x="606371" y="154682"/>
                  <a:pt x="607505" y="153901"/>
                </a:cubicBezTo>
                <a:cubicBezTo>
                  <a:pt x="608638" y="153120"/>
                  <a:pt x="611191" y="154435"/>
                  <a:pt x="611257" y="152215"/>
                </a:cubicBezTo>
                <a:cubicBezTo>
                  <a:pt x="610953" y="149272"/>
                  <a:pt x="607895" y="153797"/>
                  <a:pt x="605438" y="152396"/>
                </a:cubicBezTo>
                <a:cubicBezTo>
                  <a:pt x="605171" y="149225"/>
                  <a:pt x="608133" y="150606"/>
                  <a:pt x="609390" y="149587"/>
                </a:cubicBezTo>
                <a:cubicBezTo>
                  <a:pt x="610267" y="147310"/>
                  <a:pt x="609124" y="146472"/>
                  <a:pt x="609029" y="144891"/>
                </a:cubicBezTo>
                <a:cubicBezTo>
                  <a:pt x="607460" y="145028"/>
                  <a:pt x="606237" y="146308"/>
                  <a:pt x="606171" y="147882"/>
                </a:cubicBezTo>
                <a:cubicBezTo>
                  <a:pt x="603380" y="147882"/>
                  <a:pt x="604076" y="145415"/>
                  <a:pt x="600732" y="145805"/>
                </a:cubicBezTo>
                <a:cubicBezTo>
                  <a:pt x="599142" y="145891"/>
                  <a:pt x="599323" y="148463"/>
                  <a:pt x="598827" y="150110"/>
                </a:cubicBezTo>
                <a:lnTo>
                  <a:pt x="594322" y="149348"/>
                </a:lnTo>
                <a:cubicBezTo>
                  <a:pt x="594970" y="147939"/>
                  <a:pt x="596598" y="147920"/>
                  <a:pt x="597179" y="146358"/>
                </a:cubicBezTo>
                <a:cubicBezTo>
                  <a:pt x="594028" y="146081"/>
                  <a:pt x="590851" y="146326"/>
                  <a:pt x="587778" y="147082"/>
                </a:cubicBezTo>
                <a:cubicBezTo>
                  <a:pt x="586483" y="146691"/>
                  <a:pt x="586921" y="148615"/>
                  <a:pt x="586273" y="149139"/>
                </a:cubicBezTo>
                <a:cubicBezTo>
                  <a:pt x="585626" y="149663"/>
                  <a:pt x="583140" y="148625"/>
                  <a:pt x="583635" y="151044"/>
                </a:cubicBezTo>
                <a:cubicBezTo>
                  <a:pt x="578225" y="150730"/>
                  <a:pt x="576377" y="150911"/>
                  <a:pt x="573872" y="147062"/>
                </a:cubicBezTo>
                <a:cubicBezTo>
                  <a:pt x="571918" y="148937"/>
                  <a:pt x="569701" y="150515"/>
                  <a:pt x="567290" y="151749"/>
                </a:cubicBezTo>
                <a:lnTo>
                  <a:pt x="561642" y="150796"/>
                </a:lnTo>
                <a:cubicBezTo>
                  <a:pt x="559971" y="151123"/>
                  <a:pt x="558529" y="152168"/>
                  <a:pt x="557698" y="153654"/>
                </a:cubicBezTo>
                <a:cubicBezTo>
                  <a:pt x="554936" y="151825"/>
                  <a:pt x="550688" y="154682"/>
                  <a:pt x="550926" y="152501"/>
                </a:cubicBezTo>
                <a:cubicBezTo>
                  <a:pt x="549631" y="151949"/>
                  <a:pt x="550078" y="154244"/>
                  <a:pt x="549431" y="154568"/>
                </a:cubicBezTo>
                <a:cubicBezTo>
                  <a:pt x="547526" y="155521"/>
                  <a:pt x="542849" y="153930"/>
                  <a:pt x="543020" y="158121"/>
                </a:cubicBezTo>
                <a:cubicBezTo>
                  <a:pt x="539420" y="154159"/>
                  <a:pt x="536353" y="160521"/>
                  <a:pt x="533800" y="164674"/>
                </a:cubicBezTo>
                <a:cubicBezTo>
                  <a:pt x="531285" y="163922"/>
                  <a:pt x="529514" y="164227"/>
                  <a:pt x="528914" y="166160"/>
                </a:cubicBezTo>
                <a:cubicBezTo>
                  <a:pt x="528033" y="165074"/>
                  <a:pt x="527452" y="163778"/>
                  <a:pt x="527228" y="162398"/>
                </a:cubicBezTo>
                <a:cubicBezTo>
                  <a:pt x="524104" y="164503"/>
                  <a:pt x="517350" y="161207"/>
                  <a:pt x="522141" y="165017"/>
                </a:cubicBezTo>
                <a:cubicBezTo>
                  <a:pt x="521018" y="165484"/>
                  <a:pt x="517207" y="168960"/>
                  <a:pt x="517265" y="166503"/>
                </a:cubicBezTo>
                <a:cubicBezTo>
                  <a:pt x="516069" y="167236"/>
                  <a:pt x="515085" y="168266"/>
                  <a:pt x="514407" y="169494"/>
                </a:cubicBezTo>
                <a:cubicBezTo>
                  <a:pt x="512921" y="167475"/>
                  <a:pt x="507854" y="170037"/>
                  <a:pt x="506911" y="165912"/>
                </a:cubicBezTo>
                <a:cubicBezTo>
                  <a:pt x="505149" y="166112"/>
                  <a:pt x="507101" y="167427"/>
                  <a:pt x="506330" y="169284"/>
                </a:cubicBezTo>
                <a:cubicBezTo>
                  <a:pt x="506244" y="171999"/>
                  <a:pt x="511559" y="170865"/>
                  <a:pt x="510073" y="174561"/>
                </a:cubicBezTo>
                <a:cubicBezTo>
                  <a:pt x="509095" y="173032"/>
                  <a:pt x="507063" y="172586"/>
                  <a:pt x="505535" y="173564"/>
                </a:cubicBezTo>
                <a:cubicBezTo>
                  <a:pt x="504732" y="174077"/>
                  <a:pt x="504192" y="174914"/>
                  <a:pt x="504053" y="175857"/>
                </a:cubicBezTo>
                <a:cubicBezTo>
                  <a:pt x="502644" y="175209"/>
                  <a:pt x="502625" y="173571"/>
                  <a:pt x="501053" y="172999"/>
                </a:cubicBezTo>
                <a:cubicBezTo>
                  <a:pt x="497487" y="172721"/>
                  <a:pt x="494370" y="175386"/>
                  <a:pt x="494091" y="178952"/>
                </a:cubicBezTo>
                <a:cubicBezTo>
                  <a:pt x="494066" y="179282"/>
                  <a:pt x="494066" y="179613"/>
                  <a:pt x="494090" y="179943"/>
                </a:cubicBezTo>
                <a:cubicBezTo>
                  <a:pt x="492871" y="181848"/>
                  <a:pt x="492995" y="179057"/>
                  <a:pt x="493347" y="177495"/>
                </a:cubicBezTo>
                <a:cubicBezTo>
                  <a:pt x="490916" y="176860"/>
                  <a:pt x="489595" y="177793"/>
                  <a:pt x="489385" y="180295"/>
                </a:cubicBezTo>
                <a:cubicBezTo>
                  <a:pt x="487823" y="179428"/>
                  <a:pt x="486832" y="178152"/>
                  <a:pt x="485261" y="177276"/>
                </a:cubicBezTo>
                <a:cubicBezTo>
                  <a:pt x="485261" y="177990"/>
                  <a:pt x="486651" y="179695"/>
                  <a:pt x="485813" y="180848"/>
                </a:cubicBezTo>
                <a:cubicBezTo>
                  <a:pt x="485337" y="181505"/>
                  <a:pt x="484403" y="179619"/>
                  <a:pt x="484861" y="179533"/>
                </a:cubicBezTo>
                <a:cubicBezTo>
                  <a:pt x="483994" y="179695"/>
                  <a:pt x="480403" y="184134"/>
                  <a:pt x="478469" y="183086"/>
                </a:cubicBezTo>
                <a:cubicBezTo>
                  <a:pt x="478717" y="181581"/>
                  <a:pt x="478974" y="180076"/>
                  <a:pt x="479231" y="178581"/>
                </a:cubicBezTo>
                <a:cubicBezTo>
                  <a:pt x="476602" y="177628"/>
                  <a:pt x="478984" y="183819"/>
                  <a:pt x="475278" y="181391"/>
                </a:cubicBezTo>
                <a:cubicBezTo>
                  <a:pt x="475421" y="186248"/>
                  <a:pt x="472183" y="186334"/>
                  <a:pt x="471468" y="190020"/>
                </a:cubicBezTo>
                <a:cubicBezTo>
                  <a:pt x="469935" y="189125"/>
                  <a:pt x="465420" y="190344"/>
                  <a:pt x="466030" y="187934"/>
                </a:cubicBezTo>
                <a:cubicBezTo>
                  <a:pt x="464963" y="188496"/>
                  <a:pt x="461601" y="192601"/>
                  <a:pt x="463944" y="193383"/>
                </a:cubicBezTo>
                <a:cubicBezTo>
                  <a:pt x="463506" y="194621"/>
                  <a:pt x="462705" y="193811"/>
                  <a:pt x="462820" y="193192"/>
                </a:cubicBezTo>
                <a:cubicBezTo>
                  <a:pt x="461477" y="193192"/>
                  <a:pt x="460848" y="192601"/>
                  <a:pt x="460753" y="191678"/>
                </a:cubicBezTo>
                <a:cubicBezTo>
                  <a:pt x="459187" y="191827"/>
                  <a:pt x="457969" y="193106"/>
                  <a:pt x="457895" y="194678"/>
                </a:cubicBezTo>
                <a:cubicBezTo>
                  <a:pt x="456267" y="192249"/>
                  <a:pt x="454362" y="194373"/>
                  <a:pt x="453009" y="196164"/>
                </a:cubicBezTo>
                <a:cubicBezTo>
                  <a:pt x="454104" y="199974"/>
                  <a:pt x="458429" y="193678"/>
                  <a:pt x="459772" y="197316"/>
                </a:cubicBezTo>
                <a:cubicBezTo>
                  <a:pt x="458895" y="198878"/>
                  <a:pt x="457619" y="199869"/>
                  <a:pt x="456752" y="201441"/>
                </a:cubicBezTo>
                <a:cubicBezTo>
                  <a:pt x="454257" y="198183"/>
                  <a:pt x="448904" y="203108"/>
                  <a:pt x="450561" y="196907"/>
                </a:cubicBezTo>
                <a:cubicBezTo>
                  <a:pt x="445379" y="197526"/>
                  <a:pt x="443703" y="203079"/>
                  <a:pt x="440760" y="206841"/>
                </a:cubicBezTo>
                <a:cubicBezTo>
                  <a:pt x="438502" y="203517"/>
                  <a:pt x="437960" y="208804"/>
                  <a:pt x="433816" y="206841"/>
                </a:cubicBezTo>
                <a:cubicBezTo>
                  <a:pt x="432454" y="206794"/>
                  <a:pt x="432511" y="208746"/>
                  <a:pt x="432111" y="210032"/>
                </a:cubicBezTo>
                <a:cubicBezTo>
                  <a:pt x="430694" y="209370"/>
                  <a:pt x="429976" y="207768"/>
                  <a:pt x="430425" y="206270"/>
                </a:cubicBezTo>
                <a:cubicBezTo>
                  <a:pt x="429082" y="206270"/>
                  <a:pt x="429130" y="208175"/>
                  <a:pt x="428730" y="209451"/>
                </a:cubicBezTo>
                <a:cubicBezTo>
                  <a:pt x="427844" y="208594"/>
                  <a:pt x="426949" y="207746"/>
                  <a:pt x="426472" y="209070"/>
                </a:cubicBezTo>
                <a:cubicBezTo>
                  <a:pt x="424415" y="207222"/>
                  <a:pt x="426358" y="202546"/>
                  <a:pt x="423120" y="201545"/>
                </a:cubicBezTo>
                <a:cubicBezTo>
                  <a:pt x="420167" y="201326"/>
                  <a:pt x="424339" y="203746"/>
                  <a:pt x="422348" y="206051"/>
                </a:cubicBezTo>
                <a:cubicBezTo>
                  <a:pt x="420885" y="206763"/>
                  <a:pt x="419207" y="206892"/>
                  <a:pt x="417652" y="206413"/>
                </a:cubicBezTo>
                <a:cubicBezTo>
                  <a:pt x="417605" y="208213"/>
                  <a:pt x="421091" y="212413"/>
                  <a:pt x="417652" y="213366"/>
                </a:cubicBezTo>
                <a:cubicBezTo>
                  <a:pt x="418471" y="216414"/>
                  <a:pt x="421462" y="217900"/>
                  <a:pt x="420824" y="222024"/>
                </a:cubicBezTo>
                <a:cubicBezTo>
                  <a:pt x="417014" y="220386"/>
                  <a:pt x="416614" y="223129"/>
                  <a:pt x="419310" y="224082"/>
                </a:cubicBezTo>
                <a:cubicBezTo>
                  <a:pt x="417709" y="226634"/>
                  <a:pt x="414699" y="221024"/>
                  <a:pt x="414223" y="226701"/>
                </a:cubicBezTo>
                <a:cubicBezTo>
                  <a:pt x="413137" y="226482"/>
                  <a:pt x="413585" y="225167"/>
                  <a:pt x="413490" y="224263"/>
                </a:cubicBezTo>
                <a:cubicBezTo>
                  <a:pt x="413166" y="221834"/>
                  <a:pt x="407841" y="222967"/>
                  <a:pt x="409746" y="218976"/>
                </a:cubicBezTo>
                <a:cubicBezTo>
                  <a:pt x="406298" y="217852"/>
                  <a:pt x="406089" y="221272"/>
                  <a:pt x="404470" y="222729"/>
                </a:cubicBezTo>
                <a:cubicBezTo>
                  <a:pt x="401826" y="221341"/>
                  <a:pt x="398559" y="222335"/>
                  <a:pt x="397135" y="224958"/>
                </a:cubicBezTo>
                <a:cubicBezTo>
                  <a:pt x="396278" y="228720"/>
                  <a:pt x="400526" y="226425"/>
                  <a:pt x="401450" y="226863"/>
                </a:cubicBezTo>
                <a:cubicBezTo>
                  <a:pt x="404098" y="228063"/>
                  <a:pt x="404603" y="230292"/>
                  <a:pt x="407641" y="231387"/>
                </a:cubicBezTo>
                <a:cubicBezTo>
                  <a:pt x="405536" y="233759"/>
                  <a:pt x="404898" y="233083"/>
                  <a:pt x="405555" y="236836"/>
                </a:cubicBezTo>
                <a:cubicBezTo>
                  <a:pt x="404679" y="236597"/>
                  <a:pt x="404603" y="235340"/>
                  <a:pt x="403489" y="235321"/>
                </a:cubicBezTo>
                <a:cubicBezTo>
                  <a:pt x="401955" y="235321"/>
                  <a:pt x="402917" y="236721"/>
                  <a:pt x="401984" y="237379"/>
                </a:cubicBezTo>
                <a:cubicBezTo>
                  <a:pt x="400888" y="238160"/>
                  <a:pt x="398307" y="236855"/>
                  <a:pt x="398174" y="239064"/>
                </a:cubicBezTo>
                <a:cubicBezTo>
                  <a:pt x="397221" y="239112"/>
                  <a:pt x="397221" y="238445"/>
                  <a:pt x="397221" y="237750"/>
                </a:cubicBezTo>
                <a:cubicBezTo>
                  <a:pt x="395583" y="238236"/>
                  <a:pt x="394707" y="239798"/>
                  <a:pt x="394202" y="241874"/>
                </a:cubicBezTo>
                <a:cubicBezTo>
                  <a:pt x="390458" y="240293"/>
                  <a:pt x="389087" y="243170"/>
                  <a:pt x="387439" y="240722"/>
                </a:cubicBezTo>
                <a:cubicBezTo>
                  <a:pt x="386172" y="241265"/>
                  <a:pt x="385839" y="243113"/>
                  <a:pt x="383677" y="242408"/>
                </a:cubicBezTo>
                <a:cubicBezTo>
                  <a:pt x="383746" y="244428"/>
                  <a:pt x="382994" y="246391"/>
                  <a:pt x="381591" y="247846"/>
                </a:cubicBezTo>
                <a:cubicBezTo>
                  <a:pt x="379047" y="246894"/>
                  <a:pt x="378733" y="245941"/>
                  <a:pt x="375771" y="248018"/>
                </a:cubicBezTo>
                <a:cubicBezTo>
                  <a:pt x="375056" y="248532"/>
                  <a:pt x="374733" y="247666"/>
                  <a:pt x="374447" y="248970"/>
                </a:cubicBezTo>
                <a:cubicBezTo>
                  <a:pt x="374104" y="250485"/>
                  <a:pt x="371132" y="249837"/>
                  <a:pt x="368437" y="250275"/>
                </a:cubicBezTo>
                <a:cubicBezTo>
                  <a:pt x="368275" y="251371"/>
                  <a:pt x="369665" y="251380"/>
                  <a:pt x="370494" y="251780"/>
                </a:cubicBezTo>
                <a:cubicBezTo>
                  <a:pt x="370199" y="253914"/>
                  <a:pt x="368103" y="252733"/>
                  <a:pt x="366684" y="253466"/>
                </a:cubicBezTo>
                <a:cubicBezTo>
                  <a:pt x="363951" y="255068"/>
                  <a:pt x="361879" y="257591"/>
                  <a:pt x="360836" y="260581"/>
                </a:cubicBezTo>
                <a:cubicBezTo>
                  <a:pt x="357759" y="256229"/>
                  <a:pt x="357626" y="263153"/>
                  <a:pt x="353692" y="261696"/>
                </a:cubicBezTo>
                <a:cubicBezTo>
                  <a:pt x="353882" y="260562"/>
                  <a:pt x="354082" y="259438"/>
                  <a:pt x="354273" y="258305"/>
                </a:cubicBezTo>
                <a:cubicBezTo>
                  <a:pt x="350272" y="256400"/>
                  <a:pt x="351768" y="262229"/>
                  <a:pt x="348053" y="260734"/>
                </a:cubicBezTo>
                <a:cubicBezTo>
                  <a:pt x="349215" y="255971"/>
                  <a:pt x="342243" y="258572"/>
                  <a:pt x="340357" y="258267"/>
                </a:cubicBezTo>
                <a:cubicBezTo>
                  <a:pt x="338995" y="258448"/>
                  <a:pt x="337166" y="259772"/>
                  <a:pt x="338861" y="260334"/>
                </a:cubicBezTo>
                <a:cubicBezTo>
                  <a:pt x="337633" y="261448"/>
                  <a:pt x="335823" y="259105"/>
                  <a:pt x="335832" y="264458"/>
                </a:cubicBezTo>
                <a:cubicBezTo>
                  <a:pt x="332737" y="265611"/>
                  <a:pt x="330946" y="266439"/>
                  <a:pt x="327755" y="264249"/>
                </a:cubicBezTo>
                <a:cubicBezTo>
                  <a:pt x="325364" y="264134"/>
                  <a:pt x="326603" y="269144"/>
                  <a:pt x="324545" y="269497"/>
                </a:cubicBezTo>
                <a:cubicBezTo>
                  <a:pt x="321888" y="269402"/>
                  <a:pt x="323840" y="266030"/>
                  <a:pt x="321688" y="265544"/>
                </a:cubicBezTo>
                <a:cubicBezTo>
                  <a:pt x="318221" y="264382"/>
                  <a:pt x="320326" y="271068"/>
                  <a:pt x="316421" y="269287"/>
                </a:cubicBezTo>
                <a:cubicBezTo>
                  <a:pt x="318408" y="263908"/>
                  <a:pt x="316535" y="261274"/>
                  <a:pt x="310801" y="261382"/>
                </a:cubicBezTo>
                <a:cubicBezTo>
                  <a:pt x="310867" y="263982"/>
                  <a:pt x="315839" y="265296"/>
                  <a:pt x="315487" y="267973"/>
                </a:cubicBezTo>
                <a:cubicBezTo>
                  <a:pt x="315144" y="270497"/>
                  <a:pt x="313458" y="269259"/>
                  <a:pt x="312630" y="270964"/>
                </a:cubicBezTo>
                <a:cubicBezTo>
                  <a:pt x="312715" y="273221"/>
                  <a:pt x="317773" y="271916"/>
                  <a:pt x="315249" y="276050"/>
                </a:cubicBezTo>
                <a:cubicBezTo>
                  <a:pt x="312955" y="274121"/>
                  <a:pt x="310993" y="271830"/>
                  <a:pt x="309439" y="269268"/>
                </a:cubicBezTo>
                <a:cubicBezTo>
                  <a:pt x="308486" y="269325"/>
                  <a:pt x="308124" y="270221"/>
                  <a:pt x="306991" y="270011"/>
                </a:cubicBezTo>
                <a:cubicBezTo>
                  <a:pt x="307485" y="273787"/>
                  <a:pt x="310110" y="276939"/>
                  <a:pt x="313734" y="278107"/>
                </a:cubicBezTo>
                <a:cubicBezTo>
                  <a:pt x="315373" y="277622"/>
                  <a:pt x="316240" y="276060"/>
                  <a:pt x="316744" y="273983"/>
                </a:cubicBezTo>
                <a:cubicBezTo>
                  <a:pt x="319183" y="273907"/>
                  <a:pt x="319602" y="275259"/>
                  <a:pt x="321069" y="275888"/>
                </a:cubicBezTo>
                <a:cubicBezTo>
                  <a:pt x="324564" y="275717"/>
                  <a:pt x="320392" y="273297"/>
                  <a:pt x="321831" y="271383"/>
                </a:cubicBezTo>
                <a:cubicBezTo>
                  <a:pt x="323317" y="272640"/>
                  <a:pt x="326041" y="273021"/>
                  <a:pt x="324450" y="276460"/>
                </a:cubicBezTo>
                <a:cubicBezTo>
                  <a:pt x="324984" y="277726"/>
                  <a:pt x="326841" y="278069"/>
                  <a:pt x="326126" y="280222"/>
                </a:cubicBezTo>
                <a:cubicBezTo>
                  <a:pt x="324955" y="278727"/>
                  <a:pt x="323983" y="278850"/>
                  <a:pt x="323688" y="280974"/>
                </a:cubicBezTo>
                <a:cubicBezTo>
                  <a:pt x="322945" y="279841"/>
                  <a:pt x="320707" y="279774"/>
                  <a:pt x="320688" y="278117"/>
                </a:cubicBezTo>
                <a:cubicBezTo>
                  <a:pt x="316430" y="279069"/>
                  <a:pt x="317830" y="283832"/>
                  <a:pt x="315925" y="285432"/>
                </a:cubicBezTo>
                <a:cubicBezTo>
                  <a:pt x="313068" y="285146"/>
                  <a:pt x="312687" y="283108"/>
                  <a:pt x="311991" y="281289"/>
                </a:cubicBezTo>
                <a:cubicBezTo>
                  <a:pt x="310277" y="282136"/>
                  <a:pt x="309220" y="283918"/>
                  <a:pt x="307838" y="285223"/>
                </a:cubicBezTo>
                <a:cubicBezTo>
                  <a:pt x="305934" y="282365"/>
                  <a:pt x="304524" y="285223"/>
                  <a:pt x="301076" y="284080"/>
                </a:cubicBezTo>
                <a:cubicBezTo>
                  <a:pt x="304333" y="281051"/>
                  <a:pt x="299666" y="277012"/>
                  <a:pt x="298094" y="274297"/>
                </a:cubicBezTo>
                <a:cubicBezTo>
                  <a:pt x="296900" y="275036"/>
                  <a:pt x="295915" y="276068"/>
                  <a:pt x="295237" y="277298"/>
                </a:cubicBezTo>
                <a:cubicBezTo>
                  <a:pt x="294684" y="278603"/>
                  <a:pt x="296961" y="278146"/>
                  <a:pt x="297294" y="278803"/>
                </a:cubicBezTo>
                <a:cubicBezTo>
                  <a:pt x="298094" y="280355"/>
                  <a:pt x="295637" y="283432"/>
                  <a:pt x="298780" y="283699"/>
                </a:cubicBezTo>
                <a:cubicBezTo>
                  <a:pt x="296980" y="284089"/>
                  <a:pt x="298313" y="286127"/>
                  <a:pt x="298399" y="285947"/>
                </a:cubicBezTo>
                <a:cubicBezTo>
                  <a:pt x="296990" y="288652"/>
                  <a:pt x="294837" y="287432"/>
                  <a:pt x="294999" y="292328"/>
                </a:cubicBezTo>
                <a:cubicBezTo>
                  <a:pt x="296275" y="291785"/>
                  <a:pt x="296609" y="289937"/>
                  <a:pt x="298809" y="290652"/>
                </a:cubicBezTo>
                <a:cubicBezTo>
                  <a:pt x="297266" y="295776"/>
                  <a:pt x="299199" y="297710"/>
                  <a:pt x="297094" y="300796"/>
                </a:cubicBezTo>
                <a:cubicBezTo>
                  <a:pt x="293894" y="301072"/>
                  <a:pt x="298799" y="295614"/>
                  <a:pt x="295599" y="295900"/>
                </a:cubicBezTo>
                <a:cubicBezTo>
                  <a:pt x="292437" y="295157"/>
                  <a:pt x="295713" y="303520"/>
                  <a:pt x="291275" y="300958"/>
                </a:cubicBezTo>
                <a:cubicBezTo>
                  <a:pt x="292608" y="302863"/>
                  <a:pt x="291522" y="304682"/>
                  <a:pt x="288417" y="303958"/>
                </a:cubicBezTo>
                <a:cubicBezTo>
                  <a:pt x="289158" y="302076"/>
                  <a:pt x="289096" y="299973"/>
                  <a:pt x="288246" y="298138"/>
                </a:cubicBezTo>
                <a:cubicBezTo>
                  <a:pt x="285845" y="297529"/>
                  <a:pt x="287055" y="302044"/>
                  <a:pt x="286169" y="303577"/>
                </a:cubicBezTo>
                <a:cubicBezTo>
                  <a:pt x="283540" y="303901"/>
                  <a:pt x="284950" y="300986"/>
                  <a:pt x="283169" y="300720"/>
                </a:cubicBezTo>
                <a:cubicBezTo>
                  <a:pt x="281835" y="300539"/>
                  <a:pt x="281264" y="303520"/>
                  <a:pt x="280311" y="303720"/>
                </a:cubicBezTo>
                <a:cubicBezTo>
                  <a:pt x="278406" y="304111"/>
                  <a:pt x="278082" y="301491"/>
                  <a:pt x="275996" y="301815"/>
                </a:cubicBezTo>
                <a:cubicBezTo>
                  <a:pt x="273587" y="302149"/>
                  <a:pt x="274358" y="306959"/>
                  <a:pt x="271663" y="306873"/>
                </a:cubicBezTo>
                <a:cubicBezTo>
                  <a:pt x="269167" y="306997"/>
                  <a:pt x="269758" y="304901"/>
                  <a:pt x="269986" y="303111"/>
                </a:cubicBezTo>
                <a:cubicBezTo>
                  <a:pt x="266529" y="301987"/>
                  <a:pt x="266490" y="305644"/>
                  <a:pt x="263766" y="305539"/>
                </a:cubicBezTo>
                <a:cubicBezTo>
                  <a:pt x="263843" y="306806"/>
                  <a:pt x="265881" y="306682"/>
                  <a:pt x="265671" y="308178"/>
                </a:cubicBezTo>
                <a:cubicBezTo>
                  <a:pt x="265671" y="310083"/>
                  <a:pt x="264281" y="309940"/>
                  <a:pt x="263966" y="311369"/>
                </a:cubicBezTo>
                <a:cubicBezTo>
                  <a:pt x="261109" y="310064"/>
                  <a:pt x="262642" y="305701"/>
                  <a:pt x="260614" y="303844"/>
                </a:cubicBezTo>
                <a:cubicBezTo>
                  <a:pt x="258946" y="304152"/>
                  <a:pt x="257497" y="305175"/>
                  <a:pt x="256651" y="306644"/>
                </a:cubicBezTo>
                <a:cubicBezTo>
                  <a:pt x="254937" y="311512"/>
                  <a:pt x="263176" y="309283"/>
                  <a:pt x="259832" y="315303"/>
                </a:cubicBezTo>
                <a:cubicBezTo>
                  <a:pt x="262519" y="314903"/>
                  <a:pt x="263023" y="311426"/>
                  <a:pt x="266224" y="311750"/>
                </a:cubicBezTo>
                <a:cubicBezTo>
                  <a:pt x="266138" y="309759"/>
                  <a:pt x="267462" y="309778"/>
                  <a:pt x="268862" y="309845"/>
                </a:cubicBezTo>
                <a:cubicBezTo>
                  <a:pt x="268214" y="311254"/>
                  <a:pt x="266576" y="311273"/>
                  <a:pt x="266005" y="312836"/>
                </a:cubicBezTo>
                <a:cubicBezTo>
                  <a:pt x="271596" y="316065"/>
                  <a:pt x="267910" y="306244"/>
                  <a:pt x="273529" y="309473"/>
                </a:cubicBezTo>
                <a:cubicBezTo>
                  <a:pt x="273625" y="311464"/>
                  <a:pt x="272282" y="311454"/>
                  <a:pt x="270901" y="311378"/>
                </a:cubicBezTo>
                <a:cubicBezTo>
                  <a:pt x="272139" y="312569"/>
                  <a:pt x="274311" y="318046"/>
                  <a:pt x="275958" y="315712"/>
                </a:cubicBezTo>
                <a:cubicBezTo>
                  <a:pt x="278816" y="316474"/>
                  <a:pt x="274053" y="317389"/>
                  <a:pt x="275187" y="320217"/>
                </a:cubicBezTo>
                <a:cubicBezTo>
                  <a:pt x="273206" y="320313"/>
                  <a:pt x="273215" y="318979"/>
                  <a:pt x="273282" y="317579"/>
                </a:cubicBezTo>
                <a:cubicBezTo>
                  <a:pt x="271567" y="317046"/>
                  <a:pt x="272463" y="320132"/>
                  <a:pt x="271577" y="320779"/>
                </a:cubicBezTo>
                <a:cubicBezTo>
                  <a:pt x="270520" y="321551"/>
                  <a:pt x="267548" y="319827"/>
                  <a:pt x="266881" y="321132"/>
                </a:cubicBezTo>
                <a:cubicBezTo>
                  <a:pt x="267424" y="322408"/>
                  <a:pt x="269272" y="322742"/>
                  <a:pt x="268567" y="324942"/>
                </a:cubicBezTo>
                <a:lnTo>
                  <a:pt x="265186" y="324370"/>
                </a:lnTo>
                <a:cubicBezTo>
                  <a:pt x="265262" y="326799"/>
                  <a:pt x="263909" y="327228"/>
                  <a:pt x="263281" y="328685"/>
                </a:cubicBezTo>
                <a:cubicBezTo>
                  <a:pt x="263823" y="329952"/>
                  <a:pt x="265681" y="330285"/>
                  <a:pt x="264966" y="332495"/>
                </a:cubicBezTo>
                <a:cubicBezTo>
                  <a:pt x="263820" y="331333"/>
                  <a:pt x="262274" y="330652"/>
                  <a:pt x="260642" y="330590"/>
                </a:cubicBezTo>
                <a:cubicBezTo>
                  <a:pt x="260442" y="332390"/>
                  <a:pt x="259375" y="334800"/>
                  <a:pt x="261004" y="335286"/>
                </a:cubicBezTo>
                <a:cubicBezTo>
                  <a:pt x="258394" y="337772"/>
                  <a:pt x="257242" y="333581"/>
                  <a:pt x="254060" y="335286"/>
                </a:cubicBezTo>
                <a:cubicBezTo>
                  <a:pt x="251946" y="335105"/>
                  <a:pt x="252717" y="338982"/>
                  <a:pt x="251031" y="339410"/>
                </a:cubicBezTo>
                <a:cubicBezTo>
                  <a:pt x="251450" y="342906"/>
                  <a:pt x="253165" y="337086"/>
                  <a:pt x="255737" y="339048"/>
                </a:cubicBezTo>
                <a:cubicBezTo>
                  <a:pt x="255194" y="342477"/>
                  <a:pt x="251308" y="341191"/>
                  <a:pt x="248402" y="341287"/>
                </a:cubicBezTo>
                <a:cubicBezTo>
                  <a:pt x="247717" y="337477"/>
                  <a:pt x="250631" y="338848"/>
                  <a:pt x="251422" y="337153"/>
                </a:cubicBezTo>
                <a:cubicBezTo>
                  <a:pt x="250888" y="333514"/>
                  <a:pt x="248193" y="337943"/>
                  <a:pt x="246726" y="337524"/>
                </a:cubicBezTo>
                <a:cubicBezTo>
                  <a:pt x="246050" y="340306"/>
                  <a:pt x="247850" y="341334"/>
                  <a:pt x="249336" y="342601"/>
                </a:cubicBezTo>
                <a:cubicBezTo>
                  <a:pt x="247926" y="344056"/>
                  <a:pt x="247176" y="346025"/>
                  <a:pt x="247259" y="348050"/>
                </a:cubicBezTo>
                <a:cubicBezTo>
                  <a:pt x="242878" y="348183"/>
                  <a:pt x="243945" y="344449"/>
                  <a:pt x="242383" y="342582"/>
                </a:cubicBezTo>
                <a:cubicBezTo>
                  <a:pt x="239963" y="342792"/>
                  <a:pt x="241211" y="347869"/>
                  <a:pt x="238573" y="344268"/>
                </a:cubicBezTo>
                <a:cubicBezTo>
                  <a:pt x="237754" y="347126"/>
                  <a:pt x="238154" y="349183"/>
                  <a:pt x="241192" y="349345"/>
                </a:cubicBezTo>
                <a:cubicBezTo>
                  <a:pt x="240973" y="350440"/>
                  <a:pt x="239668" y="349983"/>
                  <a:pt x="238744" y="350088"/>
                </a:cubicBezTo>
                <a:cubicBezTo>
                  <a:pt x="238744" y="351431"/>
                  <a:pt x="238154" y="352050"/>
                  <a:pt x="237230" y="352155"/>
                </a:cubicBezTo>
                <a:cubicBezTo>
                  <a:pt x="239135" y="355450"/>
                  <a:pt x="235115" y="358365"/>
                  <a:pt x="237020" y="360232"/>
                </a:cubicBezTo>
                <a:cubicBezTo>
                  <a:pt x="235782" y="361577"/>
                  <a:pt x="233911" y="362146"/>
                  <a:pt x="232134" y="361718"/>
                </a:cubicBezTo>
                <a:cubicBezTo>
                  <a:pt x="233944" y="366385"/>
                  <a:pt x="226876" y="368690"/>
                  <a:pt x="225523" y="373348"/>
                </a:cubicBezTo>
                <a:cubicBezTo>
                  <a:pt x="221713" y="373710"/>
                  <a:pt x="222333" y="370986"/>
                  <a:pt x="220275" y="370138"/>
                </a:cubicBezTo>
                <a:cubicBezTo>
                  <a:pt x="221571" y="371176"/>
                  <a:pt x="221123" y="373729"/>
                  <a:pt x="221761" y="375034"/>
                </a:cubicBezTo>
                <a:cubicBezTo>
                  <a:pt x="222071" y="375912"/>
                  <a:pt x="222888" y="376509"/>
                  <a:pt x="223818" y="376539"/>
                </a:cubicBezTo>
                <a:cubicBezTo>
                  <a:pt x="222870" y="380064"/>
                  <a:pt x="219554" y="382420"/>
                  <a:pt x="215913" y="382159"/>
                </a:cubicBezTo>
                <a:cubicBezTo>
                  <a:pt x="215989" y="384587"/>
                  <a:pt x="214636" y="385016"/>
                  <a:pt x="214008" y="386473"/>
                </a:cubicBezTo>
                <a:cubicBezTo>
                  <a:pt x="213174" y="385552"/>
                  <a:pt x="212046" y="384949"/>
                  <a:pt x="210817" y="384768"/>
                </a:cubicBezTo>
                <a:cubicBezTo>
                  <a:pt x="210474" y="387626"/>
                  <a:pt x="212341" y="388578"/>
                  <a:pt x="209864" y="390407"/>
                </a:cubicBezTo>
                <a:cubicBezTo>
                  <a:pt x="207064" y="390407"/>
                  <a:pt x="207769" y="387931"/>
                  <a:pt x="204426" y="388321"/>
                </a:cubicBezTo>
                <a:cubicBezTo>
                  <a:pt x="201263" y="388055"/>
                  <a:pt x="202940" y="394608"/>
                  <a:pt x="198958" y="393188"/>
                </a:cubicBezTo>
                <a:cubicBezTo>
                  <a:pt x="197491" y="396217"/>
                  <a:pt x="200054" y="396379"/>
                  <a:pt x="199139" y="399018"/>
                </a:cubicBezTo>
                <a:cubicBezTo>
                  <a:pt x="199454" y="401437"/>
                  <a:pt x="204768" y="400304"/>
                  <a:pt x="202873" y="404295"/>
                </a:cubicBezTo>
                <a:cubicBezTo>
                  <a:pt x="200368" y="406038"/>
                  <a:pt x="200015" y="403933"/>
                  <a:pt x="197244" y="403342"/>
                </a:cubicBezTo>
                <a:cubicBezTo>
                  <a:pt x="196120" y="405247"/>
                  <a:pt x="198015" y="407409"/>
                  <a:pt x="197415" y="409171"/>
                </a:cubicBezTo>
                <a:cubicBezTo>
                  <a:pt x="197044" y="410219"/>
                  <a:pt x="194234" y="409124"/>
                  <a:pt x="193843" y="409724"/>
                </a:cubicBezTo>
                <a:cubicBezTo>
                  <a:pt x="193558" y="410143"/>
                  <a:pt x="195034" y="412848"/>
                  <a:pt x="194205" y="414420"/>
                </a:cubicBezTo>
                <a:cubicBezTo>
                  <a:pt x="193796" y="415172"/>
                  <a:pt x="191224" y="415639"/>
                  <a:pt x="190395" y="416096"/>
                </a:cubicBezTo>
                <a:cubicBezTo>
                  <a:pt x="189443" y="418735"/>
                  <a:pt x="192043" y="418896"/>
                  <a:pt x="190567" y="421925"/>
                </a:cubicBezTo>
                <a:cubicBezTo>
                  <a:pt x="189105" y="422639"/>
                  <a:pt x="187425" y="422768"/>
                  <a:pt x="185871" y="422287"/>
                </a:cubicBezTo>
                <a:cubicBezTo>
                  <a:pt x="185242" y="425345"/>
                  <a:pt x="187366" y="424878"/>
                  <a:pt x="185099" y="426802"/>
                </a:cubicBezTo>
                <a:cubicBezTo>
                  <a:pt x="183871" y="424030"/>
                  <a:pt x="182413" y="427336"/>
                  <a:pt x="181537" y="427345"/>
                </a:cubicBezTo>
                <a:cubicBezTo>
                  <a:pt x="180032" y="427345"/>
                  <a:pt x="178946" y="424488"/>
                  <a:pt x="177022" y="426583"/>
                </a:cubicBezTo>
                <a:cubicBezTo>
                  <a:pt x="178179" y="430035"/>
                  <a:pt x="178742" y="433658"/>
                  <a:pt x="178689" y="437299"/>
                </a:cubicBezTo>
                <a:cubicBezTo>
                  <a:pt x="175965" y="435479"/>
                  <a:pt x="173250" y="439956"/>
                  <a:pt x="174374" y="435394"/>
                </a:cubicBezTo>
                <a:cubicBezTo>
                  <a:pt x="172012" y="435346"/>
                  <a:pt x="171640" y="438070"/>
                  <a:pt x="169288" y="438013"/>
                </a:cubicBezTo>
                <a:cubicBezTo>
                  <a:pt x="169574" y="440128"/>
                  <a:pt x="169078" y="442776"/>
                  <a:pt x="170593" y="444033"/>
                </a:cubicBezTo>
                <a:cubicBezTo>
                  <a:pt x="167354" y="446462"/>
                  <a:pt x="163268" y="447681"/>
                  <a:pt x="160239" y="450396"/>
                </a:cubicBezTo>
                <a:cubicBezTo>
                  <a:pt x="158820" y="452615"/>
                  <a:pt x="161620" y="452177"/>
                  <a:pt x="162144" y="453025"/>
                </a:cubicBezTo>
                <a:cubicBezTo>
                  <a:pt x="162868" y="454320"/>
                  <a:pt x="161658" y="456558"/>
                  <a:pt x="163820" y="456835"/>
                </a:cubicBezTo>
                <a:cubicBezTo>
                  <a:pt x="162268" y="460835"/>
                  <a:pt x="157153" y="461483"/>
                  <a:pt x="162487" y="464721"/>
                </a:cubicBezTo>
                <a:cubicBezTo>
                  <a:pt x="159868" y="467217"/>
                  <a:pt x="158677" y="463016"/>
                  <a:pt x="155534" y="464721"/>
                </a:cubicBezTo>
                <a:cubicBezTo>
                  <a:pt x="154267" y="465255"/>
                  <a:pt x="153924" y="467112"/>
                  <a:pt x="151771" y="466398"/>
                </a:cubicBezTo>
                <a:cubicBezTo>
                  <a:pt x="149790" y="469655"/>
                  <a:pt x="154629" y="475694"/>
                  <a:pt x="149114" y="475218"/>
                </a:cubicBezTo>
                <a:cubicBezTo>
                  <a:pt x="147104" y="478628"/>
                  <a:pt x="152610" y="476704"/>
                  <a:pt x="150600" y="480104"/>
                </a:cubicBezTo>
                <a:cubicBezTo>
                  <a:pt x="147742" y="478818"/>
                  <a:pt x="148038" y="482066"/>
                  <a:pt x="146647" y="482914"/>
                </a:cubicBezTo>
                <a:cubicBezTo>
                  <a:pt x="146082" y="482010"/>
                  <a:pt x="145259" y="481297"/>
                  <a:pt x="144285" y="480866"/>
                </a:cubicBezTo>
                <a:cubicBezTo>
                  <a:pt x="141122" y="481914"/>
                  <a:pt x="142856" y="487724"/>
                  <a:pt x="142761" y="489877"/>
                </a:cubicBezTo>
                <a:cubicBezTo>
                  <a:pt x="145352" y="489334"/>
                  <a:pt x="145409" y="485248"/>
                  <a:pt x="147285" y="483685"/>
                </a:cubicBezTo>
                <a:cubicBezTo>
                  <a:pt x="152152" y="483543"/>
                  <a:pt x="152238" y="486781"/>
                  <a:pt x="155924" y="487495"/>
                </a:cubicBezTo>
                <a:cubicBezTo>
                  <a:pt x="155543" y="489743"/>
                  <a:pt x="155159" y="491998"/>
                  <a:pt x="154772" y="494258"/>
                </a:cubicBezTo>
                <a:cubicBezTo>
                  <a:pt x="150790" y="492839"/>
                  <a:pt x="149952" y="495839"/>
                  <a:pt x="149304" y="499126"/>
                </a:cubicBezTo>
                <a:cubicBezTo>
                  <a:pt x="145161" y="497468"/>
                  <a:pt x="144542" y="500783"/>
                  <a:pt x="142913" y="502678"/>
                </a:cubicBezTo>
                <a:cubicBezTo>
                  <a:pt x="142161" y="504517"/>
                  <a:pt x="143418" y="504955"/>
                  <a:pt x="144818" y="505317"/>
                </a:cubicBezTo>
                <a:cubicBezTo>
                  <a:pt x="145933" y="508174"/>
                  <a:pt x="141189" y="509060"/>
                  <a:pt x="144047" y="509822"/>
                </a:cubicBezTo>
                <a:cubicBezTo>
                  <a:pt x="143618" y="511060"/>
                  <a:pt x="142818" y="510251"/>
                  <a:pt x="142923" y="509632"/>
                </a:cubicBezTo>
                <a:cubicBezTo>
                  <a:pt x="139208" y="512041"/>
                  <a:pt x="139665" y="513070"/>
                  <a:pt x="138160" y="516947"/>
                </a:cubicBezTo>
                <a:cubicBezTo>
                  <a:pt x="136255" y="516947"/>
                  <a:pt x="136398" y="515547"/>
                  <a:pt x="134969" y="515242"/>
                </a:cubicBezTo>
                <a:cubicBezTo>
                  <a:pt x="133042" y="516765"/>
                  <a:pt x="130880" y="517965"/>
                  <a:pt x="128568" y="518795"/>
                </a:cubicBezTo>
                <a:cubicBezTo>
                  <a:pt x="128435" y="525119"/>
                  <a:pt x="123977" y="525357"/>
                  <a:pt x="121215" y="527977"/>
                </a:cubicBezTo>
                <a:cubicBezTo>
                  <a:pt x="121034" y="530091"/>
                  <a:pt x="124911" y="529320"/>
                  <a:pt x="125339" y="530996"/>
                </a:cubicBezTo>
                <a:cubicBezTo>
                  <a:pt x="125035" y="533854"/>
                  <a:pt x="124625" y="536502"/>
                  <a:pt x="122130" y="536254"/>
                </a:cubicBezTo>
                <a:cubicBezTo>
                  <a:pt x="123015" y="537940"/>
                  <a:pt x="122482" y="540626"/>
                  <a:pt x="124749" y="541331"/>
                </a:cubicBezTo>
                <a:cubicBezTo>
                  <a:pt x="124244" y="542721"/>
                  <a:pt x="121129" y="542236"/>
                  <a:pt x="121368" y="540759"/>
                </a:cubicBezTo>
                <a:cubicBezTo>
                  <a:pt x="119825" y="540902"/>
                  <a:pt x="119263" y="542445"/>
                  <a:pt x="117605" y="542436"/>
                </a:cubicBezTo>
                <a:cubicBezTo>
                  <a:pt x="120891" y="546246"/>
                  <a:pt x="118910" y="548313"/>
                  <a:pt x="119263" y="553151"/>
                </a:cubicBezTo>
                <a:cubicBezTo>
                  <a:pt x="117024" y="552789"/>
                  <a:pt x="117310" y="556009"/>
                  <a:pt x="114376" y="554637"/>
                </a:cubicBezTo>
                <a:cubicBezTo>
                  <a:pt x="113424" y="557285"/>
                  <a:pt x="116015" y="557495"/>
                  <a:pt x="114548" y="560467"/>
                </a:cubicBezTo>
                <a:cubicBezTo>
                  <a:pt x="112319" y="559638"/>
                  <a:pt x="111890" y="561419"/>
                  <a:pt x="110785" y="562152"/>
                </a:cubicBezTo>
                <a:cubicBezTo>
                  <a:pt x="110509" y="562333"/>
                  <a:pt x="108214" y="564010"/>
                  <a:pt x="108147" y="564057"/>
                </a:cubicBezTo>
                <a:cubicBezTo>
                  <a:pt x="107518" y="564191"/>
                  <a:pt x="104804" y="559981"/>
                  <a:pt x="104565" y="564610"/>
                </a:cubicBezTo>
                <a:cubicBezTo>
                  <a:pt x="101794" y="564010"/>
                  <a:pt x="101441" y="561914"/>
                  <a:pt x="98936" y="563657"/>
                </a:cubicBezTo>
                <a:cubicBezTo>
                  <a:pt x="98460" y="566305"/>
                  <a:pt x="100317" y="567306"/>
                  <a:pt x="98936" y="570611"/>
                </a:cubicBezTo>
                <a:cubicBezTo>
                  <a:pt x="102127" y="572316"/>
                  <a:pt x="101365" y="568439"/>
                  <a:pt x="101956" y="566486"/>
                </a:cubicBezTo>
                <a:cubicBezTo>
                  <a:pt x="105118" y="568687"/>
                  <a:pt x="105556" y="566667"/>
                  <a:pt x="109652" y="568944"/>
                </a:cubicBezTo>
                <a:cubicBezTo>
                  <a:pt x="109080" y="573821"/>
                  <a:pt x="105127" y="572906"/>
                  <a:pt x="106994" y="577773"/>
                </a:cubicBezTo>
                <a:cubicBezTo>
                  <a:pt x="105013" y="577859"/>
                  <a:pt x="105023" y="576535"/>
                  <a:pt x="105089" y="575135"/>
                </a:cubicBezTo>
                <a:cubicBezTo>
                  <a:pt x="100422" y="577202"/>
                  <a:pt x="104480" y="582869"/>
                  <a:pt x="100927" y="586022"/>
                </a:cubicBezTo>
                <a:cubicBezTo>
                  <a:pt x="98155" y="585384"/>
                  <a:pt x="101241" y="582145"/>
                  <a:pt x="101689" y="581507"/>
                </a:cubicBezTo>
                <a:cubicBezTo>
                  <a:pt x="101098" y="578183"/>
                  <a:pt x="97384" y="579297"/>
                  <a:pt x="95126" y="579240"/>
                </a:cubicBezTo>
                <a:cubicBezTo>
                  <a:pt x="97736" y="581345"/>
                  <a:pt x="95126" y="587184"/>
                  <a:pt x="99422" y="588089"/>
                </a:cubicBezTo>
                <a:cubicBezTo>
                  <a:pt x="100003" y="589994"/>
                  <a:pt x="95850" y="589337"/>
                  <a:pt x="95660" y="589765"/>
                </a:cubicBezTo>
                <a:cubicBezTo>
                  <a:pt x="95317" y="590480"/>
                  <a:pt x="99470" y="594757"/>
                  <a:pt x="93574" y="595204"/>
                </a:cubicBezTo>
                <a:cubicBezTo>
                  <a:pt x="92040" y="595328"/>
                  <a:pt x="90373" y="594109"/>
                  <a:pt x="90011" y="595766"/>
                </a:cubicBezTo>
                <a:cubicBezTo>
                  <a:pt x="89716" y="597071"/>
                  <a:pt x="87706" y="596347"/>
                  <a:pt x="86439" y="596319"/>
                </a:cubicBezTo>
                <a:cubicBezTo>
                  <a:pt x="85173" y="596290"/>
                  <a:pt x="85134" y="598224"/>
                  <a:pt x="84734" y="599500"/>
                </a:cubicBezTo>
                <a:cubicBezTo>
                  <a:pt x="82313" y="599538"/>
                  <a:pt x="79908" y="599912"/>
                  <a:pt x="77591" y="600614"/>
                </a:cubicBezTo>
                <a:cubicBezTo>
                  <a:pt x="76448" y="604053"/>
                  <a:pt x="80115" y="604101"/>
                  <a:pt x="80010" y="606815"/>
                </a:cubicBezTo>
                <a:cubicBezTo>
                  <a:pt x="82868" y="606129"/>
                  <a:pt x="84306" y="603558"/>
                  <a:pt x="84773" y="599500"/>
                </a:cubicBezTo>
                <a:cubicBezTo>
                  <a:pt x="89325" y="599576"/>
                  <a:pt x="89335" y="602872"/>
                  <a:pt x="89449" y="606091"/>
                </a:cubicBezTo>
                <a:cubicBezTo>
                  <a:pt x="86592" y="605729"/>
                  <a:pt x="85154" y="607491"/>
                  <a:pt x="83239" y="608520"/>
                </a:cubicBezTo>
                <a:cubicBezTo>
                  <a:pt x="83239" y="609873"/>
                  <a:pt x="85144" y="609816"/>
                  <a:pt x="86420" y="610216"/>
                </a:cubicBezTo>
                <a:cubicBezTo>
                  <a:pt x="85649" y="612787"/>
                  <a:pt x="82706" y="614978"/>
                  <a:pt x="87916" y="615111"/>
                </a:cubicBezTo>
                <a:cubicBezTo>
                  <a:pt x="86906" y="616197"/>
                  <a:pt x="86592" y="617645"/>
                  <a:pt x="85058" y="618102"/>
                </a:cubicBezTo>
                <a:cubicBezTo>
                  <a:pt x="85820" y="617874"/>
                  <a:pt x="84506" y="616778"/>
                  <a:pt x="84106" y="616797"/>
                </a:cubicBezTo>
                <a:cubicBezTo>
                  <a:pt x="84944" y="616797"/>
                  <a:pt x="82401" y="618169"/>
                  <a:pt x="82782" y="617750"/>
                </a:cubicBezTo>
                <a:cubicBezTo>
                  <a:pt x="82153" y="618483"/>
                  <a:pt x="84687" y="620388"/>
                  <a:pt x="84687" y="620388"/>
                </a:cubicBezTo>
                <a:cubicBezTo>
                  <a:pt x="84144" y="621893"/>
                  <a:pt x="83058" y="620331"/>
                  <a:pt x="82248" y="621141"/>
                </a:cubicBezTo>
                <a:cubicBezTo>
                  <a:pt x="81810" y="621569"/>
                  <a:pt x="82315" y="622979"/>
                  <a:pt x="81867" y="623389"/>
                </a:cubicBezTo>
                <a:cubicBezTo>
                  <a:pt x="81420" y="623798"/>
                  <a:pt x="79619" y="623827"/>
                  <a:pt x="79419" y="624132"/>
                </a:cubicBezTo>
                <a:cubicBezTo>
                  <a:pt x="79077" y="624646"/>
                  <a:pt x="79477" y="625970"/>
                  <a:pt x="79038" y="626389"/>
                </a:cubicBezTo>
                <a:cubicBezTo>
                  <a:pt x="77410" y="627951"/>
                  <a:pt x="74276" y="628294"/>
                  <a:pt x="73571" y="631256"/>
                </a:cubicBezTo>
                <a:cubicBezTo>
                  <a:pt x="72714" y="629351"/>
                  <a:pt x="65332" y="631914"/>
                  <a:pt x="66237" y="633485"/>
                </a:cubicBezTo>
                <a:cubicBezTo>
                  <a:pt x="66237" y="633485"/>
                  <a:pt x="68142" y="634295"/>
                  <a:pt x="67189" y="634809"/>
                </a:cubicBezTo>
                <a:cubicBezTo>
                  <a:pt x="65456" y="635762"/>
                  <a:pt x="67037" y="635990"/>
                  <a:pt x="67932" y="637257"/>
                </a:cubicBezTo>
                <a:cubicBezTo>
                  <a:pt x="70209" y="640458"/>
                  <a:pt x="69066" y="640800"/>
                  <a:pt x="65656" y="643820"/>
                </a:cubicBezTo>
                <a:cubicBezTo>
                  <a:pt x="64865" y="645553"/>
                  <a:pt x="69218" y="648316"/>
                  <a:pt x="69980" y="645725"/>
                </a:cubicBezTo>
                <a:cubicBezTo>
                  <a:pt x="71506" y="649055"/>
                  <a:pt x="71284" y="652925"/>
                  <a:pt x="69390" y="656059"/>
                </a:cubicBezTo>
                <a:cubicBezTo>
                  <a:pt x="68028" y="657650"/>
                  <a:pt x="66370" y="656164"/>
                  <a:pt x="67485" y="660374"/>
                </a:cubicBezTo>
                <a:cubicBezTo>
                  <a:pt x="64922" y="661870"/>
                  <a:pt x="66065" y="660031"/>
                  <a:pt x="62970" y="659612"/>
                </a:cubicBezTo>
                <a:cubicBezTo>
                  <a:pt x="64665" y="663813"/>
                  <a:pt x="64408" y="666985"/>
                  <a:pt x="59379" y="667118"/>
                </a:cubicBezTo>
                <a:cubicBezTo>
                  <a:pt x="59560" y="669975"/>
                  <a:pt x="59379" y="673081"/>
                  <a:pt x="62941" y="673519"/>
                </a:cubicBezTo>
                <a:cubicBezTo>
                  <a:pt x="61989" y="674290"/>
                  <a:pt x="60665" y="676300"/>
                  <a:pt x="62360" y="676900"/>
                </a:cubicBezTo>
                <a:cubicBezTo>
                  <a:pt x="61698" y="678317"/>
                  <a:pt x="60094" y="679032"/>
                  <a:pt x="58598" y="678577"/>
                </a:cubicBezTo>
                <a:cubicBezTo>
                  <a:pt x="58598" y="679920"/>
                  <a:pt x="58007" y="680539"/>
                  <a:pt x="57083" y="680634"/>
                </a:cubicBezTo>
                <a:cubicBezTo>
                  <a:pt x="59112" y="684063"/>
                  <a:pt x="54435" y="686092"/>
                  <a:pt x="56874" y="688721"/>
                </a:cubicBezTo>
                <a:cubicBezTo>
                  <a:pt x="56874" y="692283"/>
                  <a:pt x="54073" y="688959"/>
                  <a:pt x="53311" y="689273"/>
                </a:cubicBezTo>
                <a:cubicBezTo>
                  <a:pt x="51606" y="689968"/>
                  <a:pt x="52835" y="691092"/>
                  <a:pt x="51606" y="692464"/>
                </a:cubicBezTo>
                <a:cubicBezTo>
                  <a:pt x="51321" y="692778"/>
                  <a:pt x="49701" y="691797"/>
                  <a:pt x="49349" y="692083"/>
                </a:cubicBezTo>
                <a:cubicBezTo>
                  <a:pt x="48397" y="692883"/>
                  <a:pt x="48673" y="694655"/>
                  <a:pt x="47654" y="695274"/>
                </a:cubicBezTo>
                <a:cubicBezTo>
                  <a:pt x="50978" y="696693"/>
                  <a:pt x="50340" y="692540"/>
                  <a:pt x="53664" y="693969"/>
                </a:cubicBezTo>
                <a:cubicBezTo>
                  <a:pt x="53302" y="696217"/>
                  <a:pt x="56521" y="695874"/>
                  <a:pt x="55150" y="698865"/>
                </a:cubicBezTo>
                <a:cubicBezTo>
                  <a:pt x="52130" y="697388"/>
                  <a:pt x="51968" y="699951"/>
                  <a:pt x="49330" y="699027"/>
                </a:cubicBezTo>
                <a:cubicBezTo>
                  <a:pt x="48501" y="705237"/>
                  <a:pt x="45101" y="705694"/>
                  <a:pt x="46101" y="711238"/>
                </a:cubicBezTo>
                <a:cubicBezTo>
                  <a:pt x="48101" y="711724"/>
                  <a:pt x="48711" y="710285"/>
                  <a:pt x="50797" y="710876"/>
                </a:cubicBezTo>
                <a:cubicBezTo>
                  <a:pt x="51483" y="715562"/>
                  <a:pt x="47215" y="713276"/>
                  <a:pt x="45530" y="714619"/>
                </a:cubicBezTo>
                <a:cubicBezTo>
                  <a:pt x="43862" y="714927"/>
                  <a:pt x="42413" y="715950"/>
                  <a:pt x="41567" y="717420"/>
                </a:cubicBezTo>
                <a:cubicBezTo>
                  <a:pt x="41634" y="718372"/>
                  <a:pt x="42520" y="718743"/>
                  <a:pt x="42320" y="719867"/>
                </a:cubicBezTo>
                <a:cubicBezTo>
                  <a:pt x="43596" y="720525"/>
                  <a:pt x="43215" y="717962"/>
                  <a:pt x="43825" y="717810"/>
                </a:cubicBezTo>
                <a:cubicBezTo>
                  <a:pt x="45777" y="717143"/>
                  <a:pt x="46968" y="721620"/>
                  <a:pt x="48339" y="718572"/>
                </a:cubicBezTo>
                <a:cubicBezTo>
                  <a:pt x="49882" y="719344"/>
                  <a:pt x="48054" y="719524"/>
                  <a:pt x="47958" y="720829"/>
                </a:cubicBezTo>
                <a:cubicBezTo>
                  <a:pt x="47263" y="724687"/>
                  <a:pt x="51083" y="724439"/>
                  <a:pt x="48120" y="726649"/>
                </a:cubicBezTo>
                <a:cubicBezTo>
                  <a:pt x="47254" y="727306"/>
                  <a:pt x="48406" y="729202"/>
                  <a:pt x="48863" y="729097"/>
                </a:cubicBezTo>
                <a:cubicBezTo>
                  <a:pt x="49187" y="730478"/>
                  <a:pt x="46672" y="729383"/>
                  <a:pt x="46425" y="729840"/>
                </a:cubicBezTo>
                <a:cubicBezTo>
                  <a:pt x="43663" y="734993"/>
                  <a:pt x="44806" y="741918"/>
                  <a:pt x="42243" y="747680"/>
                </a:cubicBezTo>
                <a:cubicBezTo>
                  <a:pt x="42167" y="747852"/>
                  <a:pt x="40215" y="747195"/>
                  <a:pt x="39986" y="747299"/>
                </a:cubicBezTo>
                <a:cubicBezTo>
                  <a:pt x="43205" y="755024"/>
                  <a:pt x="42272" y="769788"/>
                  <a:pt x="35395" y="774341"/>
                </a:cubicBezTo>
                <a:cubicBezTo>
                  <a:pt x="34985" y="775617"/>
                  <a:pt x="35300" y="776389"/>
                  <a:pt x="36138" y="776789"/>
                </a:cubicBezTo>
                <a:cubicBezTo>
                  <a:pt x="32995" y="779313"/>
                  <a:pt x="28394" y="775627"/>
                  <a:pt x="26746" y="777513"/>
                </a:cubicBezTo>
                <a:cubicBezTo>
                  <a:pt x="24308" y="776617"/>
                  <a:pt x="26880" y="771379"/>
                  <a:pt x="27889" y="770750"/>
                </a:cubicBezTo>
                <a:cubicBezTo>
                  <a:pt x="27718" y="769388"/>
                  <a:pt x="26384" y="767559"/>
                  <a:pt x="25822" y="769245"/>
                </a:cubicBezTo>
                <a:cubicBezTo>
                  <a:pt x="23222" y="768445"/>
                  <a:pt x="24394" y="764978"/>
                  <a:pt x="20765" y="764911"/>
                </a:cubicBezTo>
                <a:cubicBezTo>
                  <a:pt x="18755" y="768312"/>
                  <a:pt x="24260" y="766388"/>
                  <a:pt x="22250" y="769797"/>
                </a:cubicBezTo>
                <a:cubicBezTo>
                  <a:pt x="24584" y="768054"/>
                  <a:pt x="26194" y="770321"/>
                  <a:pt x="25108" y="773750"/>
                </a:cubicBezTo>
                <a:cubicBezTo>
                  <a:pt x="23260" y="771283"/>
                  <a:pt x="24451" y="769940"/>
                  <a:pt x="20984" y="770731"/>
                </a:cubicBezTo>
                <a:cubicBezTo>
                  <a:pt x="18469" y="771283"/>
                  <a:pt x="19688" y="773893"/>
                  <a:pt x="17602" y="770159"/>
                </a:cubicBezTo>
                <a:cubicBezTo>
                  <a:pt x="16650" y="770217"/>
                  <a:pt x="16288" y="771112"/>
                  <a:pt x="15154" y="770902"/>
                </a:cubicBezTo>
                <a:cubicBezTo>
                  <a:pt x="14783" y="773817"/>
                  <a:pt x="19050" y="773426"/>
                  <a:pt x="20222" y="775246"/>
                </a:cubicBezTo>
                <a:cubicBezTo>
                  <a:pt x="19945" y="777589"/>
                  <a:pt x="17002" y="775541"/>
                  <a:pt x="15326" y="776732"/>
                </a:cubicBezTo>
                <a:cubicBezTo>
                  <a:pt x="15049" y="776922"/>
                  <a:pt x="15250" y="778913"/>
                  <a:pt x="14945" y="778980"/>
                </a:cubicBezTo>
                <a:cubicBezTo>
                  <a:pt x="14183" y="779141"/>
                  <a:pt x="13926" y="777237"/>
                  <a:pt x="12878" y="777475"/>
                </a:cubicBezTo>
                <a:cubicBezTo>
                  <a:pt x="11535" y="777427"/>
                  <a:pt x="11592" y="779380"/>
                  <a:pt x="11182" y="780656"/>
                </a:cubicBezTo>
                <a:cubicBezTo>
                  <a:pt x="9896" y="780256"/>
                  <a:pt x="9125" y="780570"/>
                  <a:pt x="8744" y="781408"/>
                </a:cubicBezTo>
                <a:cubicBezTo>
                  <a:pt x="4686" y="777903"/>
                  <a:pt x="11039" y="775093"/>
                  <a:pt x="13649" y="772969"/>
                </a:cubicBezTo>
                <a:cubicBezTo>
                  <a:pt x="13135" y="772426"/>
                  <a:pt x="12906" y="767207"/>
                  <a:pt x="11744" y="770331"/>
                </a:cubicBezTo>
                <a:cubicBezTo>
                  <a:pt x="9020" y="769378"/>
                  <a:pt x="12421" y="765949"/>
                  <a:pt x="14602" y="767331"/>
                </a:cubicBezTo>
                <a:cubicBezTo>
                  <a:pt x="15059" y="765283"/>
                  <a:pt x="11240" y="766530"/>
                  <a:pt x="10287" y="765425"/>
                </a:cubicBezTo>
                <a:cubicBezTo>
                  <a:pt x="10363" y="765511"/>
                  <a:pt x="12192" y="762720"/>
                  <a:pt x="10868" y="762044"/>
                </a:cubicBezTo>
                <a:cubicBezTo>
                  <a:pt x="7766" y="761816"/>
                  <a:pt x="4752" y="760908"/>
                  <a:pt x="2038" y="759387"/>
                </a:cubicBezTo>
                <a:cubicBezTo>
                  <a:pt x="2269" y="756889"/>
                  <a:pt x="3499" y="754592"/>
                  <a:pt x="5448" y="753014"/>
                </a:cubicBezTo>
                <a:cubicBezTo>
                  <a:pt x="5048" y="749052"/>
                  <a:pt x="3439" y="752062"/>
                  <a:pt x="0" y="750928"/>
                </a:cubicBezTo>
                <a:cubicBezTo>
                  <a:pt x="2191" y="749376"/>
                  <a:pt x="5058" y="748747"/>
                  <a:pt x="5648" y="744928"/>
                </a:cubicBezTo>
                <a:lnTo>
                  <a:pt x="7906" y="745309"/>
                </a:lnTo>
                <a:cubicBezTo>
                  <a:pt x="9373" y="742289"/>
                  <a:pt x="6810" y="742127"/>
                  <a:pt x="7734" y="739489"/>
                </a:cubicBezTo>
                <a:cubicBezTo>
                  <a:pt x="11859" y="737346"/>
                  <a:pt x="10668" y="730640"/>
                  <a:pt x="11154" y="726154"/>
                </a:cubicBezTo>
                <a:cubicBezTo>
                  <a:pt x="11354" y="724249"/>
                  <a:pt x="12649" y="724430"/>
                  <a:pt x="12849" y="722963"/>
                </a:cubicBezTo>
                <a:cubicBezTo>
                  <a:pt x="13230" y="720172"/>
                  <a:pt x="12182" y="717410"/>
                  <a:pt x="13059" y="714886"/>
                </a:cubicBezTo>
                <a:cubicBezTo>
                  <a:pt x="18097" y="714991"/>
                  <a:pt x="18583" y="708704"/>
                  <a:pt x="22479" y="707209"/>
                </a:cubicBezTo>
                <a:cubicBezTo>
                  <a:pt x="21892" y="706116"/>
                  <a:pt x="21701" y="704854"/>
                  <a:pt x="21936" y="703637"/>
                </a:cubicBezTo>
                <a:cubicBezTo>
                  <a:pt x="21252" y="702797"/>
                  <a:pt x="20616" y="701919"/>
                  <a:pt x="20031" y="701008"/>
                </a:cubicBezTo>
                <a:cubicBezTo>
                  <a:pt x="19412" y="700294"/>
                  <a:pt x="18726" y="698922"/>
                  <a:pt x="18126" y="698370"/>
                </a:cubicBezTo>
                <a:cubicBezTo>
                  <a:pt x="16935" y="697207"/>
                  <a:pt x="13783" y="698370"/>
                  <a:pt x="15135" y="695512"/>
                </a:cubicBezTo>
                <a:cubicBezTo>
                  <a:pt x="16488" y="694817"/>
                  <a:pt x="17040" y="697017"/>
                  <a:pt x="17193" y="697026"/>
                </a:cubicBezTo>
                <a:cubicBezTo>
                  <a:pt x="20545" y="697122"/>
                  <a:pt x="18259" y="692797"/>
                  <a:pt x="22469" y="693283"/>
                </a:cubicBezTo>
                <a:lnTo>
                  <a:pt x="23041" y="689892"/>
                </a:lnTo>
                <a:cubicBezTo>
                  <a:pt x="23317" y="688254"/>
                  <a:pt x="20841" y="688987"/>
                  <a:pt x="19850" y="688197"/>
                </a:cubicBezTo>
                <a:cubicBezTo>
                  <a:pt x="18488" y="687111"/>
                  <a:pt x="19183" y="684472"/>
                  <a:pt x="17050" y="684244"/>
                </a:cubicBezTo>
                <a:cubicBezTo>
                  <a:pt x="16745" y="682853"/>
                  <a:pt x="19212" y="683977"/>
                  <a:pt x="19488" y="683491"/>
                </a:cubicBezTo>
                <a:cubicBezTo>
                  <a:pt x="20374" y="681996"/>
                  <a:pt x="15726" y="682129"/>
                  <a:pt x="19126" y="678805"/>
                </a:cubicBezTo>
                <a:cubicBezTo>
                  <a:pt x="18926" y="677043"/>
                  <a:pt x="17612" y="678996"/>
                  <a:pt x="15745" y="678234"/>
                </a:cubicBezTo>
                <a:cubicBezTo>
                  <a:pt x="19441" y="675490"/>
                  <a:pt x="12544" y="674671"/>
                  <a:pt x="14792" y="669956"/>
                </a:cubicBezTo>
                <a:cubicBezTo>
                  <a:pt x="16674" y="670694"/>
                  <a:pt x="18777" y="670632"/>
                  <a:pt x="20612" y="669785"/>
                </a:cubicBezTo>
                <a:cubicBezTo>
                  <a:pt x="20288" y="668699"/>
                  <a:pt x="19964" y="667604"/>
                  <a:pt x="18707" y="667147"/>
                </a:cubicBezTo>
                <a:cubicBezTo>
                  <a:pt x="20679" y="665842"/>
                  <a:pt x="24270" y="663803"/>
                  <a:pt x="25851" y="666042"/>
                </a:cubicBezTo>
                <a:cubicBezTo>
                  <a:pt x="25154" y="663723"/>
                  <a:pt x="24781" y="661319"/>
                  <a:pt x="24746" y="658898"/>
                </a:cubicBezTo>
                <a:cubicBezTo>
                  <a:pt x="26022" y="658288"/>
                  <a:pt x="27699" y="658317"/>
                  <a:pt x="29642" y="657412"/>
                </a:cubicBezTo>
                <a:cubicBezTo>
                  <a:pt x="30089" y="657193"/>
                  <a:pt x="30766" y="655450"/>
                  <a:pt x="31137" y="655345"/>
                </a:cubicBezTo>
                <a:cubicBezTo>
                  <a:pt x="31509" y="655240"/>
                  <a:pt x="33137" y="655993"/>
                  <a:pt x="33395" y="655726"/>
                </a:cubicBezTo>
                <a:cubicBezTo>
                  <a:pt x="34061" y="655069"/>
                  <a:pt x="33395" y="653097"/>
                  <a:pt x="33966" y="652354"/>
                </a:cubicBezTo>
                <a:cubicBezTo>
                  <a:pt x="35347" y="652030"/>
                  <a:pt x="34261" y="654554"/>
                  <a:pt x="34719" y="654793"/>
                </a:cubicBezTo>
                <a:cubicBezTo>
                  <a:pt x="37014" y="656012"/>
                  <a:pt x="37814" y="650725"/>
                  <a:pt x="35671" y="649154"/>
                </a:cubicBezTo>
                <a:cubicBezTo>
                  <a:pt x="32509" y="648639"/>
                  <a:pt x="37833" y="652688"/>
                  <a:pt x="33033" y="651059"/>
                </a:cubicBezTo>
                <a:cubicBezTo>
                  <a:pt x="33137" y="648363"/>
                  <a:pt x="31623" y="646030"/>
                  <a:pt x="34185" y="644296"/>
                </a:cubicBezTo>
                <a:cubicBezTo>
                  <a:pt x="34547" y="642058"/>
                  <a:pt x="31328" y="642391"/>
                  <a:pt x="32699" y="639410"/>
                </a:cubicBezTo>
                <a:cubicBezTo>
                  <a:pt x="31747" y="639038"/>
                  <a:pt x="31556" y="639667"/>
                  <a:pt x="31375" y="640362"/>
                </a:cubicBezTo>
                <a:cubicBezTo>
                  <a:pt x="29804" y="639829"/>
                  <a:pt x="31556" y="636933"/>
                  <a:pt x="29699" y="636600"/>
                </a:cubicBezTo>
                <a:cubicBezTo>
                  <a:pt x="31266" y="633635"/>
                  <a:pt x="33698" y="631216"/>
                  <a:pt x="36671" y="629666"/>
                </a:cubicBezTo>
                <a:cubicBezTo>
                  <a:pt x="36909" y="627484"/>
                  <a:pt x="32671" y="630351"/>
                  <a:pt x="29908" y="628523"/>
                </a:cubicBezTo>
                <a:cubicBezTo>
                  <a:pt x="30956" y="626275"/>
                  <a:pt x="33252" y="625779"/>
                  <a:pt x="33309" y="622141"/>
                </a:cubicBezTo>
                <a:cubicBezTo>
                  <a:pt x="31061" y="622227"/>
                  <a:pt x="32356" y="627284"/>
                  <a:pt x="28223" y="624760"/>
                </a:cubicBezTo>
                <a:cubicBezTo>
                  <a:pt x="31480" y="622170"/>
                  <a:pt x="29928" y="620950"/>
                  <a:pt x="32033" y="616121"/>
                </a:cubicBezTo>
                <a:cubicBezTo>
                  <a:pt x="33610" y="616182"/>
                  <a:pt x="34895" y="617407"/>
                  <a:pt x="35033" y="618979"/>
                </a:cubicBezTo>
                <a:cubicBezTo>
                  <a:pt x="36338" y="619560"/>
                  <a:pt x="39462" y="616378"/>
                  <a:pt x="36728" y="615788"/>
                </a:cubicBezTo>
                <a:cubicBezTo>
                  <a:pt x="38452" y="612502"/>
                  <a:pt x="38167" y="618550"/>
                  <a:pt x="39729" y="618645"/>
                </a:cubicBezTo>
                <a:cubicBezTo>
                  <a:pt x="42139" y="619255"/>
                  <a:pt x="40919" y="614740"/>
                  <a:pt x="41805" y="613206"/>
                </a:cubicBezTo>
                <a:cubicBezTo>
                  <a:pt x="42758" y="613873"/>
                  <a:pt x="43710" y="614540"/>
                  <a:pt x="43710" y="615835"/>
                </a:cubicBezTo>
                <a:cubicBezTo>
                  <a:pt x="48597" y="613873"/>
                  <a:pt x="50378" y="607587"/>
                  <a:pt x="52959" y="602329"/>
                </a:cubicBezTo>
                <a:cubicBezTo>
                  <a:pt x="50959" y="601853"/>
                  <a:pt x="50349" y="603281"/>
                  <a:pt x="48263" y="602700"/>
                </a:cubicBezTo>
                <a:cubicBezTo>
                  <a:pt x="46863" y="602634"/>
                  <a:pt x="46472" y="605406"/>
                  <a:pt x="45406" y="605701"/>
                </a:cubicBezTo>
                <a:cubicBezTo>
                  <a:pt x="43691" y="606177"/>
                  <a:pt x="40919" y="604748"/>
                  <a:pt x="42958" y="606444"/>
                </a:cubicBezTo>
                <a:cubicBezTo>
                  <a:pt x="42958" y="608787"/>
                  <a:pt x="39738" y="605663"/>
                  <a:pt x="39767" y="604739"/>
                </a:cubicBezTo>
                <a:cubicBezTo>
                  <a:pt x="40258" y="603227"/>
                  <a:pt x="39537" y="601587"/>
                  <a:pt x="38090" y="600929"/>
                </a:cubicBezTo>
                <a:cubicBezTo>
                  <a:pt x="39195" y="598767"/>
                  <a:pt x="43482" y="601081"/>
                  <a:pt x="44291" y="598509"/>
                </a:cubicBezTo>
                <a:cubicBezTo>
                  <a:pt x="44644" y="595728"/>
                  <a:pt x="40615" y="597633"/>
                  <a:pt x="40719" y="599062"/>
                </a:cubicBezTo>
                <a:cubicBezTo>
                  <a:pt x="39148" y="599367"/>
                  <a:pt x="41177" y="593347"/>
                  <a:pt x="43739" y="594938"/>
                </a:cubicBezTo>
                <a:cubicBezTo>
                  <a:pt x="42786" y="593099"/>
                  <a:pt x="42996" y="591975"/>
                  <a:pt x="45444" y="591747"/>
                </a:cubicBezTo>
                <a:cubicBezTo>
                  <a:pt x="45606" y="590642"/>
                  <a:pt x="44215" y="590642"/>
                  <a:pt x="43377" y="590232"/>
                </a:cubicBezTo>
                <a:cubicBezTo>
                  <a:pt x="43215" y="587937"/>
                  <a:pt x="49168" y="587479"/>
                  <a:pt x="49206" y="590061"/>
                </a:cubicBezTo>
                <a:cubicBezTo>
                  <a:pt x="50502" y="590651"/>
                  <a:pt x="50073" y="588289"/>
                  <a:pt x="50721" y="588003"/>
                </a:cubicBezTo>
                <a:cubicBezTo>
                  <a:pt x="52330" y="587270"/>
                  <a:pt x="55245" y="589546"/>
                  <a:pt x="56540" y="587832"/>
                </a:cubicBezTo>
                <a:cubicBezTo>
                  <a:pt x="56340" y="585184"/>
                  <a:pt x="54550" y="588899"/>
                  <a:pt x="53350" y="586127"/>
                </a:cubicBezTo>
                <a:cubicBezTo>
                  <a:pt x="54731" y="584160"/>
                  <a:pt x="55150" y="581676"/>
                  <a:pt x="54493" y="579364"/>
                </a:cubicBezTo>
                <a:cubicBezTo>
                  <a:pt x="54759" y="580641"/>
                  <a:pt x="56836" y="580174"/>
                  <a:pt x="57683" y="581069"/>
                </a:cubicBezTo>
                <a:cubicBezTo>
                  <a:pt x="57979" y="581374"/>
                  <a:pt x="58169" y="583355"/>
                  <a:pt x="58436" y="583517"/>
                </a:cubicBezTo>
                <a:cubicBezTo>
                  <a:pt x="59065" y="583898"/>
                  <a:pt x="60093" y="583003"/>
                  <a:pt x="59750" y="582565"/>
                </a:cubicBezTo>
                <a:cubicBezTo>
                  <a:pt x="60636" y="583650"/>
                  <a:pt x="60103" y="585565"/>
                  <a:pt x="61427" y="586317"/>
                </a:cubicBezTo>
                <a:cubicBezTo>
                  <a:pt x="64922" y="586155"/>
                  <a:pt x="60760" y="583736"/>
                  <a:pt x="62189" y="581812"/>
                </a:cubicBezTo>
                <a:cubicBezTo>
                  <a:pt x="63837" y="581326"/>
                  <a:pt x="64703" y="579764"/>
                  <a:pt x="65208" y="577688"/>
                </a:cubicBezTo>
                <a:cubicBezTo>
                  <a:pt x="63970" y="574830"/>
                  <a:pt x="62751" y="575507"/>
                  <a:pt x="59769" y="575602"/>
                </a:cubicBezTo>
                <a:cubicBezTo>
                  <a:pt x="60103" y="571887"/>
                  <a:pt x="62027" y="570411"/>
                  <a:pt x="65237" y="570744"/>
                </a:cubicBezTo>
                <a:cubicBezTo>
                  <a:pt x="64500" y="569549"/>
                  <a:pt x="63466" y="568564"/>
                  <a:pt x="62236" y="567887"/>
                </a:cubicBezTo>
                <a:cubicBezTo>
                  <a:pt x="62646" y="566610"/>
                  <a:pt x="62332" y="565848"/>
                  <a:pt x="61493" y="565448"/>
                </a:cubicBezTo>
                <a:cubicBezTo>
                  <a:pt x="61493" y="562648"/>
                  <a:pt x="63960" y="563343"/>
                  <a:pt x="63579" y="560000"/>
                </a:cubicBezTo>
                <a:cubicBezTo>
                  <a:pt x="65999" y="560619"/>
                  <a:pt x="67323" y="559685"/>
                  <a:pt x="67532" y="557142"/>
                </a:cubicBezTo>
                <a:cubicBezTo>
                  <a:pt x="67532" y="555799"/>
                  <a:pt x="65627" y="555847"/>
                  <a:pt x="64341" y="555447"/>
                </a:cubicBezTo>
                <a:cubicBezTo>
                  <a:pt x="63617" y="553170"/>
                  <a:pt x="68351" y="552256"/>
                  <a:pt x="65103" y="550942"/>
                </a:cubicBezTo>
                <a:cubicBezTo>
                  <a:pt x="65770" y="549427"/>
                  <a:pt x="67104" y="551180"/>
                  <a:pt x="67161" y="552446"/>
                </a:cubicBezTo>
                <a:cubicBezTo>
                  <a:pt x="70971" y="551761"/>
                  <a:pt x="70371" y="544826"/>
                  <a:pt x="75267" y="545712"/>
                </a:cubicBezTo>
                <a:cubicBezTo>
                  <a:pt x="74145" y="544286"/>
                  <a:pt x="74390" y="542220"/>
                  <a:pt x="75817" y="541097"/>
                </a:cubicBezTo>
                <a:cubicBezTo>
                  <a:pt x="76568" y="540507"/>
                  <a:pt x="77538" y="540272"/>
                  <a:pt x="78476" y="540455"/>
                </a:cubicBezTo>
                <a:cubicBezTo>
                  <a:pt x="78953" y="537807"/>
                  <a:pt x="77095" y="536806"/>
                  <a:pt x="78476" y="533501"/>
                </a:cubicBezTo>
                <a:cubicBezTo>
                  <a:pt x="82601" y="536064"/>
                  <a:pt x="79696" y="528739"/>
                  <a:pt x="82620" y="529567"/>
                </a:cubicBezTo>
                <a:cubicBezTo>
                  <a:pt x="79839" y="526920"/>
                  <a:pt x="83048" y="520042"/>
                  <a:pt x="77391" y="519404"/>
                </a:cubicBezTo>
                <a:cubicBezTo>
                  <a:pt x="78701" y="517623"/>
                  <a:pt x="80552" y="516313"/>
                  <a:pt x="82667" y="515670"/>
                </a:cubicBezTo>
                <a:cubicBezTo>
                  <a:pt x="82839" y="514051"/>
                  <a:pt x="83010" y="512441"/>
                  <a:pt x="84363" y="512470"/>
                </a:cubicBezTo>
                <a:cubicBezTo>
                  <a:pt x="89611" y="512470"/>
                  <a:pt x="82115" y="515328"/>
                  <a:pt x="87363" y="515328"/>
                </a:cubicBezTo>
                <a:cubicBezTo>
                  <a:pt x="86487" y="516899"/>
                  <a:pt x="85211" y="517890"/>
                  <a:pt x="84344" y="519452"/>
                </a:cubicBezTo>
                <a:cubicBezTo>
                  <a:pt x="87754" y="520071"/>
                  <a:pt x="87830" y="515975"/>
                  <a:pt x="88868" y="513270"/>
                </a:cubicBezTo>
                <a:cubicBezTo>
                  <a:pt x="90859" y="513175"/>
                  <a:pt x="90849" y="514508"/>
                  <a:pt x="90773" y="515909"/>
                </a:cubicBezTo>
                <a:cubicBezTo>
                  <a:pt x="94440" y="515728"/>
                  <a:pt x="92754" y="513146"/>
                  <a:pt x="92859" y="510460"/>
                </a:cubicBezTo>
                <a:cubicBezTo>
                  <a:pt x="94621" y="511089"/>
                  <a:pt x="94974" y="509727"/>
                  <a:pt x="96422" y="509908"/>
                </a:cubicBezTo>
                <a:cubicBezTo>
                  <a:pt x="96250" y="506403"/>
                  <a:pt x="93840" y="510575"/>
                  <a:pt x="91916" y="509146"/>
                </a:cubicBezTo>
                <a:cubicBezTo>
                  <a:pt x="91621" y="507374"/>
                  <a:pt x="90735" y="506022"/>
                  <a:pt x="90430" y="504250"/>
                </a:cubicBezTo>
                <a:cubicBezTo>
                  <a:pt x="89788" y="504254"/>
                  <a:pt x="89271" y="504777"/>
                  <a:pt x="89275" y="505419"/>
                </a:cubicBezTo>
                <a:cubicBezTo>
                  <a:pt x="89278" y="505908"/>
                  <a:pt x="89587" y="506344"/>
                  <a:pt x="90049" y="506507"/>
                </a:cubicBezTo>
                <a:cubicBezTo>
                  <a:pt x="88354" y="509774"/>
                  <a:pt x="87259" y="504698"/>
                  <a:pt x="85725" y="504602"/>
                </a:cubicBezTo>
                <a:cubicBezTo>
                  <a:pt x="86335" y="503459"/>
                  <a:pt x="87954" y="504174"/>
                  <a:pt x="88363" y="502697"/>
                </a:cubicBezTo>
                <a:cubicBezTo>
                  <a:pt x="89211" y="499840"/>
                  <a:pt x="86554" y="493230"/>
                  <a:pt x="92173" y="494058"/>
                </a:cubicBezTo>
                <a:cubicBezTo>
                  <a:pt x="92250" y="496497"/>
                  <a:pt x="90897" y="496916"/>
                  <a:pt x="90268" y="498373"/>
                </a:cubicBezTo>
                <a:cubicBezTo>
                  <a:pt x="93126" y="502355"/>
                  <a:pt x="97888" y="497897"/>
                  <a:pt x="98346" y="498592"/>
                </a:cubicBezTo>
                <a:cubicBezTo>
                  <a:pt x="98312" y="498971"/>
                  <a:pt x="98248" y="499347"/>
                  <a:pt x="98155" y="499716"/>
                </a:cubicBezTo>
                <a:cubicBezTo>
                  <a:pt x="104584" y="496697"/>
                  <a:pt x="102632" y="487076"/>
                  <a:pt x="108918" y="484152"/>
                </a:cubicBezTo>
                <a:cubicBezTo>
                  <a:pt x="110976" y="483466"/>
                  <a:pt x="106375" y="480514"/>
                  <a:pt x="108737" y="478323"/>
                </a:cubicBezTo>
                <a:cubicBezTo>
                  <a:pt x="109538" y="477589"/>
                  <a:pt x="109490" y="480780"/>
                  <a:pt x="109490" y="480771"/>
                </a:cubicBezTo>
                <a:cubicBezTo>
                  <a:pt x="110774" y="480282"/>
                  <a:pt x="112030" y="479722"/>
                  <a:pt x="113252" y="479094"/>
                </a:cubicBezTo>
                <a:cubicBezTo>
                  <a:pt x="113871" y="477513"/>
                  <a:pt x="110519" y="476656"/>
                  <a:pt x="110633" y="474008"/>
                </a:cubicBezTo>
                <a:cubicBezTo>
                  <a:pt x="110633" y="472741"/>
                  <a:pt x="111785" y="471827"/>
                  <a:pt x="113652" y="469884"/>
                </a:cubicBezTo>
                <a:cubicBezTo>
                  <a:pt x="115300" y="468169"/>
                  <a:pt x="116348" y="465998"/>
                  <a:pt x="120987" y="467655"/>
                </a:cubicBezTo>
                <a:cubicBezTo>
                  <a:pt x="119291" y="464559"/>
                  <a:pt x="121815" y="458473"/>
                  <a:pt x="122158" y="453939"/>
                </a:cubicBezTo>
                <a:cubicBezTo>
                  <a:pt x="126908" y="452166"/>
                  <a:pt x="130013" y="447578"/>
                  <a:pt x="129892" y="442509"/>
                </a:cubicBezTo>
                <a:lnTo>
                  <a:pt x="133274" y="443080"/>
                </a:lnTo>
                <a:cubicBezTo>
                  <a:pt x="131826" y="441461"/>
                  <a:pt x="132245" y="438527"/>
                  <a:pt x="130845" y="436880"/>
                </a:cubicBezTo>
                <a:cubicBezTo>
                  <a:pt x="131513" y="435442"/>
                  <a:pt x="133141" y="434721"/>
                  <a:pt x="134655" y="435194"/>
                </a:cubicBezTo>
                <a:cubicBezTo>
                  <a:pt x="135225" y="432537"/>
                  <a:pt x="135296" y="429799"/>
                  <a:pt x="134864" y="427117"/>
                </a:cubicBezTo>
                <a:cubicBezTo>
                  <a:pt x="134922" y="427021"/>
                  <a:pt x="137112" y="427555"/>
                  <a:pt x="137122" y="427498"/>
                </a:cubicBezTo>
                <a:cubicBezTo>
                  <a:pt x="137227" y="425793"/>
                  <a:pt x="134769" y="425383"/>
                  <a:pt x="135626" y="422611"/>
                </a:cubicBezTo>
                <a:cubicBezTo>
                  <a:pt x="137208" y="422973"/>
                  <a:pt x="138789" y="423335"/>
                  <a:pt x="139189" y="422049"/>
                </a:cubicBezTo>
                <a:cubicBezTo>
                  <a:pt x="141856" y="422154"/>
                  <a:pt x="139894" y="425526"/>
                  <a:pt x="142046" y="426002"/>
                </a:cubicBezTo>
                <a:cubicBezTo>
                  <a:pt x="143818" y="426631"/>
                  <a:pt x="144161" y="425269"/>
                  <a:pt x="145618" y="425450"/>
                </a:cubicBezTo>
                <a:cubicBezTo>
                  <a:pt x="144942" y="423621"/>
                  <a:pt x="142256" y="423211"/>
                  <a:pt x="140360" y="422240"/>
                </a:cubicBezTo>
                <a:cubicBezTo>
                  <a:pt x="144618" y="419011"/>
                  <a:pt x="143218" y="415306"/>
                  <a:pt x="138322" y="413782"/>
                </a:cubicBezTo>
                <a:cubicBezTo>
                  <a:pt x="138846" y="411724"/>
                  <a:pt x="142256" y="413782"/>
                  <a:pt x="143208" y="412296"/>
                </a:cubicBezTo>
                <a:cubicBezTo>
                  <a:pt x="144075" y="408705"/>
                  <a:pt x="142027" y="407190"/>
                  <a:pt x="143608" y="403085"/>
                </a:cubicBezTo>
                <a:cubicBezTo>
                  <a:pt x="144885" y="403495"/>
                  <a:pt x="145656" y="403180"/>
                  <a:pt x="146056" y="402342"/>
                </a:cubicBezTo>
                <a:cubicBezTo>
                  <a:pt x="147961" y="403504"/>
                  <a:pt x="145875" y="404418"/>
                  <a:pt x="145485" y="405723"/>
                </a:cubicBezTo>
                <a:cubicBezTo>
                  <a:pt x="146018" y="406990"/>
                  <a:pt x="147885" y="407333"/>
                  <a:pt x="147171" y="409486"/>
                </a:cubicBezTo>
                <a:cubicBezTo>
                  <a:pt x="149105" y="407997"/>
                  <a:pt x="150929" y="406371"/>
                  <a:pt x="152629" y="404618"/>
                </a:cubicBezTo>
                <a:cubicBezTo>
                  <a:pt x="152630" y="403977"/>
                  <a:pt x="152110" y="403455"/>
                  <a:pt x="151469" y="403454"/>
                </a:cubicBezTo>
                <a:cubicBezTo>
                  <a:pt x="150976" y="403453"/>
                  <a:pt x="150536" y="403763"/>
                  <a:pt x="150371" y="404228"/>
                </a:cubicBezTo>
                <a:cubicBezTo>
                  <a:pt x="146085" y="399894"/>
                  <a:pt x="157839" y="399104"/>
                  <a:pt x="154181" y="395598"/>
                </a:cubicBezTo>
                <a:cubicBezTo>
                  <a:pt x="154334" y="392550"/>
                  <a:pt x="160325" y="397732"/>
                  <a:pt x="159268" y="392988"/>
                </a:cubicBezTo>
                <a:cubicBezTo>
                  <a:pt x="161401" y="392198"/>
                  <a:pt x="161782" y="395722"/>
                  <a:pt x="162258" y="395846"/>
                </a:cubicBezTo>
                <a:cubicBezTo>
                  <a:pt x="164983" y="396360"/>
                  <a:pt x="166364" y="391941"/>
                  <a:pt x="169050" y="390045"/>
                </a:cubicBezTo>
                <a:cubicBezTo>
                  <a:pt x="169507" y="383444"/>
                  <a:pt x="165706" y="379863"/>
                  <a:pt x="167402" y="372376"/>
                </a:cubicBezTo>
                <a:cubicBezTo>
                  <a:pt x="168868" y="371664"/>
                  <a:pt x="170550" y="371534"/>
                  <a:pt x="172107" y="372014"/>
                </a:cubicBezTo>
                <a:cubicBezTo>
                  <a:pt x="173860" y="365537"/>
                  <a:pt x="170307" y="361975"/>
                  <a:pt x="173460" y="357174"/>
                </a:cubicBezTo>
                <a:cubicBezTo>
                  <a:pt x="173631" y="356917"/>
                  <a:pt x="175365" y="357727"/>
                  <a:pt x="175717" y="357555"/>
                </a:cubicBezTo>
                <a:cubicBezTo>
                  <a:pt x="176212" y="355565"/>
                  <a:pt x="174765" y="354946"/>
                  <a:pt x="175355" y="352860"/>
                </a:cubicBezTo>
                <a:cubicBezTo>
                  <a:pt x="177794" y="352441"/>
                  <a:pt x="180413" y="350078"/>
                  <a:pt x="182309" y="352860"/>
                </a:cubicBezTo>
                <a:cubicBezTo>
                  <a:pt x="182623" y="350955"/>
                  <a:pt x="182947" y="349107"/>
                  <a:pt x="183261" y="347221"/>
                </a:cubicBezTo>
                <a:cubicBezTo>
                  <a:pt x="185604" y="347668"/>
                  <a:pt x="186652" y="346516"/>
                  <a:pt x="188157" y="345735"/>
                </a:cubicBezTo>
                <a:cubicBezTo>
                  <a:pt x="189871" y="344849"/>
                  <a:pt x="190919" y="342706"/>
                  <a:pt x="193234" y="343116"/>
                </a:cubicBezTo>
                <a:cubicBezTo>
                  <a:pt x="193291" y="339477"/>
                  <a:pt x="197120" y="341153"/>
                  <a:pt x="196634" y="336743"/>
                </a:cubicBezTo>
                <a:cubicBezTo>
                  <a:pt x="198911" y="337610"/>
                  <a:pt x="199749" y="336477"/>
                  <a:pt x="201330" y="336381"/>
                </a:cubicBezTo>
                <a:cubicBezTo>
                  <a:pt x="202778" y="334591"/>
                  <a:pt x="199587" y="333143"/>
                  <a:pt x="199654" y="332619"/>
                </a:cubicBezTo>
                <a:cubicBezTo>
                  <a:pt x="199720" y="332095"/>
                  <a:pt x="202197" y="330304"/>
                  <a:pt x="202282" y="330714"/>
                </a:cubicBezTo>
                <a:cubicBezTo>
                  <a:pt x="202101" y="329809"/>
                  <a:pt x="198672" y="329323"/>
                  <a:pt x="198168" y="327695"/>
                </a:cubicBezTo>
                <a:cubicBezTo>
                  <a:pt x="198082" y="327418"/>
                  <a:pt x="199863" y="325666"/>
                  <a:pt x="199863" y="324504"/>
                </a:cubicBezTo>
                <a:cubicBezTo>
                  <a:pt x="199863" y="324418"/>
                  <a:pt x="198825" y="324075"/>
                  <a:pt x="198911" y="323189"/>
                </a:cubicBezTo>
                <a:cubicBezTo>
                  <a:pt x="199053" y="321980"/>
                  <a:pt x="201387" y="321284"/>
                  <a:pt x="200997" y="317750"/>
                </a:cubicBezTo>
                <a:cubicBezTo>
                  <a:pt x="202082" y="317960"/>
                  <a:pt x="201635" y="319274"/>
                  <a:pt x="201739" y="320189"/>
                </a:cubicBezTo>
                <a:cubicBezTo>
                  <a:pt x="204502" y="319922"/>
                  <a:pt x="208693" y="320598"/>
                  <a:pt x="209645" y="314579"/>
                </a:cubicBezTo>
                <a:cubicBezTo>
                  <a:pt x="211550" y="316836"/>
                  <a:pt x="211093" y="314712"/>
                  <a:pt x="214160" y="315341"/>
                </a:cubicBezTo>
                <a:cubicBezTo>
                  <a:pt x="215827" y="315674"/>
                  <a:pt x="215036" y="313074"/>
                  <a:pt x="215856" y="312150"/>
                </a:cubicBezTo>
                <a:cubicBezTo>
                  <a:pt x="216122" y="311855"/>
                  <a:pt x="217761" y="312721"/>
                  <a:pt x="218103" y="312531"/>
                </a:cubicBezTo>
                <a:cubicBezTo>
                  <a:pt x="218837" y="312178"/>
                  <a:pt x="218942" y="309616"/>
                  <a:pt x="219808" y="309340"/>
                </a:cubicBezTo>
                <a:cubicBezTo>
                  <a:pt x="221066" y="308321"/>
                  <a:pt x="224018" y="309702"/>
                  <a:pt x="223771" y="306540"/>
                </a:cubicBezTo>
                <a:cubicBezTo>
                  <a:pt x="226562" y="306540"/>
                  <a:pt x="225866" y="309016"/>
                  <a:pt x="229210" y="308626"/>
                </a:cubicBezTo>
                <a:cubicBezTo>
                  <a:pt x="233020" y="308426"/>
                  <a:pt x="229829" y="303282"/>
                  <a:pt x="234096" y="307130"/>
                </a:cubicBezTo>
                <a:cubicBezTo>
                  <a:pt x="235934" y="306463"/>
                  <a:pt x="236344" y="303777"/>
                  <a:pt x="237306" y="301882"/>
                </a:cubicBezTo>
                <a:cubicBezTo>
                  <a:pt x="236571" y="300688"/>
                  <a:pt x="235541" y="299703"/>
                  <a:pt x="234315" y="299024"/>
                </a:cubicBezTo>
                <a:cubicBezTo>
                  <a:pt x="233810" y="297824"/>
                  <a:pt x="235525" y="298310"/>
                  <a:pt x="235629" y="298072"/>
                </a:cubicBezTo>
                <a:cubicBezTo>
                  <a:pt x="236163" y="296872"/>
                  <a:pt x="233810" y="296024"/>
                  <a:pt x="233724" y="295433"/>
                </a:cubicBezTo>
                <a:cubicBezTo>
                  <a:pt x="233830" y="294293"/>
                  <a:pt x="234024" y="293163"/>
                  <a:pt x="234305" y="292052"/>
                </a:cubicBezTo>
                <a:cubicBezTo>
                  <a:pt x="234439" y="290033"/>
                  <a:pt x="233572" y="289452"/>
                  <a:pt x="233934" y="287356"/>
                </a:cubicBezTo>
                <a:cubicBezTo>
                  <a:pt x="233934" y="287613"/>
                  <a:pt x="235115" y="287023"/>
                  <a:pt x="235258" y="286404"/>
                </a:cubicBezTo>
                <a:cubicBezTo>
                  <a:pt x="235753" y="284194"/>
                  <a:pt x="235715" y="282832"/>
                  <a:pt x="238115" y="283413"/>
                </a:cubicBezTo>
                <a:cubicBezTo>
                  <a:pt x="238325" y="281613"/>
                  <a:pt x="239382" y="279203"/>
                  <a:pt x="237754" y="278708"/>
                </a:cubicBezTo>
                <a:cubicBezTo>
                  <a:pt x="238363" y="277241"/>
                  <a:pt x="240725" y="278250"/>
                  <a:pt x="242449" y="278346"/>
                </a:cubicBezTo>
                <a:cubicBezTo>
                  <a:pt x="242907" y="274183"/>
                  <a:pt x="241640" y="273764"/>
                  <a:pt x="243783" y="270459"/>
                </a:cubicBezTo>
                <a:cubicBezTo>
                  <a:pt x="246974" y="271230"/>
                  <a:pt x="249917" y="271640"/>
                  <a:pt x="250003" y="268039"/>
                </a:cubicBezTo>
                <a:cubicBezTo>
                  <a:pt x="251412" y="268678"/>
                  <a:pt x="251431" y="270316"/>
                  <a:pt x="252994" y="270897"/>
                </a:cubicBezTo>
                <a:cubicBezTo>
                  <a:pt x="255508" y="271183"/>
                  <a:pt x="254279" y="266201"/>
                  <a:pt x="255270" y="264334"/>
                </a:cubicBezTo>
                <a:cubicBezTo>
                  <a:pt x="258577" y="265912"/>
                  <a:pt x="261370" y="268391"/>
                  <a:pt x="263328" y="271488"/>
                </a:cubicBezTo>
                <a:cubicBezTo>
                  <a:pt x="264414" y="271164"/>
                  <a:pt x="265509" y="270849"/>
                  <a:pt x="265967" y="269583"/>
                </a:cubicBezTo>
                <a:cubicBezTo>
                  <a:pt x="265157" y="268144"/>
                  <a:pt x="263433" y="269230"/>
                  <a:pt x="261842" y="266563"/>
                </a:cubicBezTo>
                <a:cubicBezTo>
                  <a:pt x="262795" y="260200"/>
                  <a:pt x="261661" y="261467"/>
                  <a:pt x="262614" y="255133"/>
                </a:cubicBezTo>
                <a:cubicBezTo>
                  <a:pt x="263709" y="254544"/>
                  <a:pt x="264973" y="254348"/>
                  <a:pt x="266195" y="254581"/>
                </a:cubicBezTo>
                <a:cubicBezTo>
                  <a:pt x="266814" y="250771"/>
                  <a:pt x="267472" y="247065"/>
                  <a:pt x="271853" y="248580"/>
                </a:cubicBezTo>
                <a:cubicBezTo>
                  <a:pt x="271254" y="247491"/>
                  <a:pt x="271059" y="246226"/>
                  <a:pt x="271301" y="245008"/>
                </a:cubicBezTo>
                <a:cubicBezTo>
                  <a:pt x="274158" y="242570"/>
                  <a:pt x="275206" y="248609"/>
                  <a:pt x="278054" y="246161"/>
                </a:cubicBezTo>
                <a:cubicBezTo>
                  <a:pt x="278301" y="244008"/>
                  <a:pt x="274463" y="244751"/>
                  <a:pt x="275196" y="242208"/>
                </a:cubicBezTo>
                <a:cubicBezTo>
                  <a:pt x="275930" y="238112"/>
                  <a:pt x="279359" y="237817"/>
                  <a:pt x="283855" y="239036"/>
                </a:cubicBezTo>
                <a:cubicBezTo>
                  <a:pt x="285321" y="236007"/>
                  <a:pt x="282769" y="235845"/>
                  <a:pt x="283683" y="233207"/>
                </a:cubicBezTo>
                <a:cubicBezTo>
                  <a:pt x="285147" y="232499"/>
                  <a:pt x="286823" y="232370"/>
                  <a:pt x="288379" y="232845"/>
                </a:cubicBezTo>
                <a:cubicBezTo>
                  <a:pt x="288450" y="230652"/>
                  <a:pt x="289670" y="228658"/>
                  <a:pt x="291589" y="227596"/>
                </a:cubicBezTo>
                <a:cubicBezTo>
                  <a:pt x="292056" y="227349"/>
                  <a:pt x="292827" y="229301"/>
                  <a:pt x="293656" y="229101"/>
                </a:cubicBezTo>
                <a:cubicBezTo>
                  <a:pt x="295666" y="228635"/>
                  <a:pt x="299085" y="223110"/>
                  <a:pt x="302504" y="224806"/>
                </a:cubicBezTo>
                <a:cubicBezTo>
                  <a:pt x="302169" y="222876"/>
                  <a:pt x="302505" y="220889"/>
                  <a:pt x="303457" y="219176"/>
                </a:cubicBezTo>
                <a:cubicBezTo>
                  <a:pt x="303686" y="218871"/>
                  <a:pt x="305362" y="219795"/>
                  <a:pt x="305714" y="219557"/>
                </a:cubicBezTo>
                <a:cubicBezTo>
                  <a:pt x="306067" y="219319"/>
                  <a:pt x="305714" y="217528"/>
                  <a:pt x="306095" y="217300"/>
                </a:cubicBezTo>
                <a:cubicBezTo>
                  <a:pt x="306476" y="217071"/>
                  <a:pt x="308000" y="218005"/>
                  <a:pt x="308343" y="217681"/>
                </a:cubicBezTo>
                <a:cubicBezTo>
                  <a:pt x="308686" y="217357"/>
                  <a:pt x="310505" y="212356"/>
                  <a:pt x="311363" y="213556"/>
                </a:cubicBezTo>
                <a:cubicBezTo>
                  <a:pt x="312315" y="214919"/>
                  <a:pt x="312020" y="214195"/>
                  <a:pt x="312677" y="212604"/>
                </a:cubicBezTo>
                <a:cubicBezTo>
                  <a:pt x="315611" y="213499"/>
                  <a:pt x="315982" y="216204"/>
                  <a:pt x="316240" y="219005"/>
                </a:cubicBezTo>
                <a:cubicBezTo>
                  <a:pt x="315716" y="220729"/>
                  <a:pt x="318745" y="219824"/>
                  <a:pt x="319421" y="220710"/>
                </a:cubicBezTo>
                <a:cubicBezTo>
                  <a:pt x="319735" y="221119"/>
                  <a:pt x="318811" y="222472"/>
                  <a:pt x="319040" y="222958"/>
                </a:cubicBezTo>
                <a:cubicBezTo>
                  <a:pt x="320259" y="225587"/>
                  <a:pt x="323869" y="227349"/>
                  <a:pt x="326174" y="228806"/>
                </a:cubicBezTo>
                <a:cubicBezTo>
                  <a:pt x="326612" y="227501"/>
                  <a:pt x="324564" y="227958"/>
                  <a:pt x="324107" y="227301"/>
                </a:cubicBezTo>
                <a:cubicBezTo>
                  <a:pt x="324336" y="227634"/>
                  <a:pt x="323326" y="223996"/>
                  <a:pt x="323364" y="224853"/>
                </a:cubicBezTo>
                <a:cubicBezTo>
                  <a:pt x="323279" y="223091"/>
                  <a:pt x="328051" y="218462"/>
                  <a:pt x="323574" y="216776"/>
                </a:cubicBezTo>
                <a:cubicBezTo>
                  <a:pt x="324260" y="214480"/>
                  <a:pt x="328574" y="217309"/>
                  <a:pt x="329584" y="215471"/>
                </a:cubicBezTo>
                <a:cubicBezTo>
                  <a:pt x="331260" y="210975"/>
                  <a:pt x="324545" y="212442"/>
                  <a:pt x="326231" y="207946"/>
                </a:cubicBezTo>
                <a:cubicBezTo>
                  <a:pt x="328574" y="206194"/>
                  <a:pt x="329441" y="208994"/>
                  <a:pt x="331670" y="210032"/>
                </a:cubicBezTo>
                <a:cubicBezTo>
                  <a:pt x="331022" y="207721"/>
                  <a:pt x="331441" y="205240"/>
                  <a:pt x="332813" y="203269"/>
                </a:cubicBezTo>
                <a:lnTo>
                  <a:pt x="338452" y="204222"/>
                </a:lnTo>
                <a:cubicBezTo>
                  <a:pt x="341814" y="205108"/>
                  <a:pt x="340709" y="197507"/>
                  <a:pt x="343529" y="201612"/>
                </a:cubicBezTo>
                <a:cubicBezTo>
                  <a:pt x="343853" y="199707"/>
                  <a:pt x="344167" y="197859"/>
                  <a:pt x="344481" y="195973"/>
                </a:cubicBezTo>
                <a:cubicBezTo>
                  <a:pt x="348472" y="197878"/>
                  <a:pt x="348520" y="194221"/>
                  <a:pt x="350691" y="193554"/>
                </a:cubicBezTo>
                <a:cubicBezTo>
                  <a:pt x="353901" y="192973"/>
                  <a:pt x="351644" y="196135"/>
                  <a:pt x="352368" y="197316"/>
                </a:cubicBezTo>
                <a:cubicBezTo>
                  <a:pt x="353092" y="198497"/>
                  <a:pt x="355349" y="198497"/>
                  <a:pt x="355368" y="200174"/>
                </a:cubicBezTo>
                <a:cubicBezTo>
                  <a:pt x="359654" y="200060"/>
                  <a:pt x="355463" y="196707"/>
                  <a:pt x="358578" y="194926"/>
                </a:cubicBezTo>
                <a:cubicBezTo>
                  <a:pt x="358731" y="193830"/>
                  <a:pt x="357349" y="193821"/>
                  <a:pt x="356511" y="193421"/>
                </a:cubicBezTo>
                <a:cubicBezTo>
                  <a:pt x="356711" y="191373"/>
                  <a:pt x="358292" y="191268"/>
                  <a:pt x="358416" y="189106"/>
                </a:cubicBezTo>
                <a:cubicBezTo>
                  <a:pt x="361445" y="189258"/>
                  <a:pt x="360921" y="191963"/>
                  <a:pt x="361036" y="194183"/>
                </a:cubicBezTo>
                <a:cubicBezTo>
                  <a:pt x="364065" y="195192"/>
                  <a:pt x="362798" y="190163"/>
                  <a:pt x="365169" y="190249"/>
                </a:cubicBezTo>
                <a:cubicBezTo>
                  <a:pt x="368027" y="189011"/>
                  <a:pt x="366913" y="193792"/>
                  <a:pt x="367979" y="194202"/>
                </a:cubicBezTo>
                <a:cubicBezTo>
                  <a:pt x="369046" y="194611"/>
                  <a:pt x="371351" y="192240"/>
                  <a:pt x="369494" y="192144"/>
                </a:cubicBezTo>
                <a:cubicBezTo>
                  <a:pt x="369637" y="189087"/>
                  <a:pt x="375628" y="194259"/>
                  <a:pt x="374571" y="189525"/>
                </a:cubicBezTo>
                <a:cubicBezTo>
                  <a:pt x="375990" y="189411"/>
                  <a:pt x="374809" y="191430"/>
                  <a:pt x="375314" y="191973"/>
                </a:cubicBezTo>
                <a:cubicBezTo>
                  <a:pt x="375618" y="192268"/>
                  <a:pt x="378171" y="190325"/>
                  <a:pt x="377571" y="192354"/>
                </a:cubicBezTo>
                <a:cubicBezTo>
                  <a:pt x="380429" y="190735"/>
                  <a:pt x="379266" y="183562"/>
                  <a:pt x="381743" y="181467"/>
                </a:cubicBezTo>
                <a:cubicBezTo>
                  <a:pt x="384115" y="183076"/>
                  <a:pt x="388410" y="183372"/>
                  <a:pt x="390363" y="185277"/>
                </a:cubicBezTo>
                <a:cubicBezTo>
                  <a:pt x="389020" y="187115"/>
                  <a:pt x="386744" y="187610"/>
                  <a:pt x="386972" y="191659"/>
                </a:cubicBezTo>
                <a:cubicBezTo>
                  <a:pt x="390014" y="190445"/>
                  <a:pt x="392219" y="187754"/>
                  <a:pt x="392811" y="184534"/>
                </a:cubicBezTo>
                <a:cubicBezTo>
                  <a:pt x="397926" y="184534"/>
                  <a:pt x="396812" y="188963"/>
                  <a:pt x="399936" y="190373"/>
                </a:cubicBezTo>
                <a:cubicBezTo>
                  <a:pt x="407489" y="190544"/>
                  <a:pt x="407880" y="183972"/>
                  <a:pt x="408061" y="176685"/>
                </a:cubicBezTo>
                <a:cubicBezTo>
                  <a:pt x="403631" y="175733"/>
                  <a:pt x="408127" y="178476"/>
                  <a:pt x="405203" y="179676"/>
                </a:cubicBezTo>
                <a:cubicBezTo>
                  <a:pt x="401707" y="180429"/>
                  <a:pt x="403069" y="176819"/>
                  <a:pt x="402346" y="175723"/>
                </a:cubicBezTo>
                <a:cubicBezTo>
                  <a:pt x="401290" y="174120"/>
                  <a:pt x="399959" y="172717"/>
                  <a:pt x="398412" y="171580"/>
                </a:cubicBezTo>
                <a:cubicBezTo>
                  <a:pt x="398631" y="169103"/>
                  <a:pt x="402498" y="171751"/>
                  <a:pt x="404232" y="171408"/>
                </a:cubicBezTo>
                <a:cubicBezTo>
                  <a:pt x="405536" y="170265"/>
                  <a:pt x="403765" y="167684"/>
                  <a:pt x="403679" y="167836"/>
                </a:cubicBezTo>
                <a:cubicBezTo>
                  <a:pt x="404517" y="166084"/>
                  <a:pt x="407222" y="166884"/>
                  <a:pt x="407641" y="165036"/>
                </a:cubicBezTo>
                <a:cubicBezTo>
                  <a:pt x="408061" y="163188"/>
                  <a:pt x="411547" y="165036"/>
                  <a:pt x="411785" y="161093"/>
                </a:cubicBezTo>
                <a:cubicBezTo>
                  <a:pt x="416547" y="163122"/>
                  <a:pt x="416128" y="157911"/>
                  <a:pt x="420253" y="159054"/>
                </a:cubicBezTo>
                <a:cubicBezTo>
                  <a:pt x="420500" y="157559"/>
                  <a:pt x="420757" y="156054"/>
                  <a:pt x="421015" y="154549"/>
                </a:cubicBezTo>
                <a:cubicBezTo>
                  <a:pt x="424091" y="154206"/>
                  <a:pt x="428492" y="151539"/>
                  <a:pt x="431349" y="155140"/>
                </a:cubicBezTo>
                <a:cubicBezTo>
                  <a:pt x="433854" y="155425"/>
                  <a:pt x="432635" y="150444"/>
                  <a:pt x="433626" y="148577"/>
                </a:cubicBezTo>
                <a:cubicBezTo>
                  <a:pt x="434818" y="147837"/>
                  <a:pt x="435802" y="146803"/>
                  <a:pt x="436483" y="145577"/>
                </a:cubicBezTo>
                <a:cubicBezTo>
                  <a:pt x="438388" y="146139"/>
                  <a:pt x="439731" y="144148"/>
                  <a:pt x="439865" y="146148"/>
                </a:cubicBezTo>
                <a:cubicBezTo>
                  <a:pt x="442665" y="144043"/>
                  <a:pt x="444627" y="140766"/>
                  <a:pt x="449837" y="142043"/>
                </a:cubicBezTo>
                <a:lnTo>
                  <a:pt x="449066" y="146548"/>
                </a:lnTo>
                <a:cubicBezTo>
                  <a:pt x="450790" y="147091"/>
                  <a:pt x="449894" y="144005"/>
                  <a:pt x="450771" y="143367"/>
                </a:cubicBezTo>
                <a:cubicBezTo>
                  <a:pt x="451923" y="142519"/>
                  <a:pt x="454381" y="144034"/>
                  <a:pt x="455466" y="142995"/>
                </a:cubicBezTo>
                <a:cubicBezTo>
                  <a:pt x="456552" y="141957"/>
                  <a:pt x="455676" y="135613"/>
                  <a:pt x="459810" y="137938"/>
                </a:cubicBezTo>
                <a:cubicBezTo>
                  <a:pt x="461210" y="134632"/>
                  <a:pt x="458419" y="134289"/>
                  <a:pt x="459810" y="130984"/>
                </a:cubicBezTo>
                <a:lnTo>
                  <a:pt x="466573" y="132127"/>
                </a:lnTo>
                <a:cubicBezTo>
                  <a:pt x="468982" y="132737"/>
                  <a:pt x="467754" y="128222"/>
                  <a:pt x="468649" y="126688"/>
                </a:cubicBezTo>
                <a:cubicBezTo>
                  <a:pt x="471735" y="124412"/>
                  <a:pt x="471364" y="128955"/>
                  <a:pt x="473907" y="129898"/>
                </a:cubicBezTo>
                <a:cubicBezTo>
                  <a:pt x="473783" y="127670"/>
                  <a:pt x="471049" y="127308"/>
                  <a:pt x="472602" y="123879"/>
                </a:cubicBezTo>
                <a:cubicBezTo>
                  <a:pt x="473945" y="123879"/>
                  <a:pt x="474574" y="124469"/>
                  <a:pt x="474669" y="125393"/>
                </a:cubicBezTo>
                <a:cubicBezTo>
                  <a:pt x="477643" y="123842"/>
                  <a:pt x="480074" y="121424"/>
                  <a:pt x="481641" y="118459"/>
                </a:cubicBezTo>
                <a:cubicBezTo>
                  <a:pt x="482479" y="119374"/>
                  <a:pt x="483605" y="119976"/>
                  <a:pt x="484832" y="120164"/>
                </a:cubicBezTo>
                <a:cubicBezTo>
                  <a:pt x="486527" y="120564"/>
                  <a:pt x="485680" y="117792"/>
                  <a:pt x="486537" y="116973"/>
                </a:cubicBezTo>
                <a:cubicBezTo>
                  <a:pt x="488232" y="115325"/>
                  <a:pt x="492871" y="117059"/>
                  <a:pt x="492928" y="113420"/>
                </a:cubicBezTo>
                <a:cubicBezTo>
                  <a:pt x="494833" y="113420"/>
                  <a:pt x="494690" y="114811"/>
                  <a:pt x="496119" y="115116"/>
                </a:cubicBezTo>
                <a:cubicBezTo>
                  <a:pt x="498634" y="114258"/>
                  <a:pt x="497805" y="111439"/>
                  <a:pt x="499339" y="109867"/>
                </a:cubicBezTo>
                <a:cubicBezTo>
                  <a:pt x="500224" y="108915"/>
                  <a:pt x="502730" y="109810"/>
                  <a:pt x="503091" y="108191"/>
                </a:cubicBezTo>
                <a:cubicBezTo>
                  <a:pt x="503368" y="106962"/>
                  <a:pt x="505625" y="107839"/>
                  <a:pt x="505730" y="106286"/>
                </a:cubicBezTo>
                <a:cubicBezTo>
                  <a:pt x="507218" y="107118"/>
                  <a:pt x="508264" y="108564"/>
                  <a:pt x="508587" y="110239"/>
                </a:cubicBezTo>
                <a:cubicBezTo>
                  <a:pt x="511016" y="109486"/>
                  <a:pt x="513731" y="109115"/>
                  <a:pt x="514979" y="106686"/>
                </a:cubicBezTo>
                <a:cubicBezTo>
                  <a:pt x="519055" y="107753"/>
                  <a:pt x="523246" y="104781"/>
                  <a:pt x="525313" y="107286"/>
                </a:cubicBezTo>
                <a:cubicBezTo>
                  <a:pt x="524056" y="109353"/>
                  <a:pt x="520684" y="110667"/>
                  <a:pt x="519293" y="108581"/>
                </a:cubicBezTo>
                <a:cubicBezTo>
                  <a:pt x="517989" y="114601"/>
                  <a:pt x="525961" y="109629"/>
                  <a:pt x="527552" y="114620"/>
                </a:cubicBezTo>
                <a:cubicBezTo>
                  <a:pt x="530095" y="115401"/>
                  <a:pt x="529352" y="111572"/>
                  <a:pt x="531505" y="111810"/>
                </a:cubicBezTo>
                <a:cubicBezTo>
                  <a:pt x="535134" y="111877"/>
                  <a:pt x="533972" y="115344"/>
                  <a:pt x="536572" y="116144"/>
                </a:cubicBezTo>
                <a:cubicBezTo>
                  <a:pt x="539315" y="115830"/>
                  <a:pt x="538420" y="110382"/>
                  <a:pt x="542963" y="112591"/>
                </a:cubicBezTo>
                <a:cubicBezTo>
                  <a:pt x="542858" y="108381"/>
                  <a:pt x="540020" y="106095"/>
                  <a:pt x="540182" y="101685"/>
                </a:cubicBezTo>
                <a:cubicBezTo>
                  <a:pt x="543392" y="101390"/>
                  <a:pt x="542087" y="104314"/>
                  <a:pt x="544306" y="104705"/>
                </a:cubicBezTo>
                <a:cubicBezTo>
                  <a:pt x="545973" y="104705"/>
                  <a:pt x="545259" y="101409"/>
                  <a:pt x="547164" y="101714"/>
                </a:cubicBezTo>
                <a:cubicBezTo>
                  <a:pt x="544449" y="98609"/>
                  <a:pt x="547840" y="97332"/>
                  <a:pt x="544925" y="94370"/>
                </a:cubicBezTo>
                <a:cubicBezTo>
                  <a:pt x="547421" y="91322"/>
                  <a:pt x="549231" y="93818"/>
                  <a:pt x="553002" y="94580"/>
                </a:cubicBezTo>
                <a:cubicBezTo>
                  <a:pt x="554670" y="94272"/>
                  <a:pt x="556119" y="93249"/>
                  <a:pt x="556965" y="91779"/>
                </a:cubicBezTo>
                <a:cubicBezTo>
                  <a:pt x="555174" y="87579"/>
                  <a:pt x="551526" y="92379"/>
                  <a:pt x="548878" y="91570"/>
                </a:cubicBezTo>
                <a:cubicBezTo>
                  <a:pt x="548573" y="86598"/>
                  <a:pt x="541744" y="92008"/>
                  <a:pt x="542696" y="87036"/>
                </a:cubicBezTo>
                <a:cubicBezTo>
                  <a:pt x="541411" y="86407"/>
                  <a:pt x="541801" y="88865"/>
                  <a:pt x="541182" y="89103"/>
                </a:cubicBezTo>
                <a:cubicBezTo>
                  <a:pt x="539563" y="89712"/>
                  <a:pt x="538324" y="86703"/>
                  <a:pt x="535543" y="88150"/>
                </a:cubicBezTo>
                <a:cubicBezTo>
                  <a:pt x="532190" y="87560"/>
                  <a:pt x="532209" y="84569"/>
                  <a:pt x="529361" y="83616"/>
                </a:cubicBezTo>
                <a:cubicBezTo>
                  <a:pt x="526142" y="84197"/>
                  <a:pt x="523161" y="85121"/>
                  <a:pt x="519770" y="85521"/>
                </a:cubicBezTo>
                <a:cubicBezTo>
                  <a:pt x="517484" y="82759"/>
                  <a:pt x="514131" y="86960"/>
                  <a:pt x="514521" y="82302"/>
                </a:cubicBezTo>
                <a:cubicBezTo>
                  <a:pt x="509572" y="81260"/>
                  <a:pt x="504469" y="81182"/>
                  <a:pt x="499491" y="82073"/>
                </a:cubicBezTo>
                <a:cubicBezTo>
                  <a:pt x="499005" y="79806"/>
                  <a:pt x="496253" y="80721"/>
                  <a:pt x="498929" y="78502"/>
                </a:cubicBezTo>
                <a:cubicBezTo>
                  <a:pt x="496510" y="77882"/>
                  <a:pt x="495186" y="78816"/>
                  <a:pt x="494976" y="81359"/>
                </a:cubicBezTo>
                <a:cubicBezTo>
                  <a:pt x="492290" y="81702"/>
                  <a:pt x="492662" y="78787"/>
                  <a:pt x="490852" y="78340"/>
                </a:cubicBezTo>
                <a:cubicBezTo>
                  <a:pt x="486318" y="77225"/>
                  <a:pt x="481565" y="81083"/>
                  <a:pt x="478469" y="83188"/>
                </a:cubicBezTo>
                <a:cubicBezTo>
                  <a:pt x="477322" y="82032"/>
                  <a:pt x="475781" y="81352"/>
                  <a:pt x="474155" y="81283"/>
                </a:cubicBezTo>
                <a:cubicBezTo>
                  <a:pt x="475526" y="79316"/>
                  <a:pt x="475945" y="76838"/>
                  <a:pt x="475298" y="74530"/>
                </a:cubicBezTo>
                <a:cubicBezTo>
                  <a:pt x="473678" y="75968"/>
                  <a:pt x="470735" y="75558"/>
                  <a:pt x="469087" y="76949"/>
                </a:cubicBezTo>
                <a:cubicBezTo>
                  <a:pt x="467230" y="75568"/>
                  <a:pt x="468992" y="73901"/>
                  <a:pt x="464772" y="75044"/>
                </a:cubicBezTo>
                <a:cubicBezTo>
                  <a:pt x="462610" y="75634"/>
                  <a:pt x="461820" y="77501"/>
                  <a:pt x="459877" y="76530"/>
                </a:cubicBezTo>
                <a:lnTo>
                  <a:pt x="460648" y="72025"/>
                </a:lnTo>
                <a:cubicBezTo>
                  <a:pt x="457791" y="70729"/>
                  <a:pt x="458076" y="73987"/>
                  <a:pt x="456695" y="74834"/>
                </a:cubicBezTo>
                <a:cubicBezTo>
                  <a:pt x="452990" y="72929"/>
                  <a:pt x="442522" y="74025"/>
                  <a:pt x="440369" y="68586"/>
                </a:cubicBezTo>
                <a:cubicBezTo>
                  <a:pt x="434559" y="70653"/>
                  <a:pt x="431883" y="67976"/>
                  <a:pt x="426463" y="68538"/>
                </a:cubicBezTo>
                <a:cubicBezTo>
                  <a:pt x="426891" y="63938"/>
                  <a:pt x="421338" y="68443"/>
                  <a:pt x="421586" y="63081"/>
                </a:cubicBezTo>
                <a:cubicBezTo>
                  <a:pt x="419976" y="64528"/>
                  <a:pt x="417033" y="64109"/>
                  <a:pt x="415385" y="65500"/>
                </a:cubicBezTo>
                <a:cubicBezTo>
                  <a:pt x="412890" y="64290"/>
                  <a:pt x="412994" y="61242"/>
                  <a:pt x="410518" y="60033"/>
                </a:cubicBezTo>
                <a:cubicBezTo>
                  <a:pt x="406089" y="61109"/>
                  <a:pt x="412842" y="62166"/>
                  <a:pt x="410870" y="64738"/>
                </a:cubicBezTo>
                <a:cubicBezTo>
                  <a:pt x="409785" y="65062"/>
                  <a:pt x="408689" y="65386"/>
                  <a:pt x="408242" y="66643"/>
                </a:cubicBezTo>
                <a:cubicBezTo>
                  <a:pt x="407060" y="67681"/>
                  <a:pt x="403374" y="62166"/>
                  <a:pt x="400545" y="64185"/>
                </a:cubicBezTo>
                <a:cubicBezTo>
                  <a:pt x="398345" y="65728"/>
                  <a:pt x="400155" y="62909"/>
                  <a:pt x="396221" y="62280"/>
                </a:cubicBezTo>
                <a:cubicBezTo>
                  <a:pt x="396069" y="63376"/>
                  <a:pt x="397450" y="63385"/>
                  <a:pt x="398288" y="63785"/>
                </a:cubicBezTo>
                <a:cubicBezTo>
                  <a:pt x="396812" y="67872"/>
                  <a:pt x="394678" y="62319"/>
                  <a:pt x="393202" y="66405"/>
                </a:cubicBezTo>
                <a:cubicBezTo>
                  <a:pt x="391297" y="63547"/>
                  <a:pt x="389896" y="66405"/>
                  <a:pt x="386448" y="65252"/>
                </a:cubicBezTo>
                <a:lnTo>
                  <a:pt x="387020" y="61880"/>
                </a:lnTo>
                <a:cubicBezTo>
                  <a:pt x="383877" y="62099"/>
                  <a:pt x="382181" y="64376"/>
                  <a:pt x="379495" y="65233"/>
                </a:cubicBezTo>
                <a:cubicBezTo>
                  <a:pt x="375752" y="66129"/>
                  <a:pt x="373780" y="60842"/>
                  <a:pt x="371608" y="63900"/>
                </a:cubicBezTo>
                <a:cubicBezTo>
                  <a:pt x="368008" y="62814"/>
                  <a:pt x="369608" y="58042"/>
                  <a:pt x="368437" y="55251"/>
                </a:cubicBezTo>
                <a:cubicBezTo>
                  <a:pt x="366282" y="57177"/>
                  <a:pt x="365338" y="60117"/>
                  <a:pt x="365970" y="62938"/>
                </a:cubicBezTo>
                <a:cubicBezTo>
                  <a:pt x="363331" y="61985"/>
                  <a:pt x="363169" y="64585"/>
                  <a:pt x="360150" y="63119"/>
                </a:cubicBezTo>
                <a:cubicBezTo>
                  <a:pt x="360150" y="61052"/>
                  <a:pt x="361598" y="60985"/>
                  <a:pt x="361464" y="62166"/>
                </a:cubicBezTo>
                <a:cubicBezTo>
                  <a:pt x="364693" y="61671"/>
                  <a:pt x="359312" y="59213"/>
                  <a:pt x="359969" y="57280"/>
                </a:cubicBezTo>
                <a:cubicBezTo>
                  <a:pt x="358064" y="58766"/>
                  <a:pt x="353939" y="57175"/>
                  <a:pt x="353568" y="60833"/>
                </a:cubicBezTo>
                <a:cubicBezTo>
                  <a:pt x="351939" y="58375"/>
                  <a:pt x="350053" y="61614"/>
                  <a:pt x="348129" y="58747"/>
                </a:cubicBezTo>
                <a:cubicBezTo>
                  <a:pt x="346300" y="59423"/>
                  <a:pt x="345881" y="62099"/>
                  <a:pt x="344919" y="63995"/>
                </a:cubicBezTo>
                <a:cubicBezTo>
                  <a:pt x="343833" y="63785"/>
                  <a:pt x="344281" y="62471"/>
                  <a:pt x="344176" y="61557"/>
                </a:cubicBezTo>
                <a:cubicBezTo>
                  <a:pt x="340766" y="59547"/>
                  <a:pt x="342700" y="65052"/>
                  <a:pt x="339290" y="63042"/>
                </a:cubicBezTo>
                <a:lnTo>
                  <a:pt x="339671" y="60795"/>
                </a:lnTo>
                <a:cubicBezTo>
                  <a:pt x="336877" y="60325"/>
                  <a:pt x="334007" y="60655"/>
                  <a:pt x="331394" y="61747"/>
                </a:cubicBezTo>
                <a:cubicBezTo>
                  <a:pt x="329889" y="61080"/>
                  <a:pt x="331632" y="59747"/>
                  <a:pt x="332908" y="59680"/>
                </a:cubicBezTo>
                <a:cubicBezTo>
                  <a:pt x="333642" y="57451"/>
                  <a:pt x="329613" y="59356"/>
                  <a:pt x="329336" y="60233"/>
                </a:cubicBezTo>
                <a:cubicBezTo>
                  <a:pt x="327193" y="59185"/>
                  <a:pt x="328270" y="57213"/>
                  <a:pt x="328032" y="54222"/>
                </a:cubicBezTo>
                <a:cubicBezTo>
                  <a:pt x="327974" y="53432"/>
                  <a:pt x="327079" y="53003"/>
                  <a:pt x="327079" y="52898"/>
                </a:cubicBezTo>
                <a:cubicBezTo>
                  <a:pt x="327079" y="52098"/>
                  <a:pt x="328470" y="51879"/>
                  <a:pt x="328574" y="50831"/>
                </a:cubicBezTo>
                <a:cubicBezTo>
                  <a:pt x="328574" y="50584"/>
                  <a:pt x="327174" y="49422"/>
                  <a:pt x="327841" y="48393"/>
                </a:cubicBezTo>
                <a:cubicBezTo>
                  <a:pt x="328022" y="48098"/>
                  <a:pt x="330756" y="49041"/>
                  <a:pt x="330279" y="47650"/>
                </a:cubicBezTo>
                <a:cubicBezTo>
                  <a:pt x="330194" y="45402"/>
                  <a:pt x="326069" y="46012"/>
                  <a:pt x="327660" y="42564"/>
                </a:cubicBezTo>
                <a:lnTo>
                  <a:pt x="324288" y="41992"/>
                </a:lnTo>
                <a:cubicBezTo>
                  <a:pt x="320735" y="44431"/>
                  <a:pt x="322040" y="45602"/>
                  <a:pt x="321821" y="49688"/>
                </a:cubicBezTo>
                <a:cubicBezTo>
                  <a:pt x="320243" y="49631"/>
                  <a:pt x="318955" y="48405"/>
                  <a:pt x="318821" y="46831"/>
                </a:cubicBezTo>
                <a:cubicBezTo>
                  <a:pt x="315335" y="47250"/>
                  <a:pt x="321154" y="48964"/>
                  <a:pt x="319183" y="51536"/>
                </a:cubicBezTo>
                <a:cubicBezTo>
                  <a:pt x="314801" y="51012"/>
                  <a:pt x="313011" y="48679"/>
                  <a:pt x="313382" y="44754"/>
                </a:cubicBezTo>
                <a:cubicBezTo>
                  <a:pt x="314658" y="45154"/>
                  <a:pt x="315430" y="44840"/>
                  <a:pt x="315830" y="44002"/>
                </a:cubicBezTo>
                <a:cubicBezTo>
                  <a:pt x="316421" y="42297"/>
                  <a:pt x="313211" y="43183"/>
                  <a:pt x="312630" y="42307"/>
                </a:cubicBezTo>
                <a:cubicBezTo>
                  <a:pt x="311744" y="40963"/>
                  <a:pt x="316906" y="37925"/>
                  <a:pt x="310953" y="38544"/>
                </a:cubicBezTo>
                <a:cubicBezTo>
                  <a:pt x="312725" y="34467"/>
                  <a:pt x="311906" y="33267"/>
                  <a:pt x="313420" y="30848"/>
                </a:cubicBezTo>
                <a:cubicBezTo>
                  <a:pt x="315706" y="31905"/>
                  <a:pt x="318907" y="35763"/>
                  <a:pt x="320183" y="31991"/>
                </a:cubicBezTo>
                <a:cubicBezTo>
                  <a:pt x="321650" y="32601"/>
                  <a:pt x="320640" y="34972"/>
                  <a:pt x="320535" y="36687"/>
                </a:cubicBezTo>
                <a:cubicBezTo>
                  <a:pt x="323488" y="36182"/>
                  <a:pt x="323917" y="32134"/>
                  <a:pt x="328070" y="33334"/>
                </a:cubicBezTo>
                <a:lnTo>
                  <a:pt x="328841" y="28829"/>
                </a:lnTo>
                <a:cubicBezTo>
                  <a:pt x="333023" y="30543"/>
                  <a:pt x="333308" y="26752"/>
                  <a:pt x="336166" y="26590"/>
                </a:cubicBezTo>
                <a:cubicBezTo>
                  <a:pt x="335547" y="24028"/>
                  <a:pt x="331280" y="27943"/>
                  <a:pt x="328089" y="26381"/>
                </a:cubicBezTo>
                <a:cubicBezTo>
                  <a:pt x="328889" y="25485"/>
                  <a:pt x="332308" y="22018"/>
                  <a:pt x="329603" y="24314"/>
                </a:cubicBezTo>
                <a:cubicBezTo>
                  <a:pt x="326984" y="23142"/>
                  <a:pt x="329975" y="18523"/>
                  <a:pt x="332623" y="20189"/>
                </a:cubicBezTo>
                <a:cubicBezTo>
                  <a:pt x="333727" y="19075"/>
                  <a:pt x="331822" y="17932"/>
                  <a:pt x="331870" y="17742"/>
                </a:cubicBezTo>
                <a:cubicBezTo>
                  <a:pt x="332080" y="16856"/>
                  <a:pt x="334823" y="17037"/>
                  <a:pt x="334509" y="15837"/>
                </a:cubicBezTo>
                <a:cubicBezTo>
                  <a:pt x="334194" y="14636"/>
                  <a:pt x="332908" y="14455"/>
                  <a:pt x="331327" y="14141"/>
                </a:cubicBezTo>
                <a:cubicBezTo>
                  <a:pt x="331546" y="11655"/>
                  <a:pt x="335404" y="14303"/>
                  <a:pt x="337147" y="13960"/>
                </a:cubicBezTo>
                <a:cubicBezTo>
                  <a:pt x="338342" y="13228"/>
                  <a:pt x="339327" y="12197"/>
                  <a:pt x="340004" y="10969"/>
                </a:cubicBezTo>
                <a:cubicBezTo>
                  <a:pt x="344234" y="10874"/>
                  <a:pt x="349720" y="12560"/>
                  <a:pt x="351844" y="9502"/>
                </a:cubicBezTo>
                <a:cubicBezTo>
                  <a:pt x="354835" y="7283"/>
                  <a:pt x="350406" y="12303"/>
                  <a:pt x="350891" y="15132"/>
                </a:cubicBezTo>
                <a:cubicBezTo>
                  <a:pt x="354882" y="13455"/>
                  <a:pt x="355083" y="14522"/>
                  <a:pt x="359159" y="14179"/>
                </a:cubicBezTo>
                <a:cubicBezTo>
                  <a:pt x="362283" y="13465"/>
                  <a:pt x="364046" y="10817"/>
                  <a:pt x="367808" y="11007"/>
                </a:cubicBezTo>
                <a:cubicBezTo>
                  <a:pt x="367141" y="13798"/>
                  <a:pt x="368951" y="14817"/>
                  <a:pt x="370427" y="16094"/>
                </a:cubicBezTo>
                <a:cubicBezTo>
                  <a:pt x="371380" y="16027"/>
                  <a:pt x="371742" y="15141"/>
                  <a:pt x="372866" y="15341"/>
                </a:cubicBezTo>
                <a:cubicBezTo>
                  <a:pt x="374028" y="11884"/>
                  <a:pt x="371513" y="11017"/>
                  <a:pt x="373075" y="7264"/>
                </a:cubicBezTo>
                <a:cubicBezTo>
                  <a:pt x="373932" y="8645"/>
                  <a:pt x="377180" y="8321"/>
                  <a:pt x="375933" y="11217"/>
                </a:cubicBezTo>
                <a:cubicBezTo>
                  <a:pt x="377200" y="10198"/>
                  <a:pt x="380152" y="11579"/>
                  <a:pt x="379895" y="8417"/>
                </a:cubicBezTo>
                <a:cubicBezTo>
                  <a:pt x="380162" y="6740"/>
                  <a:pt x="378533" y="8055"/>
                  <a:pt x="378762" y="8226"/>
                </a:cubicBezTo>
                <a:cubicBezTo>
                  <a:pt x="376586" y="6140"/>
                  <a:pt x="376514" y="2685"/>
                  <a:pt x="378601" y="509"/>
                </a:cubicBezTo>
                <a:cubicBezTo>
                  <a:pt x="378722" y="383"/>
                  <a:pt x="378848" y="263"/>
                  <a:pt x="378981" y="149"/>
                </a:cubicBezTo>
                <a:cubicBezTo>
                  <a:pt x="381533" y="901"/>
                  <a:pt x="381048" y="3587"/>
                  <a:pt x="379343" y="4845"/>
                </a:cubicBezTo>
                <a:cubicBezTo>
                  <a:pt x="382667" y="6273"/>
                  <a:pt x="382029" y="2121"/>
                  <a:pt x="385353" y="3540"/>
                </a:cubicBezTo>
                <a:cubicBezTo>
                  <a:pt x="385201" y="4645"/>
                  <a:pt x="386591" y="4654"/>
                  <a:pt x="387420" y="5054"/>
                </a:cubicBezTo>
                <a:cubicBezTo>
                  <a:pt x="385201" y="9255"/>
                  <a:pt x="391087" y="8483"/>
                  <a:pt x="387591" y="10884"/>
                </a:cubicBezTo>
                <a:cubicBezTo>
                  <a:pt x="393306" y="9226"/>
                  <a:pt x="392992" y="16189"/>
                  <a:pt x="399793" y="14113"/>
                </a:cubicBezTo>
                <a:cubicBezTo>
                  <a:pt x="399720" y="12090"/>
                  <a:pt x="400469" y="10125"/>
                  <a:pt x="401869" y="8664"/>
                </a:cubicBezTo>
                <a:cubicBezTo>
                  <a:pt x="404574" y="11617"/>
                  <a:pt x="406698" y="8807"/>
                  <a:pt x="409575" y="11131"/>
                </a:cubicBezTo>
                <a:cubicBezTo>
                  <a:pt x="412270" y="11048"/>
                  <a:pt x="414966" y="11118"/>
                  <a:pt x="417652" y="11341"/>
                </a:cubicBezTo>
                <a:cubicBezTo>
                  <a:pt x="416995" y="13303"/>
                  <a:pt x="418328" y="13836"/>
                  <a:pt x="418605" y="12655"/>
                </a:cubicBezTo>
                <a:cubicBezTo>
                  <a:pt x="421634" y="13674"/>
                  <a:pt x="418052" y="16208"/>
                  <a:pt x="415966" y="14560"/>
                </a:cubicBezTo>
                <a:cubicBezTo>
                  <a:pt x="416862" y="16237"/>
                  <a:pt x="416357" y="18904"/>
                  <a:pt x="417262" y="20580"/>
                </a:cubicBezTo>
                <a:cubicBezTo>
                  <a:pt x="418625" y="19531"/>
                  <a:pt x="420580" y="19786"/>
                  <a:pt x="421630" y="21149"/>
                </a:cubicBezTo>
                <a:cubicBezTo>
                  <a:pt x="421677" y="21211"/>
                  <a:pt x="421724" y="21276"/>
                  <a:pt x="421767" y="21342"/>
                </a:cubicBezTo>
                <a:cubicBezTo>
                  <a:pt x="422409" y="21338"/>
                  <a:pt x="422926" y="20815"/>
                  <a:pt x="422922" y="20173"/>
                </a:cubicBezTo>
                <a:cubicBezTo>
                  <a:pt x="422920" y="19684"/>
                  <a:pt x="422610" y="19248"/>
                  <a:pt x="422148" y="19085"/>
                </a:cubicBezTo>
                <a:cubicBezTo>
                  <a:pt x="423624" y="16980"/>
                  <a:pt x="426911" y="17389"/>
                  <a:pt x="430416" y="18132"/>
                </a:cubicBezTo>
                <a:cubicBezTo>
                  <a:pt x="429682" y="18675"/>
                  <a:pt x="429558" y="19485"/>
                  <a:pt x="428911" y="20199"/>
                </a:cubicBezTo>
                <a:cubicBezTo>
                  <a:pt x="428151" y="21148"/>
                  <a:pt x="427576" y="22230"/>
                  <a:pt x="427215" y="23390"/>
                </a:cubicBezTo>
                <a:cubicBezTo>
                  <a:pt x="426977" y="23923"/>
                  <a:pt x="425853" y="24485"/>
                  <a:pt x="425891" y="24342"/>
                </a:cubicBezTo>
                <a:cubicBezTo>
                  <a:pt x="425253" y="26924"/>
                  <a:pt x="427711" y="29267"/>
                  <a:pt x="423624" y="30915"/>
                </a:cubicBezTo>
                <a:cubicBezTo>
                  <a:pt x="425380" y="32929"/>
                  <a:pt x="426191" y="35598"/>
                  <a:pt x="425853" y="38249"/>
                </a:cubicBezTo>
                <a:cubicBezTo>
                  <a:pt x="429978" y="39411"/>
                  <a:pt x="432626" y="38468"/>
                  <a:pt x="433378" y="34887"/>
                </a:cubicBezTo>
                <a:cubicBezTo>
                  <a:pt x="437188" y="36001"/>
                  <a:pt x="434330" y="38173"/>
                  <a:pt x="438817" y="36973"/>
                </a:cubicBezTo>
                <a:cubicBezTo>
                  <a:pt x="437236" y="41068"/>
                  <a:pt x="439284" y="42592"/>
                  <a:pt x="438417" y="46174"/>
                </a:cubicBezTo>
                <a:cubicBezTo>
                  <a:pt x="439179" y="46802"/>
                  <a:pt x="440931" y="42564"/>
                  <a:pt x="440322" y="41859"/>
                </a:cubicBezTo>
                <a:cubicBezTo>
                  <a:pt x="439036" y="40382"/>
                  <a:pt x="440407" y="41516"/>
                  <a:pt x="440512" y="40735"/>
                </a:cubicBezTo>
                <a:cubicBezTo>
                  <a:pt x="440646" y="39687"/>
                  <a:pt x="438750" y="34306"/>
                  <a:pt x="441855" y="32848"/>
                </a:cubicBezTo>
                <a:cubicBezTo>
                  <a:pt x="443265" y="32772"/>
                  <a:pt x="442093" y="34753"/>
                  <a:pt x="442598" y="35287"/>
                </a:cubicBezTo>
                <a:cubicBezTo>
                  <a:pt x="443646" y="36458"/>
                  <a:pt x="446494" y="35620"/>
                  <a:pt x="446913" y="37192"/>
                </a:cubicBezTo>
                <a:cubicBezTo>
                  <a:pt x="449066" y="36506"/>
                  <a:pt x="449637" y="33591"/>
                  <a:pt x="451247" y="32134"/>
                </a:cubicBezTo>
                <a:cubicBezTo>
                  <a:pt x="455057" y="33163"/>
                  <a:pt x="457095" y="35839"/>
                  <a:pt x="459515" y="31181"/>
                </a:cubicBezTo>
                <a:cubicBezTo>
                  <a:pt x="460810" y="31591"/>
                  <a:pt x="460124" y="33401"/>
                  <a:pt x="460077" y="34753"/>
                </a:cubicBezTo>
                <a:cubicBezTo>
                  <a:pt x="460077" y="36792"/>
                  <a:pt x="467097" y="41945"/>
                  <a:pt x="467773" y="37220"/>
                </a:cubicBezTo>
                <a:cubicBezTo>
                  <a:pt x="471583" y="36849"/>
                  <a:pt x="468678" y="41202"/>
                  <a:pt x="471707" y="41364"/>
                </a:cubicBezTo>
                <a:cubicBezTo>
                  <a:pt x="474002" y="40287"/>
                  <a:pt x="471840" y="35725"/>
                  <a:pt x="474155" y="40630"/>
                </a:cubicBezTo>
                <a:cubicBezTo>
                  <a:pt x="477393" y="40116"/>
                  <a:pt x="471497" y="38020"/>
                  <a:pt x="473974" y="34801"/>
                </a:cubicBezTo>
                <a:cubicBezTo>
                  <a:pt x="474726" y="35925"/>
                  <a:pt x="476945" y="35991"/>
                  <a:pt x="476974" y="37658"/>
                </a:cubicBezTo>
                <a:cubicBezTo>
                  <a:pt x="476483" y="39173"/>
                  <a:pt x="477209" y="40813"/>
                  <a:pt x="478660" y="41468"/>
                </a:cubicBezTo>
                <a:cubicBezTo>
                  <a:pt x="478250" y="42754"/>
                  <a:pt x="476441" y="42068"/>
                  <a:pt x="475078" y="42011"/>
                </a:cubicBezTo>
                <a:cubicBezTo>
                  <a:pt x="474202" y="44288"/>
                  <a:pt x="475345" y="45135"/>
                  <a:pt x="475440" y="46717"/>
                </a:cubicBezTo>
                <a:cubicBezTo>
                  <a:pt x="476545" y="46869"/>
                  <a:pt x="476555" y="45488"/>
                  <a:pt x="476955" y="44659"/>
                </a:cubicBezTo>
                <a:cubicBezTo>
                  <a:pt x="480603" y="44659"/>
                  <a:pt x="480936" y="47860"/>
                  <a:pt x="483718" y="45802"/>
                </a:cubicBezTo>
                <a:cubicBezTo>
                  <a:pt x="483899" y="43688"/>
                  <a:pt x="480012" y="44459"/>
                  <a:pt x="479593" y="42783"/>
                </a:cubicBezTo>
                <a:cubicBezTo>
                  <a:pt x="481394" y="41592"/>
                  <a:pt x="481498" y="38077"/>
                  <a:pt x="482060" y="35087"/>
                </a:cubicBezTo>
                <a:cubicBezTo>
                  <a:pt x="483475" y="35752"/>
                  <a:pt x="484187" y="37353"/>
                  <a:pt x="483737" y="38849"/>
                </a:cubicBezTo>
                <a:cubicBezTo>
                  <a:pt x="487204" y="38458"/>
                  <a:pt x="482784" y="35763"/>
                  <a:pt x="484689" y="33220"/>
                </a:cubicBezTo>
                <a:cubicBezTo>
                  <a:pt x="488994" y="35544"/>
                  <a:pt x="488671" y="31372"/>
                  <a:pt x="491842" y="32105"/>
                </a:cubicBezTo>
                <a:lnTo>
                  <a:pt x="490890" y="37744"/>
                </a:lnTo>
                <a:cubicBezTo>
                  <a:pt x="488499" y="36696"/>
                  <a:pt x="488918" y="39649"/>
                  <a:pt x="487128" y="39420"/>
                </a:cubicBezTo>
                <a:cubicBezTo>
                  <a:pt x="487128" y="42116"/>
                  <a:pt x="490137" y="39716"/>
                  <a:pt x="491642" y="40182"/>
                </a:cubicBezTo>
                <a:cubicBezTo>
                  <a:pt x="491557" y="40182"/>
                  <a:pt x="491642" y="42087"/>
                  <a:pt x="492595" y="41506"/>
                </a:cubicBezTo>
                <a:cubicBezTo>
                  <a:pt x="495024" y="40744"/>
                  <a:pt x="497729" y="40373"/>
                  <a:pt x="498986" y="37954"/>
                </a:cubicBezTo>
                <a:cubicBezTo>
                  <a:pt x="500646" y="39046"/>
                  <a:pt x="502689" y="39392"/>
                  <a:pt x="504615" y="38906"/>
                </a:cubicBezTo>
                <a:cubicBezTo>
                  <a:pt x="505209" y="39997"/>
                  <a:pt x="505407" y="41258"/>
                  <a:pt x="505177" y="42478"/>
                </a:cubicBezTo>
                <a:cubicBezTo>
                  <a:pt x="507883" y="42630"/>
                  <a:pt x="506711" y="37611"/>
                  <a:pt x="504806" y="37782"/>
                </a:cubicBezTo>
                <a:cubicBezTo>
                  <a:pt x="504873" y="35982"/>
                  <a:pt x="507483" y="37849"/>
                  <a:pt x="508387" y="37230"/>
                </a:cubicBezTo>
                <a:cubicBezTo>
                  <a:pt x="509464" y="36487"/>
                  <a:pt x="508787" y="33096"/>
                  <a:pt x="510292" y="32915"/>
                </a:cubicBezTo>
                <a:cubicBezTo>
                  <a:pt x="511164" y="34005"/>
                  <a:pt x="511742" y="35300"/>
                  <a:pt x="511969" y="36677"/>
                </a:cubicBezTo>
                <a:cubicBezTo>
                  <a:pt x="515636" y="36496"/>
                  <a:pt x="513950" y="33915"/>
                  <a:pt x="514045" y="31229"/>
                </a:cubicBezTo>
                <a:cubicBezTo>
                  <a:pt x="515836" y="33705"/>
                  <a:pt x="516903" y="31839"/>
                  <a:pt x="519684" y="32181"/>
                </a:cubicBezTo>
                <a:cubicBezTo>
                  <a:pt x="521341" y="33315"/>
                  <a:pt x="518493" y="37649"/>
                  <a:pt x="522303" y="37258"/>
                </a:cubicBezTo>
                <a:cubicBezTo>
                  <a:pt x="521970" y="40325"/>
                  <a:pt x="520313" y="38716"/>
                  <a:pt x="521541" y="41764"/>
                </a:cubicBezTo>
                <a:cubicBezTo>
                  <a:pt x="522703" y="44621"/>
                  <a:pt x="523103" y="42983"/>
                  <a:pt x="525656" y="44783"/>
                </a:cubicBezTo>
                <a:cubicBezTo>
                  <a:pt x="525932" y="44974"/>
                  <a:pt x="525008" y="46840"/>
                  <a:pt x="525275" y="47040"/>
                </a:cubicBezTo>
                <a:cubicBezTo>
                  <a:pt x="526380" y="47831"/>
                  <a:pt x="526228" y="46088"/>
                  <a:pt x="526599" y="46088"/>
                </a:cubicBezTo>
                <a:cubicBezTo>
                  <a:pt x="528180" y="45945"/>
                  <a:pt x="529076" y="51574"/>
                  <a:pt x="529971" y="46659"/>
                </a:cubicBezTo>
                <a:cubicBezTo>
                  <a:pt x="533648" y="48012"/>
                  <a:pt x="535210" y="50879"/>
                  <a:pt x="540858" y="50822"/>
                </a:cubicBezTo>
                <a:cubicBezTo>
                  <a:pt x="540003" y="48583"/>
                  <a:pt x="540003" y="46108"/>
                  <a:pt x="540858" y="43869"/>
                </a:cubicBezTo>
                <a:cubicBezTo>
                  <a:pt x="543763" y="45650"/>
                  <a:pt x="546887" y="46726"/>
                  <a:pt x="547078" y="41449"/>
                </a:cubicBezTo>
                <a:cubicBezTo>
                  <a:pt x="550288" y="41144"/>
                  <a:pt x="548983" y="44069"/>
                  <a:pt x="551193" y="44469"/>
                </a:cubicBezTo>
                <a:cubicBezTo>
                  <a:pt x="554165" y="45621"/>
                  <a:pt x="552841" y="41525"/>
                  <a:pt x="554212" y="40335"/>
                </a:cubicBezTo>
                <a:cubicBezTo>
                  <a:pt x="554593" y="40021"/>
                  <a:pt x="556022" y="40944"/>
                  <a:pt x="556470" y="40725"/>
                </a:cubicBezTo>
                <a:cubicBezTo>
                  <a:pt x="558737" y="39640"/>
                  <a:pt x="560280" y="35963"/>
                  <a:pt x="562127" y="34725"/>
                </a:cubicBezTo>
                <a:cubicBezTo>
                  <a:pt x="564680" y="35887"/>
                  <a:pt x="560765" y="41630"/>
                  <a:pt x="563080" y="42992"/>
                </a:cubicBezTo>
                <a:cubicBezTo>
                  <a:pt x="567157" y="44735"/>
                  <a:pt x="563566" y="39525"/>
                  <a:pt x="564985" y="38677"/>
                </a:cubicBezTo>
                <a:cubicBezTo>
                  <a:pt x="565261" y="38516"/>
                  <a:pt x="567957" y="44764"/>
                  <a:pt x="568376" y="39249"/>
                </a:cubicBezTo>
                <a:cubicBezTo>
                  <a:pt x="570776" y="40954"/>
                  <a:pt x="571433" y="39525"/>
                  <a:pt x="573624" y="42468"/>
                </a:cubicBezTo>
                <a:cubicBezTo>
                  <a:pt x="571195" y="45012"/>
                  <a:pt x="574243" y="46631"/>
                  <a:pt x="571538" y="47907"/>
                </a:cubicBezTo>
                <a:cubicBezTo>
                  <a:pt x="571748" y="49660"/>
                  <a:pt x="573053" y="47707"/>
                  <a:pt x="574920" y="48479"/>
                </a:cubicBezTo>
                <a:cubicBezTo>
                  <a:pt x="573967" y="50793"/>
                  <a:pt x="576158" y="50898"/>
                  <a:pt x="577920" y="51336"/>
                </a:cubicBezTo>
                <a:cubicBezTo>
                  <a:pt x="577606" y="53241"/>
                  <a:pt x="577282" y="55089"/>
                  <a:pt x="576967" y="56975"/>
                </a:cubicBezTo>
                <a:cubicBezTo>
                  <a:pt x="582454" y="59690"/>
                  <a:pt x="577329" y="53708"/>
                  <a:pt x="579977" y="52851"/>
                </a:cubicBezTo>
                <a:cubicBezTo>
                  <a:pt x="581587" y="52327"/>
                  <a:pt x="580101" y="56070"/>
                  <a:pt x="580530" y="56413"/>
                </a:cubicBezTo>
                <a:cubicBezTo>
                  <a:pt x="582492" y="58004"/>
                  <a:pt x="582930" y="54794"/>
                  <a:pt x="584492" y="53613"/>
                </a:cubicBezTo>
                <a:cubicBezTo>
                  <a:pt x="585302" y="52994"/>
                  <a:pt x="587550" y="54127"/>
                  <a:pt x="587121" y="51708"/>
                </a:cubicBezTo>
                <a:cubicBezTo>
                  <a:pt x="589607" y="51927"/>
                  <a:pt x="590560" y="53241"/>
                  <a:pt x="589931" y="55670"/>
                </a:cubicBezTo>
                <a:cubicBezTo>
                  <a:pt x="593541" y="54908"/>
                  <a:pt x="596475" y="57451"/>
                  <a:pt x="599523" y="53765"/>
                </a:cubicBezTo>
                <a:cubicBezTo>
                  <a:pt x="601580" y="54613"/>
                  <a:pt x="601942" y="56680"/>
                  <a:pt x="604771" y="56975"/>
                </a:cubicBezTo>
                <a:cubicBezTo>
                  <a:pt x="603599" y="58621"/>
                  <a:pt x="601315" y="59005"/>
                  <a:pt x="599670" y="57833"/>
                </a:cubicBezTo>
                <a:cubicBezTo>
                  <a:pt x="599397" y="57639"/>
                  <a:pt x="599152" y="57407"/>
                  <a:pt x="598942" y="57146"/>
                </a:cubicBezTo>
                <a:cubicBezTo>
                  <a:pt x="598479" y="58646"/>
                  <a:pt x="599201" y="60256"/>
                  <a:pt x="600627" y="60909"/>
                </a:cubicBezTo>
                <a:cubicBezTo>
                  <a:pt x="603152" y="59194"/>
                  <a:pt x="601866" y="59004"/>
                  <a:pt x="605333" y="60547"/>
                </a:cubicBezTo>
                <a:cubicBezTo>
                  <a:pt x="606903" y="60405"/>
                  <a:pt x="608125" y="59122"/>
                  <a:pt x="608190" y="57547"/>
                </a:cubicBezTo>
                <a:cubicBezTo>
                  <a:pt x="612572" y="58585"/>
                  <a:pt x="615744" y="59890"/>
                  <a:pt x="616058" y="65833"/>
                </a:cubicBezTo>
                <a:cubicBezTo>
                  <a:pt x="618173" y="66662"/>
                  <a:pt x="618582" y="60985"/>
                  <a:pt x="615515" y="62271"/>
                </a:cubicBezTo>
                <a:cubicBezTo>
                  <a:pt x="618487" y="57213"/>
                  <a:pt x="618439" y="65205"/>
                  <a:pt x="621887" y="65671"/>
                </a:cubicBezTo>
                <a:cubicBezTo>
                  <a:pt x="622840" y="61680"/>
                  <a:pt x="619201" y="60966"/>
                  <a:pt x="619839" y="57204"/>
                </a:cubicBezTo>
                <a:cubicBezTo>
                  <a:pt x="622697" y="57042"/>
                  <a:pt x="621421" y="59594"/>
                  <a:pt x="625278" y="59290"/>
                </a:cubicBezTo>
                <a:cubicBezTo>
                  <a:pt x="627059" y="59156"/>
                  <a:pt x="626897" y="58575"/>
                  <a:pt x="630927" y="60242"/>
                </a:cubicBezTo>
                <a:cubicBezTo>
                  <a:pt x="632601" y="61256"/>
                  <a:pt x="634442" y="61962"/>
                  <a:pt x="636365" y="62328"/>
                </a:cubicBezTo>
                <a:cubicBezTo>
                  <a:pt x="638594" y="63061"/>
                  <a:pt x="636689" y="59032"/>
                  <a:pt x="635803" y="58756"/>
                </a:cubicBezTo>
                <a:cubicBezTo>
                  <a:pt x="637527" y="55470"/>
                  <a:pt x="638661" y="60528"/>
                  <a:pt x="638813" y="61614"/>
                </a:cubicBezTo>
                <a:cubicBezTo>
                  <a:pt x="640966" y="60956"/>
                  <a:pt x="642709" y="58604"/>
                  <a:pt x="644643" y="61442"/>
                </a:cubicBezTo>
                <a:cubicBezTo>
                  <a:pt x="646395" y="61233"/>
                  <a:pt x="644433" y="59928"/>
                  <a:pt x="645214" y="58061"/>
                </a:cubicBezTo>
                <a:cubicBezTo>
                  <a:pt x="646166" y="59347"/>
                  <a:pt x="647919" y="59013"/>
                  <a:pt x="649719" y="58823"/>
                </a:cubicBezTo>
                <a:cubicBezTo>
                  <a:pt x="651520" y="58632"/>
                  <a:pt x="653777" y="58461"/>
                  <a:pt x="654606" y="57337"/>
                </a:cubicBezTo>
                <a:cubicBezTo>
                  <a:pt x="657158" y="58099"/>
                  <a:pt x="656692" y="60785"/>
                  <a:pt x="654968" y="62042"/>
                </a:cubicBezTo>
                <a:cubicBezTo>
                  <a:pt x="659330" y="63538"/>
                  <a:pt x="658921" y="58299"/>
                  <a:pt x="659730" y="54718"/>
                </a:cubicBezTo>
                <a:cubicBezTo>
                  <a:pt x="659730" y="55251"/>
                  <a:pt x="661711" y="55842"/>
                  <a:pt x="661787" y="56232"/>
                </a:cubicBezTo>
                <a:cubicBezTo>
                  <a:pt x="662121" y="57966"/>
                  <a:pt x="660397" y="57766"/>
                  <a:pt x="660283" y="58289"/>
                </a:cubicBezTo>
                <a:cubicBezTo>
                  <a:pt x="659616" y="61271"/>
                  <a:pt x="661549" y="61414"/>
                  <a:pt x="658197" y="63738"/>
                </a:cubicBezTo>
                <a:cubicBezTo>
                  <a:pt x="657368" y="64824"/>
                  <a:pt x="660264" y="64862"/>
                  <a:pt x="660264" y="65243"/>
                </a:cubicBezTo>
                <a:cubicBezTo>
                  <a:pt x="660264" y="66624"/>
                  <a:pt x="657939" y="66490"/>
                  <a:pt x="657625" y="67148"/>
                </a:cubicBezTo>
                <a:cubicBezTo>
                  <a:pt x="656720" y="68938"/>
                  <a:pt x="658911" y="69910"/>
                  <a:pt x="657987" y="71844"/>
                </a:cubicBezTo>
                <a:cubicBezTo>
                  <a:pt x="656339" y="72720"/>
                  <a:pt x="653434" y="69939"/>
                  <a:pt x="653663" y="69939"/>
                </a:cubicBezTo>
                <a:cubicBezTo>
                  <a:pt x="652082" y="70081"/>
                  <a:pt x="650634" y="74149"/>
                  <a:pt x="651605" y="68424"/>
                </a:cubicBezTo>
                <a:cubicBezTo>
                  <a:pt x="647976" y="69157"/>
                  <a:pt x="651358" y="73691"/>
                  <a:pt x="650462" y="75187"/>
                </a:cubicBezTo>
                <a:cubicBezTo>
                  <a:pt x="650300" y="75454"/>
                  <a:pt x="647510" y="74558"/>
                  <a:pt x="648014" y="75930"/>
                </a:cubicBezTo>
                <a:cubicBezTo>
                  <a:pt x="648100" y="77520"/>
                  <a:pt x="650681" y="77339"/>
                  <a:pt x="652329" y="77835"/>
                </a:cubicBezTo>
                <a:lnTo>
                  <a:pt x="651948" y="80092"/>
                </a:lnTo>
                <a:cubicBezTo>
                  <a:pt x="653434" y="81997"/>
                  <a:pt x="655387" y="83597"/>
                  <a:pt x="655501" y="86493"/>
                </a:cubicBezTo>
                <a:cubicBezTo>
                  <a:pt x="657558" y="86493"/>
                  <a:pt x="654891" y="84664"/>
                  <a:pt x="656073" y="83112"/>
                </a:cubicBezTo>
                <a:cubicBezTo>
                  <a:pt x="656654" y="82340"/>
                  <a:pt x="657330" y="84493"/>
                  <a:pt x="657025" y="84436"/>
                </a:cubicBezTo>
                <a:cubicBezTo>
                  <a:pt x="658158" y="84636"/>
                  <a:pt x="658730" y="81473"/>
                  <a:pt x="660778" y="82750"/>
                </a:cubicBezTo>
                <a:cubicBezTo>
                  <a:pt x="660159" y="84521"/>
                  <a:pt x="661511" y="84874"/>
                  <a:pt x="661330" y="86322"/>
                </a:cubicBezTo>
                <a:cubicBezTo>
                  <a:pt x="663235" y="87017"/>
                  <a:pt x="663807" y="83664"/>
                  <a:pt x="662845" y="84255"/>
                </a:cubicBezTo>
                <a:cubicBezTo>
                  <a:pt x="666274" y="82150"/>
                  <a:pt x="668874" y="85655"/>
                  <a:pt x="670379" y="80902"/>
                </a:cubicBezTo>
                <a:cubicBezTo>
                  <a:pt x="673856" y="82178"/>
                  <a:pt x="674189" y="79378"/>
                  <a:pt x="676008" y="81854"/>
                </a:cubicBezTo>
                <a:cubicBezTo>
                  <a:pt x="674903" y="84026"/>
                  <a:pt x="670608" y="81702"/>
                  <a:pt x="669798" y="84283"/>
                </a:cubicBezTo>
                <a:cubicBezTo>
                  <a:pt x="670598" y="85721"/>
                  <a:pt x="672560" y="84474"/>
                  <a:pt x="672598" y="88236"/>
                </a:cubicBezTo>
                <a:cubicBezTo>
                  <a:pt x="676475" y="86798"/>
                  <a:pt x="673122" y="88674"/>
                  <a:pt x="674284" y="91998"/>
                </a:cubicBezTo>
                <a:cubicBezTo>
                  <a:pt x="678237" y="91608"/>
                  <a:pt x="675237" y="89998"/>
                  <a:pt x="676370" y="86550"/>
                </a:cubicBezTo>
                <a:cubicBezTo>
                  <a:pt x="680942" y="91189"/>
                  <a:pt x="676875" y="96637"/>
                  <a:pt x="672951" y="99885"/>
                </a:cubicBezTo>
                <a:cubicBezTo>
                  <a:pt x="673903" y="104648"/>
                  <a:pt x="677523" y="106553"/>
                  <a:pt x="674408" y="111725"/>
                </a:cubicBezTo>
                <a:cubicBezTo>
                  <a:pt x="675694" y="111191"/>
                  <a:pt x="676018" y="109334"/>
                  <a:pt x="678218" y="110048"/>
                </a:cubicBezTo>
                <a:cubicBezTo>
                  <a:pt x="678418" y="111953"/>
                  <a:pt x="676580" y="111801"/>
                  <a:pt x="676513" y="113239"/>
                </a:cubicBezTo>
                <a:cubicBezTo>
                  <a:pt x="676113" y="114363"/>
                  <a:pt x="679009" y="114754"/>
                  <a:pt x="677847" y="116887"/>
                </a:cubicBezTo>
                <a:close/>
                <a:moveTo>
                  <a:pt x="321974" y="41440"/>
                </a:moveTo>
                <a:cubicBezTo>
                  <a:pt x="326736" y="37554"/>
                  <a:pt x="318802" y="38163"/>
                  <a:pt x="321974" y="41440"/>
                </a:cubicBezTo>
                <a:close/>
                <a:moveTo>
                  <a:pt x="343881" y="15008"/>
                </a:moveTo>
                <a:cubicBezTo>
                  <a:pt x="343700" y="15684"/>
                  <a:pt x="343491" y="16313"/>
                  <a:pt x="342567" y="15960"/>
                </a:cubicBezTo>
                <a:lnTo>
                  <a:pt x="342186" y="18218"/>
                </a:lnTo>
                <a:cubicBezTo>
                  <a:pt x="344624" y="20418"/>
                  <a:pt x="346110" y="14932"/>
                  <a:pt x="343843" y="15008"/>
                </a:cubicBezTo>
                <a:close/>
                <a:moveTo>
                  <a:pt x="360588" y="25962"/>
                </a:moveTo>
                <a:cubicBezTo>
                  <a:pt x="360455" y="26705"/>
                  <a:pt x="360331" y="27457"/>
                  <a:pt x="360207" y="28210"/>
                </a:cubicBezTo>
                <a:cubicBezTo>
                  <a:pt x="357205" y="28803"/>
                  <a:pt x="354485" y="30382"/>
                  <a:pt x="352482" y="32696"/>
                </a:cubicBezTo>
                <a:cubicBezTo>
                  <a:pt x="352711" y="30543"/>
                  <a:pt x="348891" y="31277"/>
                  <a:pt x="349625" y="28743"/>
                </a:cubicBezTo>
                <a:cubicBezTo>
                  <a:pt x="347348" y="29467"/>
                  <a:pt x="346434" y="24733"/>
                  <a:pt x="345119" y="27981"/>
                </a:cubicBezTo>
                <a:cubicBezTo>
                  <a:pt x="346700" y="30153"/>
                  <a:pt x="349768" y="31286"/>
                  <a:pt x="351111" y="33629"/>
                </a:cubicBezTo>
                <a:cubicBezTo>
                  <a:pt x="354700" y="33022"/>
                  <a:pt x="358107" y="31619"/>
                  <a:pt x="361083" y="29524"/>
                </a:cubicBezTo>
                <a:cubicBezTo>
                  <a:pt x="357511" y="29276"/>
                  <a:pt x="364512" y="26762"/>
                  <a:pt x="360550" y="25962"/>
                </a:cubicBezTo>
                <a:close/>
                <a:moveTo>
                  <a:pt x="403060" y="21571"/>
                </a:moveTo>
                <a:cubicBezTo>
                  <a:pt x="403003" y="22266"/>
                  <a:pt x="403003" y="22933"/>
                  <a:pt x="404012" y="22885"/>
                </a:cubicBezTo>
                <a:cubicBezTo>
                  <a:pt x="403765" y="20094"/>
                  <a:pt x="403393" y="17389"/>
                  <a:pt x="400460" y="16484"/>
                </a:cubicBezTo>
                <a:cubicBezTo>
                  <a:pt x="398793" y="19942"/>
                  <a:pt x="403860" y="18665"/>
                  <a:pt x="403022" y="21571"/>
                </a:cubicBezTo>
                <a:close/>
                <a:moveTo>
                  <a:pt x="395745" y="16808"/>
                </a:moveTo>
                <a:lnTo>
                  <a:pt x="398002" y="17199"/>
                </a:lnTo>
                <a:lnTo>
                  <a:pt x="398383" y="14941"/>
                </a:lnTo>
                <a:lnTo>
                  <a:pt x="396126" y="14560"/>
                </a:lnTo>
                <a:close/>
                <a:moveTo>
                  <a:pt x="394983" y="21323"/>
                </a:moveTo>
                <a:cubicBezTo>
                  <a:pt x="393706" y="20751"/>
                  <a:pt x="393154" y="14875"/>
                  <a:pt x="390858" y="18304"/>
                </a:cubicBezTo>
                <a:cubicBezTo>
                  <a:pt x="392030" y="18561"/>
                  <a:pt x="391497" y="19894"/>
                  <a:pt x="389534" y="19256"/>
                </a:cubicBezTo>
                <a:cubicBezTo>
                  <a:pt x="388068" y="23733"/>
                  <a:pt x="393525" y="23666"/>
                  <a:pt x="394945" y="21361"/>
                </a:cubicBezTo>
                <a:close/>
                <a:moveTo>
                  <a:pt x="383553" y="20532"/>
                </a:moveTo>
                <a:cubicBezTo>
                  <a:pt x="383779" y="21912"/>
                  <a:pt x="384359" y="23208"/>
                  <a:pt x="385239" y="24295"/>
                </a:cubicBezTo>
                <a:cubicBezTo>
                  <a:pt x="385591" y="22856"/>
                  <a:pt x="384448" y="17827"/>
                  <a:pt x="383477" y="20570"/>
                </a:cubicBezTo>
                <a:close/>
                <a:moveTo>
                  <a:pt x="378495" y="16198"/>
                </a:moveTo>
                <a:cubicBezTo>
                  <a:pt x="377542" y="19837"/>
                  <a:pt x="381476" y="20332"/>
                  <a:pt x="381495" y="19056"/>
                </a:cubicBezTo>
                <a:cubicBezTo>
                  <a:pt x="381457" y="18551"/>
                  <a:pt x="378647" y="16865"/>
                  <a:pt x="378419" y="16237"/>
                </a:cubicBezTo>
                <a:close/>
                <a:moveTo>
                  <a:pt x="379800" y="22218"/>
                </a:moveTo>
                <a:lnTo>
                  <a:pt x="379228" y="25590"/>
                </a:lnTo>
                <a:cubicBezTo>
                  <a:pt x="381219" y="26085"/>
                  <a:pt x="382086" y="24923"/>
                  <a:pt x="382086" y="22599"/>
                </a:cubicBezTo>
                <a:close/>
                <a:moveTo>
                  <a:pt x="381248" y="41011"/>
                </a:moveTo>
                <a:lnTo>
                  <a:pt x="378990" y="40630"/>
                </a:lnTo>
                <a:lnTo>
                  <a:pt x="378600" y="42878"/>
                </a:lnTo>
                <a:lnTo>
                  <a:pt x="380857" y="43269"/>
                </a:lnTo>
                <a:close/>
                <a:moveTo>
                  <a:pt x="400574" y="50088"/>
                </a:moveTo>
                <a:cubicBezTo>
                  <a:pt x="399063" y="49615"/>
                  <a:pt x="397435" y="50331"/>
                  <a:pt x="396764" y="51765"/>
                </a:cubicBezTo>
                <a:cubicBezTo>
                  <a:pt x="398244" y="52202"/>
                  <a:pt x="399824" y="51511"/>
                  <a:pt x="400507" y="50127"/>
                </a:cubicBezTo>
                <a:close/>
                <a:moveTo>
                  <a:pt x="407156" y="45402"/>
                </a:moveTo>
                <a:cubicBezTo>
                  <a:pt x="402965" y="43221"/>
                  <a:pt x="403708" y="47993"/>
                  <a:pt x="401888" y="49145"/>
                </a:cubicBezTo>
                <a:lnTo>
                  <a:pt x="406394" y="49917"/>
                </a:lnTo>
                <a:cubicBezTo>
                  <a:pt x="406575" y="48431"/>
                  <a:pt x="406832" y="46945"/>
                  <a:pt x="407079" y="45440"/>
                </a:cubicBezTo>
                <a:close/>
                <a:moveTo>
                  <a:pt x="406270" y="30162"/>
                </a:moveTo>
                <a:cubicBezTo>
                  <a:pt x="406270" y="30162"/>
                  <a:pt x="408041" y="29476"/>
                  <a:pt x="407775" y="28105"/>
                </a:cubicBezTo>
                <a:cubicBezTo>
                  <a:pt x="407699" y="27714"/>
                  <a:pt x="405736" y="27152"/>
                  <a:pt x="405717" y="26590"/>
                </a:cubicBezTo>
                <a:cubicBezTo>
                  <a:pt x="404612" y="28829"/>
                  <a:pt x="402441" y="27305"/>
                  <a:pt x="400822" y="28086"/>
                </a:cubicBezTo>
                <a:cubicBezTo>
                  <a:pt x="400174" y="28390"/>
                  <a:pt x="400622" y="30715"/>
                  <a:pt x="399307" y="30143"/>
                </a:cubicBezTo>
                <a:cubicBezTo>
                  <a:pt x="398621" y="25695"/>
                  <a:pt x="393916" y="27047"/>
                  <a:pt x="392001" y="25428"/>
                </a:cubicBezTo>
                <a:cubicBezTo>
                  <a:pt x="391173" y="27990"/>
                  <a:pt x="390020" y="30086"/>
                  <a:pt x="387658" y="30486"/>
                </a:cubicBezTo>
                <a:cubicBezTo>
                  <a:pt x="385991" y="26876"/>
                  <a:pt x="380571" y="29686"/>
                  <a:pt x="377523" y="28771"/>
                </a:cubicBezTo>
                <a:cubicBezTo>
                  <a:pt x="375823" y="30523"/>
                  <a:pt x="373995" y="32147"/>
                  <a:pt x="372056" y="33629"/>
                </a:cubicBezTo>
                <a:cubicBezTo>
                  <a:pt x="372132" y="31924"/>
                  <a:pt x="369503" y="32143"/>
                  <a:pt x="367741" y="31724"/>
                </a:cubicBezTo>
                <a:cubicBezTo>
                  <a:pt x="366893" y="34639"/>
                  <a:pt x="369646" y="35029"/>
                  <a:pt x="371675" y="35868"/>
                </a:cubicBezTo>
                <a:cubicBezTo>
                  <a:pt x="371225" y="37364"/>
                  <a:pt x="371937" y="38964"/>
                  <a:pt x="373351" y="39630"/>
                </a:cubicBezTo>
                <a:cubicBezTo>
                  <a:pt x="374297" y="37514"/>
                  <a:pt x="376318" y="36080"/>
                  <a:pt x="378628" y="35887"/>
                </a:cubicBezTo>
                <a:cubicBezTo>
                  <a:pt x="379505" y="36020"/>
                  <a:pt x="380067" y="37487"/>
                  <a:pt x="380686" y="37401"/>
                </a:cubicBezTo>
                <a:cubicBezTo>
                  <a:pt x="381038" y="37354"/>
                  <a:pt x="381343" y="35496"/>
                  <a:pt x="382200" y="35334"/>
                </a:cubicBezTo>
                <a:cubicBezTo>
                  <a:pt x="383238" y="35115"/>
                  <a:pt x="384524" y="36049"/>
                  <a:pt x="385582" y="35906"/>
                </a:cubicBezTo>
                <a:cubicBezTo>
                  <a:pt x="385182" y="39830"/>
                  <a:pt x="388096" y="41392"/>
                  <a:pt x="391382" y="42688"/>
                </a:cubicBezTo>
                <a:cubicBezTo>
                  <a:pt x="390430" y="35772"/>
                  <a:pt x="397002" y="39439"/>
                  <a:pt x="401164" y="39716"/>
                </a:cubicBezTo>
                <a:cubicBezTo>
                  <a:pt x="402993" y="36953"/>
                  <a:pt x="400126" y="32715"/>
                  <a:pt x="402307" y="32953"/>
                </a:cubicBezTo>
                <a:cubicBezTo>
                  <a:pt x="403784" y="34858"/>
                  <a:pt x="404689" y="37211"/>
                  <a:pt x="407175" y="38420"/>
                </a:cubicBezTo>
                <a:cubicBezTo>
                  <a:pt x="409175" y="34591"/>
                  <a:pt x="406498" y="32591"/>
                  <a:pt x="406222" y="30219"/>
                </a:cubicBezTo>
                <a:close/>
                <a:moveTo>
                  <a:pt x="416404" y="31886"/>
                </a:moveTo>
                <a:cubicBezTo>
                  <a:pt x="416804" y="35353"/>
                  <a:pt x="419491" y="30934"/>
                  <a:pt x="422043" y="32839"/>
                </a:cubicBezTo>
                <a:cubicBezTo>
                  <a:pt x="422148" y="30667"/>
                  <a:pt x="423739" y="30572"/>
                  <a:pt x="423948" y="28524"/>
                </a:cubicBezTo>
                <a:cubicBezTo>
                  <a:pt x="420738" y="29972"/>
                  <a:pt x="420224" y="26562"/>
                  <a:pt x="418128" y="28695"/>
                </a:cubicBezTo>
                <a:cubicBezTo>
                  <a:pt x="418733" y="28910"/>
                  <a:pt x="419050" y="29573"/>
                  <a:pt x="418836" y="30178"/>
                </a:cubicBezTo>
                <a:cubicBezTo>
                  <a:pt x="418671" y="30643"/>
                  <a:pt x="418231" y="30954"/>
                  <a:pt x="417738" y="30953"/>
                </a:cubicBezTo>
                <a:cubicBezTo>
                  <a:pt x="418338" y="28543"/>
                  <a:pt x="413833" y="29762"/>
                  <a:pt x="412290" y="28867"/>
                </a:cubicBezTo>
                <a:cubicBezTo>
                  <a:pt x="412128" y="27809"/>
                  <a:pt x="411004" y="22761"/>
                  <a:pt x="409289" y="26009"/>
                </a:cubicBezTo>
                <a:cubicBezTo>
                  <a:pt x="410575" y="26428"/>
                  <a:pt x="410242" y="28000"/>
                  <a:pt x="409842" y="29581"/>
                </a:cubicBezTo>
                <a:cubicBezTo>
                  <a:pt x="415919" y="28571"/>
                  <a:pt x="410385" y="35810"/>
                  <a:pt x="414528" y="36172"/>
                </a:cubicBezTo>
                <a:cubicBezTo>
                  <a:pt x="417462" y="35229"/>
                  <a:pt x="412985" y="32515"/>
                  <a:pt x="416328" y="31943"/>
                </a:cubicBezTo>
                <a:close/>
                <a:moveTo>
                  <a:pt x="425587" y="39239"/>
                </a:moveTo>
                <a:cubicBezTo>
                  <a:pt x="423577" y="38906"/>
                  <a:pt x="419557" y="35096"/>
                  <a:pt x="417700" y="37896"/>
                </a:cubicBezTo>
                <a:cubicBezTo>
                  <a:pt x="420853" y="39420"/>
                  <a:pt x="415795" y="40487"/>
                  <a:pt x="416747" y="43535"/>
                </a:cubicBezTo>
                <a:cubicBezTo>
                  <a:pt x="421510" y="45821"/>
                  <a:pt x="422281" y="38925"/>
                  <a:pt x="425015" y="42583"/>
                </a:cubicBezTo>
                <a:close/>
                <a:moveTo>
                  <a:pt x="429720" y="42259"/>
                </a:moveTo>
                <a:cubicBezTo>
                  <a:pt x="433130" y="43383"/>
                  <a:pt x="434483" y="39944"/>
                  <a:pt x="431425" y="39068"/>
                </a:cubicBezTo>
                <a:cubicBezTo>
                  <a:pt x="431232" y="40326"/>
                  <a:pt x="430601" y="41477"/>
                  <a:pt x="429644" y="42316"/>
                </a:cubicBezTo>
                <a:close/>
                <a:moveTo>
                  <a:pt x="434045" y="44164"/>
                </a:moveTo>
                <a:lnTo>
                  <a:pt x="431787" y="43773"/>
                </a:lnTo>
                <a:lnTo>
                  <a:pt x="431406" y="46031"/>
                </a:lnTo>
                <a:lnTo>
                  <a:pt x="433664" y="46412"/>
                </a:lnTo>
                <a:close/>
                <a:moveTo>
                  <a:pt x="451685" y="49469"/>
                </a:moveTo>
                <a:lnTo>
                  <a:pt x="448304" y="48898"/>
                </a:lnTo>
                <a:cubicBezTo>
                  <a:pt x="447551" y="51412"/>
                  <a:pt x="447846" y="53184"/>
                  <a:pt x="449799" y="53794"/>
                </a:cubicBezTo>
                <a:cubicBezTo>
                  <a:pt x="450333" y="52374"/>
                  <a:pt x="451685" y="51955"/>
                  <a:pt x="451609" y="49517"/>
                </a:cubicBezTo>
                <a:close/>
                <a:moveTo>
                  <a:pt x="455105" y="36134"/>
                </a:moveTo>
                <a:cubicBezTo>
                  <a:pt x="455514" y="37144"/>
                  <a:pt x="452076" y="37449"/>
                  <a:pt x="452476" y="38039"/>
                </a:cubicBezTo>
                <a:cubicBezTo>
                  <a:pt x="453123" y="39078"/>
                  <a:pt x="458553" y="38763"/>
                  <a:pt x="455028" y="36191"/>
                </a:cubicBezTo>
                <a:close/>
                <a:moveTo>
                  <a:pt x="465582" y="49469"/>
                </a:moveTo>
                <a:cubicBezTo>
                  <a:pt x="466449" y="47907"/>
                  <a:pt x="467725" y="46917"/>
                  <a:pt x="468601" y="45345"/>
                </a:cubicBezTo>
                <a:cubicBezTo>
                  <a:pt x="466354" y="44631"/>
                  <a:pt x="466906" y="41926"/>
                  <a:pt x="464658" y="41202"/>
                </a:cubicBezTo>
                <a:cubicBezTo>
                  <a:pt x="465963" y="45526"/>
                  <a:pt x="463448" y="43850"/>
                  <a:pt x="462391" y="47774"/>
                </a:cubicBezTo>
                <a:cubicBezTo>
                  <a:pt x="463604" y="47997"/>
                  <a:pt x="464706" y="48624"/>
                  <a:pt x="465515" y="49555"/>
                </a:cubicBezTo>
                <a:close/>
                <a:moveTo>
                  <a:pt x="468944" y="57004"/>
                </a:moveTo>
                <a:lnTo>
                  <a:pt x="466687" y="56623"/>
                </a:lnTo>
                <a:lnTo>
                  <a:pt x="466306" y="58880"/>
                </a:lnTo>
                <a:lnTo>
                  <a:pt x="468563" y="59261"/>
                </a:lnTo>
                <a:close/>
                <a:moveTo>
                  <a:pt x="503301" y="66310"/>
                </a:moveTo>
                <a:cubicBezTo>
                  <a:pt x="502510" y="67995"/>
                  <a:pt x="499586" y="66671"/>
                  <a:pt x="500282" y="70434"/>
                </a:cubicBezTo>
                <a:cubicBezTo>
                  <a:pt x="502863" y="72186"/>
                  <a:pt x="505854" y="67567"/>
                  <a:pt x="503234" y="66395"/>
                </a:cubicBezTo>
                <a:close/>
                <a:moveTo>
                  <a:pt x="512778" y="37735"/>
                </a:moveTo>
                <a:cubicBezTo>
                  <a:pt x="512416" y="40382"/>
                  <a:pt x="509816" y="49641"/>
                  <a:pt x="513731" y="46012"/>
                </a:cubicBezTo>
                <a:cubicBezTo>
                  <a:pt x="511797" y="44354"/>
                  <a:pt x="515960" y="40363"/>
                  <a:pt x="512712" y="37858"/>
                </a:cubicBezTo>
                <a:close/>
                <a:moveTo>
                  <a:pt x="543906" y="59251"/>
                </a:moveTo>
                <a:cubicBezTo>
                  <a:pt x="543973" y="64128"/>
                  <a:pt x="539439" y="59509"/>
                  <a:pt x="539210" y="59613"/>
                </a:cubicBezTo>
                <a:cubicBezTo>
                  <a:pt x="538353" y="59994"/>
                  <a:pt x="538039" y="63195"/>
                  <a:pt x="537305" y="63928"/>
                </a:cubicBezTo>
                <a:cubicBezTo>
                  <a:pt x="536010" y="65181"/>
                  <a:pt x="534192" y="65733"/>
                  <a:pt x="532419" y="65414"/>
                </a:cubicBezTo>
                <a:cubicBezTo>
                  <a:pt x="532019" y="69005"/>
                  <a:pt x="532067" y="72272"/>
                  <a:pt x="535772" y="72939"/>
                </a:cubicBezTo>
                <a:cubicBezTo>
                  <a:pt x="537210" y="69615"/>
                  <a:pt x="533057" y="70253"/>
                  <a:pt x="534486" y="66929"/>
                </a:cubicBezTo>
                <a:cubicBezTo>
                  <a:pt x="536829" y="66929"/>
                  <a:pt x="537867" y="65176"/>
                  <a:pt x="539563" y="64309"/>
                </a:cubicBezTo>
                <a:cubicBezTo>
                  <a:pt x="542906" y="63919"/>
                  <a:pt x="542211" y="66395"/>
                  <a:pt x="545011" y="66395"/>
                </a:cubicBezTo>
                <a:cubicBezTo>
                  <a:pt x="546671" y="64403"/>
                  <a:pt x="546402" y="61441"/>
                  <a:pt x="544409" y="59782"/>
                </a:cubicBezTo>
                <a:cubicBezTo>
                  <a:pt x="544229" y="59632"/>
                  <a:pt x="544039" y="59496"/>
                  <a:pt x="543839" y="59375"/>
                </a:cubicBezTo>
                <a:close/>
                <a:moveTo>
                  <a:pt x="547888" y="49488"/>
                </a:moveTo>
                <a:cubicBezTo>
                  <a:pt x="545649" y="49603"/>
                  <a:pt x="542963" y="49069"/>
                  <a:pt x="542801" y="52108"/>
                </a:cubicBezTo>
                <a:cubicBezTo>
                  <a:pt x="544030" y="52284"/>
                  <a:pt x="545159" y="52883"/>
                  <a:pt x="545992" y="53803"/>
                </a:cubicBezTo>
                <a:cubicBezTo>
                  <a:pt x="546030" y="51755"/>
                  <a:pt x="547611" y="51660"/>
                  <a:pt x="547821" y="49612"/>
                </a:cubicBezTo>
                <a:close/>
                <a:moveTo>
                  <a:pt x="51454" y="597243"/>
                </a:moveTo>
                <a:cubicBezTo>
                  <a:pt x="50787" y="597062"/>
                  <a:pt x="50159" y="596843"/>
                  <a:pt x="50502" y="595919"/>
                </a:cubicBezTo>
                <a:lnTo>
                  <a:pt x="48244" y="595538"/>
                </a:lnTo>
                <a:cubicBezTo>
                  <a:pt x="46053" y="598024"/>
                  <a:pt x="51530" y="599500"/>
                  <a:pt x="51454" y="597243"/>
                </a:cubicBezTo>
                <a:close/>
                <a:moveTo>
                  <a:pt x="9658" y="754767"/>
                </a:moveTo>
                <a:cubicBezTo>
                  <a:pt x="8915" y="757291"/>
                  <a:pt x="9211" y="759053"/>
                  <a:pt x="11154" y="759663"/>
                </a:cubicBezTo>
                <a:cubicBezTo>
                  <a:pt x="11887" y="757148"/>
                  <a:pt x="11592" y="755377"/>
                  <a:pt x="9658" y="754767"/>
                </a:cubicBezTo>
                <a:close/>
                <a:moveTo>
                  <a:pt x="20355" y="760063"/>
                </a:moveTo>
                <a:cubicBezTo>
                  <a:pt x="19149" y="759610"/>
                  <a:pt x="17796" y="759820"/>
                  <a:pt x="16783" y="760615"/>
                </a:cubicBezTo>
                <a:cubicBezTo>
                  <a:pt x="16002" y="760968"/>
                  <a:pt x="15021" y="762187"/>
                  <a:pt x="14145" y="762520"/>
                </a:cubicBezTo>
                <a:cubicBezTo>
                  <a:pt x="16650" y="766026"/>
                  <a:pt x="18555" y="761596"/>
                  <a:pt x="20355" y="760063"/>
                </a:cubicBezTo>
                <a:close/>
                <a:moveTo>
                  <a:pt x="26813" y="674214"/>
                </a:moveTo>
                <a:cubicBezTo>
                  <a:pt x="25317" y="673947"/>
                  <a:pt x="26108" y="672061"/>
                  <a:pt x="24908" y="671566"/>
                </a:cubicBezTo>
                <a:cubicBezTo>
                  <a:pt x="25098" y="673909"/>
                  <a:pt x="18240" y="673100"/>
                  <a:pt x="21888" y="675700"/>
                </a:cubicBezTo>
                <a:cubicBezTo>
                  <a:pt x="21631" y="672500"/>
                  <a:pt x="27127" y="677405"/>
                  <a:pt x="26813" y="674224"/>
                </a:cubicBezTo>
                <a:close/>
                <a:moveTo>
                  <a:pt x="26175" y="691492"/>
                </a:moveTo>
                <a:cubicBezTo>
                  <a:pt x="26108" y="692674"/>
                  <a:pt x="20926" y="692950"/>
                  <a:pt x="24470" y="694683"/>
                </a:cubicBezTo>
                <a:cubicBezTo>
                  <a:pt x="24165" y="692959"/>
                  <a:pt x="29347" y="692683"/>
                  <a:pt x="26175" y="691492"/>
                </a:cubicBezTo>
                <a:close/>
                <a:moveTo>
                  <a:pt x="27889" y="681348"/>
                </a:moveTo>
                <a:cubicBezTo>
                  <a:pt x="27436" y="682848"/>
                  <a:pt x="28154" y="684452"/>
                  <a:pt x="29575" y="685111"/>
                </a:cubicBezTo>
                <a:cubicBezTo>
                  <a:pt x="29785" y="683320"/>
                  <a:pt x="30413" y="681234"/>
                  <a:pt x="27908" y="681348"/>
                </a:cubicBezTo>
                <a:close/>
                <a:moveTo>
                  <a:pt x="40072" y="637076"/>
                </a:moveTo>
                <a:cubicBezTo>
                  <a:pt x="39472" y="639934"/>
                  <a:pt x="35042" y="637448"/>
                  <a:pt x="35728" y="642143"/>
                </a:cubicBezTo>
                <a:cubicBezTo>
                  <a:pt x="38633" y="643267"/>
                  <a:pt x="42253" y="638438"/>
                  <a:pt x="40072" y="637076"/>
                </a:cubicBezTo>
                <a:close/>
                <a:moveTo>
                  <a:pt x="44929" y="710943"/>
                </a:moveTo>
                <a:cubicBezTo>
                  <a:pt x="44139" y="708009"/>
                  <a:pt x="38786" y="711714"/>
                  <a:pt x="41167" y="712619"/>
                </a:cubicBezTo>
                <a:cubicBezTo>
                  <a:pt x="41491" y="710723"/>
                  <a:pt x="44396" y="712486"/>
                  <a:pt x="44929" y="710904"/>
                </a:cubicBezTo>
                <a:close/>
                <a:moveTo>
                  <a:pt x="57998" y="674900"/>
                </a:moveTo>
                <a:cubicBezTo>
                  <a:pt x="54559" y="673785"/>
                  <a:pt x="52797" y="675024"/>
                  <a:pt x="52730" y="678643"/>
                </a:cubicBezTo>
                <a:cubicBezTo>
                  <a:pt x="56378" y="680015"/>
                  <a:pt x="57169" y="677414"/>
                  <a:pt x="57998" y="674862"/>
                </a:cubicBezTo>
                <a:close/>
                <a:moveTo>
                  <a:pt x="58579" y="603120"/>
                </a:moveTo>
                <a:cubicBezTo>
                  <a:pt x="57331" y="601405"/>
                  <a:pt x="54635" y="600919"/>
                  <a:pt x="53883" y="603481"/>
                </a:cubicBezTo>
                <a:cubicBezTo>
                  <a:pt x="55607" y="603539"/>
                  <a:pt x="57969" y="604548"/>
                  <a:pt x="58560" y="603081"/>
                </a:cubicBezTo>
                <a:close/>
                <a:moveTo>
                  <a:pt x="65780" y="649554"/>
                </a:moveTo>
                <a:cubicBezTo>
                  <a:pt x="68828" y="649706"/>
                  <a:pt x="63646" y="655688"/>
                  <a:pt x="68399" y="654640"/>
                </a:cubicBezTo>
                <a:cubicBezTo>
                  <a:pt x="68790" y="652545"/>
                  <a:pt x="67237" y="646982"/>
                  <a:pt x="65780" y="649516"/>
                </a:cubicBezTo>
                <a:close/>
                <a:moveTo>
                  <a:pt x="96965" y="520366"/>
                </a:moveTo>
                <a:cubicBezTo>
                  <a:pt x="95736" y="520183"/>
                  <a:pt x="94609" y="519580"/>
                  <a:pt x="93774" y="518661"/>
                </a:cubicBezTo>
                <a:cubicBezTo>
                  <a:pt x="95450" y="522662"/>
                  <a:pt x="88716" y="521433"/>
                  <a:pt x="91869" y="522976"/>
                </a:cubicBezTo>
                <a:cubicBezTo>
                  <a:pt x="93689" y="522351"/>
                  <a:pt x="95407" y="521459"/>
                  <a:pt x="96965" y="520328"/>
                </a:cubicBezTo>
                <a:close/>
                <a:moveTo>
                  <a:pt x="124587" y="514651"/>
                </a:moveTo>
                <a:cubicBezTo>
                  <a:pt x="122492" y="512965"/>
                  <a:pt x="118920" y="515509"/>
                  <a:pt x="121958" y="516556"/>
                </a:cubicBezTo>
                <a:cubicBezTo>
                  <a:pt x="122234" y="514966"/>
                  <a:pt x="124120" y="515756"/>
                  <a:pt x="124606" y="514585"/>
                </a:cubicBezTo>
                <a:close/>
                <a:moveTo>
                  <a:pt x="136827" y="442528"/>
                </a:moveTo>
                <a:lnTo>
                  <a:pt x="134579" y="442147"/>
                </a:lnTo>
                <a:lnTo>
                  <a:pt x="134198" y="444404"/>
                </a:lnTo>
                <a:lnTo>
                  <a:pt x="136436" y="444785"/>
                </a:lnTo>
                <a:close/>
                <a:moveTo>
                  <a:pt x="141170" y="498916"/>
                </a:moveTo>
                <a:cubicBezTo>
                  <a:pt x="140494" y="498735"/>
                  <a:pt x="139865" y="498516"/>
                  <a:pt x="140218" y="497592"/>
                </a:cubicBezTo>
                <a:lnTo>
                  <a:pt x="137960" y="497211"/>
                </a:lnTo>
                <a:cubicBezTo>
                  <a:pt x="135779" y="499621"/>
                  <a:pt x="141265" y="501107"/>
                  <a:pt x="141189" y="498849"/>
                </a:cubicBezTo>
                <a:close/>
                <a:moveTo>
                  <a:pt x="144370" y="432241"/>
                </a:moveTo>
                <a:cubicBezTo>
                  <a:pt x="142284" y="431003"/>
                  <a:pt x="142561" y="433622"/>
                  <a:pt x="141732" y="434146"/>
                </a:cubicBezTo>
                <a:cubicBezTo>
                  <a:pt x="140903" y="434670"/>
                  <a:pt x="139351" y="433546"/>
                  <a:pt x="139284" y="434898"/>
                </a:cubicBezTo>
                <a:cubicBezTo>
                  <a:pt x="140512" y="435084"/>
                  <a:pt x="141641" y="435682"/>
                  <a:pt x="142484" y="436594"/>
                </a:cubicBezTo>
                <a:cubicBezTo>
                  <a:pt x="143113" y="435003"/>
                  <a:pt x="144466" y="434584"/>
                  <a:pt x="144389" y="432146"/>
                </a:cubicBezTo>
                <a:close/>
                <a:moveTo>
                  <a:pt x="178146" y="383483"/>
                </a:moveTo>
                <a:cubicBezTo>
                  <a:pt x="178232" y="383483"/>
                  <a:pt x="176803" y="387178"/>
                  <a:pt x="176451" y="386673"/>
                </a:cubicBezTo>
                <a:cubicBezTo>
                  <a:pt x="178708" y="389750"/>
                  <a:pt x="180013" y="383378"/>
                  <a:pt x="178165" y="383387"/>
                </a:cubicBezTo>
                <a:close/>
                <a:moveTo>
                  <a:pt x="190414" y="365852"/>
                </a:moveTo>
                <a:cubicBezTo>
                  <a:pt x="189862" y="364661"/>
                  <a:pt x="190843" y="361223"/>
                  <a:pt x="187614" y="361908"/>
                </a:cubicBezTo>
                <a:cubicBezTo>
                  <a:pt x="184309" y="365537"/>
                  <a:pt x="185099" y="367481"/>
                  <a:pt x="185890" y="372043"/>
                </a:cubicBezTo>
                <a:cubicBezTo>
                  <a:pt x="190957" y="373777"/>
                  <a:pt x="188185" y="368004"/>
                  <a:pt x="190033" y="368109"/>
                </a:cubicBezTo>
                <a:cubicBezTo>
                  <a:pt x="191519" y="368376"/>
                  <a:pt x="190729" y="370262"/>
                  <a:pt x="191938" y="370748"/>
                </a:cubicBezTo>
                <a:cubicBezTo>
                  <a:pt x="193738" y="368033"/>
                  <a:pt x="191157" y="367328"/>
                  <a:pt x="190433" y="365756"/>
                </a:cubicBezTo>
                <a:close/>
                <a:moveTo>
                  <a:pt x="195177" y="399132"/>
                </a:moveTo>
                <a:cubicBezTo>
                  <a:pt x="194043" y="398942"/>
                  <a:pt x="193996" y="397989"/>
                  <a:pt x="193110" y="397627"/>
                </a:cubicBezTo>
                <a:cubicBezTo>
                  <a:pt x="192919" y="399408"/>
                  <a:pt x="192300" y="401504"/>
                  <a:pt x="194796" y="401389"/>
                </a:cubicBezTo>
                <a:cubicBezTo>
                  <a:pt x="194967" y="400542"/>
                  <a:pt x="195091" y="399789"/>
                  <a:pt x="195224" y="399037"/>
                </a:cubicBezTo>
                <a:close/>
                <a:moveTo>
                  <a:pt x="198844" y="363813"/>
                </a:moveTo>
                <a:cubicBezTo>
                  <a:pt x="199244" y="362975"/>
                  <a:pt x="200015" y="362661"/>
                  <a:pt x="201292" y="363070"/>
                </a:cubicBezTo>
                <a:lnTo>
                  <a:pt x="201673" y="360823"/>
                </a:lnTo>
                <a:cubicBezTo>
                  <a:pt x="200446" y="360635"/>
                  <a:pt x="199320" y="360033"/>
                  <a:pt x="198482" y="359118"/>
                </a:cubicBezTo>
                <a:cubicBezTo>
                  <a:pt x="198434" y="360737"/>
                  <a:pt x="197434" y="363109"/>
                  <a:pt x="198892" y="363709"/>
                </a:cubicBezTo>
                <a:close/>
                <a:moveTo>
                  <a:pt x="203359" y="364585"/>
                </a:moveTo>
                <a:cubicBezTo>
                  <a:pt x="202694" y="366025"/>
                  <a:pt x="201059" y="366744"/>
                  <a:pt x="199549" y="366261"/>
                </a:cubicBezTo>
                <a:lnTo>
                  <a:pt x="198977" y="369643"/>
                </a:lnTo>
                <a:cubicBezTo>
                  <a:pt x="202692" y="372072"/>
                  <a:pt x="200311" y="365928"/>
                  <a:pt x="202940" y="366833"/>
                </a:cubicBezTo>
                <a:cubicBezTo>
                  <a:pt x="202940" y="368176"/>
                  <a:pt x="204511" y="368357"/>
                  <a:pt x="206121" y="368528"/>
                </a:cubicBezTo>
                <a:cubicBezTo>
                  <a:pt x="207502" y="365537"/>
                  <a:pt x="204245" y="365861"/>
                  <a:pt x="203406" y="364490"/>
                </a:cubicBezTo>
                <a:close/>
                <a:moveTo>
                  <a:pt x="209074" y="344678"/>
                </a:moveTo>
                <a:cubicBezTo>
                  <a:pt x="207931" y="344487"/>
                  <a:pt x="207883" y="343535"/>
                  <a:pt x="207007" y="343173"/>
                </a:cubicBezTo>
                <a:cubicBezTo>
                  <a:pt x="206816" y="344963"/>
                  <a:pt x="206188" y="347049"/>
                  <a:pt x="208693" y="346935"/>
                </a:cubicBezTo>
                <a:close/>
                <a:moveTo>
                  <a:pt x="210645" y="321760"/>
                </a:moveTo>
                <a:cubicBezTo>
                  <a:pt x="208636" y="320198"/>
                  <a:pt x="210217" y="326018"/>
                  <a:pt x="211198" y="325332"/>
                </a:cubicBezTo>
                <a:cubicBezTo>
                  <a:pt x="212179" y="324647"/>
                  <a:pt x="210960" y="321884"/>
                  <a:pt x="210674" y="321665"/>
                </a:cubicBezTo>
                <a:close/>
                <a:moveTo>
                  <a:pt x="225266" y="331200"/>
                </a:moveTo>
                <a:cubicBezTo>
                  <a:pt x="221961" y="329800"/>
                  <a:pt x="220961" y="331647"/>
                  <a:pt x="218323" y="331200"/>
                </a:cubicBezTo>
                <a:cubicBezTo>
                  <a:pt x="218042" y="332091"/>
                  <a:pt x="218337" y="333063"/>
                  <a:pt x="219065" y="333648"/>
                </a:cubicBezTo>
                <a:cubicBezTo>
                  <a:pt x="219742" y="334410"/>
                  <a:pt x="217675" y="334724"/>
                  <a:pt x="217741" y="334600"/>
                </a:cubicBezTo>
                <a:cubicBezTo>
                  <a:pt x="217922" y="334229"/>
                  <a:pt x="217370" y="332695"/>
                  <a:pt x="216789" y="333276"/>
                </a:cubicBezTo>
                <a:cubicBezTo>
                  <a:pt x="215400" y="334906"/>
                  <a:pt x="215596" y="337353"/>
                  <a:pt x="217225" y="338742"/>
                </a:cubicBezTo>
                <a:cubicBezTo>
                  <a:pt x="217486" y="338964"/>
                  <a:pt x="217775" y="339150"/>
                  <a:pt x="218084" y="339296"/>
                </a:cubicBezTo>
                <a:cubicBezTo>
                  <a:pt x="219265" y="336877"/>
                  <a:pt x="222428" y="334219"/>
                  <a:pt x="224295" y="336867"/>
                </a:cubicBezTo>
                <a:cubicBezTo>
                  <a:pt x="224695" y="333914"/>
                  <a:pt x="222828" y="332886"/>
                  <a:pt x="225295" y="331105"/>
                </a:cubicBezTo>
                <a:close/>
                <a:moveTo>
                  <a:pt x="239535" y="295252"/>
                </a:moveTo>
                <a:cubicBezTo>
                  <a:pt x="240487" y="291623"/>
                  <a:pt x="239116" y="289604"/>
                  <a:pt x="235982" y="288852"/>
                </a:cubicBezTo>
                <a:cubicBezTo>
                  <a:pt x="235725" y="290357"/>
                  <a:pt x="235477" y="291862"/>
                  <a:pt x="235220" y="293357"/>
                </a:cubicBezTo>
                <a:cubicBezTo>
                  <a:pt x="236847" y="293419"/>
                  <a:pt x="238389" y="294096"/>
                  <a:pt x="239535" y="295252"/>
                </a:cubicBezTo>
                <a:close/>
                <a:moveTo>
                  <a:pt x="244040" y="296014"/>
                </a:moveTo>
                <a:cubicBezTo>
                  <a:pt x="241630" y="295557"/>
                  <a:pt x="235849" y="297329"/>
                  <a:pt x="238763" y="299758"/>
                </a:cubicBezTo>
                <a:cubicBezTo>
                  <a:pt x="239535" y="297176"/>
                  <a:pt x="242640" y="297834"/>
                  <a:pt x="244002" y="296014"/>
                </a:cubicBezTo>
                <a:close/>
                <a:moveTo>
                  <a:pt x="253565" y="315064"/>
                </a:moveTo>
                <a:cubicBezTo>
                  <a:pt x="253115" y="316561"/>
                  <a:pt x="253827" y="318161"/>
                  <a:pt x="255241" y="318827"/>
                </a:cubicBezTo>
                <a:cubicBezTo>
                  <a:pt x="255403" y="317036"/>
                  <a:pt x="256032" y="314903"/>
                  <a:pt x="253536" y="315026"/>
                </a:cubicBezTo>
                <a:close/>
                <a:moveTo>
                  <a:pt x="257585" y="291395"/>
                </a:moveTo>
                <a:cubicBezTo>
                  <a:pt x="254803" y="290757"/>
                  <a:pt x="252146" y="290261"/>
                  <a:pt x="251555" y="292700"/>
                </a:cubicBezTo>
                <a:cubicBezTo>
                  <a:pt x="254298" y="293300"/>
                  <a:pt x="256956" y="293795"/>
                  <a:pt x="257556" y="291319"/>
                </a:cubicBezTo>
                <a:close/>
                <a:moveTo>
                  <a:pt x="290570" y="254095"/>
                </a:moveTo>
                <a:cubicBezTo>
                  <a:pt x="290087" y="255651"/>
                  <a:pt x="290212" y="257333"/>
                  <a:pt x="290922" y="258800"/>
                </a:cubicBezTo>
                <a:cubicBezTo>
                  <a:pt x="294075" y="259515"/>
                  <a:pt x="294294" y="256086"/>
                  <a:pt x="296199" y="255057"/>
                </a:cubicBezTo>
                <a:close/>
                <a:moveTo>
                  <a:pt x="292646" y="248656"/>
                </a:moveTo>
                <a:cubicBezTo>
                  <a:pt x="292951" y="247227"/>
                  <a:pt x="294361" y="247342"/>
                  <a:pt x="294351" y="245465"/>
                </a:cubicBezTo>
                <a:cubicBezTo>
                  <a:pt x="291846" y="243208"/>
                  <a:pt x="290360" y="248694"/>
                  <a:pt x="292618" y="248618"/>
                </a:cubicBezTo>
                <a:close/>
                <a:moveTo>
                  <a:pt x="293599" y="236074"/>
                </a:moveTo>
                <a:cubicBezTo>
                  <a:pt x="295951" y="234102"/>
                  <a:pt x="293132" y="233721"/>
                  <a:pt x="295504" y="231749"/>
                </a:cubicBezTo>
                <a:lnTo>
                  <a:pt x="289874" y="230797"/>
                </a:lnTo>
                <a:cubicBezTo>
                  <a:pt x="288731" y="234169"/>
                  <a:pt x="292151" y="234416"/>
                  <a:pt x="293599" y="236074"/>
                </a:cubicBezTo>
                <a:close/>
                <a:moveTo>
                  <a:pt x="286045" y="246380"/>
                </a:moveTo>
                <a:cubicBezTo>
                  <a:pt x="287179" y="246561"/>
                  <a:pt x="287236" y="247523"/>
                  <a:pt x="288112" y="247885"/>
                </a:cubicBezTo>
                <a:cubicBezTo>
                  <a:pt x="288303" y="246761"/>
                  <a:pt x="289246" y="246704"/>
                  <a:pt x="289627" y="245827"/>
                </a:cubicBezTo>
                <a:cubicBezTo>
                  <a:pt x="288493" y="245646"/>
                  <a:pt x="288436" y="244694"/>
                  <a:pt x="287560" y="244322"/>
                </a:cubicBezTo>
                <a:cubicBezTo>
                  <a:pt x="287369" y="245418"/>
                  <a:pt x="286426" y="245465"/>
                  <a:pt x="286045" y="246342"/>
                </a:cubicBezTo>
                <a:close/>
                <a:moveTo>
                  <a:pt x="272272" y="266068"/>
                </a:moveTo>
                <a:cubicBezTo>
                  <a:pt x="271823" y="267566"/>
                  <a:pt x="272541" y="269168"/>
                  <a:pt x="273958" y="269830"/>
                </a:cubicBezTo>
                <a:cubicBezTo>
                  <a:pt x="274149" y="268011"/>
                  <a:pt x="274777" y="265915"/>
                  <a:pt x="272272" y="266030"/>
                </a:cubicBezTo>
                <a:close/>
                <a:moveTo>
                  <a:pt x="292751" y="268382"/>
                </a:moveTo>
                <a:cubicBezTo>
                  <a:pt x="290151" y="264572"/>
                  <a:pt x="285055" y="262610"/>
                  <a:pt x="284178" y="257648"/>
                </a:cubicBezTo>
                <a:cubicBezTo>
                  <a:pt x="280368" y="257295"/>
                  <a:pt x="280368" y="255743"/>
                  <a:pt x="278930" y="254438"/>
                </a:cubicBezTo>
                <a:cubicBezTo>
                  <a:pt x="276073" y="251818"/>
                  <a:pt x="275654" y="252952"/>
                  <a:pt x="277435" y="249551"/>
                </a:cubicBezTo>
                <a:cubicBezTo>
                  <a:pt x="272225" y="249504"/>
                  <a:pt x="275082" y="252771"/>
                  <a:pt x="273844" y="257057"/>
                </a:cubicBezTo>
                <a:cubicBezTo>
                  <a:pt x="272139" y="258676"/>
                  <a:pt x="268576" y="258305"/>
                  <a:pt x="267633" y="259477"/>
                </a:cubicBezTo>
                <a:cubicBezTo>
                  <a:pt x="267138" y="260096"/>
                  <a:pt x="267700" y="262410"/>
                  <a:pt x="267062" y="262858"/>
                </a:cubicBezTo>
                <a:cubicBezTo>
                  <a:pt x="266186" y="263487"/>
                  <a:pt x="263528" y="261610"/>
                  <a:pt x="263490" y="263410"/>
                </a:cubicBezTo>
                <a:cubicBezTo>
                  <a:pt x="265862" y="265525"/>
                  <a:pt x="265186" y="266154"/>
                  <a:pt x="268938" y="265496"/>
                </a:cubicBezTo>
                <a:cubicBezTo>
                  <a:pt x="270615" y="265068"/>
                  <a:pt x="269834" y="261191"/>
                  <a:pt x="271948" y="261372"/>
                </a:cubicBezTo>
                <a:cubicBezTo>
                  <a:pt x="270320" y="265506"/>
                  <a:pt x="277044" y="263706"/>
                  <a:pt x="279463" y="264963"/>
                </a:cubicBezTo>
                <a:cubicBezTo>
                  <a:pt x="280206" y="267401"/>
                  <a:pt x="280587" y="270106"/>
                  <a:pt x="283007" y="271364"/>
                </a:cubicBezTo>
                <a:cubicBezTo>
                  <a:pt x="283826" y="268802"/>
                  <a:pt x="284988" y="266706"/>
                  <a:pt x="287350" y="266306"/>
                </a:cubicBezTo>
                <a:cubicBezTo>
                  <a:pt x="284988" y="269411"/>
                  <a:pt x="292637" y="270221"/>
                  <a:pt x="292751" y="268344"/>
                </a:cubicBezTo>
                <a:close/>
                <a:moveTo>
                  <a:pt x="295408" y="259562"/>
                </a:moveTo>
                <a:cubicBezTo>
                  <a:pt x="295208" y="266668"/>
                  <a:pt x="292779" y="258362"/>
                  <a:pt x="291598" y="261248"/>
                </a:cubicBezTo>
                <a:cubicBezTo>
                  <a:pt x="293284" y="262029"/>
                  <a:pt x="291951" y="264953"/>
                  <a:pt x="295723" y="264258"/>
                </a:cubicBezTo>
                <a:cubicBezTo>
                  <a:pt x="296170" y="262744"/>
                  <a:pt x="297332" y="256076"/>
                  <a:pt x="295408" y="259524"/>
                </a:cubicBezTo>
                <a:close/>
                <a:moveTo>
                  <a:pt x="297933" y="230987"/>
                </a:moveTo>
                <a:cubicBezTo>
                  <a:pt x="299723" y="231178"/>
                  <a:pt x="301809" y="231797"/>
                  <a:pt x="301695" y="229301"/>
                </a:cubicBezTo>
                <a:lnTo>
                  <a:pt x="299447" y="228920"/>
                </a:lnTo>
                <a:cubicBezTo>
                  <a:pt x="299256" y="230035"/>
                  <a:pt x="298304" y="230092"/>
                  <a:pt x="297933" y="230968"/>
                </a:cubicBezTo>
                <a:close/>
                <a:moveTo>
                  <a:pt x="297704" y="246018"/>
                </a:moveTo>
                <a:cubicBezTo>
                  <a:pt x="297249" y="247514"/>
                  <a:pt x="297963" y="249118"/>
                  <a:pt x="299380" y="249780"/>
                </a:cubicBezTo>
                <a:cubicBezTo>
                  <a:pt x="299542" y="247980"/>
                  <a:pt x="300190" y="245884"/>
                  <a:pt x="297704" y="245999"/>
                </a:cubicBezTo>
                <a:close/>
                <a:moveTo>
                  <a:pt x="302171" y="260686"/>
                </a:moveTo>
                <a:cubicBezTo>
                  <a:pt x="304076" y="258143"/>
                  <a:pt x="299657" y="255457"/>
                  <a:pt x="303124" y="255057"/>
                </a:cubicBezTo>
                <a:cubicBezTo>
                  <a:pt x="304619" y="255324"/>
                  <a:pt x="303819" y="257210"/>
                  <a:pt x="305029" y="257695"/>
                </a:cubicBezTo>
                <a:cubicBezTo>
                  <a:pt x="307391" y="256105"/>
                  <a:pt x="305438" y="253200"/>
                  <a:pt x="302409" y="252609"/>
                </a:cubicBezTo>
                <a:cubicBezTo>
                  <a:pt x="302019" y="253447"/>
                  <a:pt x="301247" y="253762"/>
                  <a:pt x="299971" y="253352"/>
                </a:cubicBezTo>
                <a:cubicBezTo>
                  <a:pt x="299048" y="256009"/>
                  <a:pt x="299936" y="258959"/>
                  <a:pt x="302171" y="260667"/>
                </a:cubicBezTo>
                <a:close/>
                <a:moveTo>
                  <a:pt x="307210" y="271983"/>
                </a:moveTo>
                <a:cubicBezTo>
                  <a:pt x="305171" y="271897"/>
                  <a:pt x="301752" y="269887"/>
                  <a:pt x="302324" y="273469"/>
                </a:cubicBezTo>
                <a:cubicBezTo>
                  <a:pt x="304105" y="273892"/>
                  <a:pt x="305975" y="273316"/>
                  <a:pt x="307210" y="271964"/>
                </a:cubicBezTo>
                <a:close/>
                <a:moveTo>
                  <a:pt x="307210" y="278927"/>
                </a:moveTo>
                <a:cubicBezTo>
                  <a:pt x="306457" y="281441"/>
                  <a:pt x="306762" y="283213"/>
                  <a:pt x="308696" y="283822"/>
                </a:cubicBezTo>
                <a:cubicBezTo>
                  <a:pt x="309108" y="282036"/>
                  <a:pt x="308521" y="280167"/>
                  <a:pt x="307162" y="278936"/>
                </a:cubicBezTo>
                <a:close/>
                <a:moveTo>
                  <a:pt x="316392" y="224844"/>
                </a:moveTo>
                <a:cubicBezTo>
                  <a:pt x="316392" y="223482"/>
                  <a:pt x="317125" y="221672"/>
                  <a:pt x="315839" y="221272"/>
                </a:cubicBezTo>
                <a:cubicBezTo>
                  <a:pt x="315659" y="221948"/>
                  <a:pt x="315439" y="222577"/>
                  <a:pt x="314516" y="222224"/>
                </a:cubicBezTo>
                <a:cubicBezTo>
                  <a:pt x="314620" y="221596"/>
                  <a:pt x="313820" y="220786"/>
                  <a:pt x="313392" y="222034"/>
                </a:cubicBezTo>
                <a:cubicBezTo>
                  <a:pt x="314925" y="222539"/>
                  <a:pt x="314954" y="224167"/>
                  <a:pt x="316373" y="224825"/>
                </a:cubicBezTo>
                <a:close/>
                <a:moveTo>
                  <a:pt x="318735" y="258857"/>
                </a:moveTo>
                <a:cubicBezTo>
                  <a:pt x="319165" y="257078"/>
                  <a:pt x="318592" y="255205"/>
                  <a:pt x="317240" y="253971"/>
                </a:cubicBezTo>
                <a:cubicBezTo>
                  <a:pt x="316039" y="254851"/>
                  <a:pt x="315779" y="256538"/>
                  <a:pt x="316659" y="257738"/>
                </a:cubicBezTo>
                <a:cubicBezTo>
                  <a:pt x="317143" y="258398"/>
                  <a:pt x="317899" y="258803"/>
                  <a:pt x="318716" y="258838"/>
                </a:cubicBezTo>
                <a:close/>
                <a:moveTo>
                  <a:pt x="334080" y="216252"/>
                </a:moveTo>
                <a:cubicBezTo>
                  <a:pt x="335032" y="219319"/>
                  <a:pt x="329022" y="219024"/>
                  <a:pt x="332175" y="220567"/>
                </a:cubicBezTo>
                <a:cubicBezTo>
                  <a:pt x="332356" y="219891"/>
                  <a:pt x="332565" y="219262"/>
                  <a:pt x="333489" y="219614"/>
                </a:cubicBezTo>
                <a:cubicBezTo>
                  <a:pt x="333185" y="222472"/>
                  <a:pt x="337252" y="220567"/>
                  <a:pt x="337995" y="220376"/>
                </a:cubicBezTo>
                <a:cubicBezTo>
                  <a:pt x="339033" y="222281"/>
                  <a:pt x="338614" y="225225"/>
                  <a:pt x="340424" y="226577"/>
                </a:cubicBezTo>
                <a:cubicBezTo>
                  <a:pt x="342574" y="223673"/>
                  <a:pt x="341964" y="219575"/>
                  <a:pt x="339059" y="217425"/>
                </a:cubicBezTo>
                <a:cubicBezTo>
                  <a:pt x="337625" y="216363"/>
                  <a:pt x="335819" y="215932"/>
                  <a:pt x="334061" y="216233"/>
                </a:cubicBezTo>
                <a:close/>
                <a:moveTo>
                  <a:pt x="352282" y="225129"/>
                </a:moveTo>
                <a:lnTo>
                  <a:pt x="352882" y="221786"/>
                </a:lnTo>
                <a:cubicBezTo>
                  <a:pt x="354006" y="221967"/>
                  <a:pt x="354063" y="222920"/>
                  <a:pt x="354940" y="223291"/>
                </a:cubicBezTo>
                <a:cubicBezTo>
                  <a:pt x="355054" y="220672"/>
                  <a:pt x="355892" y="219100"/>
                  <a:pt x="357959" y="219167"/>
                </a:cubicBezTo>
                <a:cubicBezTo>
                  <a:pt x="358073" y="221396"/>
                  <a:pt x="359864" y="222405"/>
                  <a:pt x="359254" y="225177"/>
                </a:cubicBezTo>
                <a:cubicBezTo>
                  <a:pt x="367827" y="224853"/>
                  <a:pt x="360502" y="219310"/>
                  <a:pt x="360597" y="217290"/>
                </a:cubicBezTo>
                <a:cubicBezTo>
                  <a:pt x="360502" y="219138"/>
                  <a:pt x="366855" y="213556"/>
                  <a:pt x="362293" y="214109"/>
                </a:cubicBezTo>
                <a:cubicBezTo>
                  <a:pt x="361731" y="216576"/>
                  <a:pt x="357435" y="213776"/>
                  <a:pt x="355349" y="214109"/>
                </a:cubicBezTo>
                <a:cubicBezTo>
                  <a:pt x="355302" y="218309"/>
                  <a:pt x="349758" y="221958"/>
                  <a:pt x="352263" y="225110"/>
                </a:cubicBezTo>
                <a:close/>
                <a:moveTo>
                  <a:pt x="346853" y="216100"/>
                </a:moveTo>
                <a:cubicBezTo>
                  <a:pt x="350301" y="217690"/>
                  <a:pt x="350663" y="214966"/>
                  <a:pt x="351930" y="213480"/>
                </a:cubicBezTo>
                <a:cubicBezTo>
                  <a:pt x="350377" y="212937"/>
                  <a:pt x="350349" y="211309"/>
                  <a:pt x="348929" y="210623"/>
                </a:cubicBezTo>
                <a:cubicBezTo>
                  <a:pt x="347522" y="212080"/>
                  <a:pt x="346766" y="214046"/>
                  <a:pt x="346834" y="216071"/>
                </a:cubicBezTo>
                <a:close/>
                <a:moveTo>
                  <a:pt x="350177" y="237531"/>
                </a:moveTo>
                <a:cubicBezTo>
                  <a:pt x="348615" y="236988"/>
                  <a:pt x="348586" y="235350"/>
                  <a:pt x="347177" y="234673"/>
                </a:cubicBezTo>
                <a:cubicBezTo>
                  <a:pt x="345500" y="238493"/>
                  <a:pt x="348901" y="241093"/>
                  <a:pt x="350158" y="237512"/>
                </a:cubicBezTo>
                <a:close/>
                <a:moveTo>
                  <a:pt x="358750" y="248266"/>
                </a:moveTo>
                <a:cubicBezTo>
                  <a:pt x="358169" y="243179"/>
                  <a:pt x="355530" y="245722"/>
                  <a:pt x="351425" y="243503"/>
                </a:cubicBezTo>
                <a:cubicBezTo>
                  <a:pt x="351260" y="245542"/>
                  <a:pt x="349472" y="247063"/>
                  <a:pt x="347433" y="246898"/>
                </a:cubicBezTo>
                <a:cubicBezTo>
                  <a:pt x="346610" y="246831"/>
                  <a:pt x="345832" y="246491"/>
                  <a:pt x="345224" y="245932"/>
                </a:cubicBezTo>
                <a:cubicBezTo>
                  <a:pt x="344100" y="249380"/>
                  <a:pt x="347520" y="249590"/>
                  <a:pt x="348967" y="251209"/>
                </a:cubicBezTo>
                <a:cubicBezTo>
                  <a:pt x="349682" y="247180"/>
                  <a:pt x="349225" y="247170"/>
                  <a:pt x="351987" y="247084"/>
                </a:cubicBezTo>
                <a:cubicBezTo>
                  <a:pt x="350339" y="247084"/>
                  <a:pt x="354759" y="253123"/>
                  <a:pt x="355178" y="248780"/>
                </a:cubicBezTo>
                <a:cubicBezTo>
                  <a:pt x="353949" y="248323"/>
                  <a:pt x="353635" y="247227"/>
                  <a:pt x="353273" y="246142"/>
                </a:cubicBezTo>
                <a:cubicBezTo>
                  <a:pt x="355316" y="246059"/>
                  <a:pt x="357304" y="246821"/>
                  <a:pt x="358769" y="248247"/>
                </a:cubicBezTo>
                <a:close/>
                <a:moveTo>
                  <a:pt x="366522" y="222920"/>
                </a:moveTo>
                <a:cubicBezTo>
                  <a:pt x="362531" y="225034"/>
                  <a:pt x="365998" y="228997"/>
                  <a:pt x="362712" y="231549"/>
                </a:cubicBezTo>
                <a:cubicBezTo>
                  <a:pt x="362493" y="230156"/>
                  <a:pt x="361916" y="228842"/>
                  <a:pt x="361036" y="227739"/>
                </a:cubicBezTo>
                <a:cubicBezTo>
                  <a:pt x="361807" y="232549"/>
                  <a:pt x="358340" y="231387"/>
                  <a:pt x="356692" y="232807"/>
                </a:cubicBezTo>
                <a:cubicBezTo>
                  <a:pt x="360207" y="233273"/>
                  <a:pt x="359312" y="236893"/>
                  <a:pt x="364198" y="236397"/>
                </a:cubicBezTo>
                <a:cubicBezTo>
                  <a:pt x="364817" y="234311"/>
                  <a:pt x="363360" y="233692"/>
                  <a:pt x="363836" y="231692"/>
                </a:cubicBezTo>
                <a:cubicBezTo>
                  <a:pt x="366351" y="231978"/>
                  <a:pt x="365131" y="226996"/>
                  <a:pt x="366112" y="225129"/>
                </a:cubicBezTo>
                <a:cubicBezTo>
                  <a:pt x="366754" y="225112"/>
                  <a:pt x="367260" y="224578"/>
                  <a:pt x="367243" y="223937"/>
                </a:cubicBezTo>
                <a:cubicBezTo>
                  <a:pt x="367231" y="223484"/>
                  <a:pt x="366957" y="223080"/>
                  <a:pt x="366541" y="222901"/>
                </a:cubicBezTo>
                <a:close/>
                <a:moveTo>
                  <a:pt x="380810" y="227682"/>
                </a:moveTo>
                <a:cubicBezTo>
                  <a:pt x="382400" y="225110"/>
                  <a:pt x="381600" y="225339"/>
                  <a:pt x="383086" y="221110"/>
                </a:cubicBezTo>
                <a:cubicBezTo>
                  <a:pt x="378857" y="219462"/>
                  <a:pt x="375037" y="227101"/>
                  <a:pt x="380810" y="227644"/>
                </a:cubicBezTo>
                <a:close/>
                <a:moveTo>
                  <a:pt x="383591" y="238579"/>
                </a:moveTo>
                <a:cubicBezTo>
                  <a:pt x="381133" y="235855"/>
                  <a:pt x="378000" y="230130"/>
                  <a:pt x="374771" y="235931"/>
                </a:cubicBezTo>
                <a:cubicBezTo>
                  <a:pt x="378276" y="234350"/>
                  <a:pt x="379752" y="239341"/>
                  <a:pt x="378905" y="238950"/>
                </a:cubicBezTo>
                <a:cubicBezTo>
                  <a:pt x="380352" y="239569"/>
                  <a:pt x="383181" y="239579"/>
                  <a:pt x="383591" y="238541"/>
                </a:cubicBezTo>
                <a:close/>
                <a:moveTo>
                  <a:pt x="385801" y="191430"/>
                </a:moveTo>
                <a:lnTo>
                  <a:pt x="386182" y="189172"/>
                </a:lnTo>
                <a:lnTo>
                  <a:pt x="383934" y="188791"/>
                </a:lnTo>
                <a:lnTo>
                  <a:pt x="383543" y="191039"/>
                </a:lnTo>
                <a:close/>
                <a:moveTo>
                  <a:pt x="386258" y="229759"/>
                </a:moveTo>
                <a:cubicBezTo>
                  <a:pt x="384781" y="232787"/>
                  <a:pt x="387344" y="232949"/>
                  <a:pt x="386429" y="235588"/>
                </a:cubicBezTo>
                <a:cubicBezTo>
                  <a:pt x="393249" y="237921"/>
                  <a:pt x="391992" y="229282"/>
                  <a:pt x="386220" y="229720"/>
                </a:cubicBezTo>
                <a:close/>
                <a:moveTo>
                  <a:pt x="391354" y="220234"/>
                </a:moveTo>
                <a:cubicBezTo>
                  <a:pt x="388934" y="219598"/>
                  <a:pt x="387617" y="220532"/>
                  <a:pt x="387401" y="223034"/>
                </a:cubicBezTo>
                <a:cubicBezTo>
                  <a:pt x="390306" y="224253"/>
                  <a:pt x="390030" y="221005"/>
                  <a:pt x="391354" y="220157"/>
                </a:cubicBezTo>
                <a:close/>
                <a:moveTo>
                  <a:pt x="391897" y="230711"/>
                </a:moveTo>
                <a:cubicBezTo>
                  <a:pt x="391097" y="234369"/>
                  <a:pt x="395888" y="232006"/>
                  <a:pt x="397145" y="233930"/>
                </a:cubicBezTo>
                <a:lnTo>
                  <a:pt x="398097" y="228292"/>
                </a:lnTo>
                <a:cubicBezTo>
                  <a:pt x="393754" y="227701"/>
                  <a:pt x="392420" y="228234"/>
                  <a:pt x="391935" y="230673"/>
                </a:cubicBezTo>
                <a:close/>
                <a:moveTo>
                  <a:pt x="395859" y="220957"/>
                </a:moveTo>
                <a:cubicBezTo>
                  <a:pt x="395411" y="221586"/>
                  <a:pt x="392325" y="224825"/>
                  <a:pt x="395097" y="225463"/>
                </a:cubicBezTo>
                <a:cubicBezTo>
                  <a:pt x="396421" y="223605"/>
                  <a:pt x="399459" y="222577"/>
                  <a:pt x="395859" y="220919"/>
                </a:cubicBezTo>
                <a:close/>
                <a:moveTo>
                  <a:pt x="404365" y="205013"/>
                </a:moveTo>
                <a:cubicBezTo>
                  <a:pt x="401336" y="203536"/>
                  <a:pt x="401174" y="206108"/>
                  <a:pt x="398536" y="205184"/>
                </a:cubicBezTo>
                <a:cubicBezTo>
                  <a:pt x="398355" y="209108"/>
                  <a:pt x="401336" y="207089"/>
                  <a:pt x="398707" y="211004"/>
                </a:cubicBezTo>
                <a:cubicBezTo>
                  <a:pt x="402908" y="211575"/>
                  <a:pt x="401822" y="209851"/>
                  <a:pt x="401726" y="206879"/>
                </a:cubicBezTo>
                <a:cubicBezTo>
                  <a:pt x="403127" y="206946"/>
                  <a:pt x="404460" y="206956"/>
                  <a:pt x="404365" y="204974"/>
                </a:cubicBezTo>
                <a:close/>
                <a:moveTo>
                  <a:pt x="410385" y="203717"/>
                </a:moveTo>
                <a:cubicBezTo>
                  <a:pt x="408899" y="203450"/>
                  <a:pt x="409689" y="201565"/>
                  <a:pt x="408480" y="201079"/>
                </a:cubicBezTo>
                <a:cubicBezTo>
                  <a:pt x="407870" y="202536"/>
                  <a:pt x="406517" y="202984"/>
                  <a:pt x="406575" y="205394"/>
                </a:cubicBezTo>
                <a:lnTo>
                  <a:pt x="408823" y="205775"/>
                </a:lnTo>
                <a:cubicBezTo>
                  <a:pt x="409080" y="204641"/>
                  <a:pt x="410032" y="204555"/>
                  <a:pt x="410385" y="203689"/>
                </a:cubicBezTo>
                <a:close/>
                <a:moveTo>
                  <a:pt x="410385" y="217624"/>
                </a:moveTo>
                <a:cubicBezTo>
                  <a:pt x="412661" y="217624"/>
                  <a:pt x="412366" y="219529"/>
                  <a:pt x="413375" y="220481"/>
                </a:cubicBezTo>
                <a:cubicBezTo>
                  <a:pt x="414719" y="218252"/>
                  <a:pt x="411280" y="214852"/>
                  <a:pt x="410347" y="217586"/>
                </a:cubicBezTo>
                <a:close/>
                <a:moveTo>
                  <a:pt x="416614" y="208242"/>
                </a:moveTo>
                <a:cubicBezTo>
                  <a:pt x="415383" y="208065"/>
                  <a:pt x="414254" y="207461"/>
                  <a:pt x="413423" y="206537"/>
                </a:cubicBezTo>
                <a:cubicBezTo>
                  <a:pt x="414528" y="210127"/>
                  <a:pt x="411432" y="210508"/>
                  <a:pt x="414709" y="212556"/>
                </a:cubicBezTo>
                <a:cubicBezTo>
                  <a:pt x="415195" y="211232"/>
                  <a:pt x="416090" y="212080"/>
                  <a:pt x="416966" y="212937"/>
                </a:cubicBezTo>
                <a:cubicBezTo>
                  <a:pt x="417547" y="210813"/>
                  <a:pt x="416090" y="210204"/>
                  <a:pt x="416576" y="208203"/>
                </a:cubicBezTo>
                <a:close/>
                <a:moveTo>
                  <a:pt x="415890" y="198840"/>
                </a:moveTo>
                <a:cubicBezTo>
                  <a:pt x="416576" y="198898"/>
                  <a:pt x="417243" y="198898"/>
                  <a:pt x="417195" y="197888"/>
                </a:cubicBezTo>
                <a:cubicBezTo>
                  <a:pt x="414099" y="195573"/>
                  <a:pt x="413242" y="203212"/>
                  <a:pt x="415119" y="203336"/>
                </a:cubicBezTo>
                <a:cubicBezTo>
                  <a:pt x="415719" y="201622"/>
                  <a:pt x="417719" y="202965"/>
                  <a:pt x="418500" y="203908"/>
                </a:cubicBezTo>
                <a:cubicBezTo>
                  <a:pt x="420062" y="200431"/>
                  <a:pt x="415938" y="201050"/>
                  <a:pt x="415852" y="198802"/>
                </a:cubicBezTo>
                <a:close/>
                <a:moveTo>
                  <a:pt x="489737" y="132537"/>
                </a:moveTo>
                <a:cubicBezTo>
                  <a:pt x="494624" y="130727"/>
                  <a:pt x="494500" y="135709"/>
                  <a:pt x="496862" y="138385"/>
                </a:cubicBezTo>
                <a:cubicBezTo>
                  <a:pt x="497586" y="136147"/>
                  <a:pt x="500291" y="136690"/>
                  <a:pt x="501005" y="134451"/>
                </a:cubicBezTo>
                <a:cubicBezTo>
                  <a:pt x="499824" y="133966"/>
                  <a:pt x="498615" y="132137"/>
                  <a:pt x="500263" y="132003"/>
                </a:cubicBezTo>
                <a:cubicBezTo>
                  <a:pt x="502539" y="132003"/>
                  <a:pt x="502244" y="133908"/>
                  <a:pt x="503263" y="134861"/>
                </a:cubicBezTo>
                <a:cubicBezTo>
                  <a:pt x="504339" y="132080"/>
                  <a:pt x="505425" y="131165"/>
                  <a:pt x="503091" y="129032"/>
                </a:cubicBezTo>
                <a:cubicBezTo>
                  <a:pt x="502901" y="131318"/>
                  <a:pt x="499796" y="128746"/>
                  <a:pt x="498386" y="129394"/>
                </a:cubicBezTo>
                <a:cubicBezTo>
                  <a:pt x="497738" y="129698"/>
                  <a:pt x="498177" y="132042"/>
                  <a:pt x="496881" y="131461"/>
                </a:cubicBezTo>
                <a:cubicBezTo>
                  <a:pt x="495129" y="131051"/>
                  <a:pt x="496481" y="128441"/>
                  <a:pt x="493881" y="128603"/>
                </a:cubicBezTo>
                <a:cubicBezTo>
                  <a:pt x="492385" y="128365"/>
                  <a:pt x="492519" y="130403"/>
                  <a:pt x="491242" y="130508"/>
                </a:cubicBezTo>
                <a:cubicBezTo>
                  <a:pt x="490290" y="130537"/>
                  <a:pt x="489737" y="131165"/>
                  <a:pt x="489699" y="132499"/>
                </a:cubicBezTo>
                <a:close/>
                <a:moveTo>
                  <a:pt x="457086" y="181486"/>
                </a:moveTo>
                <a:cubicBezTo>
                  <a:pt x="456648" y="180533"/>
                  <a:pt x="455343" y="181352"/>
                  <a:pt x="455028" y="179981"/>
                </a:cubicBezTo>
                <a:cubicBezTo>
                  <a:pt x="455143" y="180476"/>
                  <a:pt x="457800" y="177047"/>
                  <a:pt x="454276" y="177533"/>
                </a:cubicBezTo>
                <a:cubicBezTo>
                  <a:pt x="451914" y="178362"/>
                  <a:pt x="453866" y="186334"/>
                  <a:pt x="449189" y="187058"/>
                </a:cubicBezTo>
                <a:cubicBezTo>
                  <a:pt x="449047" y="185484"/>
                  <a:pt x="447759" y="184261"/>
                  <a:pt x="446180" y="184200"/>
                </a:cubicBezTo>
                <a:cubicBezTo>
                  <a:pt x="445703" y="191278"/>
                  <a:pt x="452085" y="185801"/>
                  <a:pt x="456133" y="187058"/>
                </a:cubicBezTo>
                <a:cubicBezTo>
                  <a:pt x="455676" y="185534"/>
                  <a:pt x="457657" y="182896"/>
                  <a:pt x="457048" y="181448"/>
                </a:cubicBezTo>
                <a:close/>
                <a:moveTo>
                  <a:pt x="473278" y="181905"/>
                </a:moveTo>
                <a:cubicBezTo>
                  <a:pt x="470421" y="181314"/>
                  <a:pt x="472907" y="176885"/>
                  <a:pt x="468220" y="177571"/>
                </a:cubicBezTo>
                <a:cubicBezTo>
                  <a:pt x="468544" y="174037"/>
                  <a:pt x="464810" y="173380"/>
                  <a:pt x="462210" y="171913"/>
                </a:cubicBezTo>
                <a:cubicBezTo>
                  <a:pt x="460943" y="174599"/>
                  <a:pt x="460305" y="176361"/>
                  <a:pt x="462210" y="178876"/>
                </a:cubicBezTo>
                <a:cubicBezTo>
                  <a:pt x="463534" y="176066"/>
                  <a:pt x="466201" y="179505"/>
                  <a:pt x="466725" y="179638"/>
                </a:cubicBezTo>
                <a:cubicBezTo>
                  <a:pt x="466658" y="179638"/>
                  <a:pt x="469154" y="177733"/>
                  <a:pt x="468982" y="180019"/>
                </a:cubicBezTo>
                <a:cubicBezTo>
                  <a:pt x="468030" y="180124"/>
                  <a:pt x="467506" y="180733"/>
                  <a:pt x="467468" y="182076"/>
                </a:cubicBezTo>
                <a:cubicBezTo>
                  <a:pt x="465830" y="179628"/>
                  <a:pt x="463953" y="182867"/>
                  <a:pt x="462020" y="180000"/>
                </a:cubicBezTo>
                <a:cubicBezTo>
                  <a:pt x="460134" y="185220"/>
                  <a:pt x="473069" y="186458"/>
                  <a:pt x="473212" y="181867"/>
                </a:cubicBezTo>
                <a:close/>
                <a:moveTo>
                  <a:pt x="485089" y="166541"/>
                </a:moveTo>
                <a:cubicBezTo>
                  <a:pt x="486042" y="169589"/>
                  <a:pt x="480993" y="170665"/>
                  <a:pt x="484137" y="172180"/>
                </a:cubicBezTo>
                <a:cubicBezTo>
                  <a:pt x="485280" y="170018"/>
                  <a:pt x="488842" y="167979"/>
                  <a:pt x="485089" y="166541"/>
                </a:cubicBezTo>
                <a:close/>
                <a:moveTo>
                  <a:pt x="493900" y="176152"/>
                </a:moveTo>
                <a:cubicBezTo>
                  <a:pt x="497948" y="171304"/>
                  <a:pt x="490661" y="172799"/>
                  <a:pt x="493900" y="176152"/>
                </a:cubicBezTo>
                <a:close/>
                <a:moveTo>
                  <a:pt x="495100" y="148529"/>
                </a:moveTo>
                <a:cubicBezTo>
                  <a:pt x="493538" y="147653"/>
                  <a:pt x="492547" y="146377"/>
                  <a:pt x="490976" y="145500"/>
                </a:cubicBezTo>
                <a:cubicBezTo>
                  <a:pt x="490566" y="146805"/>
                  <a:pt x="490633" y="148739"/>
                  <a:pt x="489280" y="148701"/>
                </a:cubicBezTo>
                <a:cubicBezTo>
                  <a:pt x="487023" y="146996"/>
                  <a:pt x="486120" y="144032"/>
                  <a:pt x="487042" y="141357"/>
                </a:cubicBezTo>
                <a:cubicBezTo>
                  <a:pt x="484937" y="139395"/>
                  <a:pt x="483813" y="142376"/>
                  <a:pt x="482155" y="142852"/>
                </a:cubicBezTo>
                <a:cubicBezTo>
                  <a:pt x="480241" y="143276"/>
                  <a:pt x="478263" y="143334"/>
                  <a:pt x="476326" y="143024"/>
                </a:cubicBezTo>
                <a:cubicBezTo>
                  <a:pt x="475507" y="142833"/>
                  <a:pt x="475374" y="141709"/>
                  <a:pt x="475374" y="141709"/>
                </a:cubicBezTo>
                <a:cubicBezTo>
                  <a:pt x="473783" y="141214"/>
                  <a:pt x="470611" y="143719"/>
                  <a:pt x="470868" y="140938"/>
                </a:cubicBezTo>
                <a:cubicBezTo>
                  <a:pt x="472145" y="140881"/>
                  <a:pt x="473888" y="139538"/>
                  <a:pt x="472373" y="138871"/>
                </a:cubicBezTo>
                <a:cubicBezTo>
                  <a:pt x="470097" y="140290"/>
                  <a:pt x="469430" y="142948"/>
                  <a:pt x="466906" y="143748"/>
                </a:cubicBezTo>
                <a:cubicBezTo>
                  <a:pt x="467201" y="143662"/>
                  <a:pt x="466087" y="141843"/>
                  <a:pt x="465782" y="143557"/>
                </a:cubicBezTo>
                <a:cubicBezTo>
                  <a:pt x="466620" y="143948"/>
                  <a:pt x="466935" y="144719"/>
                  <a:pt x="466525" y="146005"/>
                </a:cubicBezTo>
                <a:cubicBezTo>
                  <a:pt x="462934" y="143233"/>
                  <a:pt x="462715" y="146224"/>
                  <a:pt x="459381" y="147110"/>
                </a:cubicBezTo>
                <a:cubicBezTo>
                  <a:pt x="458038" y="147110"/>
                  <a:pt x="456219" y="146367"/>
                  <a:pt x="455819" y="147663"/>
                </a:cubicBezTo>
                <a:cubicBezTo>
                  <a:pt x="456648" y="148063"/>
                  <a:pt x="458029" y="148072"/>
                  <a:pt x="457876" y="149167"/>
                </a:cubicBezTo>
                <a:cubicBezTo>
                  <a:pt x="457724" y="150263"/>
                  <a:pt x="456743" y="150358"/>
                  <a:pt x="456362" y="151234"/>
                </a:cubicBezTo>
                <a:cubicBezTo>
                  <a:pt x="459305" y="152577"/>
                  <a:pt x="459019" y="149329"/>
                  <a:pt x="461258" y="149749"/>
                </a:cubicBezTo>
                <a:cubicBezTo>
                  <a:pt x="462363" y="151273"/>
                  <a:pt x="465020" y="151654"/>
                  <a:pt x="467830" y="152015"/>
                </a:cubicBezTo>
                <a:cubicBezTo>
                  <a:pt x="468220" y="150720"/>
                  <a:pt x="468173" y="148786"/>
                  <a:pt x="469525" y="148825"/>
                </a:cubicBezTo>
                <a:cubicBezTo>
                  <a:pt x="469525" y="150815"/>
                  <a:pt x="473183" y="148386"/>
                  <a:pt x="473659" y="151844"/>
                </a:cubicBezTo>
                <a:cubicBezTo>
                  <a:pt x="472164" y="151606"/>
                  <a:pt x="472288" y="153644"/>
                  <a:pt x="471021" y="153749"/>
                </a:cubicBezTo>
                <a:cubicBezTo>
                  <a:pt x="469878" y="153559"/>
                  <a:pt x="469821" y="152606"/>
                  <a:pt x="468954" y="152235"/>
                </a:cubicBezTo>
                <a:cubicBezTo>
                  <a:pt x="467554" y="153520"/>
                  <a:pt x="467154" y="156206"/>
                  <a:pt x="465744" y="157483"/>
                </a:cubicBezTo>
                <a:cubicBezTo>
                  <a:pt x="470945" y="157759"/>
                  <a:pt x="469973" y="153673"/>
                  <a:pt x="471764" y="156197"/>
                </a:cubicBezTo>
                <a:cubicBezTo>
                  <a:pt x="472802" y="158138"/>
                  <a:pt x="474811" y="159363"/>
                  <a:pt x="477012" y="159397"/>
                </a:cubicBezTo>
                <a:cubicBezTo>
                  <a:pt x="476559" y="160897"/>
                  <a:pt x="477277" y="162501"/>
                  <a:pt x="478698" y="163160"/>
                </a:cubicBezTo>
                <a:cubicBezTo>
                  <a:pt x="480603" y="160588"/>
                  <a:pt x="478698" y="159540"/>
                  <a:pt x="480603" y="158845"/>
                </a:cubicBezTo>
                <a:cubicBezTo>
                  <a:pt x="482060" y="159464"/>
                  <a:pt x="482508" y="160817"/>
                  <a:pt x="484908" y="160750"/>
                </a:cubicBezTo>
                <a:cubicBezTo>
                  <a:pt x="485470" y="159216"/>
                  <a:pt x="487604" y="159883"/>
                  <a:pt x="488671" y="159073"/>
                </a:cubicBezTo>
                <a:cubicBezTo>
                  <a:pt x="489071" y="157769"/>
                  <a:pt x="489023" y="155835"/>
                  <a:pt x="490376" y="155883"/>
                </a:cubicBezTo>
                <a:cubicBezTo>
                  <a:pt x="493528" y="156626"/>
                  <a:pt x="493719" y="152073"/>
                  <a:pt x="496195" y="155711"/>
                </a:cubicBezTo>
                <a:cubicBezTo>
                  <a:pt x="497662" y="151692"/>
                  <a:pt x="490757" y="151558"/>
                  <a:pt x="495100" y="148491"/>
                </a:cubicBezTo>
                <a:close/>
                <a:moveTo>
                  <a:pt x="501634" y="164722"/>
                </a:moveTo>
                <a:cubicBezTo>
                  <a:pt x="502244" y="163398"/>
                  <a:pt x="503539" y="163912"/>
                  <a:pt x="504263" y="162817"/>
                </a:cubicBezTo>
                <a:cubicBezTo>
                  <a:pt x="497967" y="161864"/>
                  <a:pt x="499110" y="165065"/>
                  <a:pt x="497491" y="168618"/>
                </a:cubicBezTo>
                <a:cubicBezTo>
                  <a:pt x="499777" y="169675"/>
                  <a:pt x="502968" y="173542"/>
                  <a:pt x="504244" y="169770"/>
                </a:cubicBezTo>
                <a:cubicBezTo>
                  <a:pt x="502587" y="168932"/>
                  <a:pt x="500834" y="166398"/>
                  <a:pt x="501634" y="164636"/>
                </a:cubicBezTo>
                <a:close/>
                <a:moveTo>
                  <a:pt x="505625" y="148005"/>
                </a:moveTo>
                <a:cubicBezTo>
                  <a:pt x="503063" y="152692"/>
                  <a:pt x="499072" y="144996"/>
                  <a:pt x="496414" y="147605"/>
                </a:cubicBezTo>
                <a:cubicBezTo>
                  <a:pt x="499481" y="149958"/>
                  <a:pt x="501548" y="154101"/>
                  <a:pt x="505987" y="152711"/>
                </a:cubicBezTo>
                <a:cubicBezTo>
                  <a:pt x="506082" y="150939"/>
                  <a:pt x="507101" y="148567"/>
                  <a:pt x="505625" y="147948"/>
                </a:cubicBezTo>
                <a:close/>
                <a:moveTo>
                  <a:pt x="509435" y="125469"/>
                </a:moveTo>
                <a:cubicBezTo>
                  <a:pt x="508121" y="123400"/>
                  <a:pt x="506480" y="121557"/>
                  <a:pt x="504577" y="120011"/>
                </a:cubicBezTo>
                <a:lnTo>
                  <a:pt x="503806" y="124517"/>
                </a:lnTo>
                <a:cubicBezTo>
                  <a:pt x="504396" y="125231"/>
                  <a:pt x="508721" y="128003"/>
                  <a:pt x="509445" y="125412"/>
                </a:cubicBezTo>
                <a:close/>
                <a:moveTo>
                  <a:pt x="514055" y="152920"/>
                </a:moveTo>
                <a:cubicBezTo>
                  <a:pt x="511140" y="152073"/>
                  <a:pt x="510750" y="154825"/>
                  <a:pt x="509921" y="156854"/>
                </a:cubicBezTo>
                <a:cubicBezTo>
                  <a:pt x="512978" y="157235"/>
                  <a:pt x="515760" y="155111"/>
                  <a:pt x="514064" y="152863"/>
                </a:cubicBezTo>
                <a:close/>
                <a:moveTo>
                  <a:pt x="517417" y="160445"/>
                </a:moveTo>
                <a:cubicBezTo>
                  <a:pt x="519160" y="160836"/>
                  <a:pt x="518760" y="157302"/>
                  <a:pt x="517617" y="159321"/>
                </a:cubicBezTo>
                <a:cubicBezTo>
                  <a:pt x="515179" y="159940"/>
                  <a:pt x="517274" y="164341"/>
                  <a:pt x="518360" y="161769"/>
                </a:cubicBezTo>
                <a:cubicBezTo>
                  <a:pt x="517665" y="161531"/>
                  <a:pt x="517055" y="161312"/>
                  <a:pt x="517427" y="160388"/>
                </a:cubicBezTo>
                <a:close/>
                <a:moveTo>
                  <a:pt x="526152" y="129470"/>
                </a:moveTo>
                <a:cubicBezTo>
                  <a:pt x="522389" y="129822"/>
                  <a:pt x="522970" y="127098"/>
                  <a:pt x="520903" y="126260"/>
                </a:cubicBezTo>
                <a:cubicBezTo>
                  <a:pt x="520251" y="127687"/>
                  <a:pt x="518638" y="128405"/>
                  <a:pt x="517141" y="127936"/>
                </a:cubicBezTo>
                <a:cubicBezTo>
                  <a:pt x="518484" y="124012"/>
                  <a:pt x="514388" y="123945"/>
                  <a:pt x="510950" y="123412"/>
                </a:cubicBezTo>
                <a:cubicBezTo>
                  <a:pt x="510321" y="127822"/>
                  <a:pt x="515150" y="128365"/>
                  <a:pt x="519198" y="129451"/>
                </a:cubicBezTo>
                <a:cubicBezTo>
                  <a:pt x="519429" y="130829"/>
                  <a:pt x="520009" y="132124"/>
                  <a:pt x="520884" y="133213"/>
                </a:cubicBezTo>
                <a:cubicBezTo>
                  <a:pt x="520932" y="129498"/>
                  <a:pt x="526552" y="133689"/>
                  <a:pt x="526161" y="129394"/>
                </a:cubicBezTo>
                <a:close/>
                <a:moveTo>
                  <a:pt x="544592" y="123317"/>
                </a:moveTo>
                <a:cubicBezTo>
                  <a:pt x="547697" y="125641"/>
                  <a:pt x="548545" y="117992"/>
                  <a:pt x="546668" y="117878"/>
                </a:cubicBezTo>
                <a:cubicBezTo>
                  <a:pt x="547068" y="121164"/>
                  <a:pt x="544592" y="120469"/>
                  <a:pt x="544601" y="123259"/>
                </a:cubicBezTo>
                <a:close/>
                <a:moveTo>
                  <a:pt x="541934" y="132146"/>
                </a:moveTo>
                <a:cubicBezTo>
                  <a:pt x="541573" y="132213"/>
                  <a:pt x="543030" y="133642"/>
                  <a:pt x="543992" y="133651"/>
                </a:cubicBezTo>
                <a:cubicBezTo>
                  <a:pt x="544382" y="133651"/>
                  <a:pt x="545163" y="131832"/>
                  <a:pt x="546430" y="132908"/>
                </a:cubicBezTo>
                <a:cubicBezTo>
                  <a:pt x="547040" y="130476"/>
                  <a:pt x="546641" y="127900"/>
                  <a:pt x="545325" y="125765"/>
                </a:cubicBezTo>
                <a:cubicBezTo>
                  <a:pt x="544544" y="127612"/>
                  <a:pt x="543916" y="125279"/>
                  <a:pt x="541953" y="125193"/>
                </a:cubicBezTo>
                <a:cubicBezTo>
                  <a:pt x="540465" y="127531"/>
                  <a:pt x="538545" y="129564"/>
                  <a:pt x="536296" y="131184"/>
                </a:cubicBezTo>
                <a:cubicBezTo>
                  <a:pt x="534610" y="130403"/>
                  <a:pt x="535934" y="127479"/>
                  <a:pt x="532171" y="128174"/>
                </a:cubicBezTo>
                <a:cubicBezTo>
                  <a:pt x="529819" y="131432"/>
                  <a:pt x="532400" y="135118"/>
                  <a:pt x="528771" y="134547"/>
                </a:cubicBezTo>
                <a:cubicBezTo>
                  <a:pt x="529371" y="137090"/>
                  <a:pt x="527666" y="141281"/>
                  <a:pt x="532324" y="140947"/>
                </a:cubicBezTo>
                <a:cubicBezTo>
                  <a:pt x="533457" y="138366"/>
                  <a:pt x="532324" y="132537"/>
                  <a:pt x="534981" y="132127"/>
                </a:cubicBezTo>
                <a:cubicBezTo>
                  <a:pt x="536734" y="132527"/>
                  <a:pt x="535372" y="135147"/>
                  <a:pt x="537972" y="134985"/>
                </a:cubicBezTo>
                <a:cubicBezTo>
                  <a:pt x="539896" y="134061"/>
                  <a:pt x="540525" y="132356"/>
                  <a:pt x="541944" y="132089"/>
                </a:cubicBezTo>
                <a:close/>
                <a:moveTo>
                  <a:pt x="546240" y="134051"/>
                </a:moveTo>
                <a:cubicBezTo>
                  <a:pt x="545868" y="139471"/>
                  <a:pt x="544487" y="135956"/>
                  <a:pt x="542677" y="134613"/>
                </a:cubicBezTo>
                <a:cubicBezTo>
                  <a:pt x="543630" y="137661"/>
                  <a:pt x="538572" y="138719"/>
                  <a:pt x="541725" y="140243"/>
                </a:cubicBezTo>
                <a:cubicBezTo>
                  <a:pt x="543563" y="138442"/>
                  <a:pt x="551088" y="136709"/>
                  <a:pt x="546240" y="133975"/>
                </a:cubicBezTo>
                <a:close/>
                <a:moveTo>
                  <a:pt x="552326" y="111906"/>
                </a:moveTo>
                <a:cubicBezTo>
                  <a:pt x="553593" y="115763"/>
                  <a:pt x="547354" y="115792"/>
                  <a:pt x="550240" y="117344"/>
                </a:cubicBezTo>
                <a:cubicBezTo>
                  <a:pt x="550659" y="116059"/>
                  <a:pt x="552240" y="116392"/>
                  <a:pt x="553812" y="116792"/>
                </a:cubicBezTo>
                <a:cubicBezTo>
                  <a:pt x="554574" y="114201"/>
                  <a:pt x="554269" y="112430"/>
                  <a:pt x="552336" y="111829"/>
                </a:cubicBezTo>
                <a:close/>
                <a:moveTo>
                  <a:pt x="559460" y="49345"/>
                </a:moveTo>
                <a:cubicBezTo>
                  <a:pt x="557975" y="49079"/>
                  <a:pt x="558765" y="47193"/>
                  <a:pt x="557555" y="46707"/>
                </a:cubicBezTo>
                <a:cubicBezTo>
                  <a:pt x="557155" y="47545"/>
                  <a:pt x="556384" y="47860"/>
                  <a:pt x="555108" y="47460"/>
                </a:cubicBezTo>
                <a:cubicBezTo>
                  <a:pt x="553964" y="51508"/>
                  <a:pt x="557936" y="51422"/>
                  <a:pt x="559470" y="49269"/>
                </a:cubicBezTo>
                <a:close/>
                <a:moveTo>
                  <a:pt x="558270" y="70015"/>
                </a:moveTo>
                <a:cubicBezTo>
                  <a:pt x="559118" y="67948"/>
                  <a:pt x="561832" y="68519"/>
                  <a:pt x="561480" y="64766"/>
                </a:cubicBezTo>
                <a:cubicBezTo>
                  <a:pt x="558822" y="64871"/>
                  <a:pt x="555346" y="66024"/>
                  <a:pt x="553593" y="63423"/>
                </a:cubicBezTo>
                <a:cubicBezTo>
                  <a:pt x="553193" y="64719"/>
                  <a:pt x="553241" y="66652"/>
                  <a:pt x="551898" y="66614"/>
                </a:cubicBezTo>
                <a:cubicBezTo>
                  <a:pt x="552374" y="71377"/>
                  <a:pt x="555708" y="71853"/>
                  <a:pt x="552431" y="77139"/>
                </a:cubicBezTo>
                <a:cubicBezTo>
                  <a:pt x="557584" y="79197"/>
                  <a:pt x="557670" y="74149"/>
                  <a:pt x="558279" y="69939"/>
                </a:cubicBezTo>
                <a:close/>
                <a:moveTo>
                  <a:pt x="563385" y="121897"/>
                </a:moveTo>
                <a:cubicBezTo>
                  <a:pt x="562070" y="120507"/>
                  <a:pt x="560299" y="119459"/>
                  <a:pt x="559441" y="117745"/>
                </a:cubicBezTo>
                <a:cubicBezTo>
                  <a:pt x="562099" y="118183"/>
                  <a:pt x="559556" y="114601"/>
                  <a:pt x="557536" y="115106"/>
                </a:cubicBezTo>
                <a:cubicBezTo>
                  <a:pt x="558287" y="117804"/>
                  <a:pt x="557794" y="120695"/>
                  <a:pt x="556193" y="122993"/>
                </a:cubicBezTo>
                <a:cubicBezTo>
                  <a:pt x="558650" y="123589"/>
                  <a:pt x="561244" y="123167"/>
                  <a:pt x="563385" y="121821"/>
                </a:cubicBezTo>
                <a:close/>
                <a:moveTo>
                  <a:pt x="571129" y="42049"/>
                </a:moveTo>
                <a:cubicBezTo>
                  <a:pt x="568271" y="39716"/>
                  <a:pt x="567195" y="46393"/>
                  <a:pt x="569224" y="46374"/>
                </a:cubicBezTo>
                <a:cubicBezTo>
                  <a:pt x="569274" y="44715"/>
                  <a:pt x="569959" y="43140"/>
                  <a:pt x="571138" y="41973"/>
                </a:cubicBezTo>
                <a:close/>
                <a:moveTo>
                  <a:pt x="592274" y="74625"/>
                </a:moveTo>
                <a:cubicBezTo>
                  <a:pt x="594055" y="74815"/>
                  <a:pt x="596151" y="75434"/>
                  <a:pt x="596027" y="72939"/>
                </a:cubicBezTo>
                <a:lnTo>
                  <a:pt x="593779" y="72558"/>
                </a:lnTo>
                <a:cubicBezTo>
                  <a:pt x="593598" y="73615"/>
                  <a:pt x="592646" y="73672"/>
                  <a:pt x="592284" y="74549"/>
                </a:cubicBezTo>
                <a:close/>
                <a:moveTo>
                  <a:pt x="584873" y="97713"/>
                </a:moveTo>
                <a:cubicBezTo>
                  <a:pt x="584959" y="95675"/>
                  <a:pt x="586969" y="92265"/>
                  <a:pt x="583387" y="92827"/>
                </a:cubicBezTo>
                <a:cubicBezTo>
                  <a:pt x="582644" y="95266"/>
                  <a:pt x="582949" y="97009"/>
                  <a:pt x="584883" y="97637"/>
                </a:cubicBezTo>
                <a:close/>
                <a:moveTo>
                  <a:pt x="572767" y="128117"/>
                </a:moveTo>
                <a:lnTo>
                  <a:pt x="575015" y="128498"/>
                </a:lnTo>
                <a:cubicBezTo>
                  <a:pt x="575148" y="127755"/>
                  <a:pt x="575272" y="127003"/>
                  <a:pt x="575405" y="126250"/>
                </a:cubicBezTo>
                <a:lnTo>
                  <a:pt x="573148" y="125869"/>
                </a:lnTo>
                <a:cubicBezTo>
                  <a:pt x="573024" y="126536"/>
                  <a:pt x="572910" y="127289"/>
                  <a:pt x="572776" y="128041"/>
                </a:cubicBezTo>
                <a:close/>
                <a:moveTo>
                  <a:pt x="574224" y="139966"/>
                </a:moveTo>
                <a:cubicBezTo>
                  <a:pt x="571005" y="135899"/>
                  <a:pt x="570109" y="143548"/>
                  <a:pt x="574224" y="139966"/>
                </a:cubicBezTo>
                <a:close/>
                <a:moveTo>
                  <a:pt x="578034" y="131327"/>
                </a:moveTo>
                <a:cubicBezTo>
                  <a:pt x="573100" y="130708"/>
                  <a:pt x="575643" y="132937"/>
                  <a:pt x="574815" y="136585"/>
                </a:cubicBezTo>
                <a:cubicBezTo>
                  <a:pt x="579311" y="137442"/>
                  <a:pt x="578282" y="134156"/>
                  <a:pt x="578025" y="131299"/>
                </a:cubicBezTo>
                <a:close/>
                <a:moveTo>
                  <a:pt x="594455" y="102724"/>
                </a:moveTo>
                <a:cubicBezTo>
                  <a:pt x="591598" y="102419"/>
                  <a:pt x="591255" y="100361"/>
                  <a:pt x="589198" y="99504"/>
                </a:cubicBezTo>
                <a:cubicBezTo>
                  <a:pt x="589521" y="103590"/>
                  <a:pt x="586807" y="103076"/>
                  <a:pt x="585435" y="101190"/>
                </a:cubicBezTo>
                <a:cubicBezTo>
                  <a:pt x="583997" y="103095"/>
                  <a:pt x="588178" y="105524"/>
                  <a:pt x="584673" y="105695"/>
                </a:cubicBezTo>
                <a:cubicBezTo>
                  <a:pt x="583721" y="102733"/>
                  <a:pt x="580673" y="101266"/>
                  <a:pt x="577548" y="99857"/>
                </a:cubicBezTo>
                <a:cubicBezTo>
                  <a:pt x="576929" y="101943"/>
                  <a:pt x="578396" y="102552"/>
                  <a:pt x="577901" y="104552"/>
                </a:cubicBezTo>
                <a:cubicBezTo>
                  <a:pt x="579558" y="105029"/>
                  <a:pt x="582139" y="104857"/>
                  <a:pt x="582225" y="106457"/>
                </a:cubicBezTo>
                <a:cubicBezTo>
                  <a:pt x="580141" y="108984"/>
                  <a:pt x="578484" y="111835"/>
                  <a:pt x="577320" y="114897"/>
                </a:cubicBezTo>
                <a:cubicBezTo>
                  <a:pt x="580320" y="116392"/>
                  <a:pt x="581330" y="119316"/>
                  <a:pt x="585759" y="119802"/>
                </a:cubicBezTo>
                <a:cubicBezTo>
                  <a:pt x="586159" y="118973"/>
                  <a:pt x="586169" y="117583"/>
                  <a:pt x="587264" y="117745"/>
                </a:cubicBezTo>
                <a:cubicBezTo>
                  <a:pt x="588187" y="115075"/>
                  <a:pt x="587287" y="112115"/>
                  <a:pt x="585035" y="110410"/>
                </a:cubicBezTo>
                <a:cubicBezTo>
                  <a:pt x="583349" y="110829"/>
                  <a:pt x="584130" y="114716"/>
                  <a:pt x="582016" y="114535"/>
                </a:cubicBezTo>
                <a:cubicBezTo>
                  <a:pt x="582206" y="113401"/>
                  <a:pt x="581330" y="113039"/>
                  <a:pt x="581273" y="112087"/>
                </a:cubicBezTo>
                <a:cubicBezTo>
                  <a:pt x="583178" y="110515"/>
                  <a:pt x="583635" y="107038"/>
                  <a:pt x="585607" y="107029"/>
                </a:cubicBezTo>
                <a:cubicBezTo>
                  <a:pt x="585692" y="107029"/>
                  <a:pt x="586350" y="109239"/>
                  <a:pt x="587664" y="108534"/>
                </a:cubicBezTo>
                <a:cubicBezTo>
                  <a:pt x="588521" y="108077"/>
                  <a:pt x="587664" y="104657"/>
                  <a:pt x="589369" y="105343"/>
                </a:cubicBezTo>
                <a:cubicBezTo>
                  <a:pt x="589845" y="107248"/>
                  <a:pt x="588664" y="110782"/>
                  <a:pt x="592369" y="108200"/>
                </a:cubicBezTo>
                <a:cubicBezTo>
                  <a:pt x="587864" y="105867"/>
                  <a:pt x="593865" y="105743"/>
                  <a:pt x="594455" y="102724"/>
                </a:cubicBezTo>
                <a:close/>
                <a:moveTo>
                  <a:pt x="606838" y="97866"/>
                </a:moveTo>
                <a:cubicBezTo>
                  <a:pt x="602723" y="96475"/>
                  <a:pt x="590293" y="89627"/>
                  <a:pt x="592922" y="97866"/>
                </a:cubicBezTo>
                <a:cubicBezTo>
                  <a:pt x="595084" y="98580"/>
                  <a:pt x="595417" y="96723"/>
                  <a:pt x="596732" y="96189"/>
                </a:cubicBezTo>
                <a:cubicBezTo>
                  <a:pt x="596541" y="97980"/>
                  <a:pt x="595913" y="100066"/>
                  <a:pt x="598408" y="99952"/>
                </a:cubicBezTo>
                <a:cubicBezTo>
                  <a:pt x="599180" y="98047"/>
                  <a:pt x="597218" y="96780"/>
                  <a:pt x="598989" y="96570"/>
                </a:cubicBezTo>
                <a:cubicBezTo>
                  <a:pt x="604190" y="96504"/>
                  <a:pt x="597294" y="105029"/>
                  <a:pt x="602151" y="105229"/>
                </a:cubicBezTo>
                <a:cubicBezTo>
                  <a:pt x="604628" y="103438"/>
                  <a:pt x="601828" y="103066"/>
                  <a:pt x="603104" y="99590"/>
                </a:cubicBezTo>
                <a:cubicBezTo>
                  <a:pt x="604487" y="99355"/>
                  <a:pt x="605785" y="98767"/>
                  <a:pt x="606876" y="97885"/>
                </a:cubicBezTo>
                <a:close/>
                <a:moveTo>
                  <a:pt x="487289" y="379025"/>
                </a:moveTo>
                <a:cubicBezTo>
                  <a:pt x="487509" y="380225"/>
                  <a:pt x="486337" y="379653"/>
                  <a:pt x="485975" y="379977"/>
                </a:cubicBezTo>
                <a:cubicBezTo>
                  <a:pt x="483822" y="381635"/>
                  <a:pt x="486127" y="384816"/>
                  <a:pt x="487651" y="383787"/>
                </a:cubicBezTo>
                <a:cubicBezTo>
                  <a:pt x="488528" y="383102"/>
                  <a:pt x="488137" y="378806"/>
                  <a:pt x="487289" y="379025"/>
                </a:cubicBezTo>
                <a:close/>
                <a:moveTo>
                  <a:pt x="491185" y="397046"/>
                </a:moveTo>
                <a:cubicBezTo>
                  <a:pt x="487756" y="395055"/>
                  <a:pt x="488899" y="402952"/>
                  <a:pt x="491738" y="400628"/>
                </a:cubicBezTo>
                <a:cubicBezTo>
                  <a:pt x="492776" y="399799"/>
                  <a:pt x="491595" y="397313"/>
                  <a:pt x="491185" y="397046"/>
                </a:cubicBezTo>
                <a:close/>
                <a:moveTo>
                  <a:pt x="511121" y="388845"/>
                </a:moveTo>
                <a:cubicBezTo>
                  <a:pt x="510950" y="389521"/>
                  <a:pt x="510730" y="390150"/>
                  <a:pt x="509807" y="389798"/>
                </a:cubicBezTo>
                <a:cubicBezTo>
                  <a:pt x="509683" y="390550"/>
                  <a:pt x="509559" y="391293"/>
                  <a:pt x="509426" y="392045"/>
                </a:cubicBezTo>
                <a:cubicBezTo>
                  <a:pt x="512226" y="392674"/>
                  <a:pt x="512588" y="394798"/>
                  <a:pt x="514121" y="391684"/>
                </a:cubicBezTo>
                <a:cubicBezTo>
                  <a:pt x="511854" y="391655"/>
                  <a:pt x="512150" y="389798"/>
                  <a:pt x="511121" y="388874"/>
                </a:cubicBezTo>
                <a:close/>
                <a:moveTo>
                  <a:pt x="520303" y="334753"/>
                </a:moveTo>
                <a:cubicBezTo>
                  <a:pt x="517084" y="331790"/>
                  <a:pt x="513969" y="335010"/>
                  <a:pt x="512026" y="335705"/>
                </a:cubicBezTo>
                <a:cubicBezTo>
                  <a:pt x="512521" y="335534"/>
                  <a:pt x="510473" y="333800"/>
                  <a:pt x="510721" y="336658"/>
                </a:cubicBezTo>
                <a:cubicBezTo>
                  <a:pt x="510473" y="338153"/>
                  <a:pt x="512521" y="338020"/>
                  <a:pt x="512626" y="339296"/>
                </a:cubicBezTo>
                <a:cubicBezTo>
                  <a:pt x="515760" y="338629"/>
                  <a:pt x="519313" y="338496"/>
                  <a:pt x="520303" y="334781"/>
                </a:cubicBezTo>
                <a:close/>
                <a:moveTo>
                  <a:pt x="535486" y="347764"/>
                </a:moveTo>
                <a:cubicBezTo>
                  <a:pt x="534762" y="345478"/>
                  <a:pt x="539506" y="344563"/>
                  <a:pt x="536258" y="343249"/>
                </a:cubicBezTo>
                <a:cubicBezTo>
                  <a:pt x="535810" y="343916"/>
                  <a:pt x="532714" y="347145"/>
                  <a:pt x="535486" y="347792"/>
                </a:cubicBezTo>
                <a:close/>
                <a:moveTo>
                  <a:pt x="530247" y="337601"/>
                </a:moveTo>
                <a:cubicBezTo>
                  <a:pt x="530123" y="338353"/>
                  <a:pt x="530000" y="339096"/>
                  <a:pt x="529866" y="339848"/>
                </a:cubicBezTo>
                <a:cubicBezTo>
                  <a:pt x="525904" y="338896"/>
                  <a:pt x="522989" y="339467"/>
                  <a:pt x="521408" y="341896"/>
                </a:cubicBezTo>
                <a:cubicBezTo>
                  <a:pt x="522265" y="343801"/>
                  <a:pt x="523970" y="342001"/>
                  <a:pt x="524789" y="342468"/>
                </a:cubicBezTo>
                <a:cubicBezTo>
                  <a:pt x="525609" y="342935"/>
                  <a:pt x="525409" y="345802"/>
                  <a:pt x="527790" y="345325"/>
                </a:cubicBezTo>
                <a:cubicBezTo>
                  <a:pt x="530247" y="342544"/>
                  <a:pt x="535762" y="340782"/>
                  <a:pt x="530247" y="337629"/>
                </a:cubicBezTo>
                <a:close/>
                <a:moveTo>
                  <a:pt x="553964" y="259305"/>
                </a:moveTo>
                <a:cubicBezTo>
                  <a:pt x="551374" y="258505"/>
                  <a:pt x="554203" y="253857"/>
                  <a:pt x="550231" y="254038"/>
                </a:cubicBezTo>
                <a:cubicBezTo>
                  <a:pt x="548545" y="258172"/>
                  <a:pt x="546973" y="262172"/>
                  <a:pt x="550755" y="264515"/>
                </a:cubicBezTo>
                <a:cubicBezTo>
                  <a:pt x="551069" y="261791"/>
                  <a:pt x="553126" y="261401"/>
                  <a:pt x="553964" y="259334"/>
                </a:cubicBezTo>
                <a:close/>
                <a:moveTo>
                  <a:pt x="561480" y="255981"/>
                </a:moveTo>
                <a:cubicBezTo>
                  <a:pt x="558622" y="253638"/>
                  <a:pt x="557536" y="260315"/>
                  <a:pt x="559575" y="260296"/>
                </a:cubicBezTo>
                <a:cubicBezTo>
                  <a:pt x="560222" y="258829"/>
                  <a:pt x="561575" y="258419"/>
                  <a:pt x="561480" y="255981"/>
                </a:cubicBezTo>
                <a:close/>
                <a:moveTo>
                  <a:pt x="567509" y="247723"/>
                </a:moveTo>
                <a:lnTo>
                  <a:pt x="565261" y="247342"/>
                </a:lnTo>
                <a:lnTo>
                  <a:pt x="564880" y="249599"/>
                </a:lnTo>
                <a:lnTo>
                  <a:pt x="567128" y="249980"/>
                </a:lnTo>
                <a:close/>
                <a:moveTo>
                  <a:pt x="581882" y="224644"/>
                </a:moveTo>
                <a:cubicBezTo>
                  <a:pt x="578425" y="223043"/>
                  <a:pt x="579025" y="227177"/>
                  <a:pt x="576805" y="227263"/>
                </a:cubicBezTo>
                <a:cubicBezTo>
                  <a:pt x="576853" y="226568"/>
                  <a:pt x="576863" y="225901"/>
                  <a:pt x="575853" y="225949"/>
                </a:cubicBezTo>
                <a:cubicBezTo>
                  <a:pt x="575758" y="227663"/>
                  <a:pt x="574739" y="230035"/>
                  <a:pt x="576215" y="230644"/>
                </a:cubicBezTo>
                <a:cubicBezTo>
                  <a:pt x="577444" y="227720"/>
                  <a:pt x="581416" y="228644"/>
                  <a:pt x="581882" y="224644"/>
                </a:cubicBezTo>
                <a:close/>
                <a:moveTo>
                  <a:pt x="609905" y="216652"/>
                </a:moveTo>
                <a:cubicBezTo>
                  <a:pt x="609705" y="216262"/>
                  <a:pt x="608000" y="216566"/>
                  <a:pt x="607657" y="216271"/>
                </a:cubicBezTo>
                <a:cubicBezTo>
                  <a:pt x="607505" y="216138"/>
                  <a:pt x="607104" y="214366"/>
                  <a:pt x="606523" y="216071"/>
                </a:cubicBezTo>
                <a:cubicBezTo>
                  <a:pt x="606628" y="215776"/>
                  <a:pt x="608276" y="218710"/>
                  <a:pt x="608428" y="218710"/>
                </a:cubicBezTo>
                <a:cubicBezTo>
                  <a:pt x="608858" y="217984"/>
                  <a:pt x="609351" y="217298"/>
                  <a:pt x="609905" y="216662"/>
                </a:cubicBezTo>
                <a:close/>
                <a:moveTo>
                  <a:pt x="660387" y="103486"/>
                </a:moveTo>
                <a:cubicBezTo>
                  <a:pt x="662454" y="101337"/>
                  <a:pt x="664726" y="99394"/>
                  <a:pt x="667169" y="97685"/>
                </a:cubicBezTo>
                <a:cubicBezTo>
                  <a:pt x="664283" y="97866"/>
                  <a:pt x="657463" y="99704"/>
                  <a:pt x="660406" y="103495"/>
                </a:cubicBezTo>
                <a:close/>
                <a:moveTo>
                  <a:pt x="662292" y="92218"/>
                </a:moveTo>
                <a:lnTo>
                  <a:pt x="657787" y="91456"/>
                </a:lnTo>
                <a:cubicBezTo>
                  <a:pt x="656949" y="95104"/>
                  <a:pt x="662340" y="96799"/>
                  <a:pt x="662321" y="92246"/>
                </a:cubicBezTo>
                <a:close/>
                <a:moveTo>
                  <a:pt x="650862" y="91427"/>
                </a:moveTo>
                <a:lnTo>
                  <a:pt x="653120" y="91817"/>
                </a:lnTo>
                <a:cubicBezTo>
                  <a:pt x="653434" y="90389"/>
                  <a:pt x="654834" y="90503"/>
                  <a:pt x="654825" y="88627"/>
                </a:cubicBezTo>
                <a:lnTo>
                  <a:pt x="651434" y="88055"/>
                </a:lnTo>
                <a:close/>
                <a:moveTo>
                  <a:pt x="650653" y="99514"/>
                </a:moveTo>
                <a:cubicBezTo>
                  <a:pt x="651311" y="98067"/>
                  <a:pt x="652949" y="97342"/>
                  <a:pt x="654463" y="97828"/>
                </a:cubicBezTo>
                <a:cubicBezTo>
                  <a:pt x="654384" y="95807"/>
                  <a:pt x="655134" y="93842"/>
                  <a:pt x="656539" y="92389"/>
                </a:cubicBezTo>
                <a:cubicBezTo>
                  <a:pt x="655806" y="92389"/>
                  <a:pt x="655015" y="91932"/>
                  <a:pt x="654291" y="92008"/>
                </a:cubicBezTo>
                <a:cubicBezTo>
                  <a:pt x="652739" y="92151"/>
                  <a:pt x="653625" y="92913"/>
                  <a:pt x="652777" y="94065"/>
                </a:cubicBezTo>
                <a:cubicBezTo>
                  <a:pt x="652177" y="94885"/>
                  <a:pt x="651615" y="93818"/>
                  <a:pt x="652586" y="95199"/>
                </a:cubicBezTo>
                <a:cubicBezTo>
                  <a:pt x="652977" y="95751"/>
                  <a:pt x="650129" y="96694"/>
                  <a:pt x="649948" y="97104"/>
                </a:cubicBezTo>
                <a:cubicBezTo>
                  <a:pt x="649557" y="97780"/>
                  <a:pt x="649910" y="99476"/>
                  <a:pt x="650643" y="99523"/>
                </a:cubicBezTo>
                <a:close/>
                <a:moveTo>
                  <a:pt x="648157" y="66624"/>
                </a:moveTo>
                <a:cubicBezTo>
                  <a:pt x="652196" y="61776"/>
                  <a:pt x="644928" y="63271"/>
                  <a:pt x="648157" y="66624"/>
                </a:cubicBezTo>
                <a:close/>
                <a:moveTo>
                  <a:pt x="647481" y="104724"/>
                </a:moveTo>
                <a:cubicBezTo>
                  <a:pt x="647176" y="106153"/>
                  <a:pt x="645776" y="106038"/>
                  <a:pt x="645776" y="107915"/>
                </a:cubicBezTo>
                <a:cubicBezTo>
                  <a:pt x="648681" y="108277"/>
                  <a:pt x="650072" y="106515"/>
                  <a:pt x="651996" y="105486"/>
                </a:cubicBezTo>
                <a:cubicBezTo>
                  <a:pt x="649748" y="104438"/>
                  <a:pt x="649243" y="102152"/>
                  <a:pt x="645614" y="102085"/>
                </a:cubicBezTo>
                <a:cubicBezTo>
                  <a:pt x="643909" y="106934"/>
                  <a:pt x="647957" y="101609"/>
                  <a:pt x="647433" y="104771"/>
                </a:cubicBezTo>
                <a:close/>
                <a:moveTo>
                  <a:pt x="645204" y="111296"/>
                </a:moveTo>
                <a:cubicBezTo>
                  <a:pt x="645500" y="112068"/>
                  <a:pt x="649214" y="111353"/>
                  <a:pt x="648395" y="113001"/>
                </a:cubicBezTo>
                <a:cubicBezTo>
                  <a:pt x="647700" y="112944"/>
                  <a:pt x="647043" y="112934"/>
                  <a:pt x="647081" y="113954"/>
                </a:cubicBezTo>
                <a:cubicBezTo>
                  <a:pt x="650205" y="115859"/>
                  <a:pt x="652729" y="110029"/>
                  <a:pt x="650291" y="108705"/>
                </a:cubicBezTo>
                <a:cubicBezTo>
                  <a:pt x="650234" y="111982"/>
                  <a:pt x="644414" y="109324"/>
                  <a:pt x="645157" y="111344"/>
                </a:cubicBezTo>
                <a:close/>
                <a:moveTo>
                  <a:pt x="631384" y="83445"/>
                </a:moveTo>
                <a:cubicBezTo>
                  <a:pt x="635270" y="82664"/>
                  <a:pt x="631622" y="87255"/>
                  <a:pt x="635508" y="86464"/>
                </a:cubicBezTo>
                <a:cubicBezTo>
                  <a:pt x="636232" y="84302"/>
                  <a:pt x="634365" y="83969"/>
                  <a:pt x="633832" y="82702"/>
                </a:cubicBezTo>
                <a:cubicBezTo>
                  <a:pt x="634917" y="79921"/>
                  <a:pt x="635994" y="79006"/>
                  <a:pt x="633660" y="76873"/>
                </a:cubicBezTo>
                <a:cubicBezTo>
                  <a:pt x="633742" y="79292"/>
                  <a:pt x="632912" y="81655"/>
                  <a:pt x="631336" y="83493"/>
                </a:cubicBezTo>
                <a:close/>
                <a:moveTo>
                  <a:pt x="617392" y="97361"/>
                </a:moveTo>
                <a:lnTo>
                  <a:pt x="617782" y="95104"/>
                </a:lnTo>
                <a:cubicBezTo>
                  <a:pt x="617668" y="94151"/>
                  <a:pt x="618115" y="92875"/>
                  <a:pt x="617030" y="92656"/>
                </a:cubicBezTo>
                <a:cubicBezTo>
                  <a:pt x="616944" y="94370"/>
                  <a:pt x="615925" y="96751"/>
                  <a:pt x="617392" y="97361"/>
                </a:cubicBezTo>
                <a:close/>
                <a:moveTo>
                  <a:pt x="613248" y="101295"/>
                </a:moveTo>
                <a:cubicBezTo>
                  <a:pt x="613172" y="103981"/>
                  <a:pt x="613581" y="106343"/>
                  <a:pt x="615677" y="107505"/>
                </a:cubicBezTo>
                <a:cubicBezTo>
                  <a:pt x="615934" y="106000"/>
                  <a:pt x="616182" y="104495"/>
                  <a:pt x="616439" y="102990"/>
                </a:cubicBezTo>
                <a:cubicBezTo>
                  <a:pt x="615213" y="102805"/>
                  <a:pt x="614088" y="102206"/>
                  <a:pt x="613248" y="101295"/>
                </a:cubicBezTo>
                <a:close/>
                <a:moveTo>
                  <a:pt x="611343" y="119516"/>
                </a:moveTo>
                <a:cubicBezTo>
                  <a:pt x="609171" y="119402"/>
                  <a:pt x="609076" y="117821"/>
                  <a:pt x="607028" y="117611"/>
                </a:cubicBezTo>
                <a:cubicBezTo>
                  <a:pt x="606924" y="119011"/>
                  <a:pt x="606914" y="120335"/>
                  <a:pt x="608933" y="120250"/>
                </a:cubicBezTo>
                <a:cubicBezTo>
                  <a:pt x="608829" y="121650"/>
                  <a:pt x="608819" y="122974"/>
                  <a:pt x="610838" y="122878"/>
                </a:cubicBezTo>
                <a:close/>
                <a:moveTo>
                  <a:pt x="612800" y="199755"/>
                </a:moveTo>
                <a:cubicBezTo>
                  <a:pt x="612924" y="199002"/>
                  <a:pt x="613058" y="198250"/>
                  <a:pt x="613181" y="197497"/>
                </a:cubicBezTo>
                <a:cubicBezTo>
                  <a:pt x="614515" y="191382"/>
                  <a:pt x="609562" y="199440"/>
                  <a:pt x="612772" y="199755"/>
                </a:cubicBezTo>
                <a:close/>
                <a:moveTo>
                  <a:pt x="613572" y="126850"/>
                </a:moveTo>
                <a:cubicBezTo>
                  <a:pt x="612229" y="130060"/>
                  <a:pt x="611276" y="132175"/>
                  <a:pt x="612429" y="133604"/>
                </a:cubicBezTo>
                <a:cubicBezTo>
                  <a:pt x="614514" y="132575"/>
                  <a:pt x="615371" y="130051"/>
                  <a:pt x="614342" y="127966"/>
                </a:cubicBezTo>
                <a:cubicBezTo>
                  <a:pt x="614139" y="127552"/>
                  <a:pt x="613869" y="127176"/>
                  <a:pt x="613543" y="126850"/>
                </a:cubicBezTo>
                <a:close/>
                <a:moveTo>
                  <a:pt x="615867" y="113325"/>
                </a:moveTo>
                <a:cubicBezTo>
                  <a:pt x="616153" y="112763"/>
                  <a:pt x="619677" y="112306"/>
                  <a:pt x="617372" y="111258"/>
                </a:cubicBezTo>
                <a:cubicBezTo>
                  <a:pt x="617201" y="111934"/>
                  <a:pt x="616982" y="112563"/>
                  <a:pt x="616058" y="112210"/>
                </a:cubicBezTo>
                <a:cubicBezTo>
                  <a:pt x="615840" y="110816"/>
                  <a:pt x="615262" y="109503"/>
                  <a:pt x="614382" y="108400"/>
                </a:cubicBezTo>
                <a:cubicBezTo>
                  <a:pt x="615086" y="113582"/>
                  <a:pt x="609619" y="110058"/>
                  <a:pt x="609857" y="114592"/>
                </a:cubicBezTo>
                <a:cubicBezTo>
                  <a:pt x="612648" y="114592"/>
                  <a:pt x="611953" y="117068"/>
                  <a:pt x="615296" y="116678"/>
                </a:cubicBezTo>
                <a:cubicBezTo>
                  <a:pt x="617172" y="115773"/>
                  <a:pt x="615382" y="114239"/>
                  <a:pt x="615839" y="113325"/>
                </a:cubicBezTo>
                <a:close/>
                <a:moveTo>
                  <a:pt x="621468" y="189630"/>
                </a:moveTo>
                <a:cubicBezTo>
                  <a:pt x="621659" y="188953"/>
                  <a:pt x="621868" y="188325"/>
                  <a:pt x="622802" y="188677"/>
                </a:cubicBezTo>
                <a:cubicBezTo>
                  <a:pt x="622618" y="189908"/>
                  <a:pt x="622011" y="191036"/>
                  <a:pt x="621087" y="191868"/>
                </a:cubicBezTo>
                <a:cubicBezTo>
                  <a:pt x="623345" y="192916"/>
                  <a:pt x="623830" y="195211"/>
                  <a:pt x="627469" y="195268"/>
                </a:cubicBezTo>
                <a:cubicBezTo>
                  <a:pt x="628079" y="193802"/>
                  <a:pt x="629441" y="193363"/>
                  <a:pt x="629374" y="190954"/>
                </a:cubicBezTo>
                <a:cubicBezTo>
                  <a:pt x="628231" y="190049"/>
                  <a:pt x="626278" y="191830"/>
                  <a:pt x="625802" y="191506"/>
                </a:cubicBezTo>
                <a:cubicBezTo>
                  <a:pt x="625107" y="191030"/>
                  <a:pt x="625802" y="188401"/>
                  <a:pt x="625250" y="187934"/>
                </a:cubicBezTo>
                <a:cubicBezTo>
                  <a:pt x="623392" y="186315"/>
                  <a:pt x="618896" y="185934"/>
                  <a:pt x="621487" y="189630"/>
                </a:cubicBezTo>
                <a:close/>
                <a:moveTo>
                  <a:pt x="632584" y="117316"/>
                </a:moveTo>
                <a:cubicBezTo>
                  <a:pt x="632651" y="116087"/>
                  <a:pt x="633679" y="113973"/>
                  <a:pt x="633355" y="112811"/>
                </a:cubicBezTo>
                <a:cubicBezTo>
                  <a:pt x="633174" y="112220"/>
                  <a:pt x="630603" y="112553"/>
                  <a:pt x="631288" y="111296"/>
                </a:cubicBezTo>
                <a:cubicBezTo>
                  <a:pt x="633032" y="112125"/>
                  <a:pt x="634146" y="105476"/>
                  <a:pt x="632241" y="105667"/>
                </a:cubicBezTo>
                <a:cubicBezTo>
                  <a:pt x="630993" y="108391"/>
                  <a:pt x="629193" y="100961"/>
                  <a:pt x="627536" y="106029"/>
                </a:cubicBezTo>
                <a:cubicBezTo>
                  <a:pt x="629603" y="106553"/>
                  <a:pt x="627593" y="109963"/>
                  <a:pt x="629031" y="110915"/>
                </a:cubicBezTo>
                <a:cubicBezTo>
                  <a:pt x="626040" y="110420"/>
                  <a:pt x="622668" y="109401"/>
                  <a:pt x="620954" y="110706"/>
                </a:cubicBezTo>
                <a:cubicBezTo>
                  <a:pt x="620773" y="106600"/>
                  <a:pt x="624764" y="106162"/>
                  <a:pt x="626040" y="108096"/>
                </a:cubicBezTo>
                <a:cubicBezTo>
                  <a:pt x="627298" y="105238"/>
                  <a:pt x="624326" y="106419"/>
                  <a:pt x="623040" y="105238"/>
                </a:cubicBezTo>
                <a:cubicBezTo>
                  <a:pt x="622373" y="104648"/>
                  <a:pt x="622564" y="102724"/>
                  <a:pt x="621135" y="102600"/>
                </a:cubicBezTo>
                <a:cubicBezTo>
                  <a:pt x="620249" y="104667"/>
                  <a:pt x="623792" y="108039"/>
                  <a:pt x="619230" y="106915"/>
                </a:cubicBezTo>
                <a:cubicBezTo>
                  <a:pt x="617811" y="110248"/>
                  <a:pt x="621963" y="109610"/>
                  <a:pt x="620535" y="112934"/>
                </a:cubicBezTo>
                <a:cubicBezTo>
                  <a:pt x="620182" y="118707"/>
                  <a:pt x="614410" y="121412"/>
                  <a:pt x="618049" y="127584"/>
                </a:cubicBezTo>
                <a:cubicBezTo>
                  <a:pt x="620106" y="127231"/>
                  <a:pt x="618858" y="122221"/>
                  <a:pt x="621259" y="122336"/>
                </a:cubicBezTo>
                <a:cubicBezTo>
                  <a:pt x="621259" y="123736"/>
                  <a:pt x="622392" y="123240"/>
                  <a:pt x="623516" y="122717"/>
                </a:cubicBezTo>
                <a:cubicBezTo>
                  <a:pt x="623328" y="123943"/>
                  <a:pt x="622726" y="125069"/>
                  <a:pt x="621811" y="125907"/>
                </a:cubicBezTo>
                <a:cubicBezTo>
                  <a:pt x="625764" y="125336"/>
                  <a:pt x="625621" y="126908"/>
                  <a:pt x="629888" y="126117"/>
                </a:cubicBezTo>
                <a:cubicBezTo>
                  <a:pt x="630326" y="124726"/>
                  <a:pt x="630250" y="121535"/>
                  <a:pt x="631793" y="121793"/>
                </a:cubicBezTo>
                <a:cubicBezTo>
                  <a:pt x="634165" y="122231"/>
                  <a:pt x="632479" y="118668"/>
                  <a:pt x="632555" y="117316"/>
                </a:cubicBezTo>
                <a:close/>
                <a:moveTo>
                  <a:pt x="641633" y="97961"/>
                </a:moveTo>
                <a:cubicBezTo>
                  <a:pt x="640075" y="97481"/>
                  <a:pt x="638393" y="97611"/>
                  <a:pt x="636927" y="98323"/>
                </a:cubicBezTo>
                <a:cubicBezTo>
                  <a:pt x="636823" y="97371"/>
                  <a:pt x="637280" y="96094"/>
                  <a:pt x="636194" y="95885"/>
                </a:cubicBezTo>
                <a:cubicBezTo>
                  <a:pt x="635641" y="97437"/>
                  <a:pt x="634003" y="97466"/>
                  <a:pt x="633336" y="98875"/>
                </a:cubicBezTo>
                <a:cubicBezTo>
                  <a:pt x="637108" y="98133"/>
                  <a:pt x="638108" y="100333"/>
                  <a:pt x="641633" y="97961"/>
                </a:cubicBezTo>
                <a:close/>
                <a:moveTo>
                  <a:pt x="646843" y="115106"/>
                </a:moveTo>
                <a:cubicBezTo>
                  <a:pt x="644242" y="114306"/>
                  <a:pt x="645414" y="110839"/>
                  <a:pt x="641785" y="110772"/>
                </a:cubicBezTo>
                <a:cubicBezTo>
                  <a:pt x="639937" y="114982"/>
                  <a:pt x="645004" y="119354"/>
                  <a:pt x="646843" y="115106"/>
                </a:cubicBezTo>
                <a:close/>
                <a:moveTo>
                  <a:pt x="653691" y="149891"/>
                </a:moveTo>
                <a:cubicBezTo>
                  <a:pt x="653053" y="152663"/>
                  <a:pt x="649824" y="149568"/>
                  <a:pt x="649186" y="149120"/>
                </a:cubicBezTo>
                <a:cubicBezTo>
                  <a:pt x="648395" y="151692"/>
                  <a:pt x="645957" y="153568"/>
                  <a:pt x="649357" y="154949"/>
                </a:cubicBezTo>
                <a:cubicBezTo>
                  <a:pt x="649643" y="152425"/>
                  <a:pt x="657196" y="153139"/>
                  <a:pt x="653691" y="149891"/>
                </a:cubicBezTo>
                <a:close/>
                <a:moveTo>
                  <a:pt x="651634" y="148386"/>
                </a:moveTo>
                <a:cubicBezTo>
                  <a:pt x="655358" y="141538"/>
                  <a:pt x="648091" y="144681"/>
                  <a:pt x="651634" y="148386"/>
                </a:cubicBezTo>
                <a:close/>
                <a:moveTo>
                  <a:pt x="654863" y="136175"/>
                </a:moveTo>
                <a:cubicBezTo>
                  <a:pt x="652777" y="135566"/>
                  <a:pt x="652158" y="137023"/>
                  <a:pt x="650167" y="136537"/>
                </a:cubicBezTo>
                <a:cubicBezTo>
                  <a:pt x="653186" y="134280"/>
                  <a:pt x="648910" y="131603"/>
                  <a:pt x="645290" y="131070"/>
                </a:cubicBezTo>
                <a:cubicBezTo>
                  <a:pt x="644157" y="134880"/>
                  <a:pt x="648091" y="135032"/>
                  <a:pt x="648843" y="137471"/>
                </a:cubicBezTo>
                <a:cubicBezTo>
                  <a:pt x="650224" y="139547"/>
                  <a:pt x="654987" y="140214"/>
                  <a:pt x="654825" y="136175"/>
                </a:cubicBezTo>
                <a:close/>
                <a:moveTo>
                  <a:pt x="655434" y="132794"/>
                </a:moveTo>
                <a:cubicBezTo>
                  <a:pt x="652643" y="132175"/>
                  <a:pt x="652262" y="130041"/>
                  <a:pt x="650739" y="133156"/>
                </a:cubicBezTo>
                <a:cubicBezTo>
                  <a:pt x="651967" y="134880"/>
                  <a:pt x="654015" y="134423"/>
                  <a:pt x="655434" y="132794"/>
                </a:cubicBezTo>
                <a:close/>
                <a:moveTo>
                  <a:pt x="662607" y="124736"/>
                </a:moveTo>
                <a:cubicBezTo>
                  <a:pt x="662026" y="122917"/>
                  <a:pt x="659530" y="124241"/>
                  <a:pt x="657901" y="125098"/>
                </a:cubicBezTo>
                <a:cubicBezTo>
                  <a:pt x="657387" y="125374"/>
                  <a:pt x="656149" y="124412"/>
                  <a:pt x="655644" y="124717"/>
                </a:cubicBezTo>
                <a:cubicBezTo>
                  <a:pt x="655310" y="124917"/>
                  <a:pt x="655644" y="127517"/>
                  <a:pt x="656387" y="127155"/>
                </a:cubicBezTo>
                <a:cubicBezTo>
                  <a:pt x="657292" y="124707"/>
                  <a:pt x="662540" y="128374"/>
                  <a:pt x="662607" y="124736"/>
                </a:cubicBezTo>
                <a:close/>
                <a:moveTo>
                  <a:pt x="667703" y="115211"/>
                </a:moveTo>
                <a:cubicBezTo>
                  <a:pt x="667112" y="118592"/>
                  <a:pt x="665369" y="109934"/>
                  <a:pt x="663188" y="114449"/>
                </a:cubicBezTo>
                <a:cubicBezTo>
                  <a:pt x="667169" y="115249"/>
                  <a:pt x="660168" y="117764"/>
                  <a:pt x="663750" y="118021"/>
                </a:cubicBezTo>
                <a:cubicBezTo>
                  <a:pt x="664064" y="116354"/>
                  <a:pt x="671122" y="117468"/>
                  <a:pt x="667703" y="115163"/>
                </a:cubicBezTo>
                <a:close/>
                <a:moveTo>
                  <a:pt x="670560" y="91398"/>
                </a:moveTo>
                <a:cubicBezTo>
                  <a:pt x="666702" y="85731"/>
                  <a:pt x="669207" y="95208"/>
                  <a:pt x="666055" y="90627"/>
                </a:cubicBezTo>
                <a:cubicBezTo>
                  <a:pt x="664559" y="94675"/>
                  <a:pt x="669522" y="94113"/>
                  <a:pt x="670922" y="96094"/>
                </a:cubicBezTo>
                <a:cubicBezTo>
                  <a:pt x="671450" y="94513"/>
                  <a:pt x="671330" y="92787"/>
                  <a:pt x="670589" y="91294"/>
                </a:cubicBezTo>
                <a:close/>
                <a:moveTo>
                  <a:pt x="660816" y="80473"/>
                </a:moveTo>
                <a:lnTo>
                  <a:pt x="660435" y="82721"/>
                </a:lnTo>
                <a:cubicBezTo>
                  <a:pt x="661080" y="82834"/>
                  <a:pt x="661693" y="82404"/>
                  <a:pt x="661807" y="81759"/>
                </a:cubicBezTo>
                <a:cubicBezTo>
                  <a:pt x="661920" y="81114"/>
                  <a:pt x="661488" y="80501"/>
                  <a:pt x="660845" y="80387"/>
                </a:cubicBezTo>
                <a:close/>
                <a:moveTo>
                  <a:pt x="50940" y="586717"/>
                </a:moveTo>
                <a:cubicBezTo>
                  <a:pt x="51216" y="583317"/>
                  <a:pt x="56340" y="581955"/>
                  <a:pt x="52083" y="579955"/>
                </a:cubicBezTo>
                <a:cubicBezTo>
                  <a:pt x="49063" y="580983"/>
                  <a:pt x="53531" y="583698"/>
                  <a:pt x="50178" y="584270"/>
                </a:cubicBezTo>
                <a:cubicBezTo>
                  <a:pt x="50178" y="582926"/>
                  <a:pt x="48606" y="582746"/>
                  <a:pt x="46977" y="582565"/>
                </a:cubicBezTo>
                <a:cubicBezTo>
                  <a:pt x="46177" y="585479"/>
                  <a:pt x="48854" y="585870"/>
                  <a:pt x="50940" y="586717"/>
                </a:cubicBezTo>
                <a:close/>
                <a:moveTo>
                  <a:pt x="676008" y="100342"/>
                </a:moveTo>
                <a:cubicBezTo>
                  <a:pt x="675832" y="101571"/>
                  <a:pt x="675233" y="102700"/>
                  <a:pt x="674313" y="103533"/>
                </a:cubicBezTo>
                <a:cubicBezTo>
                  <a:pt x="677085" y="104190"/>
                  <a:pt x="678123" y="102362"/>
                  <a:pt x="680333" y="102238"/>
                </a:cubicBezTo>
                <a:cubicBezTo>
                  <a:pt x="680218" y="102857"/>
                  <a:pt x="681028" y="103676"/>
                  <a:pt x="681457" y="102428"/>
                </a:cubicBezTo>
                <a:cubicBezTo>
                  <a:pt x="680133" y="101962"/>
                  <a:pt x="680971" y="101057"/>
                  <a:pt x="681838" y="100180"/>
                </a:cubicBezTo>
                <a:cubicBezTo>
                  <a:pt x="679199" y="99256"/>
                  <a:pt x="679037" y="101819"/>
                  <a:pt x="676008" y="100342"/>
                </a:cubicBezTo>
                <a:close/>
                <a:moveTo>
                  <a:pt x="637280" y="171446"/>
                </a:moveTo>
                <a:cubicBezTo>
                  <a:pt x="638394" y="174304"/>
                  <a:pt x="633660" y="175199"/>
                  <a:pt x="636518" y="175961"/>
                </a:cubicBezTo>
                <a:cubicBezTo>
                  <a:pt x="636699" y="175276"/>
                  <a:pt x="636908" y="174647"/>
                  <a:pt x="637832" y="175009"/>
                </a:cubicBezTo>
                <a:cubicBezTo>
                  <a:pt x="637737" y="176723"/>
                  <a:pt x="636727" y="179095"/>
                  <a:pt x="638194" y="179705"/>
                </a:cubicBezTo>
                <a:cubicBezTo>
                  <a:pt x="638556" y="178352"/>
                  <a:pt x="638994" y="177095"/>
                  <a:pt x="640842" y="177800"/>
                </a:cubicBezTo>
                <a:cubicBezTo>
                  <a:pt x="641956" y="174075"/>
                  <a:pt x="641585" y="171370"/>
                  <a:pt x="637280" y="171446"/>
                </a:cubicBezTo>
                <a:close/>
                <a:moveTo>
                  <a:pt x="654082" y="79235"/>
                </a:moveTo>
                <a:cubicBezTo>
                  <a:pt x="654158" y="78063"/>
                  <a:pt x="659330" y="77778"/>
                  <a:pt x="655787" y="76044"/>
                </a:cubicBezTo>
                <a:cubicBezTo>
                  <a:pt x="656120" y="77778"/>
                  <a:pt x="650929" y="78054"/>
                  <a:pt x="654082" y="79235"/>
                </a:cubicBezTo>
                <a:close/>
                <a:moveTo>
                  <a:pt x="469363" y="402647"/>
                </a:moveTo>
                <a:cubicBezTo>
                  <a:pt x="467154" y="407200"/>
                  <a:pt x="472602" y="406304"/>
                  <a:pt x="472926" y="409048"/>
                </a:cubicBezTo>
                <a:cubicBezTo>
                  <a:pt x="470828" y="410076"/>
                  <a:pt x="469963" y="412610"/>
                  <a:pt x="470991" y="414707"/>
                </a:cubicBezTo>
                <a:cubicBezTo>
                  <a:pt x="471191" y="415114"/>
                  <a:pt x="471455" y="415486"/>
                  <a:pt x="471773" y="415810"/>
                </a:cubicBezTo>
                <a:cubicBezTo>
                  <a:pt x="472240" y="414496"/>
                  <a:pt x="473135" y="415334"/>
                  <a:pt x="474031" y="416201"/>
                </a:cubicBezTo>
                <a:cubicBezTo>
                  <a:pt x="473574" y="410905"/>
                  <a:pt x="474859" y="404380"/>
                  <a:pt x="469363" y="402647"/>
                </a:cubicBezTo>
                <a:close/>
                <a:moveTo>
                  <a:pt x="483251" y="149958"/>
                </a:moveTo>
                <a:cubicBezTo>
                  <a:pt x="480936" y="147101"/>
                  <a:pt x="482441" y="147558"/>
                  <a:pt x="479879" y="149377"/>
                </a:cubicBezTo>
                <a:cubicBezTo>
                  <a:pt x="478844" y="150163"/>
                  <a:pt x="477368" y="149960"/>
                  <a:pt x="476582" y="148926"/>
                </a:cubicBezTo>
                <a:cubicBezTo>
                  <a:pt x="476553" y="148887"/>
                  <a:pt x="476524" y="148847"/>
                  <a:pt x="476498" y="148806"/>
                </a:cubicBezTo>
                <a:cubicBezTo>
                  <a:pt x="477222" y="151092"/>
                  <a:pt x="472478" y="152006"/>
                  <a:pt x="475736" y="153311"/>
                </a:cubicBezTo>
                <a:cubicBezTo>
                  <a:pt x="476469" y="149006"/>
                  <a:pt x="478460" y="152692"/>
                  <a:pt x="480431" y="152958"/>
                </a:cubicBezTo>
                <a:cubicBezTo>
                  <a:pt x="480098" y="152911"/>
                  <a:pt x="481336" y="152063"/>
                  <a:pt x="481755" y="152006"/>
                </a:cubicBezTo>
                <a:cubicBezTo>
                  <a:pt x="482832" y="151873"/>
                  <a:pt x="484041" y="152654"/>
                  <a:pt x="485127" y="152587"/>
                </a:cubicBezTo>
                <a:cubicBezTo>
                  <a:pt x="486232" y="150425"/>
                  <a:pt x="484003" y="150872"/>
                  <a:pt x="483251" y="149958"/>
                </a:cubicBezTo>
                <a:close/>
                <a:moveTo>
                  <a:pt x="470992" y="30791"/>
                </a:moveTo>
                <a:cubicBezTo>
                  <a:pt x="472669" y="28952"/>
                  <a:pt x="471526" y="33544"/>
                  <a:pt x="475498" y="31553"/>
                </a:cubicBezTo>
                <a:cubicBezTo>
                  <a:pt x="473478" y="34410"/>
                  <a:pt x="479308" y="36172"/>
                  <a:pt x="476241" y="33991"/>
                </a:cubicBezTo>
                <a:cubicBezTo>
                  <a:pt x="475059" y="30086"/>
                  <a:pt x="477469" y="27628"/>
                  <a:pt x="481898" y="28000"/>
                </a:cubicBezTo>
                <a:cubicBezTo>
                  <a:pt x="480870" y="23285"/>
                  <a:pt x="485223" y="26162"/>
                  <a:pt x="486042" y="24066"/>
                </a:cubicBezTo>
                <a:cubicBezTo>
                  <a:pt x="484556" y="23799"/>
                  <a:pt x="485346" y="21913"/>
                  <a:pt x="484137" y="21428"/>
                </a:cubicBezTo>
                <a:cubicBezTo>
                  <a:pt x="482577" y="22543"/>
                  <a:pt x="480864" y="23425"/>
                  <a:pt x="479050" y="24047"/>
                </a:cubicBezTo>
                <a:cubicBezTo>
                  <a:pt x="479917" y="22475"/>
                  <a:pt x="481203" y="21485"/>
                  <a:pt x="482070" y="19923"/>
                </a:cubicBezTo>
                <a:cubicBezTo>
                  <a:pt x="479620" y="20971"/>
                  <a:pt x="476775" y="19985"/>
                  <a:pt x="475498" y="17646"/>
                </a:cubicBezTo>
                <a:cubicBezTo>
                  <a:pt x="474688" y="21618"/>
                  <a:pt x="473173" y="24600"/>
                  <a:pt x="469649" y="24771"/>
                </a:cubicBezTo>
                <a:cubicBezTo>
                  <a:pt x="468852" y="26866"/>
                  <a:pt x="469381" y="29233"/>
                  <a:pt x="470992" y="30791"/>
                </a:cubicBezTo>
                <a:close/>
                <a:moveTo>
                  <a:pt x="467839" y="15179"/>
                </a:moveTo>
                <a:cubicBezTo>
                  <a:pt x="466049" y="15617"/>
                  <a:pt x="465506" y="16132"/>
                  <a:pt x="466335" y="17246"/>
                </a:cubicBezTo>
                <a:cubicBezTo>
                  <a:pt x="468687" y="20561"/>
                  <a:pt x="463010" y="21713"/>
                  <a:pt x="466506" y="23066"/>
                </a:cubicBezTo>
                <a:cubicBezTo>
                  <a:pt x="468211" y="21628"/>
                  <a:pt x="471688" y="20466"/>
                  <a:pt x="469706" y="17818"/>
                </a:cubicBezTo>
                <a:cubicBezTo>
                  <a:pt x="471068" y="17818"/>
                  <a:pt x="472878" y="18551"/>
                  <a:pt x="473288" y="17265"/>
                </a:cubicBezTo>
                <a:cubicBezTo>
                  <a:pt x="471504" y="15954"/>
                  <a:pt x="470188" y="14104"/>
                  <a:pt x="469535" y="11988"/>
                </a:cubicBezTo>
                <a:cubicBezTo>
                  <a:pt x="470173" y="12103"/>
                  <a:pt x="470973" y="11293"/>
                  <a:pt x="469725" y="10864"/>
                </a:cubicBezTo>
                <a:cubicBezTo>
                  <a:pt x="469030" y="13131"/>
                  <a:pt x="464696" y="10283"/>
                  <a:pt x="464649" y="13484"/>
                </a:cubicBezTo>
                <a:cubicBezTo>
                  <a:pt x="465973" y="13874"/>
                  <a:pt x="467916" y="13836"/>
                  <a:pt x="467868" y="15179"/>
                </a:cubicBezTo>
                <a:close/>
                <a:moveTo>
                  <a:pt x="462124" y="35077"/>
                </a:moveTo>
                <a:cubicBezTo>
                  <a:pt x="466887" y="37468"/>
                  <a:pt x="464620" y="26505"/>
                  <a:pt x="462896" y="30572"/>
                </a:cubicBezTo>
                <a:cubicBezTo>
                  <a:pt x="465792" y="31334"/>
                  <a:pt x="461067" y="32239"/>
                  <a:pt x="462172" y="35096"/>
                </a:cubicBezTo>
                <a:close/>
                <a:moveTo>
                  <a:pt x="449847" y="12122"/>
                </a:moveTo>
                <a:cubicBezTo>
                  <a:pt x="452390" y="13922"/>
                  <a:pt x="446808" y="15989"/>
                  <a:pt x="450009" y="17942"/>
                </a:cubicBezTo>
                <a:cubicBezTo>
                  <a:pt x="451797" y="15300"/>
                  <a:pt x="452354" y="12013"/>
                  <a:pt x="451533" y="8931"/>
                </a:cubicBezTo>
                <a:cubicBezTo>
                  <a:pt x="447570" y="10922"/>
                  <a:pt x="448675" y="6331"/>
                  <a:pt x="447037" y="8169"/>
                </a:cubicBezTo>
                <a:cubicBezTo>
                  <a:pt x="446227" y="10703"/>
                  <a:pt x="450037" y="9969"/>
                  <a:pt x="449847" y="12122"/>
                </a:cubicBezTo>
                <a:close/>
                <a:moveTo>
                  <a:pt x="444570" y="15865"/>
                </a:moveTo>
                <a:cubicBezTo>
                  <a:pt x="441227" y="16437"/>
                  <a:pt x="445694" y="19151"/>
                  <a:pt x="442665" y="20180"/>
                </a:cubicBezTo>
                <a:cubicBezTo>
                  <a:pt x="444751" y="20799"/>
                  <a:pt x="445370" y="19332"/>
                  <a:pt x="447361" y="19818"/>
                </a:cubicBezTo>
                <a:cubicBezTo>
                  <a:pt x="447980" y="17732"/>
                  <a:pt x="446513" y="17113"/>
                  <a:pt x="447008" y="15122"/>
                </a:cubicBezTo>
                <a:cubicBezTo>
                  <a:pt x="443474" y="15856"/>
                  <a:pt x="443732" y="9007"/>
                  <a:pt x="441750" y="11912"/>
                </a:cubicBezTo>
                <a:cubicBezTo>
                  <a:pt x="442722" y="13189"/>
                  <a:pt x="443665" y="14522"/>
                  <a:pt x="444570" y="15865"/>
                </a:cubicBezTo>
                <a:close/>
                <a:moveTo>
                  <a:pt x="335985" y="266373"/>
                </a:moveTo>
                <a:cubicBezTo>
                  <a:pt x="336642" y="270754"/>
                  <a:pt x="331784" y="268135"/>
                  <a:pt x="333346" y="268278"/>
                </a:cubicBezTo>
                <a:cubicBezTo>
                  <a:pt x="330241" y="268078"/>
                  <a:pt x="326393" y="269106"/>
                  <a:pt x="327689" y="274269"/>
                </a:cubicBezTo>
                <a:cubicBezTo>
                  <a:pt x="328755" y="275583"/>
                  <a:pt x="330975" y="272469"/>
                  <a:pt x="332775" y="271659"/>
                </a:cubicBezTo>
                <a:cubicBezTo>
                  <a:pt x="334051" y="271087"/>
                  <a:pt x="333261" y="270326"/>
                  <a:pt x="334289" y="269592"/>
                </a:cubicBezTo>
                <a:cubicBezTo>
                  <a:pt x="334566" y="269402"/>
                  <a:pt x="336375" y="270240"/>
                  <a:pt x="336547" y="269983"/>
                </a:cubicBezTo>
                <a:cubicBezTo>
                  <a:pt x="337147" y="268973"/>
                  <a:pt x="336823" y="266554"/>
                  <a:pt x="335975" y="266411"/>
                </a:cubicBezTo>
                <a:close/>
                <a:moveTo>
                  <a:pt x="358750" y="63871"/>
                </a:moveTo>
                <a:cubicBezTo>
                  <a:pt x="360293" y="61299"/>
                  <a:pt x="354320" y="59280"/>
                  <a:pt x="354625" y="60852"/>
                </a:cubicBezTo>
                <a:cubicBezTo>
                  <a:pt x="356854" y="61280"/>
                  <a:pt x="355530" y="64204"/>
                  <a:pt x="358740" y="63909"/>
                </a:cubicBezTo>
                <a:close/>
                <a:moveTo>
                  <a:pt x="363436" y="2063"/>
                </a:moveTo>
                <a:cubicBezTo>
                  <a:pt x="364569" y="2263"/>
                  <a:pt x="364941" y="1378"/>
                  <a:pt x="365884" y="1320"/>
                </a:cubicBezTo>
                <a:cubicBezTo>
                  <a:pt x="365779" y="2711"/>
                  <a:pt x="365770" y="4045"/>
                  <a:pt x="367789" y="3949"/>
                </a:cubicBezTo>
                <a:lnTo>
                  <a:pt x="368370" y="568"/>
                </a:lnTo>
                <a:cubicBezTo>
                  <a:pt x="364855" y="-1918"/>
                  <a:pt x="360778" y="4721"/>
                  <a:pt x="363426" y="2101"/>
                </a:cubicBezTo>
                <a:close/>
                <a:moveTo>
                  <a:pt x="337118" y="6874"/>
                </a:moveTo>
                <a:cubicBezTo>
                  <a:pt x="337014" y="8264"/>
                  <a:pt x="337004" y="9598"/>
                  <a:pt x="339023" y="9502"/>
                </a:cubicBezTo>
                <a:cubicBezTo>
                  <a:pt x="341443" y="7874"/>
                  <a:pt x="339328" y="5969"/>
                  <a:pt x="337537" y="4616"/>
                </a:cubicBezTo>
                <a:cubicBezTo>
                  <a:pt x="337442" y="7274"/>
                  <a:pt x="334070" y="5311"/>
                  <a:pt x="333575" y="7426"/>
                </a:cubicBezTo>
                <a:cubicBezTo>
                  <a:pt x="335737" y="10141"/>
                  <a:pt x="334832" y="7388"/>
                  <a:pt x="337109" y="6912"/>
                </a:cubicBezTo>
                <a:close/>
                <a:moveTo>
                  <a:pt x="180280" y="432441"/>
                </a:moveTo>
                <a:cubicBezTo>
                  <a:pt x="182309" y="433775"/>
                  <a:pt x="182185" y="430946"/>
                  <a:pt x="182918" y="430536"/>
                </a:cubicBezTo>
                <a:cubicBezTo>
                  <a:pt x="183337" y="430317"/>
                  <a:pt x="184823" y="431231"/>
                  <a:pt x="185166" y="430917"/>
                </a:cubicBezTo>
                <a:cubicBezTo>
                  <a:pt x="186118" y="429964"/>
                  <a:pt x="186528" y="427488"/>
                  <a:pt x="185737" y="427526"/>
                </a:cubicBezTo>
                <a:cubicBezTo>
                  <a:pt x="184537" y="430060"/>
                  <a:pt x="181489" y="429955"/>
                  <a:pt x="180280" y="432441"/>
                </a:cubicBezTo>
                <a:close/>
                <a:moveTo>
                  <a:pt x="439360" y="12655"/>
                </a:moveTo>
                <a:cubicBezTo>
                  <a:pt x="439255" y="14055"/>
                  <a:pt x="439236" y="15379"/>
                  <a:pt x="441265" y="15294"/>
                </a:cubicBezTo>
                <a:cubicBezTo>
                  <a:pt x="440200" y="11891"/>
                  <a:pt x="440413" y="8216"/>
                  <a:pt x="441865" y="4959"/>
                </a:cubicBezTo>
                <a:cubicBezTo>
                  <a:pt x="438160" y="2530"/>
                  <a:pt x="440531" y="8674"/>
                  <a:pt x="437912" y="7769"/>
                </a:cubicBezTo>
                <a:cubicBezTo>
                  <a:pt x="437817" y="6816"/>
                  <a:pt x="437188" y="6302"/>
                  <a:pt x="435845" y="6254"/>
                </a:cubicBezTo>
                <a:cubicBezTo>
                  <a:pt x="435845" y="9045"/>
                  <a:pt x="433378" y="8359"/>
                  <a:pt x="433769" y="11693"/>
                </a:cubicBezTo>
                <a:cubicBezTo>
                  <a:pt x="436464" y="12293"/>
                  <a:pt x="436817" y="14408"/>
                  <a:pt x="439322" y="12655"/>
                </a:cubicBezTo>
                <a:close/>
              </a:path>
            </a:pathLst>
          </a:custGeom>
          <a:solidFill>
            <a:schemeClr val="accent1">
              <a:lumMod val="60000"/>
              <a:lumOff val="40000"/>
            </a:schemeClr>
          </a:solidFill>
          <a:ln w="9525" cap="flat">
            <a:noFill/>
            <a:prstDash val="solid"/>
            <a:miter/>
          </a:ln>
        </p:spPr>
        <p:txBody>
          <a:bodyPr rtlCol="0" anchor="ctr"/>
          <a:lstStyle/>
          <a:p>
            <a:endParaRPr lang="fr-FR"/>
          </a:p>
        </p:txBody>
      </p:sp>
      <p:sp>
        <p:nvSpPr>
          <p:cNvPr id="4" name="ZoneTexte 3">
            <a:extLst>
              <a:ext uri="{FF2B5EF4-FFF2-40B4-BE49-F238E27FC236}">
                <a16:creationId xmlns:a16="http://schemas.microsoft.com/office/drawing/2014/main" id="{57894F96-70C8-2EF7-4474-546B825A05B8}"/>
              </a:ext>
            </a:extLst>
          </p:cNvPr>
          <p:cNvSpPr txBox="1"/>
          <p:nvPr/>
        </p:nvSpPr>
        <p:spPr>
          <a:xfrm>
            <a:off x="6451847" y="1975790"/>
            <a:ext cx="5168134" cy="4278094"/>
          </a:xfrm>
          <a:prstGeom prst="rect">
            <a:avLst/>
          </a:prstGeom>
          <a:noFill/>
        </p:spPr>
        <p:txBody>
          <a:bodyPr wrap="square" rtlCol="0">
            <a:spAutoFit/>
          </a:bodyPr>
          <a:lstStyle/>
          <a:p>
            <a:r>
              <a:rPr lang="fr-FR" sz="1600" b="1">
                <a:solidFill>
                  <a:schemeClr val="bg2"/>
                </a:solidFill>
              </a:rPr>
              <a:t>Des ambitions stratégiques clairement affichées par le groupe…</a:t>
            </a:r>
          </a:p>
          <a:p>
            <a:pPr marL="285750" indent="-285750">
              <a:buFont typeface="Arial" panose="020B0604020202020204" pitchFamily="34" charset="0"/>
              <a:buChar char="•"/>
            </a:pPr>
            <a:endParaRPr lang="fr-FR" sz="1400"/>
          </a:p>
          <a:p>
            <a:pPr marL="285750" indent="-285750">
              <a:buFont typeface="Arial" panose="020B0604020202020204" pitchFamily="34" charset="0"/>
              <a:buChar char="•"/>
            </a:pPr>
            <a:r>
              <a:rPr lang="fr-FR" sz="1400"/>
              <a:t>Se </a:t>
            </a:r>
            <a:r>
              <a:rPr lang="fr-FR" sz="1400" b="1">
                <a:solidFill>
                  <a:schemeClr val="bg2"/>
                </a:solidFill>
              </a:rPr>
              <a:t>diversifier</a:t>
            </a:r>
            <a:r>
              <a:rPr lang="fr-FR" sz="1400">
                <a:solidFill>
                  <a:schemeClr val="bg2"/>
                </a:solidFill>
              </a:rPr>
              <a:t> </a:t>
            </a:r>
            <a:r>
              <a:rPr lang="fr-FR" sz="1400"/>
              <a:t>pour atteindre la taille critique en </a:t>
            </a:r>
            <a:r>
              <a:rPr lang="fr-FR" sz="1400" b="1">
                <a:solidFill>
                  <a:schemeClr val="bg2"/>
                </a:solidFill>
              </a:rPr>
              <a:t>santé</a:t>
            </a:r>
            <a:r>
              <a:rPr lang="fr-FR" sz="1400"/>
              <a:t> </a:t>
            </a:r>
            <a:br>
              <a:rPr lang="fr-FR" sz="1400"/>
            </a:br>
            <a:r>
              <a:rPr lang="fr-FR" sz="1400"/>
              <a:t>et en </a:t>
            </a:r>
            <a:r>
              <a:rPr lang="fr-FR" sz="1400" b="1">
                <a:solidFill>
                  <a:schemeClr val="bg2"/>
                </a:solidFill>
              </a:rPr>
              <a:t>prévoyance</a:t>
            </a:r>
            <a:r>
              <a:rPr lang="fr-FR" sz="1400">
                <a:solidFill>
                  <a:schemeClr val="bg2"/>
                </a:solidFill>
              </a:rPr>
              <a:t> </a:t>
            </a:r>
            <a:r>
              <a:rPr lang="fr-FR" sz="1400" b="1">
                <a:solidFill>
                  <a:schemeClr val="bg2"/>
                </a:solidFill>
              </a:rPr>
              <a:t>collective</a:t>
            </a:r>
          </a:p>
          <a:p>
            <a:pPr marL="285750" indent="-285750">
              <a:buFont typeface="Arial" panose="020B0604020202020204" pitchFamily="34" charset="0"/>
              <a:buChar char="•"/>
            </a:pPr>
            <a:r>
              <a:rPr lang="fr-FR" sz="1400"/>
              <a:t>Réunir les 3 courtiers grossistes sous </a:t>
            </a:r>
            <a:r>
              <a:rPr lang="fr-FR" sz="1400" b="1">
                <a:solidFill>
                  <a:schemeClr val="bg2"/>
                </a:solidFill>
              </a:rPr>
              <a:t>une même marque</a:t>
            </a:r>
          </a:p>
          <a:p>
            <a:pPr marL="285750" indent="-285750">
              <a:buFont typeface="Arial" panose="020B0604020202020204" pitchFamily="34" charset="0"/>
              <a:buChar char="•"/>
            </a:pPr>
            <a:r>
              <a:rPr lang="fr-FR" sz="1400"/>
              <a:t>Poursuivre les </a:t>
            </a:r>
            <a:r>
              <a:rPr lang="fr-FR" sz="1400" b="1">
                <a:solidFill>
                  <a:schemeClr val="bg2"/>
                </a:solidFill>
              </a:rPr>
              <a:t>investissements technologiques</a:t>
            </a:r>
          </a:p>
          <a:p>
            <a:endParaRPr lang="fr-FR" sz="1200"/>
          </a:p>
          <a:p>
            <a:endParaRPr lang="fr-FR" sz="1200"/>
          </a:p>
          <a:p>
            <a:r>
              <a:rPr lang="fr-FR" sz="1600" b="1">
                <a:solidFill>
                  <a:schemeClr val="bg2"/>
                </a:solidFill>
              </a:rPr>
              <a:t>… qui justifient une démarche d’amélioration de l’efficacité opérationnelle pour :</a:t>
            </a:r>
          </a:p>
          <a:p>
            <a:endParaRPr lang="fr-FR" sz="1600" b="1">
              <a:solidFill>
                <a:schemeClr val="bg2"/>
              </a:solidFill>
            </a:endParaRPr>
          </a:p>
          <a:p>
            <a:pPr marL="285750" indent="-285750">
              <a:buClr>
                <a:schemeClr val="tx1"/>
              </a:buClr>
              <a:buFont typeface="Arial" panose="020B0604020202020204" pitchFamily="34" charset="0"/>
              <a:buChar char="•"/>
            </a:pPr>
            <a:r>
              <a:rPr lang="fr-FR" sz="1400" b="1">
                <a:solidFill>
                  <a:schemeClr val="bg2"/>
                </a:solidFill>
              </a:rPr>
              <a:t>Identifier des gisements de performance économique</a:t>
            </a:r>
          </a:p>
          <a:p>
            <a:pPr marL="285750" indent="-285750">
              <a:buFont typeface="Arial" panose="020B0604020202020204" pitchFamily="34" charset="0"/>
              <a:buChar char="•"/>
            </a:pPr>
            <a:r>
              <a:rPr lang="fr-FR" sz="1400"/>
              <a:t>Profiter du ralentissement du marché de l’assurance emprunteur pour </a:t>
            </a:r>
            <a:r>
              <a:rPr lang="fr-FR" sz="1400" b="1">
                <a:solidFill>
                  <a:schemeClr val="bg2"/>
                </a:solidFill>
              </a:rPr>
              <a:t>se préparer à exploiter efficacement le prochain rebond</a:t>
            </a:r>
          </a:p>
          <a:p>
            <a:pPr marL="285750" indent="-285750">
              <a:buFont typeface="Arial" panose="020B0604020202020204" pitchFamily="34" charset="0"/>
              <a:buChar char="•"/>
            </a:pPr>
            <a:r>
              <a:rPr lang="fr-FR" sz="1400"/>
              <a:t>Améliorer la </a:t>
            </a:r>
            <a:r>
              <a:rPr lang="fr-FR" sz="1400" b="1">
                <a:solidFill>
                  <a:schemeClr val="bg2"/>
                </a:solidFill>
              </a:rPr>
              <a:t>qualité de service </a:t>
            </a:r>
            <a:r>
              <a:rPr lang="fr-FR" sz="1400"/>
              <a:t>aux assurés par une meilleure agilité et efficience de </a:t>
            </a:r>
            <a:r>
              <a:rPr lang="fr-FR" sz="1400" b="1">
                <a:solidFill>
                  <a:schemeClr val="bg2"/>
                </a:solidFill>
              </a:rPr>
              <a:t>l’organisation</a:t>
            </a:r>
            <a:r>
              <a:rPr lang="fr-FR" sz="1400"/>
              <a:t>, </a:t>
            </a:r>
            <a:br>
              <a:rPr lang="fr-FR" sz="1400"/>
            </a:br>
            <a:r>
              <a:rPr lang="fr-FR" sz="1400"/>
              <a:t>des </a:t>
            </a:r>
            <a:r>
              <a:rPr lang="fr-FR" sz="1400" b="1">
                <a:solidFill>
                  <a:schemeClr val="bg2"/>
                </a:solidFill>
              </a:rPr>
              <a:t>processus</a:t>
            </a:r>
            <a:r>
              <a:rPr lang="fr-FR" sz="1400" b="1">
                <a:solidFill>
                  <a:schemeClr val="tx2"/>
                </a:solidFill>
              </a:rPr>
              <a:t> </a:t>
            </a:r>
            <a:r>
              <a:rPr lang="fr-FR" sz="1400"/>
              <a:t>et des </a:t>
            </a:r>
            <a:r>
              <a:rPr lang="fr-FR" sz="1400" b="1">
                <a:solidFill>
                  <a:schemeClr val="bg2"/>
                </a:solidFill>
              </a:rPr>
              <a:t>outils</a:t>
            </a:r>
            <a:r>
              <a:rPr lang="fr-FR" sz="1400"/>
              <a:t> de gestion</a:t>
            </a:r>
            <a:endParaRPr lang="fr-FR" sz="1400" b="1">
              <a:solidFill>
                <a:schemeClr val="bg2"/>
              </a:solidFill>
            </a:endParaRPr>
          </a:p>
        </p:txBody>
      </p:sp>
      <p:sp>
        <p:nvSpPr>
          <p:cNvPr id="5" name="Forme libre : forme 4">
            <a:extLst>
              <a:ext uri="{FF2B5EF4-FFF2-40B4-BE49-F238E27FC236}">
                <a16:creationId xmlns:a16="http://schemas.microsoft.com/office/drawing/2014/main" id="{DECE02C2-7970-9BDA-359B-CAFF5915B1ED}"/>
              </a:ext>
            </a:extLst>
          </p:cNvPr>
          <p:cNvSpPr>
            <a:spLocks noChangeAspect="1"/>
          </p:cNvSpPr>
          <p:nvPr/>
        </p:nvSpPr>
        <p:spPr>
          <a:xfrm>
            <a:off x="1006151" y="427910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7" name="Forme libre : forme 6">
            <a:extLst>
              <a:ext uri="{FF2B5EF4-FFF2-40B4-BE49-F238E27FC236}">
                <a16:creationId xmlns:a16="http://schemas.microsoft.com/office/drawing/2014/main" id="{C3923B5C-6BA9-8CEC-4B14-C4A04FA99815}"/>
              </a:ext>
            </a:extLst>
          </p:cNvPr>
          <p:cNvSpPr>
            <a:spLocks noChangeAspect="1"/>
          </p:cNvSpPr>
          <p:nvPr/>
        </p:nvSpPr>
        <p:spPr>
          <a:xfrm>
            <a:off x="1006151" y="461649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14" name="Forme libre : forme 13">
            <a:extLst>
              <a:ext uri="{FF2B5EF4-FFF2-40B4-BE49-F238E27FC236}">
                <a16:creationId xmlns:a16="http://schemas.microsoft.com/office/drawing/2014/main" id="{1FEF8A34-F03D-1D98-8CC0-90C92BD42FB2}"/>
              </a:ext>
            </a:extLst>
          </p:cNvPr>
          <p:cNvSpPr>
            <a:spLocks noChangeAspect="1"/>
          </p:cNvSpPr>
          <p:nvPr/>
        </p:nvSpPr>
        <p:spPr>
          <a:xfrm>
            <a:off x="1006151" y="4953887"/>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30" name="ZoneTexte 29">
            <a:extLst>
              <a:ext uri="{FF2B5EF4-FFF2-40B4-BE49-F238E27FC236}">
                <a16:creationId xmlns:a16="http://schemas.microsoft.com/office/drawing/2014/main" id="{96F1C8A1-2962-BB7D-3BD3-A252955E641F}"/>
              </a:ext>
            </a:extLst>
          </p:cNvPr>
          <p:cNvSpPr txBox="1"/>
          <p:nvPr/>
        </p:nvSpPr>
        <p:spPr>
          <a:xfrm>
            <a:off x="1082977" y="4197217"/>
            <a:ext cx="601257" cy="415498"/>
          </a:xfrm>
          <a:prstGeom prst="rect">
            <a:avLst/>
          </a:prstGeom>
          <a:noFill/>
        </p:spPr>
        <p:txBody>
          <a:bodyPr wrap="square" rtlCol="0">
            <a:spAutoFit/>
          </a:bodyPr>
          <a:lstStyle/>
          <a:p>
            <a:r>
              <a:rPr lang="fr-FR" sz="700"/>
              <a:t>Saint Herblain (425 ETP)</a:t>
            </a:r>
          </a:p>
        </p:txBody>
      </p:sp>
      <p:sp>
        <p:nvSpPr>
          <p:cNvPr id="31" name="ZoneTexte 30">
            <a:extLst>
              <a:ext uri="{FF2B5EF4-FFF2-40B4-BE49-F238E27FC236}">
                <a16:creationId xmlns:a16="http://schemas.microsoft.com/office/drawing/2014/main" id="{CFD54F2B-8D36-66D3-B6DB-B054E7B07C61}"/>
              </a:ext>
            </a:extLst>
          </p:cNvPr>
          <p:cNvSpPr txBox="1"/>
          <p:nvPr/>
        </p:nvSpPr>
        <p:spPr>
          <a:xfrm>
            <a:off x="1082977" y="4588469"/>
            <a:ext cx="601257" cy="307777"/>
          </a:xfrm>
          <a:prstGeom prst="rect">
            <a:avLst/>
          </a:prstGeom>
          <a:noFill/>
        </p:spPr>
        <p:txBody>
          <a:bodyPr wrap="square" rtlCol="0">
            <a:spAutoFit/>
          </a:bodyPr>
          <a:lstStyle/>
          <a:p>
            <a:r>
              <a:rPr lang="fr-FR" sz="700"/>
              <a:t>Paris (11 ETP)</a:t>
            </a:r>
          </a:p>
        </p:txBody>
      </p:sp>
      <p:sp>
        <p:nvSpPr>
          <p:cNvPr id="32" name="ZoneTexte 31">
            <a:extLst>
              <a:ext uri="{FF2B5EF4-FFF2-40B4-BE49-F238E27FC236}">
                <a16:creationId xmlns:a16="http://schemas.microsoft.com/office/drawing/2014/main" id="{0B929C85-9D4B-E69C-4BCD-332DC53B8CEA}"/>
              </a:ext>
            </a:extLst>
          </p:cNvPr>
          <p:cNvSpPr txBox="1"/>
          <p:nvPr/>
        </p:nvSpPr>
        <p:spPr>
          <a:xfrm>
            <a:off x="1082977" y="4871998"/>
            <a:ext cx="601257" cy="415498"/>
          </a:xfrm>
          <a:prstGeom prst="rect">
            <a:avLst/>
          </a:prstGeom>
          <a:noFill/>
        </p:spPr>
        <p:txBody>
          <a:bodyPr wrap="square" rtlCol="0">
            <a:spAutoFit/>
          </a:bodyPr>
          <a:lstStyle/>
          <a:p>
            <a:r>
              <a:rPr lang="fr-FR" sz="700"/>
              <a:t>Villeneuve-Loubet (27 ETP)</a:t>
            </a:r>
          </a:p>
        </p:txBody>
      </p:sp>
      <p:sp>
        <p:nvSpPr>
          <p:cNvPr id="33" name="Rectangle 32">
            <a:extLst>
              <a:ext uri="{FF2B5EF4-FFF2-40B4-BE49-F238E27FC236}">
                <a16:creationId xmlns:a16="http://schemas.microsoft.com/office/drawing/2014/main" id="{31497491-A6D2-98DE-A132-FA20A1178C54}"/>
              </a:ext>
            </a:extLst>
          </p:cNvPr>
          <p:cNvSpPr/>
          <p:nvPr/>
        </p:nvSpPr>
        <p:spPr>
          <a:xfrm>
            <a:off x="780808" y="4347248"/>
            <a:ext cx="144000" cy="72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900"/>
              <a:t>Back-offices</a:t>
            </a:r>
          </a:p>
        </p:txBody>
      </p:sp>
      <p:sp>
        <p:nvSpPr>
          <p:cNvPr id="39" name="Forme libre : forme 38">
            <a:extLst>
              <a:ext uri="{FF2B5EF4-FFF2-40B4-BE49-F238E27FC236}">
                <a16:creationId xmlns:a16="http://schemas.microsoft.com/office/drawing/2014/main" id="{BA12CC62-77CD-F9DB-5734-BF473D4CE7FD}"/>
              </a:ext>
            </a:extLst>
          </p:cNvPr>
          <p:cNvSpPr>
            <a:spLocks noChangeAspect="1"/>
          </p:cNvSpPr>
          <p:nvPr/>
        </p:nvSpPr>
        <p:spPr>
          <a:xfrm>
            <a:off x="1624730" y="427910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42" name="ZoneTexte 41">
            <a:extLst>
              <a:ext uri="{FF2B5EF4-FFF2-40B4-BE49-F238E27FC236}">
                <a16:creationId xmlns:a16="http://schemas.microsoft.com/office/drawing/2014/main" id="{B3FF3078-66F1-8298-9AD9-698D52502DDE}"/>
              </a:ext>
            </a:extLst>
          </p:cNvPr>
          <p:cNvSpPr txBox="1"/>
          <p:nvPr/>
        </p:nvSpPr>
        <p:spPr>
          <a:xfrm>
            <a:off x="1701556" y="4197217"/>
            <a:ext cx="601257" cy="307777"/>
          </a:xfrm>
          <a:prstGeom prst="rect">
            <a:avLst/>
          </a:prstGeom>
          <a:noFill/>
        </p:spPr>
        <p:txBody>
          <a:bodyPr wrap="square" rtlCol="0">
            <a:spAutoFit/>
          </a:bodyPr>
          <a:lstStyle/>
          <a:p>
            <a:r>
              <a:rPr lang="fr-FR" sz="700"/>
              <a:t>Milan    (67 ETP)</a:t>
            </a:r>
          </a:p>
        </p:txBody>
      </p:sp>
      <p:sp>
        <p:nvSpPr>
          <p:cNvPr id="44" name="Forme libre : forme 43">
            <a:extLst>
              <a:ext uri="{FF2B5EF4-FFF2-40B4-BE49-F238E27FC236}">
                <a16:creationId xmlns:a16="http://schemas.microsoft.com/office/drawing/2014/main" id="{06820649-6F8F-2F1E-6519-DC49313A27D4}"/>
              </a:ext>
            </a:extLst>
          </p:cNvPr>
          <p:cNvSpPr>
            <a:spLocks noChangeAspect="1"/>
          </p:cNvSpPr>
          <p:nvPr/>
        </p:nvSpPr>
        <p:spPr>
          <a:xfrm>
            <a:off x="2267288" y="427910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46" name="ZoneTexte 45">
            <a:extLst>
              <a:ext uri="{FF2B5EF4-FFF2-40B4-BE49-F238E27FC236}">
                <a16:creationId xmlns:a16="http://schemas.microsoft.com/office/drawing/2014/main" id="{15E11043-5A0D-F04E-1437-BA1A351A4F12}"/>
              </a:ext>
            </a:extLst>
          </p:cNvPr>
          <p:cNvSpPr txBox="1"/>
          <p:nvPr/>
        </p:nvSpPr>
        <p:spPr>
          <a:xfrm>
            <a:off x="2344114" y="4197217"/>
            <a:ext cx="601257" cy="415498"/>
          </a:xfrm>
          <a:prstGeom prst="rect">
            <a:avLst/>
          </a:prstGeom>
          <a:noFill/>
        </p:spPr>
        <p:txBody>
          <a:bodyPr wrap="square" rtlCol="0">
            <a:spAutoFit/>
          </a:bodyPr>
          <a:lstStyle/>
          <a:p>
            <a:r>
              <a:rPr lang="fr-FR" sz="700"/>
              <a:t>Barcelone et Madrid (70 ETP)</a:t>
            </a:r>
          </a:p>
        </p:txBody>
      </p:sp>
      <p:sp>
        <p:nvSpPr>
          <p:cNvPr id="48" name="Forme libre : forme 47">
            <a:extLst>
              <a:ext uri="{FF2B5EF4-FFF2-40B4-BE49-F238E27FC236}">
                <a16:creationId xmlns:a16="http://schemas.microsoft.com/office/drawing/2014/main" id="{7FC0027D-CA65-DE88-12A3-0C69106385E0}"/>
              </a:ext>
            </a:extLst>
          </p:cNvPr>
          <p:cNvSpPr>
            <a:spLocks noChangeAspect="1"/>
          </p:cNvSpPr>
          <p:nvPr/>
        </p:nvSpPr>
        <p:spPr>
          <a:xfrm>
            <a:off x="3440881" y="427910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50" name="ZoneTexte 49">
            <a:extLst>
              <a:ext uri="{FF2B5EF4-FFF2-40B4-BE49-F238E27FC236}">
                <a16:creationId xmlns:a16="http://schemas.microsoft.com/office/drawing/2014/main" id="{403557D1-1088-1E0E-B86B-AA3A9B9FC349}"/>
              </a:ext>
            </a:extLst>
          </p:cNvPr>
          <p:cNvSpPr txBox="1"/>
          <p:nvPr/>
        </p:nvSpPr>
        <p:spPr>
          <a:xfrm>
            <a:off x="3511298" y="4245488"/>
            <a:ext cx="601257" cy="200055"/>
          </a:xfrm>
          <a:prstGeom prst="rect">
            <a:avLst/>
          </a:prstGeom>
          <a:noFill/>
        </p:spPr>
        <p:txBody>
          <a:bodyPr wrap="square" rtlCol="0">
            <a:spAutoFit/>
          </a:bodyPr>
          <a:lstStyle/>
          <a:p>
            <a:r>
              <a:rPr lang="fr-FR" sz="700"/>
              <a:t>Nantes</a:t>
            </a:r>
          </a:p>
        </p:txBody>
      </p:sp>
      <p:sp>
        <p:nvSpPr>
          <p:cNvPr id="53" name="Forme libre : forme 52">
            <a:extLst>
              <a:ext uri="{FF2B5EF4-FFF2-40B4-BE49-F238E27FC236}">
                <a16:creationId xmlns:a16="http://schemas.microsoft.com/office/drawing/2014/main" id="{D82BCEAA-8E4E-9620-8F44-435632332B56}"/>
              </a:ext>
            </a:extLst>
          </p:cNvPr>
          <p:cNvSpPr>
            <a:spLocks noChangeAspect="1"/>
          </p:cNvSpPr>
          <p:nvPr/>
        </p:nvSpPr>
        <p:spPr>
          <a:xfrm>
            <a:off x="4265819" y="427910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57" name="ZoneTexte 56">
            <a:extLst>
              <a:ext uri="{FF2B5EF4-FFF2-40B4-BE49-F238E27FC236}">
                <a16:creationId xmlns:a16="http://schemas.microsoft.com/office/drawing/2014/main" id="{01109496-096C-CA55-830D-1DD41E98639F}"/>
              </a:ext>
            </a:extLst>
          </p:cNvPr>
          <p:cNvSpPr txBox="1"/>
          <p:nvPr/>
        </p:nvSpPr>
        <p:spPr>
          <a:xfrm>
            <a:off x="4336236" y="4245488"/>
            <a:ext cx="601257" cy="200055"/>
          </a:xfrm>
          <a:prstGeom prst="rect">
            <a:avLst/>
          </a:prstGeom>
          <a:noFill/>
        </p:spPr>
        <p:txBody>
          <a:bodyPr wrap="square" rtlCol="0">
            <a:spAutoFit/>
          </a:bodyPr>
          <a:lstStyle/>
          <a:p>
            <a:r>
              <a:rPr lang="fr-FR" sz="700"/>
              <a:t>Rennes</a:t>
            </a:r>
          </a:p>
        </p:txBody>
      </p:sp>
      <p:sp>
        <p:nvSpPr>
          <p:cNvPr id="63" name="Forme libre : forme 62">
            <a:extLst>
              <a:ext uri="{FF2B5EF4-FFF2-40B4-BE49-F238E27FC236}">
                <a16:creationId xmlns:a16="http://schemas.microsoft.com/office/drawing/2014/main" id="{4CDBC6EE-5C4C-400D-413E-F92FB254474D}"/>
              </a:ext>
            </a:extLst>
          </p:cNvPr>
          <p:cNvSpPr>
            <a:spLocks noChangeAspect="1"/>
          </p:cNvSpPr>
          <p:nvPr/>
        </p:nvSpPr>
        <p:spPr>
          <a:xfrm>
            <a:off x="5170708" y="4279106"/>
            <a:ext cx="134402" cy="144000"/>
          </a:xfrm>
          <a:custGeom>
            <a:avLst/>
            <a:gdLst>
              <a:gd name="connsiteX0" fmla="*/ 400050 w 800100"/>
              <a:gd name="connsiteY0" fmla="*/ -952 h 857230"/>
              <a:gd name="connsiteX1" fmla="*/ 219075 w 800100"/>
              <a:gd name="connsiteY1" fmla="*/ 180023 h 857230"/>
              <a:gd name="connsiteX2" fmla="*/ 400050 w 800100"/>
              <a:gd name="connsiteY2" fmla="*/ 360998 h 857230"/>
              <a:gd name="connsiteX3" fmla="*/ 581025 w 800100"/>
              <a:gd name="connsiteY3" fmla="*/ 180023 h 857230"/>
              <a:gd name="connsiteX4" fmla="*/ 400050 w 800100"/>
              <a:gd name="connsiteY4" fmla="*/ -952 h 857230"/>
              <a:gd name="connsiteX5" fmla="*/ 400050 w 800100"/>
              <a:gd name="connsiteY5" fmla="*/ 37148 h 857230"/>
              <a:gd name="connsiteX6" fmla="*/ 542925 w 800100"/>
              <a:gd name="connsiteY6" fmla="*/ 180023 h 857230"/>
              <a:gd name="connsiteX7" fmla="*/ 400050 w 800100"/>
              <a:gd name="connsiteY7" fmla="*/ 322898 h 857230"/>
              <a:gd name="connsiteX8" fmla="*/ 257175 w 800100"/>
              <a:gd name="connsiteY8" fmla="*/ 180023 h 857230"/>
              <a:gd name="connsiteX9" fmla="*/ 400050 w 800100"/>
              <a:gd name="connsiteY9" fmla="*/ 37148 h 857230"/>
              <a:gd name="connsiteX10" fmla="*/ 400050 w 800100"/>
              <a:gd name="connsiteY10" fmla="*/ 418128 h 857230"/>
              <a:gd name="connsiteX11" fmla="*/ 119956 w 800100"/>
              <a:gd name="connsiteY11" fmla="*/ 493472 h 857230"/>
              <a:gd name="connsiteX12" fmla="*/ 0 w 800100"/>
              <a:gd name="connsiteY12" fmla="*/ 684828 h 857230"/>
              <a:gd name="connsiteX13" fmla="*/ 0 w 800100"/>
              <a:gd name="connsiteY13" fmla="*/ 837228 h 857230"/>
              <a:gd name="connsiteX14" fmla="*/ 19050 w 800100"/>
              <a:gd name="connsiteY14" fmla="*/ 856278 h 857230"/>
              <a:gd name="connsiteX15" fmla="*/ 781050 w 800100"/>
              <a:gd name="connsiteY15" fmla="*/ 856278 h 857230"/>
              <a:gd name="connsiteX16" fmla="*/ 800100 w 800100"/>
              <a:gd name="connsiteY16" fmla="*/ 837228 h 857230"/>
              <a:gd name="connsiteX17" fmla="*/ 800100 w 800100"/>
              <a:gd name="connsiteY17" fmla="*/ 684828 h 857230"/>
              <a:gd name="connsiteX18" fmla="*/ 680144 w 800100"/>
              <a:gd name="connsiteY18" fmla="*/ 493472 h 857230"/>
              <a:gd name="connsiteX19" fmla="*/ 400050 w 800100"/>
              <a:gd name="connsiteY19" fmla="*/ 418128 h 857230"/>
              <a:gd name="connsiteX20" fmla="*/ 400050 w 800100"/>
              <a:gd name="connsiteY20" fmla="*/ 456228 h 857230"/>
              <a:gd name="connsiteX21" fmla="*/ 659309 w 800100"/>
              <a:gd name="connsiteY21" fmla="*/ 525285 h 857230"/>
              <a:gd name="connsiteX22" fmla="*/ 762000 w 800100"/>
              <a:gd name="connsiteY22" fmla="*/ 684828 h 857230"/>
              <a:gd name="connsiteX23" fmla="*/ 762000 w 800100"/>
              <a:gd name="connsiteY23" fmla="*/ 818178 h 857230"/>
              <a:gd name="connsiteX24" fmla="*/ 38100 w 800100"/>
              <a:gd name="connsiteY24" fmla="*/ 818178 h 857230"/>
              <a:gd name="connsiteX25" fmla="*/ 38100 w 800100"/>
              <a:gd name="connsiteY25" fmla="*/ 684828 h 857230"/>
              <a:gd name="connsiteX26" fmla="*/ 140791 w 800100"/>
              <a:gd name="connsiteY26" fmla="*/ 525285 h 857230"/>
              <a:gd name="connsiteX27" fmla="*/ 400050 w 800100"/>
              <a:gd name="connsiteY27" fmla="*/ 456228 h 85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00100" h="857230">
                <a:moveTo>
                  <a:pt x="400050" y="-952"/>
                </a:moveTo>
                <a:cubicBezTo>
                  <a:pt x="300325" y="-952"/>
                  <a:pt x="219075" y="80296"/>
                  <a:pt x="219075" y="180023"/>
                </a:cubicBezTo>
                <a:cubicBezTo>
                  <a:pt x="219075" y="279749"/>
                  <a:pt x="300325" y="360998"/>
                  <a:pt x="400050" y="360998"/>
                </a:cubicBezTo>
                <a:cubicBezTo>
                  <a:pt x="499775" y="360998"/>
                  <a:pt x="581025" y="279749"/>
                  <a:pt x="581025" y="180023"/>
                </a:cubicBezTo>
                <a:cubicBezTo>
                  <a:pt x="581025" y="80296"/>
                  <a:pt x="499775" y="-952"/>
                  <a:pt x="400050" y="-952"/>
                </a:cubicBezTo>
                <a:close/>
                <a:moveTo>
                  <a:pt x="400050" y="37148"/>
                </a:moveTo>
                <a:cubicBezTo>
                  <a:pt x="479184" y="37148"/>
                  <a:pt x="542925" y="100889"/>
                  <a:pt x="542925" y="180023"/>
                </a:cubicBezTo>
                <a:cubicBezTo>
                  <a:pt x="542925" y="259156"/>
                  <a:pt x="479184" y="322898"/>
                  <a:pt x="400050" y="322898"/>
                </a:cubicBezTo>
                <a:cubicBezTo>
                  <a:pt x="320916" y="322898"/>
                  <a:pt x="257175" y="259156"/>
                  <a:pt x="257175" y="180023"/>
                </a:cubicBezTo>
                <a:cubicBezTo>
                  <a:pt x="257175" y="100889"/>
                  <a:pt x="320916" y="37148"/>
                  <a:pt x="400050" y="37148"/>
                </a:cubicBezTo>
                <a:close/>
                <a:moveTo>
                  <a:pt x="400050" y="418128"/>
                </a:moveTo>
                <a:cubicBezTo>
                  <a:pt x="291190" y="418128"/>
                  <a:pt x="192550" y="446227"/>
                  <a:pt x="119956" y="493472"/>
                </a:cubicBezTo>
                <a:cubicBezTo>
                  <a:pt x="47361" y="540620"/>
                  <a:pt x="0" y="608343"/>
                  <a:pt x="0" y="684828"/>
                </a:cubicBezTo>
                <a:lnTo>
                  <a:pt x="0" y="837228"/>
                </a:lnTo>
                <a:cubicBezTo>
                  <a:pt x="1" y="847801"/>
                  <a:pt x="8529" y="856278"/>
                  <a:pt x="19050" y="856278"/>
                </a:cubicBezTo>
                <a:lnTo>
                  <a:pt x="781050" y="856278"/>
                </a:lnTo>
                <a:cubicBezTo>
                  <a:pt x="791570" y="856278"/>
                  <a:pt x="800099" y="847801"/>
                  <a:pt x="800100" y="837228"/>
                </a:cubicBezTo>
                <a:lnTo>
                  <a:pt x="800100" y="684828"/>
                </a:lnTo>
                <a:cubicBezTo>
                  <a:pt x="800100" y="608343"/>
                  <a:pt x="752739" y="540620"/>
                  <a:pt x="680144" y="493472"/>
                </a:cubicBezTo>
                <a:cubicBezTo>
                  <a:pt x="607550" y="446227"/>
                  <a:pt x="508910" y="418128"/>
                  <a:pt x="400050" y="418128"/>
                </a:cubicBezTo>
                <a:close/>
                <a:moveTo>
                  <a:pt x="400050" y="456228"/>
                </a:moveTo>
                <a:cubicBezTo>
                  <a:pt x="502264" y="456228"/>
                  <a:pt x="594171" y="482994"/>
                  <a:pt x="659309" y="525285"/>
                </a:cubicBezTo>
                <a:cubicBezTo>
                  <a:pt x="724446" y="567671"/>
                  <a:pt x="762000" y="624154"/>
                  <a:pt x="762000" y="684828"/>
                </a:cubicBezTo>
                <a:lnTo>
                  <a:pt x="762000" y="818178"/>
                </a:lnTo>
                <a:lnTo>
                  <a:pt x="38100" y="818178"/>
                </a:lnTo>
                <a:lnTo>
                  <a:pt x="38100" y="684828"/>
                </a:lnTo>
                <a:cubicBezTo>
                  <a:pt x="38100" y="624154"/>
                  <a:pt x="75654" y="567671"/>
                  <a:pt x="140791" y="525285"/>
                </a:cubicBezTo>
                <a:cubicBezTo>
                  <a:pt x="205929" y="482994"/>
                  <a:pt x="297836" y="456228"/>
                  <a:pt x="400050" y="456228"/>
                </a:cubicBezTo>
                <a:close/>
              </a:path>
            </a:pathLst>
          </a:custGeom>
          <a:solidFill>
            <a:schemeClr val="tx1"/>
          </a:solidFill>
          <a:ln w="9525" cap="flat">
            <a:noFill/>
            <a:prstDash val="solid"/>
            <a:miter/>
          </a:ln>
        </p:spPr>
        <p:txBody>
          <a:bodyPr rtlCol="0" anchor="ctr"/>
          <a:lstStyle/>
          <a:p>
            <a:endParaRPr lang="fr-FR"/>
          </a:p>
        </p:txBody>
      </p:sp>
      <p:sp>
        <p:nvSpPr>
          <p:cNvPr id="65" name="ZoneTexte 64">
            <a:extLst>
              <a:ext uri="{FF2B5EF4-FFF2-40B4-BE49-F238E27FC236}">
                <a16:creationId xmlns:a16="http://schemas.microsoft.com/office/drawing/2014/main" id="{C63AD7A2-D30E-2F3F-C094-43A6AC3D0CBA}"/>
              </a:ext>
            </a:extLst>
          </p:cNvPr>
          <p:cNvSpPr txBox="1"/>
          <p:nvPr/>
        </p:nvSpPr>
        <p:spPr>
          <a:xfrm>
            <a:off x="5241125" y="4245488"/>
            <a:ext cx="601257" cy="200055"/>
          </a:xfrm>
          <a:prstGeom prst="rect">
            <a:avLst/>
          </a:prstGeom>
          <a:noFill/>
        </p:spPr>
        <p:txBody>
          <a:bodyPr wrap="square" rtlCol="0">
            <a:spAutoFit/>
          </a:bodyPr>
          <a:lstStyle/>
          <a:p>
            <a:r>
              <a:rPr lang="fr-FR" sz="700"/>
              <a:t>Nice</a:t>
            </a:r>
          </a:p>
        </p:txBody>
      </p:sp>
      <p:sp>
        <p:nvSpPr>
          <p:cNvPr id="66" name="Accolade fermante 65">
            <a:extLst>
              <a:ext uri="{FF2B5EF4-FFF2-40B4-BE49-F238E27FC236}">
                <a16:creationId xmlns:a16="http://schemas.microsoft.com/office/drawing/2014/main" id="{0D76B70D-B181-3C29-4BE9-309A11A735B1}"/>
              </a:ext>
            </a:extLst>
          </p:cNvPr>
          <p:cNvSpPr/>
          <p:nvPr/>
        </p:nvSpPr>
        <p:spPr>
          <a:xfrm rot="5400000">
            <a:off x="4386017" y="3496120"/>
            <a:ext cx="415496" cy="2344268"/>
          </a:xfrm>
          <a:prstGeom prst="rightBrace">
            <a:avLst>
              <a:gd name="adj1" fmla="val 8333"/>
              <a:gd name="adj2" fmla="val 50411"/>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67" name="ZoneTexte 66">
            <a:extLst>
              <a:ext uri="{FF2B5EF4-FFF2-40B4-BE49-F238E27FC236}">
                <a16:creationId xmlns:a16="http://schemas.microsoft.com/office/drawing/2014/main" id="{3FCA3673-883C-929D-19AC-42607BAD038C}"/>
              </a:ext>
            </a:extLst>
          </p:cNvPr>
          <p:cNvSpPr txBox="1"/>
          <p:nvPr/>
        </p:nvSpPr>
        <p:spPr>
          <a:xfrm>
            <a:off x="3614143" y="4852126"/>
            <a:ext cx="1939633" cy="230832"/>
          </a:xfrm>
          <a:prstGeom prst="rect">
            <a:avLst/>
          </a:prstGeom>
          <a:noFill/>
        </p:spPr>
        <p:txBody>
          <a:bodyPr wrap="square" rtlCol="0">
            <a:spAutoFit/>
          </a:bodyPr>
          <a:lstStyle/>
          <a:p>
            <a:pPr algn="ctr"/>
            <a:r>
              <a:rPr lang="fr-FR" sz="900" b="1">
                <a:solidFill>
                  <a:schemeClr val="bg2"/>
                </a:solidFill>
              </a:rPr>
              <a:t>Création d’une marque unique </a:t>
            </a:r>
          </a:p>
        </p:txBody>
      </p:sp>
      <p:pic>
        <p:nvPicPr>
          <p:cNvPr id="35" name="Image 34">
            <a:extLst>
              <a:ext uri="{FF2B5EF4-FFF2-40B4-BE49-F238E27FC236}">
                <a16:creationId xmlns:a16="http://schemas.microsoft.com/office/drawing/2014/main" id="{1CFEC578-5C84-F6E9-CA6C-9DA81390A27F}"/>
              </a:ext>
            </a:extLst>
          </p:cNvPr>
          <p:cNvPicPr>
            <a:picLocks noChangeAspect="1"/>
          </p:cNvPicPr>
          <p:nvPr/>
        </p:nvPicPr>
        <p:blipFill>
          <a:blip r:embed="rId8"/>
          <a:stretch>
            <a:fillRect/>
          </a:stretch>
        </p:blipFill>
        <p:spPr>
          <a:xfrm>
            <a:off x="2848373" y="3852479"/>
            <a:ext cx="465735" cy="253244"/>
          </a:xfrm>
          <a:prstGeom prst="rect">
            <a:avLst/>
          </a:prstGeom>
        </p:spPr>
      </p:pic>
      <p:pic>
        <p:nvPicPr>
          <p:cNvPr id="10" name="Image 9" descr="Une image contenant Graphique, Police, obscurité, noir&#10;&#10;Description générée automatiquement">
            <a:extLst>
              <a:ext uri="{FF2B5EF4-FFF2-40B4-BE49-F238E27FC236}">
                <a16:creationId xmlns:a16="http://schemas.microsoft.com/office/drawing/2014/main" id="{D43F3AED-7B12-1BFF-21D4-689AE4659C64}"/>
              </a:ext>
            </a:extLst>
          </p:cNvPr>
          <p:cNvPicPr>
            <a:picLocks noChangeAspect="1"/>
          </p:cNvPicPr>
          <p:nvPr/>
        </p:nvPicPr>
        <p:blipFill rotWithShape="1">
          <a:blip r:embed="rId9">
            <a:extLst>
              <a:ext uri="{28A0092B-C50C-407E-A947-70E740481C1C}">
                <a14:useLocalDpi xmlns:a14="http://schemas.microsoft.com/office/drawing/2010/main" val="0"/>
              </a:ext>
            </a:extLst>
          </a:blip>
          <a:srcRect l="30469" t="31460" r="29448" b="32235"/>
          <a:stretch/>
        </p:blipFill>
        <p:spPr>
          <a:xfrm>
            <a:off x="1491823" y="3372899"/>
            <a:ext cx="530353" cy="270208"/>
          </a:xfrm>
          <a:prstGeom prst="rect">
            <a:avLst/>
          </a:prstGeom>
        </p:spPr>
      </p:pic>
      <p:pic>
        <p:nvPicPr>
          <p:cNvPr id="6" name="Image 5" descr="Une image contenant logo, Graphique, capture d’écran, symbole&#10;&#10;Description générée automatiquement">
            <a:extLst>
              <a:ext uri="{FF2B5EF4-FFF2-40B4-BE49-F238E27FC236}">
                <a16:creationId xmlns:a16="http://schemas.microsoft.com/office/drawing/2014/main" id="{DB54F003-64A5-2727-0BC4-96AAD3273BF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9301" y="3680067"/>
            <a:ext cx="143878" cy="143878"/>
          </a:xfrm>
          <a:prstGeom prst="rect">
            <a:avLst/>
          </a:prstGeom>
        </p:spPr>
      </p:pic>
      <p:pic>
        <p:nvPicPr>
          <p:cNvPr id="38" name="Image 37" descr="Une image contenant cercle, Graphique, Caractère coloré&#10;&#10;Description générée automatiquement">
            <a:extLst>
              <a:ext uri="{FF2B5EF4-FFF2-40B4-BE49-F238E27FC236}">
                <a16:creationId xmlns:a16="http://schemas.microsoft.com/office/drawing/2014/main" id="{FDD687B1-7FC0-10C0-0B7E-7082E3D0219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12418" y="3680067"/>
            <a:ext cx="143878" cy="143878"/>
          </a:xfrm>
          <a:prstGeom prst="rect">
            <a:avLst/>
          </a:prstGeom>
        </p:spPr>
      </p:pic>
      <p:pic>
        <p:nvPicPr>
          <p:cNvPr id="43" name="Image 42" descr="Une image contenant cercle, Caractère coloré, Graphique, capture d’écran&#10;&#10;Description générée automatiquement">
            <a:extLst>
              <a:ext uri="{FF2B5EF4-FFF2-40B4-BE49-F238E27FC236}">
                <a16:creationId xmlns:a16="http://schemas.microsoft.com/office/drawing/2014/main" id="{21BF951A-B637-4F66-6979-C58EDD7C515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424116" y="3680067"/>
            <a:ext cx="143878" cy="143878"/>
          </a:xfrm>
          <a:prstGeom prst="rect">
            <a:avLst/>
          </a:prstGeom>
        </p:spPr>
      </p:pic>
      <p:pic>
        <p:nvPicPr>
          <p:cNvPr id="47" name="Image 46" descr="Une image contenant cercle, Graphique, Caractère coloré, capture d’écran&#10;&#10;Description générée automatiquement">
            <a:extLst>
              <a:ext uri="{FF2B5EF4-FFF2-40B4-BE49-F238E27FC236}">
                <a16:creationId xmlns:a16="http://schemas.microsoft.com/office/drawing/2014/main" id="{763E06AA-319A-2363-8DD9-4F69CB62ED7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200720" y="3680067"/>
            <a:ext cx="143878" cy="143878"/>
          </a:xfrm>
          <a:prstGeom prst="rect">
            <a:avLst/>
          </a:prstGeom>
        </p:spPr>
      </p:pic>
    </p:spTree>
    <p:extLst>
      <p:ext uri="{BB962C8B-B14F-4D97-AF65-F5344CB8AC3E}">
        <p14:creationId xmlns:p14="http://schemas.microsoft.com/office/powerpoint/2010/main" val="596601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LINECOLOR" val="7"/>
</p:tagLst>
</file>

<file path=ppt/tags/tag102.xml><?xml version="1.0" encoding="utf-8"?>
<p:tagLst xmlns:a="http://schemas.openxmlformats.org/drawingml/2006/main" xmlns:r="http://schemas.openxmlformats.org/officeDocument/2006/relationships" xmlns:p="http://schemas.openxmlformats.org/presentationml/2006/main">
  <p:tag name="LINECOLOR" val="7"/>
</p:tagLst>
</file>

<file path=ppt/tags/tag103.xml><?xml version="1.0" encoding="utf-8"?>
<p:tagLst xmlns:a="http://schemas.openxmlformats.org/drawingml/2006/main" xmlns:r="http://schemas.openxmlformats.org/officeDocument/2006/relationships" xmlns:p="http://schemas.openxmlformats.org/presentationml/2006/main">
  <p:tag name="LINECOLOR" val="7"/>
</p:tagLst>
</file>

<file path=ppt/tags/tag104.xml><?xml version="1.0" encoding="utf-8"?>
<p:tagLst xmlns:a="http://schemas.openxmlformats.org/drawingml/2006/main" xmlns:r="http://schemas.openxmlformats.org/officeDocument/2006/relationships" xmlns:p="http://schemas.openxmlformats.org/presentationml/2006/main">
  <p:tag name="NUM" val="1"/>
</p:tagLst>
</file>

<file path=ppt/tags/tag105.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5"/>
</p:tagLst>
</file>

<file path=ppt/tags/tag109.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7"/>
</p:tagLst>
</file>

<file path=ppt/tags/tag111.xml><?xml version="1.0" encoding="utf-8"?>
<p:tagLst xmlns:a="http://schemas.openxmlformats.org/drawingml/2006/main" xmlns:r="http://schemas.openxmlformats.org/officeDocument/2006/relationships" xmlns:p="http://schemas.openxmlformats.org/presentationml/2006/main">
  <p:tag name="NUM" val="8"/>
</p:tagLst>
</file>

<file path=ppt/tags/tag112.xml><?xml version="1.0" encoding="utf-8"?>
<p:tagLst xmlns:a="http://schemas.openxmlformats.org/drawingml/2006/main" xmlns:r="http://schemas.openxmlformats.org/officeDocument/2006/relationships" xmlns:p="http://schemas.openxmlformats.org/presentationml/2006/main">
  <p:tag name="NUM" val="9"/>
</p:tagLst>
</file>

<file path=ppt/tags/tag113.xml><?xml version="1.0" encoding="utf-8"?>
<p:tagLst xmlns:a="http://schemas.openxmlformats.org/drawingml/2006/main" xmlns:r="http://schemas.openxmlformats.org/officeDocument/2006/relationships" xmlns:p="http://schemas.openxmlformats.org/presentationml/2006/main">
  <p:tag name="NUM" val="10"/>
</p:tagLst>
</file>

<file path=ppt/tags/tag114.xml><?xml version="1.0" encoding="utf-8"?>
<p:tagLst xmlns:a="http://schemas.openxmlformats.org/drawingml/2006/main" xmlns:r="http://schemas.openxmlformats.org/officeDocument/2006/relationships" xmlns:p="http://schemas.openxmlformats.org/presentationml/2006/main">
  <p:tag name="NUM" val="11"/>
</p:tagLst>
</file>

<file path=ppt/tags/tag115.xml><?xml version="1.0" encoding="utf-8"?>
<p:tagLst xmlns:a="http://schemas.openxmlformats.org/drawingml/2006/main" xmlns:r="http://schemas.openxmlformats.org/officeDocument/2006/relationships" xmlns:p="http://schemas.openxmlformats.org/presentationml/2006/main">
  <p:tag name="NUM" val="12"/>
</p:tagLst>
</file>

<file path=ppt/tags/tag116.xml><?xml version="1.0" encoding="utf-8"?>
<p:tagLst xmlns:a="http://schemas.openxmlformats.org/drawingml/2006/main" xmlns:r="http://schemas.openxmlformats.org/officeDocument/2006/relationships" xmlns:p="http://schemas.openxmlformats.org/presentationml/2006/main">
  <p:tag name="NUM" val="13"/>
</p:tagLst>
</file>

<file path=ppt/tags/tag117.xml><?xml version="1.0" encoding="utf-8"?>
<p:tagLst xmlns:a="http://schemas.openxmlformats.org/drawingml/2006/main" xmlns:r="http://schemas.openxmlformats.org/officeDocument/2006/relationships" xmlns:p="http://schemas.openxmlformats.org/presentationml/2006/main">
  <p:tag name="NUM" val="14"/>
</p:tagLst>
</file>

<file path=ppt/tags/tag118.xml><?xml version="1.0" encoding="utf-8"?>
<p:tagLst xmlns:a="http://schemas.openxmlformats.org/drawingml/2006/main" xmlns:r="http://schemas.openxmlformats.org/officeDocument/2006/relationships" xmlns:p="http://schemas.openxmlformats.org/presentationml/2006/main">
  <p:tag name="NUM" val="15"/>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7z9JKaURbusjIZMzPWy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F.dmbiqSiGogF1Bt5iO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4Mwgx2uS4GgkrlnZXOi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43OaOuqRoGl0hKAze3d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7z9JKaURbusjIZMzPWy4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F.dmbiqSiGogF1Bt5iO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4Mwgx2uS4GgkrlnZXOi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4Mwgx2uS4GgkrlnZXOi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43OaOuqRoGl0hKAze3d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4Mwgx2uS4GgkrlnZXOi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4Mwgx2uS4GgkrlnZXOi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Conception personnalisée">
  <a:themeElements>
    <a:clrScheme name="Personnalisé 6">
      <a:dk1>
        <a:srgbClr val="FF9966"/>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Personnalisé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Conception personnalisée">
  <a:themeElements>
    <a:clrScheme name="Personnalisé 6">
      <a:dk1>
        <a:srgbClr val="FF9966"/>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Personnalisé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hème Talan 2021">
  <a:themeElements>
    <a:clrScheme name="Couleurs de Talan">
      <a:dk1>
        <a:srgbClr val="171616"/>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 Talan 2021" id="{0D71BEB5-B7F2-4608-A9E6-2C0119CBF55E}" vid="{06319B38-3DD5-4321-92A2-A0A121B1B591}"/>
    </a:ext>
  </a:extLst>
</a:theme>
</file>

<file path=ppt/theme/theme4.xml><?xml version="1.0" encoding="utf-8"?>
<a:theme xmlns:a="http://schemas.openxmlformats.org/drawingml/2006/main" name="Talan Consulting">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alan Consulting" id="{FE05B392-44EC-41A7-AA82-277921FE16F0}" vid="{C8EACB8B-47A7-4E88-80C3-E69A3CF62801}"/>
    </a:ext>
  </a:extLst>
</a:theme>
</file>

<file path=ppt/theme/theme5.xml><?xml version="1.0" encoding="utf-8"?>
<a:theme xmlns:a="http://schemas.openxmlformats.org/drawingml/2006/main" name="2_Conception personnalisée">
  <a:themeElements>
    <a:clrScheme name="Personnalisé 1">
      <a:dk1>
        <a:srgbClr val="FF33CC"/>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Personnalisé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Masque Siège 2021">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alanConsulting 2019">
  <a:themeElements>
    <a:clrScheme name="TalanConsulting 2019">
      <a:dk1>
        <a:sysClr val="windowText" lastClr="000000"/>
      </a:dk1>
      <a:lt1>
        <a:sysClr val="window" lastClr="FFFFFF"/>
      </a:lt1>
      <a:dk2>
        <a:srgbClr val="43358B"/>
      </a:dk2>
      <a:lt2>
        <a:srgbClr val="E8E6F4"/>
      </a:lt2>
      <a:accent1>
        <a:srgbClr val="1D3D91"/>
      </a:accent1>
      <a:accent2>
        <a:srgbClr val="45B384"/>
      </a:accent2>
      <a:accent3>
        <a:srgbClr val="006EB7"/>
      </a:accent3>
      <a:accent4>
        <a:srgbClr val="00D2D9"/>
      </a:accent4>
      <a:accent5>
        <a:srgbClr val="009FE3"/>
      </a:accent5>
      <a:accent6>
        <a:srgbClr val="009DC5"/>
      </a:accent6>
      <a:hlink>
        <a:srgbClr val="0563C1"/>
      </a:hlink>
      <a:folHlink>
        <a:srgbClr val="954F72"/>
      </a:folHlink>
    </a:clrScheme>
    <a:fontScheme name="TalanConsulting 2019">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lanConsulting 2019" id="{E6840E4B-703E-4F10-947A-29B3CF9D56C1}" vid="{EE762C64-17D3-4DD7-9AF4-E9297A8398A6}"/>
    </a:ext>
  </a:extLst>
</a:theme>
</file>

<file path=ppt/theme/theme8.xml><?xml version="1.0" encoding="utf-8"?>
<a:theme xmlns:a="http://schemas.openxmlformats.org/drawingml/2006/main" name="Talan">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alan" id="{70B48FB8-9594-E548-ADEE-7A7E9A3D634E}" vid="{A7C2BA40-862E-304F-8387-A2681652E180}"/>
    </a:ext>
  </a:extLst>
</a:theme>
</file>

<file path=ppt/theme/theme9.xml><?xml version="1.0" encoding="utf-8"?>
<a:theme xmlns:a="http://schemas.openxmlformats.org/drawingml/2006/main" name="4_Conception personnalisée">
  <a:themeElements>
    <a:clrScheme name="Personnalisé 6">
      <a:dk1>
        <a:srgbClr val="FF9966"/>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Personnalisé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B9C19B591D994EBC8A2669784C23FF" ma:contentTypeVersion="24" ma:contentTypeDescription="Crée un document." ma:contentTypeScope="" ma:versionID="d3949bb5cf4f1d900e13dc303d56e5dd">
  <xsd:schema xmlns:xsd="http://www.w3.org/2001/XMLSchema" xmlns:xs="http://www.w3.org/2001/XMLSchema" xmlns:p="http://schemas.microsoft.com/office/2006/metadata/properties" xmlns:ns2="02e6de94-908f-4934-beba-2e2c54d6e01c" xmlns:ns3="d04f2a86-103e-41f8-8ea1-74e96e6b3884" targetNamespace="http://schemas.microsoft.com/office/2006/metadata/properties" ma:root="true" ma:fieldsID="a8ec672d5808060554a634d3321eafbe" ns2:_="" ns3:_="">
    <xsd:import namespace="02e6de94-908f-4934-beba-2e2c54d6e01c"/>
    <xsd:import namespace="d04f2a86-103e-41f8-8ea1-74e96e6b38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lcf76f155ced4ddcb4097134ff3c332f" minOccurs="0"/>
                <xsd:element ref="ns3:TaxCatchAll" minOccurs="0"/>
                <xsd:element ref="ns2:Affectation" minOccurs="0"/>
                <xsd:element ref="ns2:Done" minOccurs="0"/>
                <xsd:element ref="ns2:Lecture" minOccurs="0"/>
                <xsd:element ref="ns2:MediaServiceObjectDetectorVersions" minOccurs="0"/>
                <xsd:element ref="ns2:Trait_x00e9_"/>
                <xsd:element ref="ns2:_Flow_SignoffStatu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6de94-908f-4934-beba-2e2c54d6e0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b33823e1-7006-446b-af26-4f3e04a5b216" ma:termSetId="09814cd3-568e-fe90-9814-8d621ff8fb84" ma:anchorId="fba54fb3-c3e1-fe81-a776-ca4b69148c4d" ma:open="true" ma:isKeyword="false">
      <xsd:complexType>
        <xsd:sequence>
          <xsd:element ref="pc:Terms" minOccurs="0" maxOccurs="1"/>
        </xsd:sequence>
      </xsd:complexType>
    </xsd:element>
    <xsd:element name="Affectation" ma:index="24" nillable="true" ma:displayName="Affectation" ma:description="Cette colonne représente les affectations pour les annotations des RC" ma:format="Dropdown" ma:internalName="Affectation">
      <xsd:simpleType>
        <xsd:union memberTypes="dms:Text">
          <xsd:simpleType>
            <xsd:restriction base="dms:Choice">
              <xsd:enumeration value="Fatoumata"/>
              <xsd:enumeration value="Mozart"/>
            </xsd:restriction>
          </xsd:simpleType>
        </xsd:union>
      </xsd:simpleType>
    </xsd:element>
    <xsd:element name="Done" ma:index="25" nillable="true" ma:displayName="Progression " ma:default="to do" ma:format="Dropdown" ma:internalName="Done">
      <xsd:simpleType>
        <xsd:union memberTypes="dms:Text">
          <xsd:simpleType>
            <xsd:restriction base="dms:Choice">
              <xsd:enumeration value="in progress"/>
              <xsd:enumeration value="to do"/>
              <xsd:enumeration value="Blocking"/>
              <xsd:enumeration value="✓"/>
            </xsd:restriction>
          </xsd:simpleType>
        </xsd:union>
      </xsd:simpleType>
    </xsd:element>
    <xsd:element name="Lecture" ma:index="26" nillable="true" ma:displayName="Lecture" ma:description="Identifiez-vous sur l'article que vous avez lu." ma:format="Dropdown" ma:list="UserInfo" ma:SharePointGroup="0" ma:internalName="Lectur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Trait_x00e9_" ma:index="28" ma:displayName="Traité" ma:default="0" ma:format="Dropdown" ma:internalName="Trait_x00e9_">
      <xsd:simpleType>
        <xsd:restriction base="dms:Boolean"/>
      </xsd:simpleType>
    </xsd:element>
    <xsd:element name="_Flow_SignoffStatus" ma:index="29" nillable="true" ma:displayName="Sign-off status" ma:internalName="Sign_x002d_off_x0020_status">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04f2a86-103e-41f8-8ea1-74e96e6b3884"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7b9bd46-a292-496d-8733-299f46527b11}" ma:internalName="TaxCatchAll" ma:showField="CatchAllData" ma:web="d04f2a86-103e-41f8-8ea1-74e96e6b38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2e6de94-908f-4934-beba-2e2c54d6e01c">
      <Terms xmlns="http://schemas.microsoft.com/office/infopath/2007/PartnerControls"/>
    </lcf76f155ced4ddcb4097134ff3c332f>
    <TaxCatchAll xmlns="d04f2a86-103e-41f8-8ea1-74e96e6b3884" xsi:nil="true"/>
    <SharedWithUsers xmlns="d04f2a86-103e-41f8-8ea1-74e96e6b3884">
      <UserInfo>
        <DisplayName>Vico ISORE</DisplayName>
        <AccountId>93</AccountId>
        <AccountType/>
      </UserInfo>
    </SharedWithUsers>
    <Done xmlns="02e6de94-908f-4934-beba-2e2c54d6e01c">to do</Done>
    <_Flow_SignoffStatus xmlns="02e6de94-908f-4934-beba-2e2c54d6e01c" xsi:nil="true"/>
    <Lecture xmlns="02e6de94-908f-4934-beba-2e2c54d6e01c">
      <UserInfo>
        <DisplayName/>
        <AccountId xsi:nil="true"/>
        <AccountType/>
      </UserInfo>
    </Lecture>
    <Trait_x00e9_ xmlns="02e6de94-908f-4934-beba-2e2c54d6e01c">false</Trait_x00e9_>
    <Affectation xmlns="02e6de94-908f-4934-beba-2e2c54d6e01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00B871-8FAC-4E74-9343-1416B38E4B30}"/>
</file>

<file path=customXml/itemProps2.xml><?xml version="1.0" encoding="utf-8"?>
<ds:datastoreItem xmlns:ds="http://schemas.openxmlformats.org/officeDocument/2006/customXml" ds:itemID="{2F35FD93-05A8-4102-840F-C5DF33E3DCE6}">
  <ds:schemaRefs>
    <ds:schemaRef ds:uri="2da55e51-a82e-41bf-b547-d8667f015abf"/>
    <ds:schemaRef ds:uri="c33dccb8-c21a-4333-911e-096fd6da32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874E40A-3B3C-4380-A68C-73265249EF1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2</Slides>
  <Notes>20</Notes>
  <HiddenSlides>0</HiddenSlides>
  <ScaleCrop>false</ScaleCrop>
  <HeadingPairs>
    <vt:vector size="4" baseType="variant">
      <vt:variant>
        <vt:lpstr>Theme</vt:lpstr>
      </vt:variant>
      <vt:variant>
        <vt:i4>9</vt:i4>
      </vt:variant>
      <vt:variant>
        <vt:lpstr>Slide Titles</vt:lpstr>
      </vt:variant>
      <vt:variant>
        <vt:i4>52</vt:i4>
      </vt:variant>
    </vt:vector>
  </HeadingPairs>
  <TitlesOfParts>
    <vt:vector size="61" baseType="lpstr">
      <vt:lpstr>9_Conception personnalisée</vt:lpstr>
      <vt:lpstr>3_Conception personnalisée</vt:lpstr>
      <vt:lpstr>1_Thème Talan 2021</vt:lpstr>
      <vt:lpstr>Talan Consulting</vt:lpstr>
      <vt:lpstr>2_Conception personnalisée</vt:lpstr>
      <vt:lpstr>2_Masque Siège 2021</vt:lpstr>
      <vt:lpstr>TalanConsulting 2019</vt:lpstr>
      <vt:lpstr>Talan</vt:lpstr>
      <vt:lpstr>4_Conception personnalisée</vt:lpstr>
      <vt:lpstr>Diagnostic sur l’efficacité opérationnelle des back-offices et plan d’actions à 24 mois  Proposition d’intervention</vt:lpstr>
      <vt:lpstr>PowerPoint Presentation</vt:lpstr>
      <vt:lpstr>SOMMAIRE</vt:lpstr>
      <vt:lpstr>KEREIS SOUHAITE OPTIMISER L’EFFICACITÉ DE SES BACK-OFFICES DE GESTION, SITUÉS EN FRANCE, EN ESPAGNE ET EN ITALIE</vt:lpstr>
      <vt:lpstr>GRÂCE À UNE MÉTHODE ÉPROUVÉE, DIAGNOSTIQUER VOS SERVICES DE GESTION ET DÉFINIR UNE CIBLE DE TRANSFORMATION ET LA FEUILLE DE ROUTE ASSOCIÉE</vt:lpstr>
      <vt:lpstr>TALAN CONSULTING, UN PARTENAIRE QUI S’ENGAGE À VOUS FOURNIR UNE FEUILLE DE ROUTE OPÉRATIONNELLE EN 8 SEMAINES APRÈS LE DÉMARRAGE</vt:lpstr>
      <vt:lpstr>PowerPoint Presentation</vt:lpstr>
      <vt:lpstr>SOMMAIRE</vt:lpstr>
      <vt:lpstr>UN GROUPE INTERNATIONAL SPÉCIALISÉ DANS L’ASSURANCE EMPRUNTEUR ET LA PRÉVOYANCE…</vt:lpstr>
      <vt:lpstr>…QUI SOUHAITE OPTIMISER L’EFFICACITÉ DE SES BACK-OFFICES DE GESTION, EN FRANCE ET EN EUROPE</vt:lpstr>
      <vt:lpstr>SOMMAIRE</vt:lpstr>
      <vt:lpstr>L’EFFICACITÉ OPÉRATIONNELLE S’INSCRIT DANS UNE DÉMARCHE D’ENTREPRISE…</vt:lpstr>
      <vt:lpstr>PowerPoint Presentation</vt:lpstr>
      <vt:lpstr>NOTRE VISION DES GISEMENTS D’EFFICACITÉ DANS LA CHAÎNE DE VALEUR DE L’ASSURANCE EMPRUNTEUR ET DE LA PRÉVOYANCE INDIVIDUELLE</vt:lpstr>
      <vt:lpstr>PowerPoint Presentation</vt:lpstr>
      <vt:lpstr>UN DIAGNOSTIC EN TROIS AXES POUR IDENTIFIER DES GISEMENTS D’ÉCONOMIES</vt:lpstr>
      <vt:lpstr>SOMMAIRE</vt:lpstr>
      <vt:lpstr>3 ATELIERS POUR CHAQUE MACRO-PROCESSUS, SUIVIS D’UNE ÉTAPE DE CHIFFRAGE / PRIORISATION TRANSVERSE</vt:lpstr>
      <vt:lpstr>8 SEMAINES POUR RÉALISER LE DIAGNOSTIC, DÉFINIR LA CIBLE ET LA TRAJECTOIRE ASSOCIÉE</vt:lpstr>
      <vt:lpstr>1. CADRAGE</vt:lpstr>
      <vt:lpstr>1. CADRAGE</vt:lpstr>
      <vt:lpstr>2. RÉALISATION DU DIAGNOSTIC</vt:lpstr>
      <vt:lpstr>2. RÉALISATION DU DIAGNOSTIC</vt:lpstr>
      <vt:lpstr>2. RÉALISATION DU DIAGNOSTIC</vt:lpstr>
      <vt:lpstr>2. RÉALISATION DU DIAGNOSTIC</vt:lpstr>
      <vt:lpstr>PowerPoint Presentation</vt:lpstr>
      <vt:lpstr>PowerPoint Presentation</vt:lpstr>
      <vt:lpstr>SOMMAIRE</vt:lpstr>
      <vt:lpstr>PowerPoint Presentation</vt:lpstr>
      <vt:lpstr>PowerPoint Presentation</vt:lpstr>
      <vt:lpstr>PowerPoint Presentation</vt:lpstr>
      <vt:lpstr>SOMMAIRE</vt:lpstr>
      <vt:lpstr>PowerPoint Presentation</vt:lpstr>
      <vt:lpstr>PowerPoint Presentation</vt:lpstr>
      <vt:lpstr>SOMMAIRE</vt:lpstr>
      <vt:lpstr>PowerPoint Presentation</vt:lpstr>
      <vt:lpstr>PowerPoint Presentation</vt:lpstr>
      <vt:lpstr>PowerPoint Presentation</vt:lpstr>
      <vt:lpstr>PowerPoint Presentation</vt:lpstr>
      <vt:lpstr>PowerPoint Presentation</vt:lpstr>
      <vt:lpstr>Equipe France</vt:lpstr>
      <vt:lpstr>David CASTELNAU Manager senior (19 années d’expérience) - 1/2</vt:lpstr>
      <vt:lpstr>David CASTELNAU Manager senior (19 années d’expérience) - 2/2</vt:lpstr>
      <vt:lpstr>PowerPoint Presentation</vt:lpstr>
      <vt:lpstr>PowerPoint Presentation</vt:lpstr>
      <vt:lpstr>Equipe Italie et Espagn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gnostic de l’efficacité opérationnelle des back-offices Proposition d’intervention</dc:title>
  <dc:creator>Cyprien ARETHUSE</dc:creator>
  <cp:revision>1</cp:revision>
  <cp:lastPrinted>2024-01-29T13:42:57Z</cp:lastPrinted>
  <dcterms:created xsi:type="dcterms:W3CDTF">2024-01-17T09:34:59Z</dcterms:created>
  <dcterms:modified xsi:type="dcterms:W3CDTF">2024-02-15T13:2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FDAAA14BB7894BA702F7F8078DF787</vt:lpwstr>
  </property>
  <property fmtid="{D5CDD505-2E9C-101B-9397-08002B2CF9AE}" pid="3" name="MediaServiceImageTags">
    <vt:lpwstr/>
  </property>
</Properties>
</file>